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3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4.xml" ContentType="application/vnd.openxmlformats-officedocument.them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5.xml" ContentType="application/vnd.openxmlformats-officedocument.theme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6.xml" ContentType="application/vnd.openxmlformats-officedocument.theme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notesSlides/notesSlide4.xml" ContentType="application/vnd.openxmlformats-officedocument.presentationml.notesSlide+xml"/>
  <Override PartName="/ppt/charts/chart3.xml" ContentType="application/vnd.openxmlformats-officedocument.drawingml.chart+xml"/>
  <Override PartName="/ppt/notesSlides/notesSlide5.xml" ContentType="application/vnd.openxmlformats-officedocument.presentationml.notesSlide+xml"/>
  <Override PartName="/ppt/charts/chart4.xml" ContentType="application/vnd.openxmlformats-officedocument.drawingml.chart+xml"/>
  <Override PartName="/ppt/drawings/drawing1.xml" ContentType="application/vnd.openxmlformats-officedocument.drawingml.chartshapes+xml"/>
  <Override PartName="/ppt/notesSlides/notesSlide6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rts/style1.xml" ContentType="application/vnd.ms-office.chartstyle+xml"/>
  <Override PartName="/ppt/charts/colors1.xml" ContentType="application/vnd.ms-office.chartcolorstyle+xml"/>
  <Override PartName="/ppt/charts/style2.xml" ContentType="application/vnd.ms-office.chartstyle+xml"/>
  <Override PartName="/ppt/charts/colors2.xml" ContentType="application/vnd.ms-office.chartcolorstyle+xml"/>
  <Override PartName="/ppt/charts/colors3.xml" ContentType="application/vnd.ms-office.chartcolorstyle+xml"/>
  <Override PartName="/ppt/charts/style3.xml" ContentType="application/vnd.ms-office.chartstyl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73" r:id="rId3"/>
    <p:sldMasterId id="2147483687" r:id="rId4"/>
    <p:sldMasterId id="2147483734" r:id="rId5"/>
    <p:sldMasterId id="2147483760" r:id="rId6"/>
    <p:sldMasterId id="2147483773" r:id="rId7"/>
  </p:sldMasterIdLst>
  <p:notesMasterIdLst>
    <p:notesMasterId r:id="rId22"/>
  </p:notesMasterIdLst>
  <p:sldIdLst>
    <p:sldId id="275" r:id="rId8"/>
    <p:sldId id="330" r:id="rId9"/>
    <p:sldId id="329" r:id="rId10"/>
    <p:sldId id="326" r:id="rId11"/>
    <p:sldId id="323" r:id="rId12"/>
    <p:sldId id="312" r:id="rId13"/>
    <p:sldId id="313" r:id="rId14"/>
    <p:sldId id="281" r:id="rId15"/>
    <p:sldId id="316" r:id="rId16"/>
    <p:sldId id="298" r:id="rId17"/>
    <p:sldId id="343" r:id="rId18"/>
    <p:sldId id="345" r:id="rId19"/>
    <p:sldId id="295" r:id="rId20"/>
    <p:sldId id="328" r:id="rId21"/>
  </p:sldIdLst>
  <p:sldSz cx="12192000" cy="6858000"/>
  <p:notesSz cx="7010400" cy="9296400"/>
  <p:defaultTextStyle>
    <a:defPPr>
      <a:defRPr lang="es-P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cción predeterminada" id="{67E22A7C-3F97-49A4-9DF1-C2A9202E85CB}">
          <p14:sldIdLst>
            <p14:sldId id="275"/>
            <p14:sldId id="330"/>
            <p14:sldId id="329"/>
            <p14:sldId id="326"/>
            <p14:sldId id="323"/>
            <p14:sldId id="312"/>
            <p14:sldId id="313"/>
            <p14:sldId id="281"/>
            <p14:sldId id="316"/>
            <p14:sldId id="298"/>
            <p14:sldId id="343"/>
            <p14:sldId id="345"/>
            <p14:sldId id="295"/>
            <p14:sldId id="328"/>
          </p14:sldIdLst>
        </p14:section>
      </p14:sectionLst>
    </p:ext>
    <p:ext uri="{EFAFB233-063F-42B5-8137-9DF3F51BA10A}">
      <p15:sldGuideLst xmlns="" xmlns:p15="http://schemas.microsoft.com/office/powerpoint/2012/main">
        <p15:guide id="1" orient="horz" pos="2183" userDrawn="1">
          <p15:clr>
            <a:srgbClr val="A4A3A4"/>
          </p15:clr>
        </p15:guide>
        <p15:guide id="2" pos="3817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900"/>
    <a:srgbClr val="F48036"/>
    <a:srgbClr val="5C9EDB"/>
    <a:srgbClr val="FF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378" autoAdjust="0"/>
    <p:restoredTop sz="95274" autoAdjust="0"/>
  </p:normalViewPr>
  <p:slideViewPr>
    <p:cSldViewPr snapToGrid="0" showGuides="1">
      <p:cViewPr varScale="1">
        <p:scale>
          <a:sx n="70" d="100"/>
          <a:sy n="70" d="100"/>
        </p:scale>
        <p:origin x="-606" y="-96"/>
      </p:cViewPr>
      <p:guideLst>
        <p:guide orient="horz" pos="2183"/>
        <p:guide pos="381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4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presProps" Target="presProp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Hoja_de_c_lculo_de_Microsoft_Excel1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3" Type="http://schemas.microsoft.com/office/2011/relationships/chartStyle" Target="style1.xml"/><Relationship Id="rId2" Type="http://schemas.microsoft.com/office/2011/relationships/chartColorStyle" Target="colors1.xml"/><Relationship Id="rId1" Type="http://schemas.openxmlformats.org/officeDocument/2006/relationships/package" Target="../embeddings/Hoja_de_c_lculo_de_Microsoft_Excel2.xlsx"/></Relationships>
</file>

<file path=ppt/charts/_rels/chart3.xml.rels><?xml version="1.0" encoding="UTF-8" standalone="yes"?>
<Relationships xmlns="http://schemas.openxmlformats.org/package/2006/relationships"><Relationship Id="rId3" Type="http://schemas.microsoft.com/office/2011/relationships/chartStyle" Target="style2.xml"/><Relationship Id="rId2" Type="http://schemas.microsoft.com/office/2011/relationships/chartColorStyle" Target="colors2.xml"/><Relationship Id="rId1" Type="http://schemas.openxmlformats.org/officeDocument/2006/relationships/oleObject" Target="file:///C:\Users\dtorres\AppData\Local\Microsoft\Windows\INetCache\Content.Outlook\WAKLXCBC\monthly_trade_e%20(33)%20(002).xls" TargetMode="External"/></Relationships>
</file>

<file path=ppt/charts/_rels/chart4.xml.rels><?xml version="1.0" encoding="UTF-8" standalone="yes"?>
<Relationships xmlns="http://schemas.openxmlformats.org/package/2006/relationships"><Relationship Id="rId3" Type="http://schemas.microsoft.com/office/2011/relationships/chartColorStyle" Target="colors3.xml"/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Hoja_de_c_lculo_de_Microsoft_Excel3.xlsx"/><Relationship Id="rId4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PE"/>
  <c:roundedCorners val="0"/>
  <mc:AlternateContent xmlns:mc="http://schemas.openxmlformats.org/markup-compatibility/2006">
    <mc:Choice xmlns:c14="http://schemas.microsoft.com/office/drawing/2007/8/2/chart" Requires="c14">
      <c14:style val="137"/>
    </mc:Choice>
    <mc:Fallback>
      <c:style val="37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es-PE"/>
              <a:t>Evolución</a:t>
            </a:r>
            <a:r>
              <a:rPr lang="es-PE" baseline="0"/>
              <a:t> del comercio global, 1992-2016 (US$ billones)</a:t>
            </a:r>
            <a:endParaRPr lang="es-PE"/>
          </a:p>
        </c:rich>
      </c:tx>
      <c:layout/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Hoja1!$C$5</c:f>
              <c:strCache>
                <c:ptCount val="1"/>
                <c:pt idx="0">
                  <c:v>Intercambio de comercio mundial (Billón de US$)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2.1643914142890812E-3"/>
                  <c:y val="1.034228904987752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7B01-4673-B6CF-32DACA472F5E}"/>
                </c:ext>
              </c:extLst>
            </c:dLbl>
            <c:dLbl>
              <c:idx val="1"/>
              <c:layout>
                <c:manualLayout>
                  <c:x val="3.9682081271750627E-17"/>
                  <c:y val="1.00125143289329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7B01-4673-B6CF-32DACA472F5E}"/>
                </c:ext>
              </c:extLst>
            </c:dLbl>
            <c:dLbl>
              <c:idx val="2"/>
              <c:layout>
                <c:manualLayout>
                  <c:x val="0"/>
                  <c:y val="1.001251432893290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7B01-4673-B6CF-32DACA472F5E}"/>
                </c:ext>
              </c:extLst>
            </c:dLbl>
            <c:dLbl>
              <c:idx val="3"/>
              <c:layout>
                <c:manualLayout>
                  <c:x val="0"/>
                  <c:y val="1.258318866305924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7B01-4673-B6CF-32DACA472F5E}"/>
                </c:ext>
              </c:extLst>
            </c:dLbl>
            <c:dLbl>
              <c:idx val="4"/>
              <c:layout>
                <c:manualLayout>
                  <c:x val="0"/>
                  <c:y val="-2.928332645353917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7B01-4673-B6CF-32DACA472F5E}"/>
                </c:ext>
              </c:extLst>
            </c:dLbl>
            <c:dLbl>
              <c:idx val="5"/>
              <c:layout>
                <c:manualLayout>
                  <c:x val="-1.2532347271145983E-3"/>
                  <c:y val="-2.519174988043836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31B7-403A-8682-58E876E37047}"/>
                </c:ext>
              </c:extLst>
            </c:dLbl>
            <c:dLbl>
              <c:idx val="6"/>
              <c:layout>
                <c:manualLayout>
                  <c:x val="0"/>
                  <c:y val="1.259587494021909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1B7-403A-8682-58E876E37047}"/>
                </c:ext>
              </c:extLst>
            </c:dLbl>
            <c:dLbl>
              <c:idx val="7"/>
              <c:layout>
                <c:manualLayout>
                  <c:x val="4.5951409159600456E-17"/>
                  <c:y val="-1.511504992826311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31B7-403A-8682-58E876E37047}"/>
                </c:ext>
              </c:extLst>
            </c:dLbl>
            <c:dLbl>
              <c:idx val="8"/>
              <c:layout>
                <c:manualLayout>
                  <c:x val="0"/>
                  <c:y val="-1.007669995217543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31B7-403A-8682-58E876E37047}"/>
                </c:ext>
              </c:extLst>
            </c:dLbl>
            <c:dLbl>
              <c:idx val="9"/>
              <c:layout>
                <c:manualLayout>
                  <c:x val="0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31B7-403A-8682-58E876E37047}"/>
                </c:ext>
              </c:extLst>
            </c:dLbl>
            <c:dLbl>
              <c:idx val="10"/>
              <c:layout>
                <c:manualLayout>
                  <c:x val="-1.2532347271146443E-3"/>
                  <c:y val="-1.007669995217534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31B7-403A-8682-58E876E37047}"/>
                </c:ext>
              </c:extLst>
            </c:dLbl>
            <c:dLbl>
              <c:idx val="19"/>
              <c:layout>
                <c:manualLayout>
                  <c:x val="-7.5194083626873142E-3"/>
                  <c:y val="5.0383499760876735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31B7-403A-8682-58E876E37047}"/>
                </c:ext>
              </c:extLst>
            </c:dLbl>
            <c:dLbl>
              <c:idx val="21"/>
              <c:layout>
                <c:manualLayout>
                  <c:x val="-1.2532347271147362E-3"/>
                  <c:y val="-5.0383499760876735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31B7-403A-8682-58E876E37047}"/>
                </c:ext>
              </c:extLst>
            </c:dLbl>
            <c:dLbl>
              <c:idx val="22"/>
              <c:layout>
                <c:manualLayout>
                  <c:x val="2.8130679028231923E-3"/>
                  <c:y val="-2.293817924743317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AA30-4EC8-8AEF-F4D2360AA8D2}"/>
                </c:ext>
              </c:extLst>
            </c:dLbl>
            <c:dLbl>
              <c:idx val="23"/>
              <c:layout>
                <c:manualLayout>
                  <c:x val="0"/>
                  <c:y val="-3.447429683292475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A30-4EC8-8AEF-F4D2360AA8D2}"/>
                </c:ext>
              </c:extLst>
            </c:dLbl>
            <c:dLbl>
              <c:idx val="24"/>
              <c:layout>
                <c:manualLayout>
                  <c:x val="7.6644678153533292E-4"/>
                  <c:y val="7.823129319170101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AA30-4EC8-8AEF-F4D2360AA8D2}"/>
                </c:ext>
              </c:extLst>
            </c:dLbl>
            <c:dLbl>
              <c:idx val="25"/>
              <c:layout>
                <c:manualLayout>
                  <c:x val="0"/>
                  <c:y val="-1.736433938943154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7B01-4673-B6CF-32DACA472F5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 b="1"/>
                </a:pPr>
                <a:endParaRPr lang="es-P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F$4:$AD$4</c:f>
              <c:strCache>
                <c:ptCount val="25"/>
                <c:pt idx="0">
                  <c:v>1992</c:v>
                </c:pt>
                <c:pt idx="1">
                  <c:v>1993</c:v>
                </c:pt>
                <c:pt idx="2">
                  <c:v>1994</c:v>
                </c:pt>
                <c:pt idx="3">
                  <c:v>1995</c:v>
                </c:pt>
                <c:pt idx="4">
                  <c:v>1996</c:v>
                </c:pt>
                <c:pt idx="5">
                  <c:v>1997</c:v>
                </c:pt>
                <c:pt idx="6">
                  <c:v>1998</c:v>
                </c:pt>
                <c:pt idx="7">
                  <c:v>1999</c:v>
                </c:pt>
                <c:pt idx="8">
                  <c:v>2000</c:v>
                </c:pt>
                <c:pt idx="9">
                  <c:v>2001</c:v>
                </c:pt>
                <c:pt idx="10">
                  <c:v>2002</c:v>
                </c:pt>
                <c:pt idx="11">
                  <c:v>2003</c:v>
                </c:pt>
                <c:pt idx="12">
                  <c:v>2004</c:v>
                </c:pt>
                <c:pt idx="13">
                  <c:v>2005</c:v>
                </c:pt>
                <c:pt idx="14">
                  <c:v>2006</c:v>
                </c:pt>
                <c:pt idx="15">
                  <c:v>2007</c:v>
                </c:pt>
                <c:pt idx="16">
                  <c:v>2008</c:v>
                </c:pt>
                <c:pt idx="17">
                  <c:v>2009</c:v>
                </c:pt>
                <c:pt idx="18">
                  <c:v>2010</c:v>
                </c:pt>
                <c:pt idx="19">
                  <c:v>2011</c:v>
                </c:pt>
                <c:pt idx="20">
                  <c:v>2012</c:v>
                </c:pt>
                <c:pt idx="21">
                  <c:v>2013</c:v>
                </c:pt>
                <c:pt idx="22">
                  <c:v>2014</c:v>
                </c:pt>
                <c:pt idx="23">
                  <c:v>2015</c:v>
                </c:pt>
                <c:pt idx="24">
                  <c:v>2016</c:v>
                </c:pt>
              </c:strCache>
            </c:strRef>
          </c:cat>
          <c:val>
            <c:numRef>
              <c:f>Hoja1!$F$5:$AD$5</c:f>
              <c:numCache>
                <c:formatCode>0.000</c:formatCode>
                <c:ptCount val="25"/>
                <c:pt idx="0">
                  <c:v>7.7633958606289903</c:v>
                </c:pt>
                <c:pt idx="1">
                  <c:v>7.7294406061036707</c:v>
                </c:pt>
                <c:pt idx="2">
                  <c:v>8.7754797705316605</c:v>
                </c:pt>
                <c:pt idx="3">
                  <c:v>10.458182491893041</c:v>
                </c:pt>
                <c:pt idx="4">
                  <c:v>10.96976026583965</c:v>
                </c:pt>
                <c:pt idx="5">
                  <c:v>11.35051271994331</c:v>
                </c:pt>
                <c:pt idx="6">
                  <c:v>11.204513223553739</c:v>
                </c:pt>
                <c:pt idx="7">
                  <c:v>11.63065510218353</c:v>
                </c:pt>
                <c:pt idx="8">
                  <c:v>13.1932720572952</c:v>
                </c:pt>
                <c:pt idx="9">
                  <c:v>12.67782143331668</c:v>
                </c:pt>
                <c:pt idx="10">
                  <c:v>13.231362819756599</c:v>
                </c:pt>
                <c:pt idx="11">
                  <c:v>15.45354022082552</c:v>
                </c:pt>
                <c:pt idx="12">
                  <c:v>18.80448206133962</c:v>
                </c:pt>
                <c:pt idx="13">
                  <c:v>21.414853306079202</c:v>
                </c:pt>
                <c:pt idx="14">
                  <c:v>24.636199134752701</c:v>
                </c:pt>
                <c:pt idx="15">
                  <c:v>28.424985854115498</c:v>
                </c:pt>
                <c:pt idx="16">
                  <c:v>32.810105841401601</c:v>
                </c:pt>
                <c:pt idx="17">
                  <c:v>25.383161604834399</c:v>
                </c:pt>
                <c:pt idx="18">
                  <c:v>30.893308694076197</c:v>
                </c:pt>
                <c:pt idx="19">
                  <c:v>36.954224692915503</c:v>
                </c:pt>
                <c:pt idx="20">
                  <c:v>37.311308796927904</c:v>
                </c:pt>
                <c:pt idx="21">
                  <c:v>38.077090873027601</c:v>
                </c:pt>
                <c:pt idx="22">
                  <c:v>38.192258556374597</c:v>
                </c:pt>
                <c:pt idx="23">
                  <c:v>33.314181108267803</c:v>
                </c:pt>
                <c:pt idx="24">
                  <c:v>32.2938309167519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7B01-4673-B6CF-32DACA472F5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axId val="196640128"/>
        <c:axId val="196641920"/>
      </c:barChart>
      <c:catAx>
        <c:axId val="196640128"/>
        <c:scaling>
          <c:orientation val="minMax"/>
        </c:scaling>
        <c:delete val="0"/>
        <c:axPos val="b"/>
        <c:numFmt formatCode="General" sourceLinked="1"/>
        <c:majorTickMark val="none"/>
        <c:minorTickMark val="out"/>
        <c:tickLblPos val="nextTo"/>
        <c:crossAx val="196641920"/>
        <c:crosses val="autoZero"/>
        <c:auto val="1"/>
        <c:lblAlgn val="ctr"/>
        <c:lblOffset val="100"/>
        <c:noMultiLvlLbl val="0"/>
      </c:catAx>
      <c:valAx>
        <c:axId val="196641920"/>
        <c:scaling>
          <c:orientation val="minMax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s-PE"/>
                  <a:t>Billón de US$</a:t>
                </a:r>
              </a:p>
            </c:rich>
          </c:tx>
          <c:layout/>
          <c:overlay val="0"/>
        </c:title>
        <c:numFmt formatCode="0.000" sourceLinked="1"/>
        <c:majorTickMark val="out"/>
        <c:minorTickMark val="none"/>
        <c:tickLblPos val="nextTo"/>
        <c:crossAx val="196640128"/>
        <c:crosses val="autoZero"/>
        <c:crossBetween val="between"/>
      </c:valAx>
    </c:plotArea>
    <c:plotVisOnly val="1"/>
    <c:dispBlanksAs val="gap"/>
    <c:showDLblsOverMax val="0"/>
  </c:chart>
  <c:spPr>
    <a:solidFill>
      <a:sysClr val="window" lastClr="FFFFFF">
        <a:lumMod val="95000"/>
      </a:sysClr>
    </a:solidFill>
    <a:ln>
      <a:noFill/>
    </a:ln>
  </c:sp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PE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00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es-PE" sz="2000" dirty="0">
                <a:solidFill>
                  <a:schemeClr val="bg1"/>
                </a:solidFill>
              </a:rPr>
              <a:t>Perú: Exportación Totales por Sector Económico</a:t>
            </a:r>
          </a:p>
          <a:p>
            <a:pPr>
              <a:defRPr sz="200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es-PE" sz="2000" b="0" dirty="0">
                <a:solidFill>
                  <a:schemeClr val="bg1"/>
                </a:solidFill>
              </a:rPr>
              <a:t>Millones US$</a:t>
            </a:r>
          </a:p>
        </c:rich>
      </c:tx>
      <c:layout/>
      <c:overlay val="1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7.9365485000172185E-3"/>
          <c:y val="0.14073043847109182"/>
          <c:w val="0.98574644495537533"/>
          <c:h val="0.6954627932099222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Hoja1!$A$2</c:f>
              <c:strCache>
                <c:ptCount val="1"/>
                <c:pt idx="0">
                  <c:v>Tradicionales</c:v>
                </c:pt>
              </c:strCache>
            </c:strRef>
          </c:tx>
          <c:spPr>
            <a:solidFill>
              <a:srgbClr val="009900"/>
            </a:solidFill>
            <a:ln>
              <a:noFill/>
            </a:ln>
            <a:effectLst/>
          </c:spPr>
          <c:invertIfNegative val="0"/>
          <c:dLbls>
            <c:dLbl>
              <c:idx val="18"/>
              <c:layout/>
              <c:tx>
                <c:rich>
                  <a:bodyPr/>
                  <a:lstStyle/>
                  <a:p>
                    <a:r>
                      <a:rPr lang="en-US"/>
                      <a:t>37,000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6876-4E03-9FEA-10F185289AE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P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6350" cap="flat" cmpd="sng" algn="ctr">
                      <a:solidFill>
                        <a:schemeClr val="tx1"/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:$AA$1</c:f>
              <c:strCache>
                <c:ptCount val="19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 (*)</c:v>
                </c:pt>
              </c:strCache>
            </c:strRef>
          </c:cat>
          <c:val>
            <c:numRef>
              <c:f>Hoja1!$B$2:$AA$2</c:f>
              <c:numCache>
                <c:formatCode>#,##0</c:formatCode>
                <c:ptCount val="19"/>
                <c:pt idx="0">
                  <c:v>4828.7871253800004</c:v>
                </c:pt>
                <c:pt idx="1">
                  <c:v>4761.47046039</c:v>
                </c:pt>
                <c:pt idx="2">
                  <c:v>5395.5080653200002</c:v>
                </c:pt>
                <c:pt idx="3">
                  <c:v>6400.886980459999</c:v>
                </c:pt>
                <c:pt idx="4">
                  <c:v>9228.6940617799992</c:v>
                </c:pt>
                <c:pt idx="5">
                  <c:v>12987.583986690001</c:v>
                </c:pt>
                <c:pt idx="6">
                  <c:v>18513.723408349997</c:v>
                </c:pt>
                <c:pt idx="7">
                  <c:v>21766.664663379997</c:v>
                </c:pt>
                <c:pt idx="8">
                  <c:v>23158.85778007</c:v>
                </c:pt>
                <c:pt idx="9">
                  <c:v>20864.110193150005</c:v>
                </c:pt>
                <c:pt idx="10">
                  <c:v>28091.216766950005</c:v>
                </c:pt>
                <c:pt idx="11">
                  <c:v>36129.56398287</c:v>
                </c:pt>
                <c:pt idx="12">
                  <c:v>35152.644052969998</c:v>
                </c:pt>
                <c:pt idx="13">
                  <c:v>31490.130312720001</c:v>
                </c:pt>
                <c:pt idx="14">
                  <c:v>26915.218835110005</c:v>
                </c:pt>
                <c:pt idx="15">
                  <c:v>22779.754177600011</c:v>
                </c:pt>
                <c:pt idx="16">
                  <c:v>25498</c:v>
                </c:pt>
                <c:pt idx="17">
                  <c:v>32573</c:v>
                </c:pt>
                <c:pt idx="18">
                  <c:v>3689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2BBE-46ED-A4EE-B39D571A6DD1}"/>
            </c:ext>
          </c:extLst>
        </c:ser>
        <c:ser>
          <c:idx val="1"/>
          <c:order val="1"/>
          <c:tx>
            <c:strRef>
              <c:f>Hoja1!$A$3</c:f>
              <c:strCache>
                <c:ptCount val="1"/>
                <c:pt idx="0">
                  <c:v>No Tradicionales</c:v>
                </c:pt>
              </c:strCache>
            </c:strRef>
          </c:tx>
          <c:spPr>
            <a:solidFill>
              <a:schemeClr val="bg2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18"/>
              <c:layout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400" b="1" i="0" u="none" strike="noStrike" kern="1200" baseline="0">
                        <a:solidFill>
                          <a:srgbClr val="FFFF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1400" dirty="0">
                        <a:solidFill>
                          <a:schemeClr val="bg2">
                            <a:lumMod val="75000"/>
                          </a:schemeClr>
                        </a:solidFill>
                      </a:rPr>
                      <a:t>0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876-4E03-9FEA-10F185289AE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s-P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6350" cap="flat" cmpd="sng" algn="ctr">
                      <a:solidFill>
                        <a:schemeClr val="tx1"/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:$AA$1</c:f>
              <c:strCache>
                <c:ptCount val="19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 (*)</c:v>
                </c:pt>
              </c:strCache>
            </c:strRef>
          </c:cat>
          <c:val>
            <c:numRef>
              <c:f>Hoja1!$B$3:$AA$3</c:f>
              <c:numCache>
                <c:formatCode>#,##0</c:formatCode>
                <c:ptCount val="19"/>
                <c:pt idx="0">
                  <c:v>2053.9184228999993</c:v>
                </c:pt>
                <c:pt idx="1">
                  <c:v>2194.5696301099997</c:v>
                </c:pt>
                <c:pt idx="2">
                  <c:v>2269.72194188</c:v>
                </c:pt>
                <c:pt idx="3">
                  <c:v>2594.3049456400008</c:v>
                </c:pt>
                <c:pt idx="4">
                  <c:v>3487.5168299100001</c:v>
                </c:pt>
                <c:pt idx="5">
                  <c:v>4285.8036646599994</c:v>
                </c:pt>
                <c:pt idx="6">
                  <c:v>5285.8664307999979</c:v>
                </c:pt>
                <c:pt idx="7">
                  <c:v>6317.6536404799981</c:v>
                </c:pt>
                <c:pt idx="8">
                  <c:v>7468.7872745699988</c:v>
                </c:pt>
                <c:pt idx="9">
                  <c:v>6209.347719379999</c:v>
                </c:pt>
                <c:pt idx="10">
                  <c:v>7714.6331969400007</c:v>
                </c:pt>
                <c:pt idx="11">
                  <c:v>10189.772773810002</c:v>
                </c:pt>
                <c:pt idx="12">
                  <c:v>11206.238827319998</c:v>
                </c:pt>
                <c:pt idx="13">
                  <c:v>11076.479925409998</c:v>
                </c:pt>
                <c:pt idx="14">
                  <c:v>11726.103390289994</c:v>
                </c:pt>
                <c:pt idx="15">
                  <c:v>10906.469854960036</c:v>
                </c:pt>
                <c:pt idx="16">
                  <c:v>10813</c:v>
                </c:pt>
                <c:pt idx="17">
                  <c:v>11731</c:v>
                </c:pt>
                <c:pt idx="18">
                  <c:v>1322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2BBE-46ED-A4EE-B39D571A6DD1}"/>
            </c:ext>
          </c:extLst>
        </c:ser>
        <c:ser>
          <c:idx val="2"/>
          <c:order val="2"/>
          <c:tx>
            <c:strRef>
              <c:f>Hoja1!$A$4</c:f>
              <c:strCache>
                <c:ptCount val="1"/>
              </c:strCache>
            </c:strRef>
          </c:tx>
          <c:spPr>
            <a:solidFill>
              <a:schemeClr val="accent5">
                <a:tint val="65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:$AA$1</c:f>
              <c:strCache>
                <c:ptCount val="19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 (*)</c:v>
                </c:pt>
              </c:strCache>
            </c:strRef>
          </c:cat>
          <c:val>
            <c:numRef>
              <c:f>Hoja1!$B$4:$AA$4</c:f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2BBE-46ED-A4EE-B39D571A6DD1}"/>
            </c:ext>
          </c:extLst>
        </c:ser>
        <c:ser>
          <c:idx val="3"/>
          <c:order val="3"/>
          <c:tx>
            <c:strRef>
              <c:f>Hoja1!$A$5</c:f>
              <c:strCache>
                <c:ptCount val="1"/>
              </c:strCache>
            </c:strRef>
          </c:tx>
          <c:spPr>
            <a:solidFill>
              <a:schemeClr val="accent5">
                <a:tint val="77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:$AA$1</c:f>
              <c:strCache>
                <c:ptCount val="19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 (*)</c:v>
                </c:pt>
              </c:strCache>
            </c:strRef>
          </c:cat>
          <c:val>
            <c:numRef>
              <c:f>Hoja1!$B$5:$AA$5</c:f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2BBE-46ED-A4EE-B39D571A6DD1}"/>
            </c:ext>
          </c:extLst>
        </c:ser>
        <c:ser>
          <c:idx val="4"/>
          <c:order val="4"/>
          <c:tx>
            <c:strRef>
              <c:f>Hoja1!$A$6</c:f>
              <c:strCache>
                <c:ptCount val="1"/>
              </c:strCache>
            </c:strRef>
          </c:tx>
          <c:spPr>
            <a:solidFill>
              <a:schemeClr val="accent5">
                <a:tint val="89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:$AA$1</c:f>
              <c:strCache>
                <c:ptCount val="19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 (*)</c:v>
                </c:pt>
              </c:strCache>
            </c:strRef>
          </c:cat>
          <c:val>
            <c:numRef>
              <c:f>Hoja1!$B$6:$AA$6</c:f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2BBE-46ED-A4EE-B39D571A6DD1}"/>
            </c:ext>
          </c:extLst>
        </c:ser>
        <c:ser>
          <c:idx val="5"/>
          <c:order val="5"/>
          <c:tx>
            <c:strRef>
              <c:f>Hoja1!$A$7</c:f>
              <c:strCache>
                <c:ptCount val="1"/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Hoja1!$B$1:$AA$1</c:f>
              <c:strCache>
                <c:ptCount val="19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 (*)</c:v>
                </c:pt>
              </c:strCache>
            </c:strRef>
          </c:cat>
          <c:val>
            <c:numRef>
              <c:f>Hoja1!$B$7:$AA$7</c:f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2BBE-46ED-A4EE-B39D571A6DD1}"/>
            </c:ext>
          </c:extLst>
        </c:ser>
        <c:ser>
          <c:idx val="6"/>
          <c:order val="6"/>
          <c:tx>
            <c:strRef>
              <c:f>Hoja1!$A$8</c:f>
              <c:strCache>
                <c:ptCount val="1"/>
              </c:strCache>
            </c:strRef>
          </c:tx>
          <c:spPr>
            <a:solidFill>
              <a:schemeClr val="accent5">
                <a:shade val="88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:$AA$1</c:f>
              <c:strCache>
                <c:ptCount val="19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 (*)</c:v>
                </c:pt>
              </c:strCache>
            </c:strRef>
          </c:cat>
          <c:val>
            <c:numRef>
              <c:f>Hoja1!$B$8:$AA$8</c:f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2BBE-46ED-A4EE-B39D571A6DD1}"/>
            </c:ext>
          </c:extLst>
        </c:ser>
        <c:ser>
          <c:idx val="7"/>
          <c:order val="7"/>
          <c:tx>
            <c:strRef>
              <c:f>Hoja1!$A$9</c:f>
              <c:strCache>
                <c:ptCount val="1"/>
              </c:strCache>
            </c:strRef>
          </c:tx>
          <c:spPr>
            <a:solidFill>
              <a:schemeClr val="accent5">
                <a:shade val="76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:$AA$1</c:f>
              <c:strCache>
                <c:ptCount val="19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 (*)</c:v>
                </c:pt>
              </c:strCache>
            </c:strRef>
          </c:cat>
          <c:val>
            <c:numRef>
              <c:f>Hoja1!$B$9:$AA$9</c:f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7-2BBE-46ED-A4EE-B39D571A6DD1}"/>
            </c:ext>
          </c:extLst>
        </c:ser>
        <c:ser>
          <c:idx val="8"/>
          <c:order val="8"/>
          <c:tx>
            <c:strRef>
              <c:f>Hoja1!$A$10</c:f>
              <c:strCache>
                <c:ptCount val="1"/>
              </c:strCache>
            </c:strRef>
          </c:tx>
          <c:spPr>
            <a:solidFill>
              <a:schemeClr val="accent5">
                <a:shade val="65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:$AA$1</c:f>
              <c:strCache>
                <c:ptCount val="19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 (*)</c:v>
                </c:pt>
              </c:strCache>
            </c:strRef>
          </c:cat>
          <c:val>
            <c:numRef>
              <c:f>Hoja1!$B$10:$AA$10</c:f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2BBE-46ED-A4EE-B39D571A6DD1}"/>
            </c:ext>
          </c:extLst>
        </c:ser>
        <c:ser>
          <c:idx val="9"/>
          <c:order val="9"/>
          <c:tx>
            <c:strRef>
              <c:f>Hoja1!$A$11</c:f>
              <c:strCache>
                <c:ptCount val="1"/>
              </c:strCache>
            </c:strRef>
          </c:tx>
          <c:spPr>
            <a:solidFill>
              <a:schemeClr val="accent5">
                <a:shade val="53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:$AA$1</c:f>
              <c:strCache>
                <c:ptCount val="19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 (*)</c:v>
                </c:pt>
              </c:strCache>
            </c:strRef>
          </c:cat>
          <c:val>
            <c:numRef>
              <c:f>Hoja1!$B$11:$AA$11</c:f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9-2BBE-46ED-A4EE-B39D571A6DD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5"/>
        <c:overlap val="100"/>
        <c:axId val="206220288"/>
        <c:axId val="206226560"/>
      </c:barChart>
      <c:lineChart>
        <c:grouping val="stacked"/>
        <c:varyColors val="0"/>
        <c:ser>
          <c:idx val="10"/>
          <c:order val="10"/>
          <c:tx>
            <c:strRef>
              <c:f>Hoja1!$A$12</c:f>
              <c:strCache>
                <c:ptCount val="1"/>
                <c:pt idx="0">
                  <c:v>Total</c:v>
                </c:pt>
              </c:strCache>
            </c:strRef>
          </c:tx>
          <c:spPr>
            <a:ln w="19050" cap="rnd" cmpd="sng" algn="ctr">
              <a:noFill/>
              <a:prstDash val="solid"/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PE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6350" cap="flat" cmpd="sng" algn="ctr">
                      <a:solidFill>
                        <a:schemeClr val="tx1"/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:$AA$1</c:f>
              <c:strCache>
                <c:ptCount val="19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 (*)</c:v>
                </c:pt>
              </c:strCache>
            </c:strRef>
          </c:cat>
          <c:val>
            <c:numRef>
              <c:f>Hoja1!$B$12:$AA$12</c:f>
              <c:numCache>
                <c:formatCode>#,##0</c:formatCode>
                <c:ptCount val="19"/>
                <c:pt idx="0">
                  <c:v>6882.7055482799997</c:v>
                </c:pt>
                <c:pt idx="1">
                  <c:v>6956.0400904999997</c:v>
                </c:pt>
                <c:pt idx="2">
                  <c:v>7665.2300071999998</c:v>
                </c:pt>
                <c:pt idx="3">
                  <c:v>8995.1919261000003</c:v>
                </c:pt>
                <c:pt idx="4">
                  <c:v>12716.21089169</c:v>
                </c:pt>
                <c:pt idx="5">
                  <c:v>17273.38765135</c:v>
                </c:pt>
                <c:pt idx="6">
                  <c:v>23799.589839149994</c:v>
                </c:pt>
                <c:pt idx="7">
                  <c:v>28084.318303859996</c:v>
                </c:pt>
                <c:pt idx="8">
                  <c:v>30627.645054640001</c:v>
                </c:pt>
                <c:pt idx="9">
                  <c:v>27073.457912530004</c:v>
                </c:pt>
                <c:pt idx="10">
                  <c:v>35805.849963890003</c:v>
                </c:pt>
                <c:pt idx="11">
                  <c:v>46319.336756680001</c:v>
                </c:pt>
                <c:pt idx="12">
                  <c:v>46358.882880289995</c:v>
                </c:pt>
                <c:pt idx="13">
                  <c:v>42566.610238130001</c:v>
                </c:pt>
                <c:pt idx="14">
                  <c:v>38641.322225399999</c:v>
                </c:pt>
                <c:pt idx="15">
                  <c:v>33686.224032560043</c:v>
                </c:pt>
                <c:pt idx="16">
                  <c:v>36312</c:v>
                </c:pt>
                <c:pt idx="17">
                  <c:v>44304</c:v>
                </c:pt>
                <c:pt idx="18">
                  <c:v>50127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A-2BBE-46ED-A4EE-B39D571A6DD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6220288"/>
        <c:axId val="206226560"/>
      </c:lineChart>
      <c:catAx>
        <c:axId val="206220288"/>
        <c:scaling>
          <c:orientation val="minMax"/>
        </c:scaling>
        <c:delete val="0"/>
        <c:axPos val="b"/>
        <c:numFmt formatCode="#,##0.000000000000000000000000000000" sourceLinked="0"/>
        <c:majorTickMark val="none"/>
        <c:minorTickMark val="none"/>
        <c:tickLblPos val="nextTo"/>
        <c:spPr>
          <a:noFill/>
          <a:ln w="6350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s-PE"/>
          </a:p>
        </c:txPr>
        <c:crossAx val="206226560"/>
        <c:crosses val="autoZero"/>
        <c:auto val="1"/>
        <c:lblAlgn val="ctr"/>
        <c:lblOffset val="100"/>
        <c:tickMarkSkip val="18"/>
        <c:noMultiLvlLbl val="0"/>
      </c:catAx>
      <c:valAx>
        <c:axId val="206226560"/>
        <c:scaling>
          <c:orientation val="minMax"/>
          <c:max val="50000"/>
        </c:scaling>
        <c:delete val="1"/>
        <c:axPos val="l"/>
        <c:numFmt formatCode="#,##0" sourceLinked="1"/>
        <c:majorTickMark val="out"/>
        <c:minorTickMark val="none"/>
        <c:tickLblPos val="nextTo"/>
        <c:crossAx val="206220288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s-PE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s-PE"/>
          </a:p>
        </c:txPr>
      </c:legendEntry>
      <c:legendEntry>
        <c:idx val="2"/>
        <c:delete val="1"/>
      </c:legendEntry>
      <c:layout>
        <c:manualLayout>
          <c:xMode val="edge"/>
          <c:yMode val="edge"/>
          <c:x val="8.3582313150767779E-2"/>
          <c:y val="0.90885140192061775"/>
          <c:w val="0.89902947096016539"/>
          <c:h val="9.114859807938201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s-PE"/>
        </a:p>
      </c:txPr>
    </c:legend>
    <c:plotVisOnly val="1"/>
    <c:dispBlanksAs val="gap"/>
    <c:showDLblsOverMax val="0"/>
  </c:chart>
  <c:spPr>
    <a:noFill/>
    <a:ln w="6350" cap="flat" cmpd="sng" algn="ctr">
      <a:noFill/>
      <a:prstDash val="solid"/>
      <a:miter lim="800000"/>
    </a:ln>
    <a:effectLst/>
  </c:spPr>
  <c:txPr>
    <a:bodyPr/>
    <a:lstStyle/>
    <a:p>
      <a:pPr>
        <a:defRPr sz="1800"/>
      </a:pPr>
      <a:endParaRPr lang="es-PE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P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2370949610559861E-2"/>
          <c:y val="2.8023108693915721E-2"/>
          <c:w val="0.97691851616624981"/>
          <c:h val="0.87816501153801851"/>
        </c:manualLayout>
      </c:layout>
      <c:barChart>
        <c:barDir val="col"/>
        <c:grouping val="clustered"/>
        <c:varyColors val="0"/>
        <c:ser>
          <c:idx val="0"/>
          <c:order val="0"/>
          <c:spPr>
            <a:gradFill flip="none" rotWithShape="1">
              <a:gsLst>
                <a:gs pos="0">
                  <a:schemeClr val="accent5">
                    <a:lumMod val="50000"/>
                  </a:schemeClr>
                </a:gs>
                <a:gs pos="50000">
                  <a:schemeClr val="accent5">
                    <a:lumMod val="75000"/>
                  </a:schemeClr>
                </a:gs>
                <a:gs pos="100000">
                  <a:schemeClr val="accent5">
                    <a:lumMod val="75000"/>
                  </a:schemeClr>
                </a:gs>
              </a:gsLst>
              <a:path path="circle">
                <a:fillToRect l="100000" b="100000"/>
              </a:path>
              <a:tileRect t="-100000" r="-100000"/>
            </a:gradFill>
            <a:ln>
              <a:noFill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c:spPr>
          <c:invertIfNegative val="0"/>
          <c:dPt>
            <c:idx val="2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0-D8C3-476B-B5B3-36D23A21F11C}"/>
              </c:ext>
            </c:extLst>
          </c:dPt>
          <c:dPt>
            <c:idx val="3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1-D8C3-476B-B5B3-36D23A21F11C}"/>
              </c:ext>
            </c:extLst>
          </c:dPt>
          <c:dLbls>
            <c:delete val="1"/>
          </c:dLbls>
          <c:cat>
            <c:strRef>
              <c:f>EXPORTACION!$G$6:$G$16</c:f>
              <c:strCache>
                <c:ptCount val="11"/>
                <c:pt idx="0">
                  <c:v>Rusia</c:v>
                </c:pt>
                <c:pt idx="1">
                  <c:v>Bielorrusia</c:v>
                </c:pt>
                <c:pt idx="2">
                  <c:v>Perú</c:v>
                </c:pt>
                <c:pt idx="3">
                  <c:v>Vietnam</c:v>
                </c:pt>
                <c:pt idx="4">
                  <c:v>Australia</c:v>
                </c:pt>
                <c:pt idx="5">
                  <c:v>Lituania</c:v>
                </c:pt>
                <c:pt idx="6">
                  <c:v>Colombia</c:v>
                </c:pt>
                <c:pt idx="7">
                  <c:v>Ucrania</c:v>
                </c:pt>
                <c:pt idx="8">
                  <c:v>Sudáfrica</c:v>
                </c:pt>
                <c:pt idx="9">
                  <c:v>Finlandia</c:v>
                </c:pt>
                <c:pt idx="10">
                  <c:v>Brasil</c:v>
                </c:pt>
              </c:strCache>
            </c:strRef>
          </c:cat>
          <c:val>
            <c:numRef>
              <c:f>EXPORTACION!$K$6:$K$16</c:f>
              <c:numCache>
                <c:formatCode>0.0%</c:formatCode>
                <c:ptCount val="11"/>
                <c:pt idx="0">
                  <c:v>0.2528463620849315</c:v>
                </c:pt>
                <c:pt idx="1">
                  <c:v>0.24150178652606713</c:v>
                </c:pt>
                <c:pt idx="2">
                  <c:v>0.22600000000000001</c:v>
                </c:pt>
                <c:pt idx="3">
                  <c:v>0.21420767044443645</c:v>
                </c:pt>
                <c:pt idx="4">
                  <c:v>0.1984063977842192</c:v>
                </c:pt>
                <c:pt idx="5">
                  <c:v>0.19700683231997451</c:v>
                </c:pt>
                <c:pt idx="6">
                  <c:v>0.19000000000000017</c:v>
                </c:pt>
                <c:pt idx="7">
                  <c:v>0.18796062039379602</c:v>
                </c:pt>
                <c:pt idx="8">
                  <c:v>0.18426008494335977</c:v>
                </c:pt>
                <c:pt idx="9">
                  <c:v>0.17777070412716744</c:v>
                </c:pt>
                <c:pt idx="10">
                  <c:v>0.1754349665370968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D8C3-476B-B5B3-36D23A21F11C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41"/>
        <c:axId val="190954112"/>
        <c:axId val="192037248"/>
      </c:barChart>
      <c:catAx>
        <c:axId val="1909541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25400"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bg1"/>
                </a:solidFill>
                <a:effectLst/>
                <a:latin typeface="Candara" panose="020E0502030303020204" pitchFamily="34" charset="0"/>
                <a:ea typeface="+mn-ea"/>
                <a:cs typeface="+mn-cs"/>
              </a:defRPr>
            </a:pPr>
            <a:endParaRPr lang="es-PE"/>
          </a:p>
        </c:txPr>
        <c:crossAx val="192037248"/>
        <c:crosses val="autoZero"/>
        <c:auto val="1"/>
        <c:lblAlgn val="ctr"/>
        <c:lblOffset val="100"/>
        <c:noMultiLvlLbl val="0"/>
      </c:catAx>
      <c:valAx>
        <c:axId val="192037248"/>
        <c:scaling>
          <c:orientation val="minMax"/>
        </c:scaling>
        <c:delete val="1"/>
        <c:axPos val="l"/>
        <c:numFmt formatCode="0.0%" sourceLinked="1"/>
        <c:majorTickMark val="none"/>
        <c:minorTickMark val="none"/>
        <c:tickLblPos val="nextTo"/>
        <c:crossAx val="190954112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s-PE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P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3557858870433546E-2"/>
          <c:y val="6.7281428453311878E-2"/>
          <c:w val="0.94362323482091126"/>
          <c:h val="0.7976528922072830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Serie 1</c:v>
                </c:pt>
              </c:strCache>
            </c:strRef>
          </c:tx>
          <c:spPr>
            <a:gradFill>
              <a:gsLst>
                <a:gs pos="0">
                  <a:srgbClr val="A20000"/>
                </a:gs>
                <a:gs pos="50000">
                  <a:srgbClr val="C00000">
                    <a:shade val="67500"/>
                    <a:satMod val="115000"/>
                  </a:srgbClr>
                </a:gs>
                <a:gs pos="100000">
                  <a:srgbClr val="C00000">
                    <a:shade val="100000"/>
                    <a:satMod val="115000"/>
                  </a:srgbClr>
                </a:gs>
              </a:gsLst>
              <a:lin ang="13500000" scaled="1"/>
            </a:gradFill>
            <a:ln>
              <a:noFill/>
            </a:ln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c:spPr>
          <c:invertIfNegative val="0"/>
          <c:dLbls>
            <c:delete val="1"/>
          </c:dLbls>
          <c:cat>
            <c:strRef>
              <c:f>Hoja1!$A$2:$A$12</c:f>
              <c:strCache>
                <c:ptCount val="11"/>
                <c:pt idx="0">
                  <c:v>Costa Rica</c:v>
                </c:pt>
                <c:pt idx="1">
                  <c:v>EE.UU.</c:v>
                </c:pt>
                <c:pt idx="2">
                  <c:v>Canadá</c:v>
                </c:pt>
                <c:pt idx="3">
                  <c:v>México</c:v>
                </c:pt>
                <c:pt idx="4">
                  <c:v>Bolivia</c:v>
                </c:pt>
                <c:pt idx="5">
                  <c:v>Uruguay</c:v>
                </c:pt>
                <c:pt idx="6">
                  <c:v>Ecuador</c:v>
                </c:pt>
                <c:pt idx="7">
                  <c:v>Chile</c:v>
                </c:pt>
                <c:pt idx="8">
                  <c:v>Brasil</c:v>
                </c:pt>
                <c:pt idx="9">
                  <c:v>Colombia</c:v>
                </c:pt>
                <c:pt idx="10">
                  <c:v>Perú</c:v>
                </c:pt>
              </c:strCache>
            </c:strRef>
          </c:cat>
          <c:val>
            <c:numRef>
              <c:f>Hoja1!$B$2:$B$12</c:f>
              <c:numCache>
                <c:formatCode>0%</c:formatCode>
                <c:ptCount val="11"/>
                <c:pt idx="0">
                  <c:v>0.06</c:v>
                </c:pt>
                <c:pt idx="1">
                  <c:v>7.0000000000000007E-2</c:v>
                </c:pt>
                <c:pt idx="2">
                  <c:v>0.08</c:v>
                </c:pt>
                <c:pt idx="3">
                  <c:v>0.09</c:v>
                </c:pt>
                <c:pt idx="4">
                  <c:v>0.11</c:v>
                </c:pt>
                <c:pt idx="5">
                  <c:v>0.13</c:v>
                </c:pt>
                <c:pt idx="6">
                  <c:v>0.14000000000000001</c:v>
                </c:pt>
                <c:pt idx="7">
                  <c:v>0.14000000000000001</c:v>
                </c:pt>
                <c:pt idx="8">
                  <c:v>0.18</c:v>
                </c:pt>
                <c:pt idx="9">
                  <c:v>0.19</c:v>
                </c:pt>
                <c:pt idx="10">
                  <c:v>0.2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BB80-40DA-BB5E-F3800E888621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41"/>
        <c:axId val="206728576"/>
        <c:axId val="206972416"/>
      </c:barChart>
      <c:catAx>
        <c:axId val="2067285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9050"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bg1"/>
                </a:solidFill>
                <a:effectLst/>
                <a:latin typeface="Candara" panose="020E0502030303020204" pitchFamily="34" charset="0"/>
                <a:ea typeface="+mn-ea"/>
                <a:cs typeface="+mn-cs"/>
              </a:defRPr>
            </a:pPr>
            <a:endParaRPr lang="es-PE"/>
          </a:p>
        </c:txPr>
        <c:crossAx val="206972416"/>
        <c:crosses val="autoZero"/>
        <c:auto val="1"/>
        <c:lblAlgn val="ctr"/>
        <c:lblOffset val="100"/>
        <c:noMultiLvlLbl val="0"/>
      </c:catAx>
      <c:valAx>
        <c:axId val="206972416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2067285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s-PE"/>
    </a:p>
  </c:txPr>
  <c:externalData r:id="rId1">
    <c:autoUpdate val="0"/>
  </c:externalData>
  <c:userShapes r:id="rId2"/>
</c:chartSpace>
</file>

<file path=ppt/charts/colors1.xml><?xml version="1.0" encoding="utf-8"?>
<cs:colorStyle xmlns:cs="http://schemas.microsoft.com/office/drawing/2012/chartStyle" xmlns:a="http://schemas.openxmlformats.org/drawingml/2006/main" meth="withinLinearReversed" id="25">
  <a:schemeClr val="accent5"/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04">
  <cs:axisTitle>
    <cs:lnRef idx="0"/>
    <cs:fillRef idx="0"/>
    <cs:effectRef idx="0"/>
    <cs:fontRef idx="minor">
      <a:schemeClr val="dk1">
        <a:lumMod val="65000"/>
        <a:lumOff val="3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>
      <a:effectLst/>
    </cs:defRPr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68000">
            <a:schemeClr val="lt1">
              <a:lumMod val="85000"/>
            </a:schemeClr>
          </a:gs>
          <a:gs pos="100000">
            <a:schemeClr val="lt1"/>
          </a:gs>
        </a:gsLst>
        <a:lin ang="5400000" scaled="1"/>
        <a:tileRect/>
      </a:gra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lt1"/>
    </cs:fontRef>
    <cs:spPr/>
    <cs:defRPr sz="133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solidFill>
        <a:schemeClr val="dk1">
          <a:lumMod val="65000"/>
          <a:lumOff val="35000"/>
          <a:alpha val="75000"/>
        </a:schemeClr>
      </a:solidFill>
    </cs:spPr>
    <cs:defRPr sz="133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100000">
            <a:schemeClr val="phClr">
              <a:lumMod val="84000"/>
            </a:schemeClr>
          </a:gs>
        </a:gsLst>
        <a:lin ang="5400000" scaled="1"/>
      </a:gradFill>
      <a:effectLst>
        <a:outerShdw blurRad="76200" dir="18900000" sy="23000" kx="-1200000" algn="bl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100000">
            <a:schemeClr val="phClr">
              <a:lumMod val="84000"/>
            </a:schemeClr>
          </a:gs>
        </a:gsLst>
        <a:lin ang="5400000" scaled="1"/>
      </a:gradFill>
      <a:effectLst>
        <a:outerShdw blurRad="76200" dir="18900000" sy="23000" kx="-1200000" algn="bl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gradFill>
          <a:gsLst>
            <a:gs pos="0">
              <a:schemeClr val="phClr"/>
            </a:gs>
            <a:gs pos="100000">
              <a:schemeClr val="phClr">
                <a:lumMod val="84000"/>
              </a:schemeClr>
            </a:gs>
          </a:gsLst>
          <a:lin ang="5400000" scaled="1"/>
        </a:gra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100000">
            <a:schemeClr val="phClr">
              <a:lumMod val="84000"/>
            </a:schemeClr>
          </a:gs>
        </a:gsLst>
        <a:lin ang="5400000" scaled="1"/>
      </a:gradFill>
      <a:effectLst>
        <a:outerShdw blurRad="76200" dir="18900000" sy="23000" kx="-1200000" algn="bl" rotWithShape="0">
          <a:prstClr val="black">
            <a:alpha val="20000"/>
          </a:prstClr>
        </a:outerShdw>
      </a:effectLst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>
        <a:solidFill>
          <a:schemeClr val="dk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35000"/>
          <a:lumOff val="65000"/>
        </a:schemeClr>
      </a:solidFill>
      <a:ln w="9525">
        <a:solidFill>
          <a:schemeClr val="dk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dk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65000"/>
        <a:lumOff val="35000"/>
      </a:schemeClr>
    </cs:fontRef>
    <cs:defRPr kern="1200">
      <a:effectLst/>
    </cs:defRPr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>
          <a:lumMod val="95000"/>
        </a:schemeClr>
      </a:solidFill>
      <a:ln w="9525">
        <a:solidFill>
          <a:schemeClr val="dk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04">
  <cs:axisTitle>
    <cs:lnRef idx="0"/>
    <cs:fillRef idx="0"/>
    <cs:effectRef idx="0"/>
    <cs:fontRef idx="minor">
      <a:schemeClr val="dk1">
        <a:lumMod val="65000"/>
        <a:lumOff val="3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>
      <a:effectLst/>
    </cs:defRPr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68000">
            <a:schemeClr val="lt1">
              <a:lumMod val="85000"/>
            </a:schemeClr>
          </a:gs>
          <a:gs pos="100000">
            <a:schemeClr val="lt1"/>
          </a:gs>
        </a:gsLst>
        <a:lin ang="5400000" scaled="1"/>
        <a:tileRect/>
      </a:gra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lt1"/>
    </cs:fontRef>
    <cs:spPr/>
    <cs:defRPr sz="133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solidFill>
        <a:schemeClr val="dk1">
          <a:lumMod val="65000"/>
          <a:lumOff val="35000"/>
          <a:alpha val="75000"/>
        </a:schemeClr>
      </a:solidFill>
    </cs:spPr>
    <cs:defRPr sz="133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100000">
            <a:schemeClr val="phClr">
              <a:lumMod val="84000"/>
            </a:schemeClr>
          </a:gs>
        </a:gsLst>
        <a:lin ang="5400000" scaled="1"/>
      </a:gradFill>
      <a:effectLst>
        <a:outerShdw blurRad="76200" dir="18900000" sy="23000" kx="-1200000" algn="bl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100000">
            <a:schemeClr val="phClr">
              <a:lumMod val="84000"/>
            </a:schemeClr>
          </a:gs>
        </a:gsLst>
        <a:lin ang="5400000" scaled="1"/>
      </a:gradFill>
      <a:effectLst>
        <a:outerShdw blurRad="76200" dir="18900000" sy="23000" kx="-1200000" algn="bl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gradFill>
          <a:gsLst>
            <a:gs pos="0">
              <a:schemeClr val="phClr"/>
            </a:gs>
            <a:gs pos="100000">
              <a:schemeClr val="phClr">
                <a:lumMod val="84000"/>
              </a:schemeClr>
            </a:gs>
          </a:gsLst>
          <a:lin ang="5400000" scaled="1"/>
        </a:gra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100000">
            <a:schemeClr val="phClr">
              <a:lumMod val="84000"/>
            </a:schemeClr>
          </a:gs>
        </a:gsLst>
        <a:lin ang="5400000" scaled="1"/>
      </a:gradFill>
      <a:effectLst>
        <a:outerShdw blurRad="76200" dir="18900000" sy="23000" kx="-1200000" algn="bl" rotWithShape="0">
          <a:prstClr val="black">
            <a:alpha val="20000"/>
          </a:prstClr>
        </a:outerShdw>
      </a:effectLst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>
        <a:solidFill>
          <a:schemeClr val="dk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35000"/>
          <a:lumOff val="65000"/>
        </a:schemeClr>
      </a:solidFill>
      <a:ln w="9525">
        <a:solidFill>
          <a:schemeClr val="dk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dk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65000"/>
        <a:lumOff val="35000"/>
      </a:schemeClr>
    </cs:fontRef>
    <cs:defRPr kern="1200">
      <a:effectLst/>
    </cs:defRPr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>
          <a:lumMod val="95000"/>
        </a:schemeClr>
      </a:solidFill>
      <a:ln w="9525">
        <a:solidFill>
          <a:schemeClr val="dk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5316C6B-21CB-431E-9FA9-2ABDEF37260E}" type="doc">
      <dgm:prSet loTypeId="urn:microsoft.com/office/officeart/2005/8/layout/process1" loCatId="process" qsTypeId="urn:microsoft.com/office/officeart/2005/8/quickstyle/simple1" qsCatId="simple" csTypeId="urn:microsoft.com/office/officeart/2005/8/colors/colorful1" csCatId="colorful" phldr="1"/>
      <dgm:spPr/>
    </dgm:pt>
    <dgm:pt modelId="{FE8ECAFD-D0A8-4D6B-A666-A157883A2E27}">
      <dgm:prSet phldrT="[Texto]" custT="1"/>
      <dgm:spPr/>
      <dgm:t>
        <a:bodyPr/>
        <a:lstStyle/>
        <a:p>
          <a:r>
            <a:rPr lang="es-PE" sz="1800" dirty="0"/>
            <a:t>Generación de empleo</a:t>
          </a:r>
        </a:p>
      </dgm:t>
    </dgm:pt>
    <dgm:pt modelId="{64E68CC3-4597-4371-8C40-41BF33C6D8EB}" type="parTrans" cxnId="{033BBD11-140C-4402-B486-D989DF85A5D1}">
      <dgm:prSet/>
      <dgm:spPr/>
      <dgm:t>
        <a:bodyPr/>
        <a:lstStyle/>
        <a:p>
          <a:endParaRPr lang="es-PE" sz="1400"/>
        </a:p>
      </dgm:t>
    </dgm:pt>
    <dgm:pt modelId="{00CA9651-54AE-4B19-8E34-1F5A936406D0}" type="sibTrans" cxnId="{033BBD11-140C-4402-B486-D989DF85A5D1}">
      <dgm:prSet custT="1"/>
      <dgm:spPr/>
      <dgm:t>
        <a:bodyPr/>
        <a:lstStyle/>
        <a:p>
          <a:endParaRPr lang="es-PE" sz="1600"/>
        </a:p>
      </dgm:t>
    </dgm:pt>
    <dgm:pt modelId="{F46C1857-541E-440F-B874-AC78DB143C52}">
      <dgm:prSet phldrT="[Texto]" custT="1"/>
      <dgm:spPr/>
      <dgm:t>
        <a:bodyPr/>
        <a:lstStyle/>
        <a:p>
          <a:r>
            <a:rPr lang="es-PE" sz="1800" dirty="0"/>
            <a:t>Crecimiento</a:t>
          </a:r>
        </a:p>
      </dgm:t>
    </dgm:pt>
    <dgm:pt modelId="{E8A51895-70B5-4127-B2E2-D62F0C369ADB}" type="parTrans" cxnId="{3667015A-8C49-4C90-9363-2B9123212232}">
      <dgm:prSet/>
      <dgm:spPr/>
      <dgm:t>
        <a:bodyPr/>
        <a:lstStyle/>
        <a:p>
          <a:endParaRPr lang="es-PE" sz="1400"/>
        </a:p>
      </dgm:t>
    </dgm:pt>
    <dgm:pt modelId="{9B8C11FE-9BFD-4F6F-94DD-3F21D7818E10}" type="sibTrans" cxnId="{3667015A-8C49-4C90-9363-2B9123212232}">
      <dgm:prSet custT="1"/>
      <dgm:spPr/>
      <dgm:t>
        <a:bodyPr/>
        <a:lstStyle/>
        <a:p>
          <a:endParaRPr lang="es-PE" sz="1600"/>
        </a:p>
      </dgm:t>
    </dgm:pt>
    <dgm:pt modelId="{0CB2D3D1-625B-48BF-99C4-AEA5A3BBAE0E}">
      <dgm:prSet phldrT="[Texto]" custT="1"/>
      <dgm:spPr/>
      <dgm:t>
        <a:bodyPr/>
        <a:lstStyle/>
        <a:p>
          <a:r>
            <a:rPr lang="es-PE" sz="1800" dirty="0"/>
            <a:t>Beneficios económicos</a:t>
          </a:r>
        </a:p>
      </dgm:t>
    </dgm:pt>
    <dgm:pt modelId="{58FEEB22-77AB-43C6-AB54-DDD2305BB806}" type="parTrans" cxnId="{4013687B-606E-4696-BA29-6578A5CE4511}">
      <dgm:prSet/>
      <dgm:spPr/>
      <dgm:t>
        <a:bodyPr/>
        <a:lstStyle/>
        <a:p>
          <a:endParaRPr lang="es-PE" sz="1400"/>
        </a:p>
      </dgm:t>
    </dgm:pt>
    <dgm:pt modelId="{922D7E72-FD3C-4E4F-999A-EBDCABEA7038}" type="sibTrans" cxnId="{4013687B-606E-4696-BA29-6578A5CE4511}">
      <dgm:prSet/>
      <dgm:spPr/>
      <dgm:t>
        <a:bodyPr/>
        <a:lstStyle/>
        <a:p>
          <a:endParaRPr lang="es-PE" sz="1400"/>
        </a:p>
      </dgm:t>
    </dgm:pt>
    <dgm:pt modelId="{CDF7C090-8A52-4B36-8D13-45F24E340E45}" type="pres">
      <dgm:prSet presAssocID="{45316C6B-21CB-431E-9FA9-2ABDEF37260E}" presName="Name0" presStyleCnt="0">
        <dgm:presLayoutVars>
          <dgm:dir/>
          <dgm:resizeHandles val="exact"/>
        </dgm:presLayoutVars>
      </dgm:prSet>
      <dgm:spPr/>
    </dgm:pt>
    <dgm:pt modelId="{3DA9155F-152E-4133-A334-00D6DDD50883}" type="pres">
      <dgm:prSet presAssocID="{FE8ECAFD-D0A8-4D6B-A666-A157883A2E27}" presName="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6DA1F521-E4E2-436A-BE4D-16026C3FE3E1}" type="pres">
      <dgm:prSet presAssocID="{00CA9651-54AE-4B19-8E34-1F5A936406D0}" presName="sibTrans" presStyleLbl="sibTrans2D1" presStyleIdx="0" presStyleCnt="2"/>
      <dgm:spPr/>
      <dgm:t>
        <a:bodyPr/>
        <a:lstStyle/>
        <a:p>
          <a:endParaRPr lang="es-PE"/>
        </a:p>
      </dgm:t>
    </dgm:pt>
    <dgm:pt modelId="{D1DCE0E7-6C15-4DF5-985C-B7AE607D4D87}" type="pres">
      <dgm:prSet presAssocID="{00CA9651-54AE-4B19-8E34-1F5A936406D0}" presName="connectorText" presStyleLbl="sibTrans2D1" presStyleIdx="0" presStyleCnt="2"/>
      <dgm:spPr/>
      <dgm:t>
        <a:bodyPr/>
        <a:lstStyle/>
        <a:p>
          <a:endParaRPr lang="es-PE"/>
        </a:p>
      </dgm:t>
    </dgm:pt>
    <dgm:pt modelId="{497A61C7-36F6-4B48-BF29-E11A80732CE0}" type="pres">
      <dgm:prSet presAssocID="{F46C1857-541E-440F-B874-AC78DB143C52}" presName="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A6675A8E-85A8-480E-B5E1-B77A55F4FE7F}" type="pres">
      <dgm:prSet presAssocID="{9B8C11FE-9BFD-4F6F-94DD-3F21D7818E10}" presName="sibTrans" presStyleLbl="sibTrans2D1" presStyleIdx="1" presStyleCnt="2"/>
      <dgm:spPr/>
      <dgm:t>
        <a:bodyPr/>
        <a:lstStyle/>
        <a:p>
          <a:endParaRPr lang="es-PE"/>
        </a:p>
      </dgm:t>
    </dgm:pt>
    <dgm:pt modelId="{CB6E6810-977D-47F2-BA41-720F41381279}" type="pres">
      <dgm:prSet presAssocID="{9B8C11FE-9BFD-4F6F-94DD-3F21D7818E10}" presName="connectorText" presStyleLbl="sibTrans2D1" presStyleIdx="1" presStyleCnt="2"/>
      <dgm:spPr/>
      <dgm:t>
        <a:bodyPr/>
        <a:lstStyle/>
        <a:p>
          <a:endParaRPr lang="es-PE"/>
        </a:p>
      </dgm:t>
    </dgm:pt>
    <dgm:pt modelId="{D5FF8EAA-FC20-456C-95E5-7F42914DA5E9}" type="pres">
      <dgm:prSet presAssocID="{0CB2D3D1-625B-48BF-99C4-AEA5A3BBAE0E}" presName="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s-PE"/>
        </a:p>
      </dgm:t>
    </dgm:pt>
  </dgm:ptLst>
  <dgm:cxnLst>
    <dgm:cxn modelId="{19C84F3A-86A1-45E4-B0EF-7C15A08BB784}" type="presOf" srcId="{45316C6B-21CB-431E-9FA9-2ABDEF37260E}" destId="{CDF7C090-8A52-4B36-8D13-45F24E340E45}" srcOrd="0" destOrd="0" presId="urn:microsoft.com/office/officeart/2005/8/layout/process1"/>
    <dgm:cxn modelId="{A852C1AA-871A-440E-A84A-5490679F69D1}" type="presOf" srcId="{00CA9651-54AE-4B19-8E34-1F5A936406D0}" destId="{D1DCE0E7-6C15-4DF5-985C-B7AE607D4D87}" srcOrd="1" destOrd="0" presId="urn:microsoft.com/office/officeart/2005/8/layout/process1"/>
    <dgm:cxn modelId="{1F4AFCF9-4FA5-4E63-A595-A6B76BACB9F6}" type="presOf" srcId="{00CA9651-54AE-4B19-8E34-1F5A936406D0}" destId="{6DA1F521-E4E2-436A-BE4D-16026C3FE3E1}" srcOrd="0" destOrd="0" presId="urn:microsoft.com/office/officeart/2005/8/layout/process1"/>
    <dgm:cxn modelId="{0FB2F15C-5DED-48CC-8618-DD1D609831D1}" type="presOf" srcId="{9B8C11FE-9BFD-4F6F-94DD-3F21D7818E10}" destId="{CB6E6810-977D-47F2-BA41-720F41381279}" srcOrd="1" destOrd="0" presId="urn:microsoft.com/office/officeart/2005/8/layout/process1"/>
    <dgm:cxn modelId="{B5776EEA-6EC7-489E-9C12-9A84C98BAF73}" type="presOf" srcId="{0CB2D3D1-625B-48BF-99C4-AEA5A3BBAE0E}" destId="{D5FF8EAA-FC20-456C-95E5-7F42914DA5E9}" srcOrd="0" destOrd="0" presId="urn:microsoft.com/office/officeart/2005/8/layout/process1"/>
    <dgm:cxn modelId="{5A825915-6E82-4568-9DD0-CC6C8A9791B9}" type="presOf" srcId="{9B8C11FE-9BFD-4F6F-94DD-3F21D7818E10}" destId="{A6675A8E-85A8-480E-B5E1-B77A55F4FE7F}" srcOrd="0" destOrd="0" presId="urn:microsoft.com/office/officeart/2005/8/layout/process1"/>
    <dgm:cxn modelId="{D4BFB7D1-F17B-4A9E-BCE7-7A9A9EE2D1D8}" type="presOf" srcId="{FE8ECAFD-D0A8-4D6B-A666-A157883A2E27}" destId="{3DA9155F-152E-4133-A334-00D6DDD50883}" srcOrd="0" destOrd="0" presId="urn:microsoft.com/office/officeart/2005/8/layout/process1"/>
    <dgm:cxn modelId="{4013687B-606E-4696-BA29-6578A5CE4511}" srcId="{45316C6B-21CB-431E-9FA9-2ABDEF37260E}" destId="{0CB2D3D1-625B-48BF-99C4-AEA5A3BBAE0E}" srcOrd="2" destOrd="0" parTransId="{58FEEB22-77AB-43C6-AB54-DDD2305BB806}" sibTransId="{922D7E72-FD3C-4E4F-999A-EBDCABEA7038}"/>
    <dgm:cxn modelId="{1F98D26C-F61F-41C6-95A0-FE9E17D53A4C}" type="presOf" srcId="{F46C1857-541E-440F-B874-AC78DB143C52}" destId="{497A61C7-36F6-4B48-BF29-E11A80732CE0}" srcOrd="0" destOrd="0" presId="urn:microsoft.com/office/officeart/2005/8/layout/process1"/>
    <dgm:cxn modelId="{033BBD11-140C-4402-B486-D989DF85A5D1}" srcId="{45316C6B-21CB-431E-9FA9-2ABDEF37260E}" destId="{FE8ECAFD-D0A8-4D6B-A666-A157883A2E27}" srcOrd="0" destOrd="0" parTransId="{64E68CC3-4597-4371-8C40-41BF33C6D8EB}" sibTransId="{00CA9651-54AE-4B19-8E34-1F5A936406D0}"/>
    <dgm:cxn modelId="{3667015A-8C49-4C90-9363-2B9123212232}" srcId="{45316C6B-21CB-431E-9FA9-2ABDEF37260E}" destId="{F46C1857-541E-440F-B874-AC78DB143C52}" srcOrd="1" destOrd="0" parTransId="{E8A51895-70B5-4127-B2E2-D62F0C369ADB}" sibTransId="{9B8C11FE-9BFD-4F6F-94DD-3F21D7818E10}"/>
    <dgm:cxn modelId="{17932BE3-5CF5-4501-93B9-E05DF20B0E8F}" type="presParOf" srcId="{CDF7C090-8A52-4B36-8D13-45F24E340E45}" destId="{3DA9155F-152E-4133-A334-00D6DDD50883}" srcOrd="0" destOrd="0" presId="urn:microsoft.com/office/officeart/2005/8/layout/process1"/>
    <dgm:cxn modelId="{AC4B8A49-B0B3-43C5-9272-16B48644D559}" type="presParOf" srcId="{CDF7C090-8A52-4B36-8D13-45F24E340E45}" destId="{6DA1F521-E4E2-436A-BE4D-16026C3FE3E1}" srcOrd="1" destOrd="0" presId="urn:microsoft.com/office/officeart/2005/8/layout/process1"/>
    <dgm:cxn modelId="{D9AAE895-AC2A-4BC7-8199-1DAAA9A7FC34}" type="presParOf" srcId="{6DA1F521-E4E2-436A-BE4D-16026C3FE3E1}" destId="{D1DCE0E7-6C15-4DF5-985C-B7AE607D4D87}" srcOrd="0" destOrd="0" presId="urn:microsoft.com/office/officeart/2005/8/layout/process1"/>
    <dgm:cxn modelId="{409577CA-8A46-4230-8DC6-B7154D4B6464}" type="presParOf" srcId="{CDF7C090-8A52-4B36-8D13-45F24E340E45}" destId="{497A61C7-36F6-4B48-BF29-E11A80732CE0}" srcOrd="2" destOrd="0" presId="urn:microsoft.com/office/officeart/2005/8/layout/process1"/>
    <dgm:cxn modelId="{5E46D4EE-3B8C-4332-AC18-C616CA69C9EB}" type="presParOf" srcId="{CDF7C090-8A52-4B36-8D13-45F24E340E45}" destId="{A6675A8E-85A8-480E-B5E1-B77A55F4FE7F}" srcOrd="3" destOrd="0" presId="urn:microsoft.com/office/officeart/2005/8/layout/process1"/>
    <dgm:cxn modelId="{E09DC1D0-2F91-4F75-A350-E6B49C28E3DE}" type="presParOf" srcId="{A6675A8E-85A8-480E-B5E1-B77A55F4FE7F}" destId="{CB6E6810-977D-47F2-BA41-720F41381279}" srcOrd="0" destOrd="0" presId="urn:microsoft.com/office/officeart/2005/8/layout/process1"/>
    <dgm:cxn modelId="{13F4ECDA-23D6-429E-A7D3-5BF197CE92FF}" type="presParOf" srcId="{CDF7C090-8A52-4B36-8D13-45F24E340E45}" destId="{D5FF8EAA-FC20-456C-95E5-7F42914DA5E9}" srcOrd="4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DA9155F-152E-4133-A334-00D6DDD50883}">
      <dsp:nvSpPr>
        <dsp:cNvPr id="0" name=""/>
        <dsp:cNvSpPr/>
      </dsp:nvSpPr>
      <dsp:spPr>
        <a:xfrm>
          <a:off x="9468" y="0"/>
          <a:ext cx="1818726" cy="592484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sz="1800" kern="1200" dirty="0"/>
            <a:t>Generación de empleo</a:t>
          </a:r>
        </a:p>
      </dsp:txBody>
      <dsp:txXfrm>
        <a:off x="26821" y="17353"/>
        <a:ext cx="1784020" cy="557778"/>
      </dsp:txXfrm>
    </dsp:sp>
    <dsp:sp modelId="{6DA1F521-E4E2-436A-BE4D-16026C3FE3E1}">
      <dsp:nvSpPr>
        <dsp:cNvPr id="0" name=""/>
        <dsp:cNvSpPr/>
      </dsp:nvSpPr>
      <dsp:spPr>
        <a:xfrm>
          <a:off x="2010067" y="70720"/>
          <a:ext cx="385569" cy="451044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PE" sz="1600" kern="1200"/>
        </a:p>
      </dsp:txBody>
      <dsp:txXfrm>
        <a:off x="2010067" y="160929"/>
        <a:ext cx="269898" cy="270626"/>
      </dsp:txXfrm>
    </dsp:sp>
    <dsp:sp modelId="{497A61C7-36F6-4B48-BF29-E11A80732CE0}">
      <dsp:nvSpPr>
        <dsp:cNvPr id="0" name=""/>
        <dsp:cNvSpPr/>
      </dsp:nvSpPr>
      <dsp:spPr>
        <a:xfrm>
          <a:off x="2555685" y="0"/>
          <a:ext cx="1818726" cy="592484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sz="1800" kern="1200" dirty="0"/>
            <a:t>Crecimiento</a:t>
          </a:r>
        </a:p>
      </dsp:txBody>
      <dsp:txXfrm>
        <a:off x="2573038" y="17353"/>
        <a:ext cx="1784020" cy="557778"/>
      </dsp:txXfrm>
    </dsp:sp>
    <dsp:sp modelId="{A6675A8E-85A8-480E-B5E1-B77A55F4FE7F}">
      <dsp:nvSpPr>
        <dsp:cNvPr id="0" name=""/>
        <dsp:cNvSpPr/>
      </dsp:nvSpPr>
      <dsp:spPr>
        <a:xfrm>
          <a:off x="4556284" y="70720"/>
          <a:ext cx="385569" cy="451044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PE" sz="1600" kern="1200"/>
        </a:p>
      </dsp:txBody>
      <dsp:txXfrm>
        <a:off x="4556284" y="160929"/>
        <a:ext cx="269898" cy="270626"/>
      </dsp:txXfrm>
    </dsp:sp>
    <dsp:sp modelId="{D5FF8EAA-FC20-456C-95E5-7F42914DA5E9}">
      <dsp:nvSpPr>
        <dsp:cNvPr id="0" name=""/>
        <dsp:cNvSpPr/>
      </dsp:nvSpPr>
      <dsp:spPr>
        <a:xfrm>
          <a:off x="5101902" y="0"/>
          <a:ext cx="1818726" cy="592484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PE" sz="1800" kern="1200" dirty="0"/>
            <a:t>Beneficios económicos</a:t>
          </a:r>
        </a:p>
      </dsp:txBody>
      <dsp:txXfrm>
        <a:off x="5119255" y="17353"/>
        <a:ext cx="1784020" cy="55777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37654</cdr:x>
      <cdr:y>0.45716</cdr:y>
    </cdr:from>
    <cdr:to>
      <cdr:x>0.43885</cdr:x>
      <cdr:y>0.61228</cdr:y>
    </cdr:to>
    <cdr:sp macro="" textlink="">
      <cdr:nvSpPr>
        <cdr:cNvPr id="2" name="Elipse 1">
          <a:extLst xmlns:a="http://schemas.openxmlformats.org/drawingml/2006/main">
            <a:ext uri="{FF2B5EF4-FFF2-40B4-BE49-F238E27FC236}">
              <a16:creationId xmlns="" xmlns:a16="http://schemas.microsoft.com/office/drawing/2014/main" id="{297E7C9F-2A9A-49D2-834C-08208643B7C2}"/>
            </a:ext>
          </a:extLst>
        </cdr:cNvPr>
        <cdr:cNvSpPr/>
      </cdr:nvSpPr>
      <cdr:spPr>
        <a:xfrm xmlns:a="http://schemas.openxmlformats.org/drawingml/2006/main">
          <a:off x="4371366" y="2172982"/>
          <a:ext cx="723367" cy="737311"/>
        </a:xfrm>
        <a:prstGeom xmlns:a="http://schemas.openxmlformats.org/drawingml/2006/main" prst="ellipse">
          <a:avLst/>
        </a:prstGeom>
        <a:solidFill xmlns:a="http://schemas.openxmlformats.org/drawingml/2006/main">
          <a:schemeClr val="bg1">
            <a:alpha val="79000"/>
          </a:schemeClr>
        </a:solidFill>
        <a:ln xmlns:a="http://schemas.openxmlformats.org/drawingml/2006/main">
          <a:solidFill>
            <a:schemeClr val="bg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defPPr>
            <a:defRPr lang="es-PE"/>
          </a:defPPr>
          <a:lvl1pPr marL="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endParaRPr lang="es-PE" dirty="0"/>
        </a:p>
      </cdr:txBody>
    </cdr:sp>
  </cdr:relSizeAnchor>
  <cdr:relSizeAnchor xmlns:cdr="http://schemas.openxmlformats.org/drawingml/2006/chartDrawing">
    <cdr:from>
      <cdr:x>0.37794</cdr:x>
      <cdr:y>0.48272</cdr:y>
    </cdr:from>
    <cdr:to>
      <cdr:x>0.43885</cdr:x>
      <cdr:y>0.57985</cdr:y>
    </cdr:to>
    <cdr:sp macro="" textlink="">
      <cdr:nvSpPr>
        <cdr:cNvPr id="3" name="CuadroTexto 48">
          <a:extLst xmlns:a="http://schemas.openxmlformats.org/drawingml/2006/main">
            <a:ext uri="{FF2B5EF4-FFF2-40B4-BE49-F238E27FC236}">
              <a16:creationId xmlns="" xmlns:a16="http://schemas.microsoft.com/office/drawing/2014/main" id="{50C582CF-DCD8-4479-AB3F-D63C8D19B7E3}"/>
            </a:ext>
          </a:extLst>
        </cdr:cNvPr>
        <cdr:cNvSpPr txBox="1"/>
      </cdr:nvSpPr>
      <cdr:spPr>
        <a:xfrm xmlns:a="http://schemas.openxmlformats.org/drawingml/2006/main">
          <a:off x="4387619" y="2294457"/>
          <a:ext cx="707114" cy="461675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es-PE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s-PE" sz="2400" b="1" dirty="0">
              <a:solidFill>
                <a:srgbClr val="C00000"/>
              </a:solidFill>
              <a:latin typeface="Candara" panose="020E0502030303020204" pitchFamily="34" charset="0"/>
            </a:rPr>
            <a:t>11%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s-PE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FD711F13-A32C-420B-80B2-DC697B8F6740}" type="datetimeFigureOut">
              <a:rPr lang="es-PE" smtClean="0"/>
              <a:t>18/06/2018</a:t>
            </a:fld>
            <a:endParaRPr lang="es-PE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s-PE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s-PE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0DBB8112-4C88-4752-B5D5-DE6B8ADEFD9F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5543245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BB8112-4C88-4752-B5D5-DE6B8ADEFD9F}" type="slidenum">
              <a:rPr lang="es-PE" smtClean="0"/>
              <a:t>1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56109586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9CA0AD5-8057-470B-9287-AFD775D27527}" type="slidenum">
              <a:rPr lang="es-PE" altLang="es-PE" smtClean="0">
                <a:solidFill>
                  <a:prstClr val="black"/>
                </a:solidFill>
              </a:rPr>
              <a:pPr>
                <a:defRPr/>
              </a:pPr>
              <a:t>10</a:t>
            </a:fld>
            <a:endParaRPr lang="es-PE" altLang="es-P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490619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spcAft>
                <a:spcPts val="610"/>
              </a:spcAft>
            </a:pPr>
            <a:endParaRPr lang="es-PE" sz="1100" dirty="0">
              <a:solidFill>
                <a:prstClr val="black"/>
              </a:solidFill>
              <a:latin typeface="+mn-lt"/>
              <a:ea typeface="Times New Roman" panose="02020603050405020304" pitchFamily="18" charset="0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9CA0AD5-8057-470B-9287-AFD775D27527}" type="slidenum">
              <a:rPr lang="es-PE" altLang="es-PE" smtClean="0">
                <a:solidFill>
                  <a:prstClr val="black"/>
                </a:solidFill>
              </a:rPr>
              <a:pPr>
                <a:defRPr/>
              </a:pPr>
              <a:t>13</a:t>
            </a:fld>
            <a:endParaRPr lang="es-PE" altLang="es-P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314793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BB8112-4C88-4752-B5D5-DE6B8ADEFD9F}" type="slidenum">
              <a:rPr lang="es-PE" smtClean="0">
                <a:solidFill>
                  <a:prstClr val="black"/>
                </a:solidFill>
              </a:rPr>
              <a:pPr/>
              <a:t>14</a:t>
            </a:fld>
            <a:endParaRPr lang="es-P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34664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637564-B177-42DF-84B4-289D2B2011A5}" type="slidenum">
              <a:rPr lang="es-PE" smtClean="0">
                <a:solidFill>
                  <a:prstClr val="black"/>
                </a:solidFill>
              </a:rPr>
              <a:pPr/>
              <a:t>2</a:t>
            </a:fld>
            <a:endParaRPr lang="es-P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69646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CFF2143-91AC-F042-A553-2D70181264C2}" type="slidenum">
              <a:rPr lang="es-ES_tradnl" smtClean="0">
                <a:solidFill>
                  <a:prstClr val="black"/>
                </a:solidFill>
              </a:rPr>
              <a:pPr/>
              <a:t>3</a:t>
            </a:fld>
            <a:endParaRPr lang="es-ES_tradnl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073498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endParaRPr lang="es-PE" b="0" baseline="0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CFF2143-91AC-F042-A553-2D70181264C2}" type="slidenum">
              <a:rPr lang="es-ES_tradnl" smtClean="0">
                <a:solidFill>
                  <a:prstClr val="black"/>
                </a:solidFill>
              </a:rPr>
              <a:pPr/>
              <a:t>4</a:t>
            </a:fld>
            <a:endParaRPr lang="es-ES_tradnl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661104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 b="1" baseline="0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CFF2143-91AC-F042-A553-2D70181264C2}" type="slidenum">
              <a:rPr lang="es-ES_tradnl" smtClean="0">
                <a:solidFill>
                  <a:prstClr val="black"/>
                </a:solidFill>
              </a:rPr>
              <a:pPr/>
              <a:t>5</a:t>
            </a:fld>
            <a:endParaRPr lang="es-ES_tradnl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566797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 sz="1100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CFF2143-91AC-F042-A553-2D70181264C2}" type="slidenum">
              <a:rPr lang="es-ES_tradnl" smtClean="0">
                <a:solidFill>
                  <a:prstClr val="black"/>
                </a:solidFill>
              </a:rPr>
              <a:pPr/>
              <a:t>6</a:t>
            </a:fld>
            <a:endParaRPr lang="es-ES_tradn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184475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BB8112-4C88-4752-B5D5-DE6B8ADEFD9F}" type="slidenum">
              <a:rPr lang="es-PE" smtClean="0"/>
              <a:t>7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85340211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31774">
              <a:defRPr/>
            </a:pPr>
            <a:endParaRPr lang="es-419" sz="1100" kern="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A6FC859-1BBA-4DE5-9E76-136E94A7EDA5}" type="slidenum">
              <a:rPr lang="es-PE" smtClean="0">
                <a:solidFill>
                  <a:prstClr val="black"/>
                </a:solidFill>
              </a:rPr>
              <a:pPr/>
              <a:t>8</a:t>
            </a:fld>
            <a:endParaRPr lang="es-P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397018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2326938-0536-4B88-9AB9-038CAF9FD19E}" type="slidenum">
              <a:rPr lang="es-MX" smtClean="0">
                <a:solidFill>
                  <a:prstClr val="black"/>
                </a:solidFill>
              </a:rPr>
              <a:pPr/>
              <a:t>9</a:t>
            </a:fld>
            <a:endParaRPr lang="es-MX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09951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PE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536629-6997-4471-AFE2-2A30B4CDEC22}" type="datetimeFigureOut">
              <a:rPr lang="es-PE" smtClean="0"/>
              <a:t>18/06/2018</a:t>
            </a:fld>
            <a:endParaRPr lang="es-PE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ADAC2-E0AE-4364-9465-F13D64E22409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1203188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536629-6997-4471-AFE2-2A30B4CDEC22}" type="datetimeFigureOut">
              <a:rPr lang="es-PE" smtClean="0"/>
              <a:t>18/06/2018</a:t>
            </a:fld>
            <a:endParaRPr lang="es-PE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ADAC2-E0AE-4364-9465-F13D64E22409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4524069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536629-6997-4471-AFE2-2A30B4CDEC22}" type="datetimeFigureOut">
              <a:rPr lang="es-PE" smtClean="0"/>
              <a:t>18/06/2018</a:t>
            </a:fld>
            <a:endParaRPr lang="es-PE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ADAC2-E0AE-4364-9465-F13D64E22409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40017625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0" y="6858000"/>
                </a:moveTo>
                <a:lnTo>
                  <a:pt x="12192000" y="6858000"/>
                </a:lnTo>
                <a:lnTo>
                  <a:pt x="12192000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solidFill>
            <a:srgbClr val="F6F6F6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78730570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PE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CA4E0AE-CED9-4024-8CA3-7BEE26132355}" type="datetimeFigureOut">
              <a:rPr lang="es-PE" altLang="es-ES"/>
              <a:pPr>
                <a:defRPr/>
              </a:pPr>
              <a:t>18/06/2018</a:t>
            </a:fld>
            <a:endParaRPr lang="es-PE" alt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 alt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24C1915-067F-4FE9-8BE8-86BC74640F04}" type="slidenum">
              <a:rPr lang="es-PE" altLang="es-PE"/>
              <a:pPr>
                <a:defRPr/>
              </a:pPr>
              <a:t>‹Nº›</a:t>
            </a:fld>
            <a:endParaRPr lang="es-PE" altLang="es-PE"/>
          </a:p>
        </p:txBody>
      </p:sp>
    </p:spTree>
    <p:extLst>
      <p:ext uri="{BB962C8B-B14F-4D97-AF65-F5344CB8AC3E}">
        <p14:creationId xmlns:p14="http://schemas.microsoft.com/office/powerpoint/2010/main" val="367221360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ED2C3DC-C636-4884-A753-01A4FE18067D}" type="datetimeFigureOut">
              <a:rPr lang="es-PE" altLang="es-ES"/>
              <a:pPr>
                <a:defRPr/>
              </a:pPr>
              <a:t>18/06/2018</a:t>
            </a:fld>
            <a:endParaRPr lang="es-PE" alt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 alt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843A406-A1AD-4793-AD43-4CEA34C19305}" type="slidenum">
              <a:rPr lang="es-PE" altLang="es-PE"/>
              <a:pPr>
                <a:defRPr/>
              </a:pPr>
              <a:t>‹Nº›</a:t>
            </a:fld>
            <a:endParaRPr lang="es-PE" altLang="es-PE"/>
          </a:p>
        </p:txBody>
      </p:sp>
    </p:spTree>
    <p:extLst>
      <p:ext uri="{BB962C8B-B14F-4D97-AF65-F5344CB8AC3E}">
        <p14:creationId xmlns:p14="http://schemas.microsoft.com/office/powerpoint/2010/main" val="330302207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4547881-F2C0-497A-A296-EC372F6B526A}" type="datetimeFigureOut">
              <a:rPr lang="es-PE" altLang="es-ES"/>
              <a:pPr>
                <a:defRPr/>
              </a:pPr>
              <a:t>18/06/2018</a:t>
            </a:fld>
            <a:endParaRPr lang="es-PE" alt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 alt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4227275-5D09-472A-8C3A-ABFB106F9F17}" type="slidenum">
              <a:rPr lang="es-PE" altLang="es-PE"/>
              <a:pPr>
                <a:defRPr/>
              </a:pPr>
              <a:t>‹Nº›</a:t>
            </a:fld>
            <a:endParaRPr lang="es-PE" altLang="es-PE"/>
          </a:p>
        </p:txBody>
      </p:sp>
    </p:spTree>
    <p:extLst>
      <p:ext uri="{BB962C8B-B14F-4D97-AF65-F5344CB8AC3E}">
        <p14:creationId xmlns:p14="http://schemas.microsoft.com/office/powerpoint/2010/main" val="36879989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5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6D993F-7D6F-43A4-8DA7-572AFDC749BC}" type="datetimeFigureOut">
              <a:rPr lang="es-PE" altLang="es-ES"/>
              <a:pPr>
                <a:defRPr/>
              </a:pPr>
              <a:t>18/06/2018</a:t>
            </a:fld>
            <a:endParaRPr lang="es-PE" altLang="es-ES"/>
          </a:p>
        </p:txBody>
      </p:sp>
      <p:sp>
        <p:nvSpPr>
          <p:cNvPr id="6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 altLang="es-ES"/>
          </a:p>
        </p:txBody>
      </p:sp>
      <p:sp>
        <p:nvSpPr>
          <p:cNvPr id="7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96A829B-23FD-4A4B-B14B-C4FAA3BC6133}" type="slidenum">
              <a:rPr lang="es-PE" altLang="es-PE"/>
              <a:pPr>
                <a:defRPr/>
              </a:pPr>
              <a:t>‹Nº›</a:t>
            </a:fld>
            <a:endParaRPr lang="es-PE" altLang="es-PE"/>
          </a:p>
        </p:txBody>
      </p:sp>
    </p:spTree>
    <p:extLst>
      <p:ext uri="{BB962C8B-B14F-4D97-AF65-F5344CB8AC3E}">
        <p14:creationId xmlns:p14="http://schemas.microsoft.com/office/powerpoint/2010/main" val="133808054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7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B574ECE-2553-4A30-BA0E-82F71AB14A5A}" type="datetimeFigureOut">
              <a:rPr lang="es-PE" altLang="es-ES"/>
              <a:pPr>
                <a:defRPr/>
              </a:pPr>
              <a:t>18/06/2018</a:t>
            </a:fld>
            <a:endParaRPr lang="es-PE" altLang="es-ES"/>
          </a:p>
        </p:txBody>
      </p:sp>
      <p:sp>
        <p:nvSpPr>
          <p:cNvPr id="8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 altLang="es-ES"/>
          </a:p>
        </p:txBody>
      </p:sp>
      <p:sp>
        <p:nvSpPr>
          <p:cNvPr id="9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EF43A93-7BF4-4E97-8343-352B5B1DAE63}" type="slidenum">
              <a:rPr lang="es-PE" altLang="es-PE"/>
              <a:pPr>
                <a:defRPr/>
              </a:pPr>
              <a:t>‹Nº›</a:t>
            </a:fld>
            <a:endParaRPr lang="es-PE" altLang="es-PE"/>
          </a:p>
        </p:txBody>
      </p:sp>
    </p:spTree>
    <p:extLst>
      <p:ext uri="{BB962C8B-B14F-4D97-AF65-F5344CB8AC3E}">
        <p14:creationId xmlns:p14="http://schemas.microsoft.com/office/powerpoint/2010/main" val="165137656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ABF494A-08BC-4DA5-A614-528502128387}" type="datetimeFigureOut">
              <a:rPr lang="es-PE" altLang="es-ES"/>
              <a:pPr>
                <a:defRPr/>
              </a:pPr>
              <a:t>18/06/2018</a:t>
            </a:fld>
            <a:endParaRPr lang="es-PE" altLang="es-ES"/>
          </a:p>
        </p:txBody>
      </p:sp>
      <p:sp>
        <p:nvSpPr>
          <p:cNvPr id="4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 altLang="es-ES"/>
          </a:p>
        </p:txBody>
      </p:sp>
      <p:sp>
        <p:nvSpPr>
          <p:cNvPr id="5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FA206D-3E90-46F8-85E5-CD41B2F1FBF7}" type="slidenum">
              <a:rPr lang="es-PE" altLang="es-PE"/>
              <a:pPr>
                <a:defRPr/>
              </a:pPr>
              <a:t>‹Nº›</a:t>
            </a:fld>
            <a:endParaRPr lang="es-PE" altLang="es-PE"/>
          </a:p>
        </p:txBody>
      </p:sp>
    </p:spTree>
    <p:extLst>
      <p:ext uri="{BB962C8B-B14F-4D97-AF65-F5344CB8AC3E}">
        <p14:creationId xmlns:p14="http://schemas.microsoft.com/office/powerpoint/2010/main" val="196206190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0BE2D1A-DB0D-4B5E-8A83-590BAF17260A}" type="datetimeFigureOut">
              <a:rPr lang="es-PE" altLang="es-ES"/>
              <a:pPr>
                <a:defRPr/>
              </a:pPr>
              <a:t>18/06/2018</a:t>
            </a:fld>
            <a:endParaRPr lang="es-PE" altLang="es-ES"/>
          </a:p>
        </p:txBody>
      </p:sp>
      <p:sp>
        <p:nvSpPr>
          <p:cNvPr id="3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 altLang="es-ES"/>
          </a:p>
        </p:txBody>
      </p:sp>
      <p:sp>
        <p:nvSpPr>
          <p:cNvPr id="4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ADF6065-EA59-4B17-BF71-590710F8B17E}" type="slidenum">
              <a:rPr lang="es-PE" altLang="es-PE"/>
              <a:pPr>
                <a:defRPr/>
              </a:pPr>
              <a:t>‹Nº›</a:t>
            </a:fld>
            <a:endParaRPr lang="es-PE" altLang="es-PE"/>
          </a:p>
        </p:txBody>
      </p:sp>
    </p:spTree>
    <p:extLst>
      <p:ext uri="{BB962C8B-B14F-4D97-AF65-F5344CB8AC3E}">
        <p14:creationId xmlns:p14="http://schemas.microsoft.com/office/powerpoint/2010/main" val="12835518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536629-6997-4471-AFE2-2A30B4CDEC22}" type="datetimeFigureOut">
              <a:rPr lang="es-PE" smtClean="0"/>
              <a:t>18/06/2018</a:t>
            </a:fld>
            <a:endParaRPr lang="es-PE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ADAC2-E0AE-4364-9465-F13D64E22409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62017823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28EDF6E-6DE2-4DDF-991C-A1E0F56CF4F9}" type="datetimeFigureOut">
              <a:rPr lang="es-PE" altLang="es-ES"/>
              <a:pPr>
                <a:defRPr/>
              </a:pPr>
              <a:t>18/06/2018</a:t>
            </a:fld>
            <a:endParaRPr lang="es-PE" altLang="es-ES"/>
          </a:p>
        </p:txBody>
      </p:sp>
      <p:sp>
        <p:nvSpPr>
          <p:cNvPr id="6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 altLang="es-ES"/>
          </a:p>
        </p:txBody>
      </p:sp>
      <p:sp>
        <p:nvSpPr>
          <p:cNvPr id="7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B8DCEB7-49A6-4C39-85AD-99D754028FDA}" type="slidenum">
              <a:rPr lang="es-PE" altLang="es-PE"/>
              <a:pPr>
                <a:defRPr/>
              </a:pPr>
              <a:t>‹Nº›</a:t>
            </a:fld>
            <a:endParaRPr lang="es-PE" altLang="es-PE"/>
          </a:p>
        </p:txBody>
      </p:sp>
    </p:spTree>
    <p:extLst>
      <p:ext uri="{BB962C8B-B14F-4D97-AF65-F5344CB8AC3E}">
        <p14:creationId xmlns:p14="http://schemas.microsoft.com/office/powerpoint/2010/main" val="13337814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posición de imagen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s-PE" noProof="0" dirty="0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5C46B6A-18EB-48CA-8A1E-1FB446643F68}" type="datetimeFigureOut">
              <a:rPr lang="es-PE" altLang="es-ES"/>
              <a:pPr>
                <a:defRPr/>
              </a:pPr>
              <a:t>18/06/2018</a:t>
            </a:fld>
            <a:endParaRPr lang="es-PE" altLang="es-ES"/>
          </a:p>
        </p:txBody>
      </p:sp>
      <p:sp>
        <p:nvSpPr>
          <p:cNvPr id="6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 altLang="es-ES"/>
          </a:p>
        </p:txBody>
      </p:sp>
      <p:sp>
        <p:nvSpPr>
          <p:cNvPr id="7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7B7ACE9-E89F-47D6-91DA-CDC4B3CD750E}" type="slidenum">
              <a:rPr lang="es-PE" altLang="es-PE"/>
              <a:pPr>
                <a:defRPr/>
              </a:pPr>
              <a:t>‹Nº›</a:t>
            </a:fld>
            <a:endParaRPr lang="es-PE" altLang="es-PE"/>
          </a:p>
        </p:txBody>
      </p:sp>
    </p:spTree>
    <p:extLst>
      <p:ext uri="{BB962C8B-B14F-4D97-AF65-F5344CB8AC3E}">
        <p14:creationId xmlns:p14="http://schemas.microsoft.com/office/powerpoint/2010/main" val="74586476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DA7965F-41E4-45E0-B88D-777EDE666B8B}" type="datetimeFigureOut">
              <a:rPr lang="es-PE" altLang="es-ES"/>
              <a:pPr>
                <a:defRPr/>
              </a:pPr>
              <a:t>18/06/2018</a:t>
            </a:fld>
            <a:endParaRPr lang="es-PE" alt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 alt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899BE3A-BCB1-4DA5-AB34-909DC5FA058E}" type="slidenum">
              <a:rPr lang="es-PE" altLang="es-PE"/>
              <a:pPr>
                <a:defRPr/>
              </a:pPr>
              <a:t>‹Nº›</a:t>
            </a:fld>
            <a:endParaRPr lang="es-PE" altLang="es-PE"/>
          </a:p>
        </p:txBody>
      </p:sp>
    </p:spTree>
    <p:extLst>
      <p:ext uri="{BB962C8B-B14F-4D97-AF65-F5344CB8AC3E}">
        <p14:creationId xmlns:p14="http://schemas.microsoft.com/office/powerpoint/2010/main" val="74619570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4BF8F6B-1E29-408F-A8B5-D5B3EDD4272C}" type="datetimeFigureOut">
              <a:rPr lang="es-PE" altLang="es-ES"/>
              <a:pPr>
                <a:defRPr/>
              </a:pPr>
              <a:t>18/06/2018</a:t>
            </a:fld>
            <a:endParaRPr lang="es-PE" alt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 alt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A2AFEF-321E-4B41-B18D-0C7CE1CF2986}" type="slidenum">
              <a:rPr lang="es-PE" altLang="es-PE"/>
              <a:pPr>
                <a:defRPr/>
              </a:pPr>
              <a:t>‹Nº›</a:t>
            </a:fld>
            <a:endParaRPr lang="es-PE" altLang="es-PE"/>
          </a:p>
        </p:txBody>
      </p:sp>
    </p:spTree>
    <p:extLst>
      <p:ext uri="{BB962C8B-B14F-4D97-AF65-F5344CB8AC3E}">
        <p14:creationId xmlns:p14="http://schemas.microsoft.com/office/powerpoint/2010/main" val="377535569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3860800" y="520700"/>
            <a:ext cx="4471670" cy="6654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4200" b="0" i="0">
                <a:solidFill>
                  <a:srgbClr val="F6F6F6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18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687189"/>
                </a:solidFill>
                <a:latin typeface="Arial"/>
                <a:cs typeface="Arial"/>
              </a:defRPr>
            </a:lvl1pPr>
          </a:lstStyle>
          <a:p>
            <a:pPr marL="25400">
              <a:lnSpc>
                <a:spcPts val="1265"/>
              </a:lnSpc>
            </a:pPr>
            <a:fld id="{81D60167-4931-47E6-BA6A-407CBD079E47}" type="slidenum">
              <a:rPr dirty="0"/>
              <a:pPr marL="25400">
                <a:lnSpc>
                  <a:spcPts val="1265"/>
                </a:lnSpc>
              </a:pPr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3548798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600" b="0" i="0">
                <a:solidFill>
                  <a:srgbClr val="687189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18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687189"/>
                </a:solidFill>
                <a:latin typeface="Arial"/>
                <a:cs typeface="Arial"/>
              </a:defRPr>
            </a:lvl1pPr>
          </a:lstStyle>
          <a:p>
            <a:pPr marL="25400">
              <a:lnSpc>
                <a:spcPts val="1265"/>
              </a:lnSpc>
            </a:pPr>
            <a:fld id="{81D60167-4931-47E6-BA6A-407CBD079E47}" type="slidenum">
              <a:rPr dirty="0"/>
              <a:pPr marL="25400">
                <a:lnSpc>
                  <a:spcPts val="1265"/>
                </a:lnSpc>
              </a:pPr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4204678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600" b="0" i="0">
                <a:solidFill>
                  <a:srgbClr val="687189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18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687189"/>
                </a:solidFill>
                <a:latin typeface="Arial"/>
                <a:cs typeface="Arial"/>
              </a:defRPr>
            </a:lvl1pPr>
          </a:lstStyle>
          <a:p>
            <a:pPr marL="25400">
              <a:lnSpc>
                <a:spcPts val="1265"/>
              </a:lnSpc>
            </a:pPr>
            <a:fld id="{81D60167-4931-47E6-BA6A-407CBD079E47}" type="slidenum">
              <a:rPr dirty="0"/>
              <a:pPr marL="25400">
                <a:lnSpc>
                  <a:spcPts val="1265"/>
                </a:lnSpc>
              </a:pPr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5757253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18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687189"/>
                </a:solidFill>
                <a:latin typeface="Arial"/>
                <a:cs typeface="Arial"/>
              </a:defRPr>
            </a:lvl1pPr>
          </a:lstStyle>
          <a:p>
            <a:pPr marL="25400">
              <a:lnSpc>
                <a:spcPts val="1265"/>
              </a:lnSpc>
            </a:pPr>
            <a:fld id="{81D60167-4931-47E6-BA6A-407CBD079E47}" type="slidenum">
              <a:rPr dirty="0"/>
              <a:pPr marL="25400">
                <a:lnSpc>
                  <a:spcPts val="1265"/>
                </a:lnSpc>
              </a:pPr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4477510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0" y="6858000"/>
                </a:moveTo>
                <a:lnTo>
                  <a:pt x="12192000" y="6858000"/>
                </a:lnTo>
                <a:lnTo>
                  <a:pt x="12192000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solidFill>
            <a:srgbClr val="F6F6F6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146886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328ADA-E5FA-43E1-8C84-01CD7C4DD019}" type="datetimeFigureOut">
              <a:rPr lang="es-PE" smtClean="0">
                <a:solidFill>
                  <a:prstClr val="black">
                    <a:tint val="75000"/>
                  </a:prstClr>
                </a:solidFill>
              </a:rPr>
              <a:pPr/>
              <a:t>18/06/2018</a:t>
            </a:fld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76F1D3-E597-4E66-833E-CB1E3F5B69E0}" type="slidenum">
              <a:rPr lang="es-PE" smtClean="0"/>
              <a:pPr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843381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536629-6997-4471-AFE2-2A30B4CDEC22}" type="datetimeFigureOut">
              <a:rPr lang="es-PE" smtClean="0"/>
              <a:t>18/06/2018</a:t>
            </a:fld>
            <a:endParaRPr lang="es-PE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ADAC2-E0AE-4364-9465-F13D64E22409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2864290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PE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862B15-7D5D-4564-8D56-1EFE60E29545}" type="datetime1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18/06/2018</a:t>
            </a:fld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298E5B-80E8-4885-9299-5A432ADACBE7}" type="slidenum">
              <a:rPr lang="es-PE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170910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968309-AC8D-48DB-8A9F-A34F2E7BF1A0}" type="datetime1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18/06/2018</a:t>
            </a:fld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298E5B-80E8-4885-9299-5A432ADACBE7}" type="slidenum">
              <a:rPr lang="es-PE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548956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DE5304-4CA1-46F0-835A-6272F52CFE9C}" type="datetime1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18/06/2018</a:t>
            </a:fld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298E5B-80E8-4885-9299-5A432ADACBE7}" type="slidenum">
              <a:rPr lang="es-PE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39291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67A329-8CBC-4EAE-A536-D5227D07FACF}" type="datetime1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18/06/2018</a:t>
            </a:fld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298E5B-80E8-4885-9299-5A432ADACBE7}" type="slidenum">
              <a:rPr lang="es-PE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003304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05E485-D196-4FBB-A2FC-A6CE7DE8184F}" type="datetime1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18/06/2018</a:t>
            </a:fld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298E5B-80E8-4885-9299-5A432ADACBE7}" type="slidenum">
              <a:rPr lang="es-PE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72688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839E72-8096-4DC1-939A-8534F32B4EE5}" type="datetime1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18/06/2018</a:t>
            </a:fld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298E5B-80E8-4885-9299-5A432ADACBE7}" type="slidenum">
              <a:rPr lang="es-PE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289140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D7CD3-3652-4932-89CD-A8DF2C358D84}" type="datetime1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18/06/2018</a:t>
            </a:fld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298E5B-80E8-4885-9299-5A432ADACBE7}" type="slidenum">
              <a:rPr lang="es-PE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145216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C72E88-F19E-4674-9DC6-6436EF38AAB9}" type="datetime1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18/06/2018</a:t>
            </a:fld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298E5B-80E8-4885-9299-5A432ADACBE7}" type="slidenum">
              <a:rPr lang="es-PE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110179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posición de imagen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PE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5ADE56-F6B6-4892-A8B4-E0A4A743235A}" type="datetime1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18/06/2018</a:t>
            </a:fld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298E5B-80E8-4885-9299-5A432ADACBE7}" type="slidenum">
              <a:rPr lang="es-PE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149239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FB0EAB-6A26-45D4-A5F7-5FBD0B725954}" type="datetime1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18/06/2018</a:t>
            </a:fld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298E5B-80E8-4885-9299-5A432ADACBE7}" type="slidenum">
              <a:rPr lang="es-PE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154183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536629-6997-4471-AFE2-2A30B4CDEC22}" type="datetimeFigureOut">
              <a:rPr lang="es-PE" smtClean="0"/>
              <a:t>18/06/2018</a:t>
            </a:fld>
            <a:endParaRPr lang="es-PE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ADAC2-E0AE-4364-9465-F13D64E22409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79613607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F9B89C-7C43-4469-BC4A-0337B8D84E4C}" type="datetime1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18/06/2018</a:t>
            </a:fld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298E5B-80E8-4885-9299-5A432ADACBE7}" type="slidenum">
              <a:rPr lang="es-PE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118173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PE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9F8A5D-B195-4C2C-B1E1-A934130F7B0D}" type="datetimeFigureOut">
              <a:rPr lang="es-PE" smtClean="0">
                <a:solidFill>
                  <a:prstClr val="black">
                    <a:tint val="75000"/>
                  </a:prstClr>
                </a:solidFill>
              </a:rPr>
              <a:pPr/>
              <a:t>18/06/2018</a:t>
            </a:fld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BA5B3E-98AC-497C-997B-623B947C7187}" type="slidenum">
              <a:rPr lang="es-PE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050060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9F8A5D-B195-4C2C-B1E1-A934130F7B0D}" type="datetimeFigureOut">
              <a:rPr lang="es-PE" smtClean="0">
                <a:solidFill>
                  <a:prstClr val="black">
                    <a:tint val="75000"/>
                  </a:prstClr>
                </a:solidFill>
              </a:rPr>
              <a:pPr/>
              <a:t>18/06/2018</a:t>
            </a:fld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BA5B3E-98AC-497C-997B-623B947C7187}" type="slidenum">
              <a:rPr lang="es-PE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497947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9F8A5D-B195-4C2C-B1E1-A934130F7B0D}" type="datetimeFigureOut">
              <a:rPr lang="es-PE" smtClean="0">
                <a:solidFill>
                  <a:prstClr val="black">
                    <a:tint val="75000"/>
                  </a:prstClr>
                </a:solidFill>
              </a:rPr>
              <a:pPr/>
              <a:t>18/06/2018</a:t>
            </a:fld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BA5B3E-98AC-497C-997B-623B947C7187}" type="slidenum">
              <a:rPr lang="es-PE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607256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9F8A5D-B195-4C2C-B1E1-A934130F7B0D}" type="datetimeFigureOut">
              <a:rPr lang="es-PE" smtClean="0">
                <a:solidFill>
                  <a:prstClr val="black">
                    <a:tint val="75000"/>
                  </a:prstClr>
                </a:solidFill>
              </a:rPr>
              <a:pPr/>
              <a:t>18/06/2018</a:t>
            </a:fld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BA5B3E-98AC-497C-997B-623B947C7187}" type="slidenum">
              <a:rPr lang="es-PE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907996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9F8A5D-B195-4C2C-B1E1-A934130F7B0D}" type="datetimeFigureOut">
              <a:rPr lang="es-PE" smtClean="0">
                <a:solidFill>
                  <a:prstClr val="black">
                    <a:tint val="75000"/>
                  </a:prstClr>
                </a:solidFill>
              </a:rPr>
              <a:pPr/>
              <a:t>18/06/2018</a:t>
            </a:fld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BA5B3E-98AC-497C-997B-623B947C7187}" type="slidenum">
              <a:rPr lang="es-PE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910543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9F8A5D-B195-4C2C-B1E1-A934130F7B0D}" type="datetimeFigureOut">
              <a:rPr lang="es-PE" smtClean="0">
                <a:solidFill>
                  <a:prstClr val="black">
                    <a:tint val="75000"/>
                  </a:prstClr>
                </a:solidFill>
              </a:rPr>
              <a:pPr/>
              <a:t>18/06/2018</a:t>
            </a:fld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BA5B3E-98AC-497C-997B-623B947C7187}" type="slidenum">
              <a:rPr lang="es-PE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448671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9F8A5D-B195-4C2C-B1E1-A934130F7B0D}" type="datetimeFigureOut">
              <a:rPr lang="es-PE" smtClean="0">
                <a:solidFill>
                  <a:prstClr val="black">
                    <a:tint val="75000"/>
                  </a:prstClr>
                </a:solidFill>
              </a:rPr>
              <a:pPr/>
              <a:t>18/06/2018</a:t>
            </a:fld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BA5B3E-98AC-497C-997B-623B947C7187}" type="slidenum">
              <a:rPr lang="es-PE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195487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9F8A5D-B195-4C2C-B1E1-A934130F7B0D}" type="datetimeFigureOut">
              <a:rPr lang="es-PE" smtClean="0">
                <a:solidFill>
                  <a:prstClr val="black">
                    <a:tint val="75000"/>
                  </a:prstClr>
                </a:solidFill>
              </a:rPr>
              <a:pPr/>
              <a:t>18/06/2018</a:t>
            </a:fld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BA5B3E-98AC-497C-997B-623B947C7187}" type="slidenum">
              <a:rPr lang="es-PE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683954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posición de imagen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PE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9F8A5D-B195-4C2C-B1E1-A934130F7B0D}" type="datetimeFigureOut">
              <a:rPr lang="es-PE" smtClean="0">
                <a:solidFill>
                  <a:prstClr val="black">
                    <a:tint val="75000"/>
                  </a:prstClr>
                </a:solidFill>
              </a:rPr>
              <a:pPr/>
              <a:t>18/06/2018</a:t>
            </a:fld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BA5B3E-98AC-497C-997B-623B947C7187}" type="slidenum">
              <a:rPr lang="es-PE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76591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536629-6997-4471-AFE2-2A30B4CDEC22}" type="datetimeFigureOut">
              <a:rPr lang="es-PE" smtClean="0"/>
              <a:t>18/06/2018</a:t>
            </a:fld>
            <a:endParaRPr lang="es-PE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ADAC2-E0AE-4364-9465-F13D64E22409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84292549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9F8A5D-B195-4C2C-B1E1-A934130F7B0D}" type="datetimeFigureOut">
              <a:rPr lang="es-PE" smtClean="0">
                <a:solidFill>
                  <a:prstClr val="black">
                    <a:tint val="75000"/>
                  </a:prstClr>
                </a:solidFill>
              </a:rPr>
              <a:pPr/>
              <a:t>18/06/2018</a:t>
            </a:fld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BA5B3E-98AC-497C-997B-623B947C7187}" type="slidenum">
              <a:rPr lang="es-PE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951103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9F8A5D-B195-4C2C-B1E1-A934130F7B0D}" type="datetimeFigureOut">
              <a:rPr lang="es-PE" smtClean="0">
                <a:solidFill>
                  <a:prstClr val="black">
                    <a:tint val="75000"/>
                  </a:prstClr>
                </a:solidFill>
              </a:rPr>
              <a:pPr/>
              <a:t>18/06/2018</a:t>
            </a:fld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BA5B3E-98AC-497C-997B-623B947C7187}" type="slidenum">
              <a:rPr lang="es-PE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499715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PE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31D217-3553-45DF-91D2-ACBBBC070FCA}" type="datetime1">
              <a:rPr lang="es-PE" smtClean="0">
                <a:solidFill>
                  <a:prstClr val="black">
                    <a:tint val="75000"/>
                  </a:prstClr>
                </a:solidFill>
              </a:rPr>
              <a:pPr/>
              <a:t>18/06/2018</a:t>
            </a:fld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ADAC2-E0AE-4364-9465-F13D64E22409}" type="slidenum">
              <a:rPr lang="es-PE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006433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01E465-FC6B-49D5-A2EA-FBD7689B724A}" type="datetime1">
              <a:rPr lang="es-PE" smtClean="0">
                <a:solidFill>
                  <a:prstClr val="black">
                    <a:tint val="75000"/>
                  </a:prstClr>
                </a:solidFill>
              </a:rPr>
              <a:pPr/>
              <a:t>18/06/2018</a:t>
            </a:fld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ADAC2-E0AE-4364-9465-F13D64E22409}" type="slidenum">
              <a:rPr lang="es-PE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929440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A46E0F-F584-4D85-8C21-AD54011BCEFE}" type="datetime1">
              <a:rPr lang="es-PE" smtClean="0">
                <a:solidFill>
                  <a:prstClr val="black">
                    <a:tint val="75000"/>
                  </a:prstClr>
                </a:solidFill>
              </a:rPr>
              <a:pPr/>
              <a:t>18/06/2018</a:t>
            </a:fld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ADAC2-E0AE-4364-9465-F13D64E22409}" type="slidenum">
              <a:rPr lang="es-PE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128690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EBAF1C-E47F-4439-97F1-5268ACE4726C}" type="datetime1">
              <a:rPr lang="es-PE" smtClean="0">
                <a:solidFill>
                  <a:prstClr val="black">
                    <a:tint val="75000"/>
                  </a:prstClr>
                </a:solidFill>
              </a:rPr>
              <a:pPr/>
              <a:t>18/06/2018</a:t>
            </a:fld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ADAC2-E0AE-4364-9465-F13D64E22409}" type="slidenum">
              <a:rPr lang="es-PE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857754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C06481-924D-4EB9-B394-7990046ED54E}" type="datetime1">
              <a:rPr lang="es-PE" smtClean="0">
                <a:solidFill>
                  <a:prstClr val="black">
                    <a:tint val="75000"/>
                  </a:prstClr>
                </a:solidFill>
              </a:rPr>
              <a:pPr/>
              <a:t>18/06/2018</a:t>
            </a:fld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ADAC2-E0AE-4364-9465-F13D64E22409}" type="slidenum">
              <a:rPr lang="es-PE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720516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6439D2-CB32-4B3D-8E19-D84459B6D230}" type="datetime1">
              <a:rPr lang="es-PE" smtClean="0">
                <a:solidFill>
                  <a:prstClr val="black">
                    <a:tint val="75000"/>
                  </a:prstClr>
                </a:solidFill>
              </a:rPr>
              <a:pPr/>
              <a:t>18/06/2018</a:t>
            </a:fld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ADAC2-E0AE-4364-9465-F13D64E22409}" type="slidenum">
              <a:rPr lang="es-PE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53187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9A4D50-DAC7-4214-8A1A-D668DD246AA2}" type="datetime1">
              <a:rPr lang="es-PE" smtClean="0">
                <a:solidFill>
                  <a:prstClr val="black">
                    <a:tint val="75000"/>
                  </a:prstClr>
                </a:solidFill>
              </a:rPr>
              <a:pPr/>
              <a:t>18/06/2018</a:t>
            </a:fld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ADAC2-E0AE-4364-9465-F13D64E22409}" type="slidenum">
              <a:rPr lang="es-PE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228337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A4E24E-A9EA-4865-90A6-CE1059052BDD}" type="datetime1">
              <a:rPr lang="es-PE" smtClean="0">
                <a:solidFill>
                  <a:prstClr val="black">
                    <a:tint val="75000"/>
                  </a:prstClr>
                </a:solidFill>
              </a:rPr>
              <a:pPr/>
              <a:t>18/06/2018</a:t>
            </a:fld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ADAC2-E0AE-4364-9465-F13D64E22409}" type="slidenum">
              <a:rPr lang="es-PE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7003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536629-6997-4471-AFE2-2A30B4CDEC22}" type="datetimeFigureOut">
              <a:rPr lang="es-PE" smtClean="0"/>
              <a:t>18/06/2018</a:t>
            </a:fld>
            <a:endParaRPr lang="es-PE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ADAC2-E0AE-4364-9465-F13D64E22409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95846751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posición de imagen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PE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69BF3D-B480-4A48-8879-A5C070A65248}" type="datetime1">
              <a:rPr lang="es-PE" smtClean="0">
                <a:solidFill>
                  <a:prstClr val="black">
                    <a:tint val="75000"/>
                  </a:prstClr>
                </a:solidFill>
              </a:rPr>
              <a:pPr/>
              <a:t>18/06/2018</a:t>
            </a:fld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ADAC2-E0AE-4364-9465-F13D64E22409}" type="slidenum">
              <a:rPr lang="es-PE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738597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D019D5-64F4-4107-8297-A6209E18FC43}" type="datetime1">
              <a:rPr lang="es-PE" smtClean="0">
                <a:solidFill>
                  <a:prstClr val="black">
                    <a:tint val="75000"/>
                  </a:prstClr>
                </a:solidFill>
              </a:rPr>
              <a:pPr/>
              <a:t>18/06/2018</a:t>
            </a:fld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ADAC2-E0AE-4364-9465-F13D64E22409}" type="slidenum">
              <a:rPr lang="es-PE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351087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9A8A49-9FC8-4E21-B565-94D76D4C9EE9}" type="datetime1">
              <a:rPr lang="es-PE" smtClean="0">
                <a:solidFill>
                  <a:prstClr val="black">
                    <a:tint val="75000"/>
                  </a:prstClr>
                </a:solidFill>
              </a:rPr>
              <a:pPr/>
              <a:t>18/06/2018</a:t>
            </a:fld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ADAC2-E0AE-4364-9465-F13D64E22409}" type="slidenum">
              <a:rPr lang="es-PE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426718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0" y="6858000"/>
                </a:moveTo>
                <a:lnTo>
                  <a:pt x="12192000" y="6858000"/>
                </a:lnTo>
                <a:lnTo>
                  <a:pt x="12192000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solidFill>
            <a:srgbClr val="F6F6F6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28328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FC141737-718A-4261-983A-1E454A3C9DD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Subtítulo 2">
            <a:extLst>
              <a:ext uri="{FF2B5EF4-FFF2-40B4-BE49-F238E27FC236}">
                <a16:creationId xmlns="" xmlns:a16="http://schemas.microsoft.com/office/drawing/2014/main" id="{80A58A88-3174-42C0-A966-0D8F9F36D6D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editar el estilo de subtítulo del patrón</a:t>
            </a:r>
            <a:endParaRPr lang="es-MX"/>
          </a:p>
        </p:txBody>
      </p:sp>
      <p:sp>
        <p:nvSpPr>
          <p:cNvPr id="4" name="Marcador de fecha 3">
            <a:extLst>
              <a:ext uri="{FF2B5EF4-FFF2-40B4-BE49-F238E27FC236}">
                <a16:creationId xmlns="" xmlns:a16="http://schemas.microsoft.com/office/drawing/2014/main" id="{48990330-3569-417A-8719-85456E4038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2380CE-7FB7-4903-A306-5583DA8B4BA1}" type="datetimeFigureOut">
              <a:rPr lang="es-MX" smtClean="0">
                <a:solidFill>
                  <a:prstClr val="black">
                    <a:tint val="75000"/>
                  </a:prstClr>
                </a:solidFill>
              </a:rPr>
              <a:pPr/>
              <a:t>18/06/2018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96486618-2629-48E3-B728-11E803D027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="" xmlns:a16="http://schemas.microsoft.com/office/drawing/2014/main" id="{EA65A09D-37AA-4CF8-87C2-A7F5197198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E974E1-5F4D-401F-B23A-08FF203D4A3B}" type="slidenum">
              <a:rPr lang="es-MX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796665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E7F190DE-B360-459B-92DD-951C4F4857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Marcador de contenido 2">
            <a:extLst>
              <a:ext uri="{FF2B5EF4-FFF2-40B4-BE49-F238E27FC236}">
                <a16:creationId xmlns="" xmlns:a16="http://schemas.microsoft.com/office/drawing/2014/main" id="{C1E4968C-02F8-4276-AF7D-E3C59CD1EE3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4" name="Marcador de fecha 3">
            <a:extLst>
              <a:ext uri="{FF2B5EF4-FFF2-40B4-BE49-F238E27FC236}">
                <a16:creationId xmlns="" xmlns:a16="http://schemas.microsoft.com/office/drawing/2014/main" id="{5C455998-1BAB-4597-9425-C0C86D521C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2380CE-7FB7-4903-A306-5583DA8B4BA1}" type="datetimeFigureOut">
              <a:rPr lang="es-MX" smtClean="0">
                <a:solidFill>
                  <a:prstClr val="black">
                    <a:tint val="75000"/>
                  </a:prstClr>
                </a:solidFill>
              </a:rPr>
              <a:pPr/>
              <a:t>18/06/2018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C22603FF-AEB1-40FB-915E-7503B16DFF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="" xmlns:a16="http://schemas.microsoft.com/office/drawing/2014/main" id="{904D9E43-64EA-47A2-B02D-F62DB6CBAA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E974E1-5F4D-401F-B23A-08FF203D4A3B}" type="slidenum">
              <a:rPr lang="es-MX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15883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36689F99-8389-4D2C-9AD9-519556AB78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65C4F052-2710-4DB3-815C-5CF8E178284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="" xmlns:a16="http://schemas.microsoft.com/office/drawing/2014/main" id="{ECD04056-D935-452B-9AB1-30074B657E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2380CE-7FB7-4903-A306-5583DA8B4BA1}" type="datetimeFigureOut">
              <a:rPr lang="es-MX" smtClean="0">
                <a:solidFill>
                  <a:prstClr val="black">
                    <a:tint val="75000"/>
                  </a:prstClr>
                </a:solidFill>
              </a:rPr>
              <a:pPr/>
              <a:t>18/06/2018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1C5AAF31-07EE-4FEB-82AC-1D61EAD50D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="" xmlns:a16="http://schemas.microsoft.com/office/drawing/2014/main" id="{99C80233-F4D4-4BFB-A5C8-12C4382FA3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E974E1-5F4D-401F-B23A-08FF203D4A3B}" type="slidenum">
              <a:rPr lang="es-MX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544195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9A84DA71-EB4A-47AD-B813-5CB5B96454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Marcador de contenido 2">
            <a:extLst>
              <a:ext uri="{FF2B5EF4-FFF2-40B4-BE49-F238E27FC236}">
                <a16:creationId xmlns="" xmlns:a16="http://schemas.microsoft.com/office/drawing/2014/main" id="{387D4C6B-8B45-431A-AB49-D44CC9746B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4" name="Marcador de contenido 3">
            <a:extLst>
              <a:ext uri="{FF2B5EF4-FFF2-40B4-BE49-F238E27FC236}">
                <a16:creationId xmlns="" xmlns:a16="http://schemas.microsoft.com/office/drawing/2014/main" id="{EA835F62-3438-4701-B9AB-DEA8A185E1F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5" name="Marcador de fecha 4">
            <a:extLst>
              <a:ext uri="{FF2B5EF4-FFF2-40B4-BE49-F238E27FC236}">
                <a16:creationId xmlns="" xmlns:a16="http://schemas.microsoft.com/office/drawing/2014/main" id="{7BFEF1F1-975F-4788-A6EF-AA1D5AC687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2380CE-7FB7-4903-A306-5583DA8B4BA1}" type="datetimeFigureOut">
              <a:rPr lang="es-MX" smtClean="0">
                <a:solidFill>
                  <a:prstClr val="black">
                    <a:tint val="75000"/>
                  </a:prstClr>
                </a:solidFill>
              </a:rPr>
              <a:pPr/>
              <a:t>18/06/2018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>
            <a:extLst>
              <a:ext uri="{FF2B5EF4-FFF2-40B4-BE49-F238E27FC236}">
                <a16:creationId xmlns="" xmlns:a16="http://schemas.microsoft.com/office/drawing/2014/main" id="{D67A7E3F-6967-47B0-B70B-2F1530C874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="" xmlns:a16="http://schemas.microsoft.com/office/drawing/2014/main" id="{EE851C5C-8E17-4967-95FE-F4CDEA5298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E974E1-5F4D-401F-B23A-08FF203D4A3B}" type="slidenum">
              <a:rPr lang="es-MX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531836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95C29505-7126-475F-A17B-DBC06497C7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E3AD8BFC-DA63-4354-A7FD-FB157AA06E6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="" xmlns:a16="http://schemas.microsoft.com/office/drawing/2014/main" id="{0F7A53AD-49D0-47C4-9AA5-BABB5E0A5E8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5" name="Marcador de texto 4">
            <a:extLst>
              <a:ext uri="{FF2B5EF4-FFF2-40B4-BE49-F238E27FC236}">
                <a16:creationId xmlns="" xmlns:a16="http://schemas.microsoft.com/office/drawing/2014/main" id="{260B9325-21A9-4A3F-A173-F03E8A57C1F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="" xmlns:a16="http://schemas.microsoft.com/office/drawing/2014/main" id="{FE22DA2C-3231-4F9F-A85B-3CBEBD374AD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7" name="Marcador de fecha 6">
            <a:extLst>
              <a:ext uri="{FF2B5EF4-FFF2-40B4-BE49-F238E27FC236}">
                <a16:creationId xmlns="" xmlns:a16="http://schemas.microsoft.com/office/drawing/2014/main" id="{0AEDE549-68A5-4418-A7EA-E596B8AA22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2380CE-7FB7-4903-A306-5583DA8B4BA1}" type="datetimeFigureOut">
              <a:rPr lang="es-MX" smtClean="0">
                <a:solidFill>
                  <a:prstClr val="black">
                    <a:tint val="75000"/>
                  </a:prstClr>
                </a:solidFill>
              </a:rPr>
              <a:pPr/>
              <a:t>18/06/2018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Marcador de pie de página 7">
            <a:extLst>
              <a:ext uri="{FF2B5EF4-FFF2-40B4-BE49-F238E27FC236}">
                <a16:creationId xmlns="" xmlns:a16="http://schemas.microsoft.com/office/drawing/2014/main" id="{A9415B1F-7CF6-49E7-8062-3127A35ED8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="" xmlns:a16="http://schemas.microsoft.com/office/drawing/2014/main" id="{839B2F9E-8ACC-4D2C-ADF0-3D3EFFC42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E974E1-5F4D-401F-B23A-08FF203D4A3B}" type="slidenum">
              <a:rPr lang="es-MX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151233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2B02F19E-0185-43DB-B7A4-1954DE51A8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Marcador de fecha 2">
            <a:extLst>
              <a:ext uri="{FF2B5EF4-FFF2-40B4-BE49-F238E27FC236}">
                <a16:creationId xmlns="" xmlns:a16="http://schemas.microsoft.com/office/drawing/2014/main" id="{DC797120-F854-4E61-962D-4C42F4C2F9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2380CE-7FB7-4903-A306-5583DA8B4BA1}" type="datetimeFigureOut">
              <a:rPr lang="es-MX" smtClean="0">
                <a:solidFill>
                  <a:prstClr val="black">
                    <a:tint val="75000"/>
                  </a:prstClr>
                </a:solidFill>
              </a:rPr>
              <a:pPr/>
              <a:t>18/06/2018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Marcador de pie de página 3">
            <a:extLst>
              <a:ext uri="{FF2B5EF4-FFF2-40B4-BE49-F238E27FC236}">
                <a16:creationId xmlns="" xmlns:a16="http://schemas.microsoft.com/office/drawing/2014/main" id="{F9037662-1389-4F91-B54A-F44EC43357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="" xmlns:a16="http://schemas.microsoft.com/office/drawing/2014/main" id="{F21D74CA-4625-4605-A25B-A1A9EC378B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E974E1-5F4D-401F-B23A-08FF203D4A3B}" type="slidenum">
              <a:rPr lang="es-MX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39528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536629-6997-4471-AFE2-2A30B4CDEC22}" type="datetimeFigureOut">
              <a:rPr lang="es-PE" smtClean="0"/>
              <a:t>18/06/2018</a:t>
            </a:fld>
            <a:endParaRPr lang="es-PE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ADAC2-E0AE-4364-9465-F13D64E22409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99319249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="" xmlns:a16="http://schemas.microsoft.com/office/drawing/2014/main" id="{EC1E6A2F-37BD-44DD-BDCC-C8057D84F2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2380CE-7FB7-4903-A306-5583DA8B4BA1}" type="datetimeFigureOut">
              <a:rPr lang="es-MX" smtClean="0">
                <a:solidFill>
                  <a:prstClr val="black">
                    <a:tint val="75000"/>
                  </a:prstClr>
                </a:solidFill>
              </a:rPr>
              <a:pPr/>
              <a:t>18/06/2018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Marcador de pie de página 2">
            <a:extLst>
              <a:ext uri="{FF2B5EF4-FFF2-40B4-BE49-F238E27FC236}">
                <a16:creationId xmlns="" xmlns:a16="http://schemas.microsoft.com/office/drawing/2014/main" id="{FFE01A9A-7D89-4167-A0C7-F875D03E84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="" xmlns:a16="http://schemas.microsoft.com/office/drawing/2014/main" id="{A8BB160C-7AA1-41D7-90DE-CF099C45AD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E974E1-5F4D-401F-B23A-08FF203D4A3B}" type="slidenum">
              <a:rPr lang="es-MX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942242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F37B1B6C-BD7E-4845-9FA0-701763631B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Marcador de contenido 2">
            <a:extLst>
              <a:ext uri="{FF2B5EF4-FFF2-40B4-BE49-F238E27FC236}">
                <a16:creationId xmlns="" xmlns:a16="http://schemas.microsoft.com/office/drawing/2014/main" id="{29352BAA-D67E-4308-AAEA-78B4571BB8D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4" name="Marcador de texto 3">
            <a:extLst>
              <a:ext uri="{FF2B5EF4-FFF2-40B4-BE49-F238E27FC236}">
                <a16:creationId xmlns="" xmlns:a16="http://schemas.microsoft.com/office/drawing/2014/main" id="{2CA47D58-FF86-4094-88A2-B7C411DDABE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="" xmlns:a16="http://schemas.microsoft.com/office/drawing/2014/main" id="{A06B69F7-97D0-4DBE-8FA3-4E5262B922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2380CE-7FB7-4903-A306-5583DA8B4BA1}" type="datetimeFigureOut">
              <a:rPr lang="es-MX" smtClean="0">
                <a:solidFill>
                  <a:prstClr val="black">
                    <a:tint val="75000"/>
                  </a:prstClr>
                </a:solidFill>
              </a:rPr>
              <a:pPr/>
              <a:t>18/06/2018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>
            <a:extLst>
              <a:ext uri="{FF2B5EF4-FFF2-40B4-BE49-F238E27FC236}">
                <a16:creationId xmlns="" xmlns:a16="http://schemas.microsoft.com/office/drawing/2014/main" id="{63A74E8E-BF2B-49FB-AC1A-3F88AEC65C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="" xmlns:a16="http://schemas.microsoft.com/office/drawing/2014/main" id="{EBED62B4-E8C8-4957-A3EA-08AB37B6C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E974E1-5F4D-401F-B23A-08FF203D4A3B}" type="slidenum">
              <a:rPr lang="es-MX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592861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57C93D2E-CEEE-47D5-8A1C-787D406BF2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="" xmlns:a16="http://schemas.microsoft.com/office/drawing/2014/main" id="{D9C874DF-03DD-4261-BCE3-C1B01A09C97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MX"/>
          </a:p>
        </p:txBody>
      </p:sp>
      <p:sp>
        <p:nvSpPr>
          <p:cNvPr id="4" name="Marcador de texto 3">
            <a:extLst>
              <a:ext uri="{FF2B5EF4-FFF2-40B4-BE49-F238E27FC236}">
                <a16:creationId xmlns="" xmlns:a16="http://schemas.microsoft.com/office/drawing/2014/main" id="{F2B1E28A-49AF-410D-887B-2580BCBA9FE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Editar el estilo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="" xmlns:a16="http://schemas.microsoft.com/office/drawing/2014/main" id="{5AC90E2B-F404-401E-AE59-C1E9FB3143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2380CE-7FB7-4903-A306-5583DA8B4BA1}" type="datetimeFigureOut">
              <a:rPr lang="es-MX" smtClean="0">
                <a:solidFill>
                  <a:prstClr val="black">
                    <a:tint val="75000"/>
                  </a:prstClr>
                </a:solidFill>
              </a:rPr>
              <a:pPr/>
              <a:t>18/06/2018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>
            <a:extLst>
              <a:ext uri="{FF2B5EF4-FFF2-40B4-BE49-F238E27FC236}">
                <a16:creationId xmlns="" xmlns:a16="http://schemas.microsoft.com/office/drawing/2014/main" id="{7F22F526-7698-46B4-8381-4EA7EED4C7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="" xmlns:a16="http://schemas.microsoft.com/office/drawing/2014/main" id="{E09B2039-3201-403F-A032-89EFCABA2E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E974E1-5F4D-401F-B23A-08FF203D4A3B}" type="slidenum">
              <a:rPr lang="es-MX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757892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="" xmlns:a16="http://schemas.microsoft.com/office/drawing/2014/main" id="{B54000A4-AEFE-40A1-B433-7EE9DED399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Marcador de texto vertical 2">
            <a:extLst>
              <a:ext uri="{FF2B5EF4-FFF2-40B4-BE49-F238E27FC236}">
                <a16:creationId xmlns="" xmlns:a16="http://schemas.microsoft.com/office/drawing/2014/main" id="{03A8368B-40FF-41DA-A159-68D6DE962C7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4" name="Marcador de fecha 3">
            <a:extLst>
              <a:ext uri="{FF2B5EF4-FFF2-40B4-BE49-F238E27FC236}">
                <a16:creationId xmlns="" xmlns:a16="http://schemas.microsoft.com/office/drawing/2014/main" id="{6946F68E-8E66-459F-8654-B666A46685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2380CE-7FB7-4903-A306-5583DA8B4BA1}" type="datetimeFigureOut">
              <a:rPr lang="es-MX" smtClean="0">
                <a:solidFill>
                  <a:prstClr val="black">
                    <a:tint val="75000"/>
                  </a:prstClr>
                </a:solidFill>
              </a:rPr>
              <a:pPr/>
              <a:t>18/06/2018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44579016-2E06-4B89-99FD-14381389F7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="" xmlns:a16="http://schemas.microsoft.com/office/drawing/2014/main" id="{9471CC60-3C0F-42EF-BCD3-C2DB1E3A5A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E974E1-5F4D-401F-B23A-08FF203D4A3B}" type="slidenum">
              <a:rPr lang="es-MX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953277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="" xmlns:a16="http://schemas.microsoft.com/office/drawing/2014/main" id="{3D8DF8E7-DFD6-40B2-B01F-284795B55BB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Marcador de texto vertical 2">
            <a:extLst>
              <a:ext uri="{FF2B5EF4-FFF2-40B4-BE49-F238E27FC236}">
                <a16:creationId xmlns="" xmlns:a16="http://schemas.microsoft.com/office/drawing/2014/main" id="{8C7479B1-0BD0-4E00-A7CB-EB520C8ACA2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4" name="Marcador de fecha 3">
            <a:extLst>
              <a:ext uri="{FF2B5EF4-FFF2-40B4-BE49-F238E27FC236}">
                <a16:creationId xmlns="" xmlns:a16="http://schemas.microsoft.com/office/drawing/2014/main" id="{A1B8BAAF-DFB5-4C5A-B733-F2372EC924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2380CE-7FB7-4903-A306-5583DA8B4BA1}" type="datetimeFigureOut">
              <a:rPr lang="es-MX" smtClean="0">
                <a:solidFill>
                  <a:prstClr val="black">
                    <a:tint val="75000"/>
                  </a:prstClr>
                </a:solidFill>
              </a:rPr>
              <a:pPr/>
              <a:t>18/06/2018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89A04BE4-FC4C-4BA6-86B0-5F5FB41DA3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="" xmlns:a16="http://schemas.microsoft.com/office/drawing/2014/main" id="{9FB12DE3-084A-4E78-9070-0018BB1B1C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E974E1-5F4D-401F-B23A-08FF203D4A3B}" type="slidenum">
              <a:rPr lang="es-MX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55412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536629-6997-4471-AFE2-2A30B4CDEC22}" type="datetimeFigureOut">
              <a:rPr lang="es-PE" smtClean="0"/>
              <a:t>18/06/2018</a:t>
            </a:fld>
            <a:endParaRPr lang="es-PE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ADAC2-E0AE-4364-9465-F13D64E22409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59211766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posición de imagen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PE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536629-6997-4471-AFE2-2A30B4CDEC22}" type="datetimeFigureOut">
              <a:rPr lang="es-PE" smtClean="0"/>
              <a:t>18/06/2018</a:t>
            </a:fld>
            <a:endParaRPr lang="es-PE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ADAC2-E0AE-4364-9465-F13D64E22409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3392769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g"/><Relationship Id="rId3" Type="http://schemas.openxmlformats.org/officeDocument/2006/relationships/slideLayout" Target="../slideLayouts/slideLayout26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0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5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50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9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54.xml"/><Relationship Id="rId7" Type="http://schemas.openxmlformats.org/officeDocument/2006/relationships/slideLayout" Target="../slideLayouts/slideLayout58.xml"/><Relationship Id="rId12" Type="http://schemas.openxmlformats.org/officeDocument/2006/relationships/slideLayout" Target="../slideLayouts/slideLayout63.xml"/><Relationship Id="rId2" Type="http://schemas.openxmlformats.org/officeDocument/2006/relationships/slideLayout" Target="../slideLayouts/slideLayout53.xml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11" Type="http://schemas.openxmlformats.org/officeDocument/2006/relationships/slideLayout" Target="../slideLayouts/slideLayout62.xml"/><Relationship Id="rId5" Type="http://schemas.openxmlformats.org/officeDocument/2006/relationships/slideLayout" Target="../slideLayouts/slideLayout56.xml"/><Relationship Id="rId10" Type="http://schemas.openxmlformats.org/officeDocument/2006/relationships/slideLayout" Target="../slideLayouts/slideLayout61.xml"/><Relationship Id="rId4" Type="http://schemas.openxmlformats.org/officeDocument/2006/relationships/slideLayout" Target="../slideLayouts/slideLayout55.xml"/><Relationship Id="rId9" Type="http://schemas.openxmlformats.org/officeDocument/2006/relationships/slideLayout" Target="../slideLayouts/slideLayout60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1.xml"/><Relationship Id="rId3" Type="http://schemas.openxmlformats.org/officeDocument/2006/relationships/slideLayout" Target="../slideLayouts/slideLayout66.xml"/><Relationship Id="rId7" Type="http://schemas.openxmlformats.org/officeDocument/2006/relationships/slideLayout" Target="../slideLayouts/slideLayout70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65.xml"/><Relationship Id="rId1" Type="http://schemas.openxmlformats.org/officeDocument/2006/relationships/slideLayout" Target="../slideLayouts/slideLayout64.xml"/><Relationship Id="rId6" Type="http://schemas.openxmlformats.org/officeDocument/2006/relationships/slideLayout" Target="../slideLayouts/slideLayout69.xml"/><Relationship Id="rId11" Type="http://schemas.openxmlformats.org/officeDocument/2006/relationships/slideLayout" Target="../slideLayouts/slideLayout74.xml"/><Relationship Id="rId5" Type="http://schemas.openxmlformats.org/officeDocument/2006/relationships/slideLayout" Target="../slideLayouts/slideLayout68.xml"/><Relationship Id="rId10" Type="http://schemas.openxmlformats.org/officeDocument/2006/relationships/slideLayout" Target="../slideLayouts/slideLayout73.xml"/><Relationship Id="rId4" Type="http://schemas.openxmlformats.org/officeDocument/2006/relationships/slideLayout" Target="../slideLayouts/slideLayout67.xml"/><Relationship Id="rId9" Type="http://schemas.openxmlformats.org/officeDocument/2006/relationships/slideLayout" Target="../slideLayouts/slideLayout7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5536629-6997-4471-AFE2-2A30B4CDEC22}" type="datetimeFigureOut">
              <a:rPr lang="es-PE" smtClean="0"/>
              <a:t>18/06/2018</a:t>
            </a:fld>
            <a:endParaRPr lang="es-PE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PE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8ADAC2-E0AE-4364-9465-F13D64E22409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7936740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7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P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Marcador de título 1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s-ES" altLang="es-PE"/>
              <a:t>Haga clic para modificar el estilo de título del patrón</a:t>
            </a:r>
            <a:endParaRPr lang="es-PE" altLang="es-PE"/>
          </a:p>
        </p:txBody>
      </p:sp>
      <p:sp>
        <p:nvSpPr>
          <p:cNvPr id="1027" name="Marcador de texto 2"/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altLang="es-PE"/>
              <a:t>Haga clic para modificar el estilo de texto del patrón</a:t>
            </a:r>
          </a:p>
          <a:p>
            <a:pPr lvl="1"/>
            <a:r>
              <a:rPr lang="es-ES" altLang="es-PE"/>
              <a:t>Segundo nivel</a:t>
            </a:r>
          </a:p>
          <a:p>
            <a:pPr lvl="2"/>
            <a:r>
              <a:rPr lang="es-ES" altLang="es-PE"/>
              <a:t>Tercer nivel</a:t>
            </a:r>
          </a:p>
          <a:p>
            <a:pPr lvl="3"/>
            <a:r>
              <a:rPr lang="es-ES" altLang="es-PE"/>
              <a:t>Cuarto nivel</a:t>
            </a:r>
          </a:p>
          <a:p>
            <a:pPr lvl="4"/>
            <a:r>
              <a:rPr lang="es-ES" altLang="es-PE"/>
              <a:t>Quinto nivel</a:t>
            </a:r>
            <a:endParaRPr lang="es-PE" altLang="es-PE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solidFill>
                  <a:srgbClr val="898989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5E40BBE-60B9-48C7-B897-5A0CDBEF0F30}" type="datetimeFigureOut">
              <a:rPr lang="es-PE" altLang="es-ES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8/06/2018</a:t>
            </a:fld>
            <a:endParaRPr lang="es-PE" alt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eaLnBrk="1" hangingPunct="1">
              <a:defRPr sz="1200">
                <a:solidFill>
                  <a:srgbClr val="898989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s-ES" alt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898989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47E538A-CF24-40C0-AE7D-617FC45082B9}" type="slidenum">
              <a:rPr lang="es-PE" altLang="es-PE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es-PE" altLang="es-PE"/>
          </a:p>
        </p:txBody>
      </p:sp>
    </p:spTree>
    <p:extLst>
      <p:ext uri="{BB962C8B-B14F-4D97-AF65-F5344CB8AC3E}">
        <p14:creationId xmlns:p14="http://schemas.microsoft.com/office/powerpoint/2010/main" val="16877559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P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8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0" y="6858000"/>
                </a:moveTo>
                <a:lnTo>
                  <a:pt x="12192000" y="6858000"/>
                </a:lnTo>
                <a:lnTo>
                  <a:pt x="12192000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solidFill>
            <a:srgbClr val="F6F6F6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3289300" y="330200"/>
            <a:ext cx="5613400" cy="6858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600" b="0" i="0">
                <a:solidFill>
                  <a:srgbClr val="687189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09600" y="1577340"/>
            <a:ext cx="1097280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5280" y="6377940"/>
            <a:ext cx="390144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6/18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1734800" y="6562849"/>
            <a:ext cx="220345" cy="1778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rgbClr val="687189"/>
                </a:solidFill>
                <a:latin typeface="Arial"/>
                <a:cs typeface="Arial"/>
              </a:defRPr>
            </a:lvl1pPr>
          </a:lstStyle>
          <a:p>
            <a:pPr marL="25400">
              <a:lnSpc>
                <a:spcPts val="1265"/>
              </a:lnSpc>
            </a:pPr>
            <a:fld id="{81D60167-4931-47E6-BA6A-407CBD079E47}" type="slidenum">
              <a:rPr dirty="0"/>
              <a:pPr marL="25400">
                <a:lnSpc>
                  <a:spcPts val="1265"/>
                </a:lnSpc>
              </a:pPr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8425111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0AB76FB-54C4-40C6-9174-5A757C710417}" type="datetime1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18/06/2018</a:t>
            </a:fld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298E5B-80E8-4885-9299-5A432ADACBE7}" type="slidenum">
              <a:rPr lang="es-PE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03767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P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9F8A5D-B195-4C2C-B1E1-A934130F7B0D}" type="datetimeFigureOut">
              <a:rPr lang="es-PE" smtClean="0">
                <a:solidFill>
                  <a:prstClr val="black">
                    <a:tint val="75000"/>
                  </a:prstClr>
                </a:solidFill>
              </a:rPr>
              <a:pPr/>
              <a:t>18/06/2018</a:t>
            </a:fld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BA5B3E-98AC-497C-997B-623B947C7187}" type="slidenum">
              <a:rPr lang="es-PE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64033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  <p:sldLayoutId id="2147483739" r:id="rId5"/>
    <p:sldLayoutId id="2147483740" r:id="rId6"/>
    <p:sldLayoutId id="2147483741" r:id="rId7"/>
    <p:sldLayoutId id="2147483742" r:id="rId8"/>
    <p:sldLayoutId id="2147483743" r:id="rId9"/>
    <p:sldLayoutId id="2147483744" r:id="rId10"/>
    <p:sldLayoutId id="214748374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P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PE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PE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1AEC01D-4D01-4523-A4BE-B18C63339CF1}" type="datetime1">
              <a:rPr lang="es-PE" smtClean="0">
                <a:solidFill>
                  <a:prstClr val="black">
                    <a:tint val="75000"/>
                  </a:prstClr>
                </a:solidFill>
              </a:rPr>
              <a:pPr/>
              <a:t>18/06/2018</a:t>
            </a:fld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8ADAC2-E0AE-4364-9465-F13D64E22409}" type="slidenum">
              <a:rPr lang="es-PE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2656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762" r:id="rId2"/>
    <p:sldLayoutId id="2147483763" r:id="rId3"/>
    <p:sldLayoutId id="2147483764" r:id="rId4"/>
    <p:sldLayoutId id="2147483765" r:id="rId5"/>
    <p:sldLayoutId id="2147483766" r:id="rId6"/>
    <p:sldLayoutId id="2147483767" r:id="rId7"/>
    <p:sldLayoutId id="2147483768" r:id="rId8"/>
    <p:sldLayoutId id="2147483769" r:id="rId9"/>
    <p:sldLayoutId id="2147483770" r:id="rId10"/>
    <p:sldLayoutId id="2147483771" r:id="rId11"/>
    <p:sldLayoutId id="2147483772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P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="" xmlns:a16="http://schemas.microsoft.com/office/drawing/2014/main" id="{AB46109E-9FA8-4F00-BBAA-AEEBCD14A0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Marcador de texto 2">
            <a:extLst>
              <a:ext uri="{FF2B5EF4-FFF2-40B4-BE49-F238E27FC236}">
                <a16:creationId xmlns="" xmlns:a16="http://schemas.microsoft.com/office/drawing/2014/main" id="{EC128EEE-4BEB-4D20-A272-9076FE9DBA5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4" name="Marcador de fecha 3">
            <a:extLst>
              <a:ext uri="{FF2B5EF4-FFF2-40B4-BE49-F238E27FC236}">
                <a16:creationId xmlns="" xmlns:a16="http://schemas.microsoft.com/office/drawing/2014/main" id="{3C1F8FFA-BDC6-49B2-BD90-B2A307259CC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12380CE-7FB7-4903-A306-5583DA8B4BA1}" type="datetimeFigureOut">
              <a:rPr lang="es-MX" smtClean="0">
                <a:solidFill>
                  <a:prstClr val="black">
                    <a:tint val="75000"/>
                  </a:prstClr>
                </a:solidFill>
              </a:rPr>
              <a:pPr/>
              <a:t>18/06/2018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="" xmlns:a16="http://schemas.microsoft.com/office/drawing/2014/main" id="{F0313F75-8BBC-458E-8491-B48857577D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="" xmlns:a16="http://schemas.microsoft.com/office/drawing/2014/main" id="{4FCE10F8-C503-4CB3-8A1D-9C3C9BA6305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FE974E1-5F4D-401F-B23A-08FF203D4A3B}" type="slidenum">
              <a:rPr lang="es-MX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MX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74183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4" r:id="rId1"/>
    <p:sldLayoutId id="2147483775" r:id="rId2"/>
    <p:sldLayoutId id="2147483776" r:id="rId3"/>
    <p:sldLayoutId id="2147483777" r:id="rId4"/>
    <p:sldLayoutId id="2147483778" r:id="rId5"/>
    <p:sldLayoutId id="2147483779" r:id="rId6"/>
    <p:sldLayoutId id="2147483780" r:id="rId7"/>
    <p:sldLayoutId id="2147483781" r:id="rId8"/>
    <p:sldLayoutId id="2147483782" r:id="rId9"/>
    <p:sldLayoutId id="2147483783" r:id="rId10"/>
    <p:sldLayoutId id="2147483784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MX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emf"/><Relationship Id="rId13" Type="http://schemas.openxmlformats.org/officeDocument/2006/relationships/image" Target="../media/image52.jpeg"/><Relationship Id="rId3" Type="http://schemas.openxmlformats.org/officeDocument/2006/relationships/image" Target="../media/image42.jpeg"/><Relationship Id="rId7" Type="http://schemas.openxmlformats.org/officeDocument/2006/relationships/image" Target="../media/image46.png"/><Relationship Id="rId12" Type="http://schemas.openxmlformats.org/officeDocument/2006/relationships/image" Target="../media/image5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45.png"/><Relationship Id="rId11" Type="http://schemas.openxmlformats.org/officeDocument/2006/relationships/image" Target="../media/image50.png"/><Relationship Id="rId5" Type="http://schemas.openxmlformats.org/officeDocument/2006/relationships/image" Target="../media/image44.jpeg"/><Relationship Id="rId10" Type="http://schemas.openxmlformats.org/officeDocument/2006/relationships/image" Target="../media/image49.png"/><Relationship Id="rId4" Type="http://schemas.openxmlformats.org/officeDocument/2006/relationships/image" Target="../media/image43.png"/><Relationship Id="rId9" Type="http://schemas.openxmlformats.org/officeDocument/2006/relationships/image" Target="../media/image48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jpg"/><Relationship Id="rId3" Type="http://schemas.openxmlformats.org/officeDocument/2006/relationships/image" Target="../media/image54.png"/><Relationship Id="rId7" Type="http://schemas.openxmlformats.org/officeDocument/2006/relationships/image" Target="../media/image58.png"/><Relationship Id="rId2" Type="http://schemas.openxmlformats.org/officeDocument/2006/relationships/image" Target="../media/image53.jpe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57.jpeg"/><Relationship Id="rId5" Type="http://schemas.openxmlformats.org/officeDocument/2006/relationships/image" Target="../media/image56.png"/><Relationship Id="rId10" Type="http://schemas.openxmlformats.org/officeDocument/2006/relationships/image" Target="../media/image61.png"/><Relationship Id="rId4" Type="http://schemas.openxmlformats.org/officeDocument/2006/relationships/image" Target="../media/image55.png"/><Relationship Id="rId9" Type="http://schemas.openxmlformats.org/officeDocument/2006/relationships/image" Target="../media/image60.jp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65.jpeg"/><Relationship Id="rId4" Type="http://schemas.openxmlformats.org/officeDocument/2006/relationships/image" Target="../media/image64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jpeg"/><Relationship Id="rId7" Type="http://schemas.openxmlformats.org/officeDocument/2006/relationships/image" Target="../media/image70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69.emf"/><Relationship Id="rId5" Type="http://schemas.openxmlformats.org/officeDocument/2006/relationships/image" Target="../media/image68.png"/><Relationship Id="rId4" Type="http://schemas.openxmlformats.org/officeDocument/2006/relationships/image" Target="../media/image67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chart" Target="../charts/chart1.xml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4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image" Target="../media/image5.jpeg"/><Relationship Id="rId7" Type="http://schemas.openxmlformats.org/officeDocument/2006/relationships/image" Target="../media/image9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8.jpeg"/><Relationship Id="rId5" Type="http://schemas.openxmlformats.org/officeDocument/2006/relationships/image" Target="../media/image7.jpg"/><Relationship Id="rId4" Type="http://schemas.openxmlformats.org/officeDocument/2006/relationships/image" Target="../media/image6.jpg"/><Relationship Id="rId9" Type="http://schemas.openxmlformats.org/officeDocument/2006/relationships/image" Target="../media/image11.jpeg"/></Relationships>
</file>

<file path=ppt/slides/_rels/slide7.xml.rels><?xml version="1.0" encoding="UTF-8" standalone="yes"?>
<Relationships xmlns="http://schemas.openxmlformats.org/package/2006/relationships"><Relationship Id="rId117" Type="http://schemas.openxmlformats.org/officeDocument/2006/relationships/tags" Target="../tags/tag117.xml"/><Relationship Id="rId299" Type="http://schemas.openxmlformats.org/officeDocument/2006/relationships/tags" Target="../tags/tag299.xml"/><Relationship Id="rId303" Type="http://schemas.openxmlformats.org/officeDocument/2006/relationships/tags" Target="../tags/tag303.xml"/><Relationship Id="rId21" Type="http://schemas.openxmlformats.org/officeDocument/2006/relationships/tags" Target="../tags/tag21.xml"/><Relationship Id="rId42" Type="http://schemas.openxmlformats.org/officeDocument/2006/relationships/tags" Target="../tags/tag42.xml"/><Relationship Id="rId63" Type="http://schemas.openxmlformats.org/officeDocument/2006/relationships/tags" Target="../tags/tag63.xml"/><Relationship Id="rId84" Type="http://schemas.openxmlformats.org/officeDocument/2006/relationships/tags" Target="../tags/tag84.xml"/><Relationship Id="rId138" Type="http://schemas.openxmlformats.org/officeDocument/2006/relationships/tags" Target="../tags/tag138.xml"/><Relationship Id="rId159" Type="http://schemas.openxmlformats.org/officeDocument/2006/relationships/tags" Target="../tags/tag159.xml"/><Relationship Id="rId324" Type="http://schemas.openxmlformats.org/officeDocument/2006/relationships/tags" Target="../tags/tag324.xml"/><Relationship Id="rId345" Type="http://schemas.openxmlformats.org/officeDocument/2006/relationships/tags" Target="../tags/tag345.xml"/><Relationship Id="rId366" Type="http://schemas.openxmlformats.org/officeDocument/2006/relationships/tags" Target="../tags/tag366.xml"/><Relationship Id="rId170" Type="http://schemas.openxmlformats.org/officeDocument/2006/relationships/tags" Target="../tags/tag170.xml"/><Relationship Id="rId191" Type="http://schemas.openxmlformats.org/officeDocument/2006/relationships/tags" Target="../tags/tag191.xml"/><Relationship Id="rId205" Type="http://schemas.openxmlformats.org/officeDocument/2006/relationships/tags" Target="../tags/tag205.xml"/><Relationship Id="rId226" Type="http://schemas.openxmlformats.org/officeDocument/2006/relationships/tags" Target="../tags/tag226.xml"/><Relationship Id="rId247" Type="http://schemas.openxmlformats.org/officeDocument/2006/relationships/tags" Target="../tags/tag247.xml"/><Relationship Id="rId107" Type="http://schemas.openxmlformats.org/officeDocument/2006/relationships/tags" Target="../tags/tag107.xml"/><Relationship Id="rId268" Type="http://schemas.openxmlformats.org/officeDocument/2006/relationships/tags" Target="../tags/tag268.xml"/><Relationship Id="rId289" Type="http://schemas.openxmlformats.org/officeDocument/2006/relationships/tags" Target="../tags/tag289.xml"/><Relationship Id="rId11" Type="http://schemas.openxmlformats.org/officeDocument/2006/relationships/tags" Target="../tags/tag11.xml"/><Relationship Id="rId32" Type="http://schemas.openxmlformats.org/officeDocument/2006/relationships/tags" Target="../tags/tag32.xml"/><Relationship Id="rId53" Type="http://schemas.openxmlformats.org/officeDocument/2006/relationships/tags" Target="../tags/tag53.xml"/><Relationship Id="rId74" Type="http://schemas.openxmlformats.org/officeDocument/2006/relationships/tags" Target="../tags/tag74.xml"/><Relationship Id="rId128" Type="http://schemas.openxmlformats.org/officeDocument/2006/relationships/tags" Target="../tags/tag128.xml"/><Relationship Id="rId149" Type="http://schemas.openxmlformats.org/officeDocument/2006/relationships/tags" Target="../tags/tag149.xml"/><Relationship Id="rId314" Type="http://schemas.openxmlformats.org/officeDocument/2006/relationships/tags" Target="../tags/tag314.xml"/><Relationship Id="rId335" Type="http://schemas.openxmlformats.org/officeDocument/2006/relationships/tags" Target="../tags/tag335.xml"/><Relationship Id="rId356" Type="http://schemas.openxmlformats.org/officeDocument/2006/relationships/tags" Target="../tags/tag356.xml"/><Relationship Id="rId377" Type="http://schemas.openxmlformats.org/officeDocument/2006/relationships/slideLayout" Target="../slideLayouts/slideLayout42.xml"/><Relationship Id="rId5" Type="http://schemas.openxmlformats.org/officeDocument/2006/relationships/tags" Target="../tags/tag5.xml"/><Relationship Id="rId95" Type="http://schemas.openxmlformats.org/officeDocument/2006/relationships/tags" Target="../tags/tag95.xml"/><Relationship Id="rId160" Type="http://schemas.openxmlformats.org/officeDocument/2006/relationships/tags" Target="../tags/tag160.xml"/><Relationship Id="rId181" Type="http://schemas.openxmlformats.org/officeDocument/2006/relationships/tags" Target="../tags/tag181.xml"/><Relationship Id="rId216" Type="http://schemas.openxmlformats.org/officeDocument/2006/relationships/tags" Target="../tags/tag216.xml"/><Relationship Id="rId237" Type="http://schemas.openxmlformats.org/officeDocument/2006/relationships/tags" Target="../tags/tag237.xml"/><Relationship Id="rId258" Type="http://schemas.openxmlformats.org/officeDocument/2006/relationships/tags" Target="../tags/tag258.xml"/><Relationship Id="rId279" Type="http://schemas.openxmlformats.org/officeDocument/2006/relationships/tags" Target="../tags/tag279.xml"/><Relationship Id="rId22" Type="http://schemas.openxmlformats.org/officeDocument/2006/relationships/tags" Target="../tags/tag22.xml"/><Relationship Id="rId43" Type="http://schemas.openxmlformats.org/officeDocument/2006/relationships/tags" Target="../tags/tag43.xml"/><Relationship Id="rId64" Type="http://schemas.openxmlformats.org/officeDocument/2006/relationships/tags" Target="../tags/tag64.xml"/><Relationship Id="rId118" Type="http://schemas.openxmlformats.org/officeDocument/2006/relationships/tags" Target="../tags/tag118.xml"/><Relationship Id="rId139" Type="http://schemas.openxmlformats.org/officeDocument/2006/relationships/tags" Target="../tags/tag139.xml"/><Relationship Id="rId290" Type="http://schemas.openxmlformats.org/officeDocument/2006/relationships/tags" Target="../tags/tag290.xml"/><Relationship Id="rId304" Type="http://schemas.openxmlformats.org/officeDocument/2006/relationships/tags" Target="../tags/tag304.xml"/><Relationship Id="rId325" Type="http://schemas.openxmlformats.org/officeDocument/2006/relationships/tags" Target="../tags/tag325.xml"/><Relationship Id="rId346" Type="http://schemas.openxmlformats.org/officeDocument/2006/relationships/tags" Target="../tags/tag346.xml"/><Relationship Id="rId367" Type="http://schemas.openxmlformats.org/officeDocument/2006/relationships/tags" Target="../tags/tag367.xml"/><Relationship Id="rId85" Type="http://schemas.openxmlformats.org/officeDocument/2006/relationships/tags" Target="../tags/tag85.xml"/><Relationship Id="rId150" Type="http://schemas.openxmlformats.org/officeDocument/2006/relationships/tags" Target="../tags/tag150.xml"/><Relationship Id="rId171" Type="http://schemas.openxmlformats.org/officeDocument/2006/relationships/tags" Target="../tags/tag171.xml"/><Relationship Id="rId192" Type="http://schemas.openxmlformats.org/officeDocument/2006/relationships/tags" Target="../tags/tag192.xml"/><Relationship Id="rId206" Type="http://schemas.openxmlformats.org/officeDocument/2006/relationships/tags" Target="../tags/tag206.xml"/><Relationship Id="rId227" Type="http://schemas.openxmlformats.org/officeDocument/2006/relationships/tags" Target="../tags/tag227.xml"/><Relationship Id="rId248" Type="http://schemas.openxmlformats.org/officeDocument/2006/relationships/tags" Target="../tags/tag248.xml"/><Relationship Id="rId269" Type="http://schemas.openxmlformats.org/officeDocument/2006/relationships/tags" Target="../tags/tag269.xml"/><Relationship Id="rId12" Type="http://schemas.openxmlformats.org/officeDocument/2006/relationships/tags" Target="../tags/tag12.xml"/><Relationship Id="rId33" Type="http://schemas.openxmlformats.org/officeDocument/2006/relationships/tags" Target="../tags/tag33.xml"/><Relationship Id="rId108" Type="http://schemas.openxmlformats.org/officeDocument/2006/relationships/tags" Target="../tags/tag108.xml"/><Relationship Id="rId129" Type="http://schemas.openxmlformats.org/officeDocument/2006/relationships/tags" Target="../tags/tag129.xml"/><Relationship Id="rId280" Type="http://schemas.openxmlformats.org/officeDocument/2006/relationships/tags" Target="../tags/tag280.xml"/><Relationship Id="rId315" Type="http://schemas.openxmlformats.org/officeDocument/2006/relationships/tags" Target="../tags/tag315.xml"/><Relationship Id="rId336" Type="http://schemas.openxmlformats.org/officeDocument/2006/relationships/tags" Target="../tags/tag336.xml"/><Relationship Id="rId357" Type="http://schemas.openxmlformats.org/officeDocument/2006/relationships/tags" Target="../tags/tag357.xml"/><Relationship Id="rId54" Type="http://schemas.openxmlformats.org/officeDocument/2006/relationships/tags" Target="../tags/tag54.xml"/><Relationship Id="rId75" Type="http://schemas.openxmlformats.org/officeDocument/2006/relationships/tags" Target="../tags/tag75.xml"/><Relationship Id="rId96" Type="http://schemas.openxmlformats.org/officeDocument/2006/relationships/tags" Target="../tags/tag96.xml"/><Relationship Id="rId140" Type="http://schemas.openxmlformats.org/officeDocument/2006/relationships/tags" Target="../tags/tag140.xml"/><Relationship Id="rId161" Type="http://schemas.openxmlformats.org/officeDocument/2006/relationships/tags" Target="../tags/tag161.xml"/><Relationship Id="rId182" Type="http://schemas.openxmlformats.org/officeDocument/2006/relationships/tags" Target="../tags/tag182.xml"/><Relationship Id="rId217" Type="http://schemas.openxmlformats.org/officeDocument/2006/relationships/tags" Target="../tags/tag217.xml"/><Relationship Id="rId378" Type="http://schemas.openxmlformats.org/officeDocument/2006/relationships/notesSlide" Target="../notesSlides/notesSlide7.xml"/><Relationship Id="rId6" Type="http://schemas.openxmlformats.org/officeDocument/2006/relationships/tags" Target="../tags/tag6.xml"/><Relationship Id="rId238" Type="http://schemas.openxmlformats.org/officeDocument/2006/relationships/tags" Target="../tags/tag238.xml"/><Relationship Id="rId259" Type="http://schemas.openxmlformats.org/officeDocument/2006/relationships/tags" Target="../tags/tag259.xml"/><Relationship Id="rId23" Type="http://schemas.openxmlformats.org/officeDocument/2006/relationships/tags" Target="../tags/tag23.xml"/><Relationship Id="rId119" Type="http://schemas.openxmlformats.org/officeDocument/2006/relationships/tags" Target="../tags/tag119.xml"/><Relationship Id="rId270" Type="http://schemas.openxmlformats.org/officeDocument/2006/relationships/tags" Target="../tags/tag270.xml"/><Relationship Id="rId291" Type="http://schemas.openxmlformats.org/officeDocument/2006/relationships/tags" Target="../tags/tag291.xml"/><Relationship Id="rId305" Type="http://schemas.openxmlformats.org/officeDocument/2006/relationships/tags" Target="../tags/tag305.xml"/><Relationship Id="rId326" Type="http://schemas.openxmlformats.org/officeDocument/2006/relationships/tags" Target="../tags/tag326.xml"/><Relationship Id="rId347" Type="http://schemas.openxmlformats.org/officeDocument/2006/relationships/tags" Target="../tags/tag347.xml"/><Relationship Id="rId44" Type="http://schemas.openxmlformats.org/officeDocument/2006/relationships/tags" Target="../tags/tag44.xml"/><Relationship Id="rId65" Type="http://schemas.openxmlformats.org/officeDocument/2006/relationships/tags" Target="../tags/tag65.xml"/><Relationship Id="rId86" Type="http://schemas.openxmlformats.org/officeDocument/2006/relationships/tags" Target="../tags/tag86.xml"/><Relationship Id="rId130" Type="http://schemas.openxmlformats.org/officeDocument/2006/relationships/tags" Target="../tags/tag130.xml"/><Relationship Id="rId151" Type="http://schemas.openxmlformats.org/officeDocument/2006/relationships/tags" Target="../tags/tag151.xml"/><Relationship Id="rId368" Type="http://schemas.openxmlformats.org/officeDocument/2006/relationships/tags" Target="../tags/tag368.xml"/><Relationship Id="rId172" Type="http://schemas.openxmlformats.org/officeDocument/2006/relationships/tags" Target="../tags/tag172.xml"/><Relationship Id="rId193" Type="http://schemas.openxmlformats.org/officeDocument/2006/relationships/tags" Target="../tags/tag193.xml"/><Relationship Id="rId207" Type="http://schemas.openxmlformats.org/officeDocument/2006/relationships/tags" Target="../tags/tag207.xml"/><Relationship Id="rId228" Type="http://schemas.openxmlformats.org/officeDocument/2006/relationships/tags" Target="../tags/tag228.xml"/><Relationship Id="rId249" Type="http://schemas.openxmlformats.org/officeDocument/2006/relationships/tags" Target="../tags/tag249.xml"/><Relationship Id="rId13" Type="http://schemas.openxmlformats.org/officeDocument/2006/relationships/tags" Target="../tags/tag13.xml"/><Relationship Id="rId109" Type="http://schemas.openxmlformats.org/officeDocument/2006/relationships/tags" Target="../tags/tag109.xml"/><Relationship Id="rId260" Type="http://schemas.openxmlformats.org/officeDocument/2006/relationships/tags" Target="../tags/tag260.xml"/><Relationship Id="rId281" Type="http://schemas.openxmlformats.org/officeDocument/2006/relationships/tags" Target="../tags/tag281.xml"/><Relationship Id="rId316" Type="http://schemas.openxmlformats.org/officeDocument/2006/relationships/tags" Target="../tags/tag316.xml"/><Relationship Id="rId337" Type="http://schemas.openxmlformats.org/officeDocument/2006/relationships/tags" Target="../tags/tag337.xml"/><Relationship Id="rId34" Type="http://schemas.openxmlformats.org/officeDocument/2006/relationships/tags" Target="../tags/tag34.xml"/><Relationship Id="rId55" Type="http://schemas.openxmlformats.org/officeDocument/2006/relationships/tags" Target="../tags/tag55.xml"/><Relationship Id="rId76" Type="http://schemas.openxmlformats.org/officeDocument/2006/relationships/tags" Target="../tags/tag76.xml"/><Relationship Id="rId97" Type="http://schemas.openxmlformats.org/officeDocument/2006/relationships/tags" Target="../tags/tag97.xml"/><Relationship Id="rId120" Type="http://schemas.openxmlformats.org/officeDocument/2006/relationships/tags" Target="../tags/tag120.xml"/><Relationship Id="rId141" Type="http://schemas.openxmlformats.org/officeDocument/2006/relationships/tags" Target="../tags/tag141.xml"/><Relationship Id="rId358" Type="http://schemas.openxmlformats.org/officeDocument/2006/relationships/tags" Target="../tags/tag358.xml"/><Relationship Id="rId7" Type="http://schemas.openxmlformats.org/officeDocument/2006/relationships/tags" Target="../tags/tag7.xml"/><Relationship Id="rId162" Type="http://schemas.openxmlformats.org/officeDocument/2006/relationships/tags" Target="../tags/tag162.xml"/><Relationship Id="rId183" Type="http://schemas.openxmlformats.org/officeDocument/2006/relationships/tags" Target="../tags/tag183.xml"/><Relationship Id="rId218" Type="http://schemas.openxmlformats.org/officeDocument/2006/relationships/tags" Target="../tags/tag218.xml"/><Relationship Id="rId239" Type="http://schemas.openxmlformats.org/officeDocument/2006/relationships/tags" Target="../tags/tag239.xml"/><Relationship Id="rId250" Type="http://schemas.openxmlformats.org/officeDocument/2006/relationships/tags" Target="../tags/tag250.xml"/><Relationship Id="rId271" Type="http://schemas.openxmlformats.org/officeDocument/2006/relationships/tags" Target="../tags/tag271.xml"/><Relationship Id="rId292" Type="http://schemas.openxmlformats.org/officeDocument/2006/relationships/tags" Target="../tags/tag292.xml"/><Relationship Id="rId306" Type="http://schemas.openxmlformats.org/officeDocument/2006/relationships/tags" Target="../tags/tag306.xml"/><Relationship Id="rId24" Type="http://schemas.openxmlformats.org/officeDocument/2006/relationships/tags" Target="../tags/tag24.xml"/><Relationship Id="rId45" Type="http://schemas.openxmlformats.org/officeDocument/2006/relationships/tags" Target="../tags/tag45.xml"/><Relationship Id="rId66" Type="http://schemas.openxmlformats.org/officeDocument/2006/relationships/tags" Target="../tags/tag66.xml"/><Relationship Id="rId87" Type="http://schemas.openxmlformats.org/officeDocument/2006/relationships/tags" Target="../tags/tag87.xml"/><Relationship Id="rId110" Type="http://schemas.openxmlformats.org/officeDocument/2006/relationships/tags" Target="../tags/tag110.xml"/><Relationship Id="rId131" Type="http://schemas.openxmlformats.org/officeDocument/2006/relationships/tags" Target="../tags/tag131.xml"/><Relationship Id="rId327" Type="http://schemas.openxmlformats.org/officeDocument/2006/relationships/tags" Target="../tags/tag327.xml"/><Relationship Id="rId348" Type="http://schemas.openxmlformats.org/officeDocument/2006/relationships/tags" Target="../tags/tag348.xml"/><Relationship Id="rId369" Type="http://schemas.openxmlformats.org/officeDocument/2006/relationships/tags" Target="../tags/tag369.xml"/><Relationship Id="rId152" Type="http://schemas.openxmlformats.org/officeDocument/2006/relationships/tags" Target="../tags/tag152.xml"/><Relationship Id="rId173" Type="http://schemas.openxmlformats.org/officeDocument/2006/relationships/tags" Target="../tags/tag173.xml"/><Relationship Id="rId194" Type="http://schemas.openxmlformats.org/officeDocument/2006/relationships/tags" Target="../tags/tag194.xml"/><Relationship Id="rId208" Type="http://schemas.openxmlformats.org/officeDocument/2006/relationships/tags" Target="../tags/tag208.xml"/><Relationship Id="rId229" Type="http://schemas.openxmlformats.org/officeDocument/2006/relationships/tags" Target="../tags/tag229.xml"/><Relationship Id="rId240" Type="http://schemas.openxmlformats.org/officeDocument/2006/relationships/tags" Target="../tags/tag240.xml"/><Relationship Id="rId261" Type="http://schemas.openxmlformats.org/officeDocument/2006/relationships/tags" Target="../tags/tag261.xml"/><Relationship Id="rId14" Type="http://schemas.openxmlformats.org/officeDocument/2006/relationships/tags" Target="../tags/tag14.xml"/><Relationship Id="rId35" Type="http://schemas.openxmlformats.org/officeDocument/2006/relationships/tags" Target="../tags/tag35.xml"/><Relationship Id="rId56" Type="http://schemas.openxmlformats.org/officeDocument/2006/relationships/tags" Target="../tags/tag56.xml"/><Relationship Id="rId77" Type="http://schemas.openxmlformats.org/officeDocument/2006/relationships/tags" Target="../tags/tag77.xml"/><Relationship Id="rId100" Type="http://schemas.openxmlformats.org/officeDocument/2006/relationships/tags" Target="../tags/tag100.xml"/><Relationship Id="rId282" Type="http://schemas.openxmlformats.org/officeDocument/2006/relationships/tags" Target="../tags/tag282.xml"/><Relationship Id="rId317" Type="http://schemas.openxmlformats.org/officeDocument/2006/relationships/tags" Target="../tags/tag317.xml"/><Relationship Id="rId338" Type="http://schemas.openxmlformats.org/officeDocument/2006/relationships/tags" Target="../tags/tag338.xml"/><Relationship Id="rId359" Type="http://schemas.openxmlformats.org/officeDocument/2006/relationships/tags" Target="../tags/tag359.xml"/><Relationship Id="rId8" Type="http://schemas.openxmlformats.org/officeDocument/2006/relationships/tags" Target="../tags/tag8.xml"/><Relationship Id="rId98" Type="http://schemas.openxmlformats.org/officeDocument/2006/relationships/tags" Target="../tags/tag98.xml"/><Relationship Id="rId121" Type="http://schemas.openxmlformats.org/officeDocument/2006/relationships/tags" Target="../tags/tag121.xml"/><Relationship Id="rId142" Type="http://schemas.openxmlformats.org/officeDocument/2006/relationships/tags" Target="../tags/tag142.xml"/><Relationship Id="rId163" Type="http://schemas.openxmlformats.org/officeDocument/2006/relationships/tags" Target="../tags/tag163.xml"/><Relationship Id="rId184" Type="http://schemas.openxmlformats.org/officeDocument/2006/relationships/tags" Target="../tags/tag184.xml"/><Relationship Id="rId219" Type="http://schemas.openxmlformats.org/officeDocument/2006/relationships/tags" Target="../tags/tag219.xml"/><Relationship Id="rId370" Type="http://schemas.openxmlformats.org/officeDocument/2006/relationships/tags" Target="../tags/tag370.xml"/><Relationship Id="rId230" Type="http://schemas.openxmlformats.org/officeDocument/2006/relationships/tags" Target="../tags/tag230.xml"/><Relationship Id="rId251" Type="http://schemas.openxmlformats.org/officeDocument/2006/relationships/tags" Target="../tags/tag251.xml"/><Relationship Id="rId25" Type="http://schemas.openxmlformats.org/officeDocument/2006/relationships/tags" Target="../tags/tag25.xml"/><Relationship Id="rId46" Type="http://schemas.openxmlformats.org/officeDocument/2006/relationships/tags" Target="../tags/tag46.xml"/><Relationship Id="rId67" Type="http://schemas.openxmlformats.org/officeDocument/2006/relationships/tags" Target="../tags/tag67.xml"/><Relationship Id="rId272" Type="http://schemas.openxmlformats.org/officeDocument/2006/relationships/tags" Target="../tags/tag272.xml"/><Relationship Id="rId293" Type="http://schemas.openxmlformats.org/officeDocument/2006/relationships/tags" Target="../tags/tag293.xml"/><Relationship Id="rId307" Type="http://schemas.openxmlformats.org/officeDocument/2006/relationships/tags" Target="../tags/tag307.xml"/><Relationship Id="rId328" Type="http://schemas.openxmlformats.org/officeDocument/2006/relationships/tags" Target="../tags/tag328.xml"/><Relationship Id="rId349" Type="http://schemas.openxmlformats.org/officeDocument/2006/relationships/tags" Target="../tags/tag349.xml"/><Relationship Id="rId88" Type="http://schemas.openxmlformats.org/officeDocument/2006/relationships/tags" Target="../tags/tag88.xml"/><Relationship Id="rId111" Type="http://schemas.openxmlformats.org/officeDocument/2006/relationships/tags" Target="../tags/tag111.xml"/><Relationship Id="rId132" Type="http://schemas.openxmlformats.org/officeDocument/2006/relationships/tags" Target="../tags/tag132.xml"/><Relationship Id="rId153" Type="http://schemas.openxmlformats.org/officeDocument/2006/relationships/tags" Target="../tags/tag153.xml"/><Relationship Id="rId174" Type="http://schemas.openxmlformats.org/officeDocument/2006/relationships/tags" Target="../tags/tag174.xml"/><Relationship Id="rId195" Type="http://schemas.openxmlformats.org/officeDocument/2006/relationships/tags" Target="../tags/tag195.xml"/><Relationship Id="rId209" Type="http://schemas.openxmlformats.org/officeDocument/2006/relationships/tags" Target="../tags/tag209.xml"/><Relationship Id="rId360" Type="http://schemas.openxmlformats.org/officeDocument/2006/relationships/tags" Target="../tags/tag360.xml"/><Relationship Id="rId220" Type="http://schemas.openxmlformats.org/officeDocument/2006/relationships/tags" Target="../tags/tag220.xml"/><Relationship Id="rId241" Type="http://schemas.openxmlformats.org/officeDocument/2006/relationships/tags" Target="../tags/tag241.xml"/><Relationship Id="rId15" Type="http://schemas.openxmlformats.org/officeDocument/2006/relationships/tags" Target="../tags/tag15.xml"/><Relationship Id="rId36" Type="http://schemas.openxmlformats.org/officeDocument/2006/relationships/tags" Target="../tags/tag36.xml"/><Relationship Id="rId57" Type="http://schemas.openxmlformats.org/officeDocument/2006/relationships/tags" Target="../tags/tag57.xml"/><Relationship Id="rId262" Type="http://schemas.openxmlformats.org/officeDocument/2006/relationships/tags" Target="../tags/tag262.xml"/><Relationship Id="rId283" Type="http://schemas.openxmlformats.org/officeDocument/2006/relationships/tags" Target="../tags/tag283.xml"/><Relationship Id="rId318" Type="http://schemas.openxmlformats.org/officeDocument/2006/relationships/tags" Target="../tags/tag318.xml"/><Relationship Id="rId339" Type="http://schemas.openxmlformats.org/officeDocument/2006/relationships/tags" Target="../tags/tag339.xml"/><Relationship Id="rId78" Type="http://schemas.openxmlformats.org/officeDocument/2006/relationships/tags" Target="../tags/tag78.xml"/><Relationship Id="rId99" Type="http://schemas.openxmlformats.org/officeDocument/2006/relationships/tags" Target="../tags/tag99.xml"/><Relationship Id="rId101" Type="http://schemas.openxmlformats.org/officeDocument/2006/relationships/tags" Target="../tags/tag101.xml"/><Relationship Id="rId122" Type="http://schemas.openxmlformats.org/officeDocument/2006/relationships/tags" Target="../tags/tag122.xml"/><Relationship Id="rId143" Type="http://schemas.openxmlformats.org/officeDocument/2006/relationships/tags" Target="../tags/tag143.xml"/><Relationship Id="rId164" Type="http://schemas.openxmlformats.org/officeDocument/2006/relationships/tags" Target="../tags/tag164.xml"/><Relationship Id="rId185" Type="http://schemas.openxmlformats.org/officeDocument/2006/relationships/tags" Target="../tags/tag185.xml"/><Relationship Id="rId350" Type="http://schemas.openxmlformats.org/officeDocument/2006/relationships/tags" Target="../tags/tag350.xml"/><Relationship Id="rId371" Type="http://schemas.openxmlformats.org/officeDocument/2006/relationships/tags" Target="../tags/tag37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80" Type="http://schemas.openxmlformats.org/officeDocument/2006/relationships/tags" Target="../tags/tag180.xml"/><Relationship Id="rId210" Type="http://schemas.openxmlformats.org/officeDocument/2006/relationships/tags" Target="../tags/tag210.xml"/><Relationship Id="rId215" Type="http://schemas.openxmlformats.org/officeDocument/2006/relationships/tags" Target="../tags/tag215.xml"/><Relationship Id="rId236" Type="http://schemas.openxmlformats.org/officeDocument/2006/relationships/tags" Target="../tags/tag236.xml"/><Relationship Id="rId257" Type="http://schemas.openxmlformats.org/officeDocument/2006/relationships/tags" Target="../tags/tag257.xml"/><Relationship Id="rId278" Type="http://schemas.openxmlformats.org/officeDocument/2006/relationships/tags" Target="../tags/tag278.xml"/><Relationship Id="rId26" Type="http://schemas.openxmlformats.org/officeDocument/2006/relationships/tags" Target="../tags/tag26.xml"/><Relationship Id="rId231" Type="http://schemas.openxmlformats.org/officeDocument/2006/relationships/tags" Target="../tags/tag231.xml"/><Relationship Id="rId252" Type="http://schemas.openxmlformats.org/officeDocument/2006/relationships/tags" Target="../tags/tag252.xml"/><Relationship Id="rId273" Type="http://schemas.openxmlformats.org/officeDocument/2006/relationships/tags" Target="../tags/tag273.xml"/><Relationship Id="rId294" Type="http://schemas.openxmlformats.org/officeDocument/2006/relationships/tags" Target="../tags/tag294.xml"/><Relationship Id="rId308" Type="http://schemas.openxmlformats.org/officeDocument/2006/relationships/tags" Target="../tags/tag308.xml"/><Relationship Id="rId329" Type="http://schemas.openxmlformats.org/officeDocument/2006/relationships/tags" Target="../tags/tag329.xml"/><Relationship Id="rId47" Type="http://schemas.openxmlformats.org/officeDocument/2006/relationships/tags" Target="../tags/tag47.xml"/><Relationship Id="rId68" Type="http://schemas.openxmlformats.org/officeDocument/2006/relationships/tags" Target="../tags/tag68.xml"/><Relationship Id="rId89" Type="http://schemas.openxmlformats.org/officeDocument/2006/relationships/tags" Target="../tags/tag89.xml"/><Relationship Id="rId112" Type="http://schemas.openxmlformats.org/officeDocument/2006/relationships/tags" Target="../tags/tag112.xml"/><Relationship Id="rId133" Type="http://schemas.openxmlformats.org/officeDocument/2006/relationships/tags" Target="../tags/tag133.xml"/><Relationship Id="rId154" Type="http://schemas.openxmlformats.org/officeDocument/2006/relationships/tags" Target="../tags/tag154.xml"/><Relationship Id="rId175" Type="http://schemas.openxmlformats.org/officeDocument/2006/relationships/tags" Target="../tags/tag175.xml"/><Relationship Id="rId340" Type="http://schemas.openxmlformats.org/officeDocument/2006/relationships/tags" Target="../tags/tag340.xml"/><Relationship Id="rId361" Type="http://schemas.openxmlformats.org/officeDocument/2006/relationships/tags" Target="../tags/tag361.xml"/><Relationship Id="rId196" Type="http://schemas.openxmlformats.org/officeDocument/2006/relationships/tags" Target="../tags/tag196.xml"/><Relationship Id="rId200" Type="http://schemas.openxmlformats.org/officeDocument/2006/relationships/tags" Target="../tags/tag200.xml"/><Relationship Id="rId16" Type="http://schemas.openxmlformats.org/officeDocument/2006/relationships/tags" Target="../tags/tag16.xml"/><Relationship Id="rId221" Type="http://schemas.openxmlformats.org/officeDocument/2006/relationships/tags" Target="../tags/tag221.xml"/><Relationship Id="rId242" Type="http://schemas.openxmlformats.org/officeDocument/2006/relationships/tags" Target="../tags/tag242.xml"/><Relationship Id="rId263" Type="http://schemas.openxmlformats.org/officeDocument/2006/relationships/tags" Target="../tags/tag263.xml"/><Relationship Id="rId284" Type="http://schemas.openxmlformats.org/officeDocument/2006/relationships/tags" Target="../tags/tag284.xml"/><Relationship Id="rId319" Type="http://schemas.openxmlformats.org/officeDocument/2006/relationships/tags" Target="../tags/tag319.xml"/><Relationship Id="rId37" Type="http://schemas.openxmlformats.org/officeDocument/2006/relationships/tags" Target="../tags/tag37.xml"/><Relationship Id="rId58" Type="http://schemas.openxmlformats.org/officeDocument/2006/relationships/tags" Target="../tags/tag58.xml"/><Relationship Id="rId79" Type="http://schemas.openxmlformats.org/officeDocument/2006/relationships/tags" Target="../tags/tag79.xml"/><Relationship Id="rId102" Type="http://schemas.openxmlformats.org/officeDocument/2006/relationships/tags" Target="../tags/tag102.xml"/><Relationship Id="rId123" Type="http://schemas.openxmlformats.org/officeDocument/2006/relationships/tags" Target="../tags/tag123.xml"/><Relationship Id="rId144" Type="http://schemas.openxmlformats.org/officeDocument/2006/relationships/tags" Target="../tags/tag144.xml"/><Relationship Id="rId330" Type="http://schemas.openxmlformats.org/officeDocument/2006/relationships/tags" Target="../tags/tag330.xml"/><Relationship Id="rId90" Type="http://schemas.openxmlformats.org/officeDocument/2006/relationships/tags" Target="../tags/tag90.xml"/><Relationship Id="rId165" Type="http://schemas.openxmlformats.org/officeDocument/2006/relationships/tags" Target="../tags/tag165.xml"/><Relationship Id="rId186" Type="http://schemas.openxmlformats.org/officeDocument/2006/relationships/tags" Target="../tags/tag186.xml"/><Relationship Id="rId351" Type="http://schemas.openxmlformats.org/officeDocument/2006/relationships/tags" Target="../tags/tag351.xml"/><Relationship Id="rId372" Type="http://schemas.openxmlformats.org/officeDocument/2006/relationships/tags" Target="../tags/tag372.xml"/><Relationship Id="rId211" Type="http://schemas.openxmlformats.org/officeDocument/2006/relationships/tags" Target="../tags/tag211.xml"/><Relationship Id="rId232" Type="http://schemas.openxmlformats.org/officeDocument/2006/relationships/tags" Target="../tags/tag232.xml"/><Relationship Id="rId253" Type="http://schemas.openxmlformats.org/officeDocument/2006/relationships/tags" Target="../tags/tag253.xml"/><Relationship Id="rId274" Type="http://schemas.openxmlformats.org/officeDocument/2006/relationships/tags" Target="../tags/tag274.xml"/><Relationship Id="rId295" Type="http://schemas.openxmlformats.org/officeDocument/2006/relationships/tags" Target="../tags/tag295.xml"/><Relationship Id="rId309" Type="http://schemas.openxmlformats.org/officeDocument/2006/relationships/tags" Target="../tags/tag309.xml"/><Relationship Id="rId27" Type="http://schemas.openxmlformats.org/officeDocument/2006/relationships/tags" Target="../tags/tag27.xml"/><Relationship Id="rId48" Type="http://schemas.openxmlformats.org/officeDocument/2006/relationships/tags" Target="../tags/tag48.xml"/><Relationship Id="rId69" Type="http://schemas.openxmlformats.org/officeDocument/2006/relationships/tags" Target="../tags/tag69.xml"/><Relationship Id="rId113" Type="http://schemas.openxmlformats.org/officeDocument/2006/relationships/tags" Target="../tags/tag113.xml"/><Relationship Id="rId134" Type="http://schemas.openxmlformats.org/officeDocument/2006/relationships/tags" Target="../tags/tag134.xml"/><Relationship Id="rId320" Type="http://schemas.openxmlformats.org/officeDocument/2006/relationships/tags" Target="../tags/tag320.xml"/><Relationship Id="rId80" Type="http://schemas.openxmlformats.org/officeDocument/2006/relationships/tags" Target="../tags/tag80.xml"/><Relationship Id="rId155" Type="http://schemas.openxmlformats.org/officeDocument/2006/relationships/tags" Target="../tags/tag155.xml"/><Relationship Id="rId176" Type="http://schemas.openxmlformats.org/officeDocument/2006/relationships/tags" Target="../tags/tag176.xml"/><Relationship Id="rId197" Type="http://schemas.openxmlformats.org/officeDocument/2006/relationships/tags" Target="../tags/tag197.xml"/><Relationship Id="rId341" Type="http://schemas.openxmlformats.org/officeDocument/2006/relationships/tags" Target="../tags/tag341.xml"/><Relationship Id="rId362" Type="http://schemas.openxmlformats.org/officeDocument/2006/relationships/tags" Target="../tags/tag362.xml"/><Relationship Id="rId201" Type="http://schemas.openxmlformats.org/officeDocument/2006/relationships/tags" Target="../tags/tag201.xml"/><Relationship Id="rId222" Type="http://schemas.openxmlformats.org/officeDocument/2006/relationships/tags" Target="../tags/tag222.xml"/><Relationship Id="rId243" Type="http://schemas.openxmlformats.org/officeDocument/2006/relationships/tags" Target="../tags/tag243.xml"/><Relationship Id="rId264" Type="http://schemas.openxmlformats.org/officeDocument/2006/relationships/tags" Target="../tags/tag264.xml"/><Relationship Id="rId285" Type="http://schemas.openxmlformats.org/officeDocument/2006/relationships/tags" Target="../tags/tag285.xml"/><Relationship Id="rId17" Type="http://schemas.openxmlformats.org/officeDocument/2006/relationships/tags" Target="../tags/tag17.xml"/><Relationship Id="rId38" Type="http://schemas.openxmlformats.org/officeDocument/2006/relationships/tags" Target="../tags/tag38.xml"/><Relationship Id="rId59" Type="http://schemas.openxmlformats.org/officeDocument/2006/relationships/tags" Target="../tags/tag59.xml"/><Relationship Id="rId103" Type="http://schemas.openxmlformats.org/officeDocument/2006/relationships/tags" Target="../tags/tag103.xml"/><Relationship Id="rId124" Type="http://schemas.openxmlformats.org/officeDocument/2006/relationships/tags" Target="../tags/tag124.xml"/><Relationship Id="rId310" Type="http://schemas.openxmlformats.org/officeDocument/2006/relationships/tags" Target="../tags/tag310.xml"/><Relationship Id="rId70" Type="http://schemas.openxmlformats.org/officeDocument/2006/relationships/tags" Target="../tags/tag70.xml"/><Relationship Id="rId91" Type="http://schemas.openxmlformats.org/officeDocument/2006/relationships/tags" Target="../tags/tag91.xml"/><Relationship Id="rId145" Type="http://schemas.openxmlformats.org/officeDocument/2006/relationships/tags" Target="../tags/tag145.xml"/><Relationship Id="rId166" Type="http://schemas.openxmlformats.org/officeDocument/2006/relationships/tags" Target="../tags/tag166.xml"/><Relationship Id="rId187" Type="http://schemas.openxmlformats.org/officeDocument/2006/relationships/tags" Target="../tags/tag187.xml"/><Relationship Id="rId331" Type="http://schemas.openxmlformats.org/officeDocument/2006/relationships/tags" Target="../tags/tag331.xml"/><Relationship Id="rId352" Type="http://schemas.openxmlformats.org/officeDocument/2006/relationships/tags" Target="../tags/tag352.xml"/><Relationship Id="rId373" Type="http://schemas.openxmlformats.org/officeDocument/2006/relationships/tags" Target="../tags/tag373.xml"/><Relationship Id="rId1" Type="http://schemas.openxmlformats.org/officeDocument/2006/relationships/tags" Target="../tags/tag1.xml"/><Relationship Id="rId212" Type="http://schemas.openxmlformats.org/officeDocument/2006/relationships/tags" Target="../tags/tag212.xml"/><Relationship Id="rId233" Type="http://schemas.openxmlformats.org/officeDocument/2006/relationships/tags" Target="../tags/tag233.xml"/><Relationship Id="rId254" Type="http://schemas.openxmlformats.org/officeDocument/2006/relationships/tags" Target="../tags/tag254.xml"/><Relationship Id="rId28" Type="http://schemas.openxmlformats.org/officeDocument/2006/relationships/tags" Target="../tags/tag28.xml"/><Relationship Id="rId49" Type="http://schemas.openxmlformats.org/officeDocument/2006/relationships/tags" Target="../tags/tag49.xml"/><Relationship Id="rId114" Type="http://schemas.openxmlformats.org/officeDocument/2006/relationships/tags" Target="../tags/tag114.xml"/><Relationship Id="rId275" Type="http://schemas.openxmlformats.org/officeDocument/2006/relationships/tags" Target="../tags/tag275.xml"/><Relationship Id="rId296" Type="http://schemas.openxmlformats.org/officeDocument/2006/relationships/tags" Target="../tags/tag296.xml"/><Relationship Id="rId300" Type="http://schemas.openxmlformats.org/officeDocument/2006/relationships/tags" Target="../tags/tag300.xml"/><Relationship Id="rId60" Type="http://schemas.openxmlformats.org/officeDocument/2006/relationships/tags" Target="../tags/tag60.xml"/><Relationship Id="rId81" Type="http://schemas.openxmlformats.org/officeDocument/2006/relationships/tags" Target="../tags/tag81.xml"/><Relationship Id="rId135" Type="http://schemas.openxmlformats.org/officeDocument/2006/relationships/tags" Target="../tags/tag135.xml"/><Relationship Id="rId156" Type="http://schemas.openxmlformats.org/officeDocument/2006/relationships/tags" Target="../tags/tag156.xml"/><Relationship Id="rId177" Type="http://schemas.openxmlformats.org/officeDocument/2006/relationships/tags" Target="../tags/tag177.xml"/><Relationship Id="rId198" Type="http://schemas.openxmlformats.org/officeDocument/2006/relationships/tags" Target="../tags/tag198.xml"/><Relationship Id="rId321" Type="http://schemas.openxmlformats.org/officeDocument/2006/relationships/tags" Target="../tags/tag321.xml"/><Relationship Id="rId342" Type="http://schemas.openxmlformats.org/officeDocument/2006/relationships/tags" Target="../tags/tag342.xml"/><Relationship Id="rId363" Type="http://schemas.openxmlformats.org/officeDocument/2006/relationships/tags" Target="../tags/tag363.xml"/><Relationship Id="rId202" Type="http://schemas.openxmlformats.org/officeDocument/2006/relationships/tags" Target="../tags/tag202.xml"/><Relationship Id="rId223" Type="http://schemas.openxmlformats.org/officeDocument/2006/relationships/tags" Target="../tags/tag223.xml"/><Relationship Id="rId244" Type="http://schemas.openxmlformats.org/officeDocument/2006/relationships/tags" Target="../tags/tag244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265" Type="http://schemas.openxmlformats.org/officeDocument/2006/relationships/tags" Target="../tags/tag265.xml"/><Relationship Id="rId286" Type="http://schemas.openxmlformats.org/officeDocument/2006/relationships/tags" Target="../tags/tag286.xml"/><Relationship Id="rId50" Type="http://schemas.openxmlformats.org/officeDocument/2006/relationships/tags" Target="../tags/tag50.xml"/><Relationship Id="rId104" Type="http://schemas.openxmlformats.org/officeDocument/2006/relationships/tags" Target="../tags/tag104.xml"/><Relationship Id="rId125" Type="http://schemas.openxmlformats.org/officeDocument/2006/relationships/tags" Target="../tags/tag125.xml"/><Relationship Id="rId146" Type="http://schemas.openxmlformats.org/officeDocument/2006/relationships/tags" Target="../tags/tag146.xml"/><Relationship Id="rId167" Type="http://schemas.openxmlformats.org/officeDocument/2006/relationships/tags" Target="../tags/tag167.xml"/><Relationship Id="rId188" Type="http://schemas.openxmlformats.org/officeDocument/2006/relationships/tags" Target="../tags/tag188.xml"/><Relationship Id="rId311" Type="http://schemas.openxmlformats.org/officeDocument/2006/relationships/tags" Target="../tags/tag311.xml"/><Relationship Id="rId332" Type="http://schemas.openxmlformats.org/officeDocument/2006/relationships/tags" Target="../tags/tag332.xml"/><Relationship Id="rId353" Type="http://schemas.openxmlformats.org/officeDocument/2006/relationships/tags" Target="../tags/tag353.xml"/><Relationship Id="rId374" Type="http://schemas.openxmlformats.org/officeDocument/2006/relationships/tags" Target="../tags/tag374.xml"/><Relationship Id="rId71" Type="http://schemas.openxmlformats.org/officeDocument/2006/relationships/tags" Target="../tags/tag71.xml"/><Relationship Id="rId92" Type="http://schemas.openxmlformats.org/officeDocument/2006/relationships/tags" Target="../tags/tag92.xml"/><Relationship Id="rId213" Type="http://schemas.openxmlformats.org/officeDocument/2006/relationships/tags" Target="../tags/tag213.xml"/><Relationship Id="rId234" Type="http://schemas.openxmlformats.org/officeDocument/2006/relationships/tags" Target="../tags/tag234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55" Type="http://schemas.openxmlformats.org/officeDocument/2006/relationships/tags" Target="../tags/tag255.xml"/><Relationship Id="rId276" Type="http://schemas.openxmlformats.org/officeDocument/2006/relationships/tags" Target="../tags/tag276.xml"/><Relationship Id="rId297" Type="http://schemas.openxmlformats.org/officeDocument/2006/relationships/tags" Target="../tags/tag297.xml"/><Relationship Id="rId40" Type="http://schemas.openxmlformats.org/officeDocument/2006/relationships/tags" Target="../tags/tag40.xml"/><Relationship Id="rId115" Type="http://schemas.openxmlformats.org/officeDocument/2006/relationships/tags" Target="../tags/tag115.xml"/><Relationship Id="rId136" Type="http://schemas.openxmlformats.org/officeDocument/2006/relationships/tags" Target="../tags/tag136.xml"/><Relationship Id="rId157" Type="http://schemas.openxmlformats.org/officeDocument/2006/relationships/tags" Target="../tags/tag157.xml"/><Relationship Id="rId178" Type="http://schemas.openxmlformats.org/officeDocument/2006/relationships/tags" Target="../tags/tag178.xml"/><Relationship Id="rId301" Type="http://schemas.openxmlformats.org/officeDocument/2006/relationships/tags" Target="../tags/tag301.xml"/><Relationship Id="rId322" Type="http://schemas.openxmlformats.org/officeDocument/2006/relationships/tags" Target="../tags/tag322.xml"/><Relationship Id="rId343" Type="http://schemas.openxmlformats.org/officeDocument/2006/relationships/tags" Target="../tags/tag343.xml"/><Relationship Id="rId364" Type="http://schemas.openxmlformats.org/officeDocument/2006/relationships/tags" Target="../tags/tag364.xml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199" Type="http://schemas.openxmlformats.org/officeDocument/2006/relationships/tags" Target="../tags/tag199.xml"/><Relationship Id="rId203" Type="http://schemas.openxmlformats.org/officeDocument/2006/relationships/tags" Target="../tags/tag203.xml"/><Relationship Id="rId19" Type="http://schemas.openxmlformats.org/officeDocument/2006/relationships/tags" Target="../tags/tag19.xml"/><Relationship Id="rId224" Type="http://schemas.openxmlformats.org/officeDocument/2006/relationships/tags" Target="../tags/tag224.xml"/><Relationship Id="rId245" Type="http://schemas.openxmlformats.org/officeDocument/2006/relationships/tags" Target="../tags/tag245.xml"/><Relationship Id="rId266" Type="http://schemas.openxmlformats.org/officeDocument/2006/relationships/tags" Target="../tags/tag266.xml"/><Relationship Id="rId287" Type="http://schemas.openxmlformats.org/officeDocument/2006/relationships/tags" Target="../tags/tag287.xml"/><Relationship Id="rId30" Type="http://schemas.openxmlformats.org/officeDocument/2006/relationships/tags" Target="../tags/tag30.xml"/><Relationship Id="rId105" Type="http://schemas.openxmlformats.org/officeDocument/2006/relationships/tags" Target="../tags/tag105.xml"/><Relationship Id="rId126" Type="http://schemas.openxmlformats.org/officeDocument/2006/relationships/tags" Target="../tags/tag126.xml"/><Relationship Id="rId147" Type="http://schemas.openxmlformats.org/officeDocument/2006/relationships/tags" Target="../tags/tag147.xml"/><Relationship Id="rId168" Type="http://schemas.openxmlformats.org/officeDocument/2006/relationships/tags" Target="../tags/tag168.xml"/><Relationship Id="rId312" Type="http://schemas.openxmlformats.org/officeDocument/2006/relationships/tags" Target="../tags/tag312.xml"/><Relationship Id="rId333" Type="http://schemas.openxmlformats.org/officeDocument/2006/relationships/tags" Target="../tags/tag333.xml"/><Relationship Id="rId354" Type="http://schemas.openxmlformats.org/officeDocument/2006/relationships/tags" Target="../tags/tag354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93" Type="http://schemas.openxmlformats.org/officeDocument/2006/relationships/tags" Target="../tags/tag93.xml"/><Relationship Id="rId189" Type="http://schemas.openxmlformats.org/officeDocument/2006/relationships/tags" Target="../tags/tag189.xml"/><Relationship Id="rId375" Type="http://schemas.openxmlformats.org/officeDocument/2006/relationships/tags" Target="../tags/tag375.xml"/><Relationship Id="rId3" Type="http://schemas.openxmlformats.org/officeDocument/2006/relationships/tags" Target="../tags/tag3.xml"/><Relationship Id="rId214" Type="http://schemas.openxmlformats.org/officeDocument/2006/relationships/tags" Target="../tags/tag214.xml"/><Relationship Id="rId235" Type="http://schemas.openxmlformats.org/officeDocument/2006/relationships/tags" Target="../tags/tag235.xml"/><Relationship Id="rId256" Type="http://schemas.openxmlformats.org/officeDocument/2006/relationships/tags" Target="../tags/tag256.xml"/><Relationship Id="rId277" Type="http://schemas.openxmlformats.org/officeDocument/2006/relationships/tags" Target="../tags/tag277.xml"/><Relationship Id="rId298" Type="http://schemas.openxmlformats.org/officeDocument/2006/relationships/tags" Target="../tags/tag298.xml"/><Relationship Id="rId116" Type="http://schemas.openxmlformats.org/officeDocument/2006/relationships/tags" Target="../tags/tag116.xml"/><Relationship Id="rId137" Type="http://schemas.openxmlformats.org/officeDocument/2006/relationships/tags" Target="../tags/tag137.xml"/><Relationship Id="rId158" Type="http://schemas.openxmlformats.org/officeDocument/2006/relationships/tags" Target="../tags/tag158.xml"/><Relationship Id="rId302" Type="http://schemas.openxmlformats.org/officeDocument/2006/relationships/tags" Target="../tags/tag302.xml"/><Relationship Id="rId323" Type="http://schemas.openxmlformats.org/officeDocument/2006/relationships/tags" Target="../tags/tag323.xml"/><Relationship Id="rId344" Type="http://schemas.openxmlformats.org/officeDocument/2006/relationships/tags" Target="../tags/tag344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62" Type="http://schemas.openxmlformats.org/officeDocument/2006/relationships/tags" Target="../tags/tag62.xml"/><Relationship Id="rId83" Type="http://schemas.openxmlformats.org/officeDocument/2006/relationships/tags" Target="../tags/tag83.xml"/><Relationship Id="rId179" Type="http://schemas.openxmlformats.org/officeDocument/2006/relationships/tags" Target="../tags/tag179.xml"/><Relationship Id="rId365" Type="http://schemas.openxmlformats.org/officeDocument/2006/relationships/tags" Target="../tags/tag365.xml"/><Relationship Id="rId190" Type="http://schemas.openxmlformats.org/officeDocument/2006/relationships/tags" Target="../tags/tag190.xml"/><Relationship Id="rId204" Type="http://schemas.openxmlformats.org/officeDocument/2006/relationships/tags" Target="../tags/tag204.xml"/><Relationship Id="rId225" Type="http://schemas.openxmlformats.org/officeDocument/2006/relationships/tags" Target="../tags/tag225.xml"/><Relationship Id="rId246" Type="http://schemas.openxmlformats.org/officeDocument/2006/relationships/tags" Target="../tags/tag246.xml"/><Relationship Id="rId267" Type="http://schemas.openxmlformats.org/officeDocument/2006/relationships/tags" Target="../tags/tag267.xml"/><Relationship Id="rId288" Type="http://schemas.openxmlformats.org/officeDocument/2006/relationships/tags" Target="../tags/tag288.xml"/><Relationship Id="rId106" Type="http://schemas.openxmlformats.org/officeDocument/2006/relationships/tags" Target="../tags/tag106.xml"/><Relationship Id="rId127" Type="http://schemas.openxmlformats.org/officeDocument/2006/relationships/tags" Target="../tags/tag127.xml"/><Relationship Id="rId313" Type="http://schemas.openxmlformats.org/officeDocument/2006/relationships/tags" Target="../tags/tag313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52" Type="http://schemas.openxmlformats.org/officeDocument/2006/relationships/tags" Target="../tags/tag52.xml"/><Relationship Id="rId73" Type="http://schemas.openxmlformats.org/officeDocument/2006/relationships/tags" Target="../tags/tag73.xml"/><Relationship Id="rId94" Type="http://schemas.openxmlformats.org/officeDocument/2006/relationships/tags" Target="../tags/tag94.xml"/><Relationship Id="rId148" Type="http://schemas.openxmlformats.org/officeDocument/2006/relationships/tags" Target="../tags/tag148.xml"/><Relationship Id="rId169" Type="http://schemas.openxmlformats.org/officeDocument/2006/relationships/tags" Target="../tags/tag169.xml"/><Relationship Id="rId334" Type="http://schemas.openxmlformats.org/officeDocument/2006/relationships/tags" Target="../tags/tag334.xml"/><Relationship Id="rId355" Type="http://schemas.openxmlformats.org/officeDocument/2006/relationships/tags" Target="../tags/tag355.xml"/><Relationship Id="rId376" Type="http://schemas.openxmlformats.org/officeDocument/2006/relationships/tags" Target="../tags/tag37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22.png"/><Relationship Id="rId18" Type="http://schemas.openxmlformats.org/officeDocument/2006/relationships/image" Target="../media/image27.png"/><Relationship Id="rId26" Type="http://schemas.openxmlformats.org/officeDocument/2006/relationships/image" Target="../media/image35.png"/><Relationship Id="rId3" Type="http://schemas.openxmlformats.org/officeDocument/2006/relationships/image" Target="../media/image12.jpeg"/><Relationship Id="rId21" Type="http://schemas.openxmlformats.org/officeDocument/2006/relationships/image" Target="../media/image30.png"/><Relationship Id="rId7" Type="http://schemas.openxmlformats.org/officeDocument/2006/relationships/image" Target="../media/image16.png"/><Relationship Id="rId12" Type="http://schemas.openxmlformats.org/officeDocument/2006/relationships/image" Target="../media/image21.png"/><Relationship Id="rId17" Type="http://schemas.openxmlformats.org/officeDocument/2006/relationships/image" Target="../media/image26.png"/><Relationship Id="rId25" Type="http://schemas.openxmlformats.org/officeDocument/2006/relationships/image" Target="../media/image34.png"/><Relationship Id="rId2" Type="http://schemas.openxmlformats.org/officeDocument/2006/relationships/notesSlide" Target="../notesSlides/notesSlide8.xml"/><Relationship Id="rId16" Type="http://schemas.openxmlformats.org/officeDocument/2006/relationships/image" Target="../media/image25.png"/><Relationship Id="rId20" Type="http://schemas.openxmlformats.org/officeDocument/2006/relationships/image" Target="../media/image29.png"/><Relationship Id="rId29" Type="http://schemas.openxmlformats.org/officeDocument/2006/relationships/image" Target="../media/image38.png"/><Relationship Id="rId1" Type="http://schemas.openxmlformats.org/officeDocument/2006/relationships/slideLayout" Target="../slideLayouts/slideLayout36.xml"/><Relationship Id="rId6" Type="http://schemas.openxmlformats.org/officeDocument/2006/relationships/image" Target="../media/image15.jpeg"/><Relationship Id="rId11" Type="http://schemas.openxmlformats.org/officeDocument/2006/relationships/image" Target="../media/image20.png"/><Relationship Id="rId24" Type="http://schemas.openxmlformats.org/officeDocument/2006/relationships/image" Target="../media/image33.png"/><Relationship Id="rId5" Type="http://schemas.openxmlformats.org/officeDocument/2006/relationships/image" Target="../media/image14.png"/><Relationship Id="rId15" Type="http://schemas.openxmlformats.org/officeDocument/2006/relationships/image" Target="../media/image24.png"/><Relationship Id="rId23" Type="http://schemas.openxmlformats.org/officeDocument/2006/relationships/image" Target="../media/image32.png"/><Relationship Id="rId28" Type="http://schemas.openxmlformats.org/officeDocument/2006/relationships/image" Target="../media/image37.png"/><Relationship Id="rId10" Type="http://schemas.openxmlformats.org/officeDocument/2006/relationships/image" Target="../media/image19.png"/><Relationship Id="rId19" Type="http://schemas.openxmlformats.org/officeDocument/2006/relationships/image" Target="../media/image28.png"/><Relationship Id="rId31" Type="http://schemas.openxmlformats.org/officeDocument/2006/relationships/image" Target="../media/image40.png"/><Relationship Id="rId4" Type="http://schemas.openxmlformats.org/officeDocument/2006/relationships/image" Target="../media/image13.png"/><Relationship Id="rId9" Type="http://schemas.openxmlformats.org/officeDocument/2006/relationships/image" Target="../media/image18.png"/><Relationship Id="rId14" Type="http://schemas.openxmlformats.org/officeDocument/2006/relationships/image" Target="../media/image23.png"/><Relationship Id="rId22" Type="http://schemas.openxmlformats.org/officeDocument/2006/relationships/image" Target="../media/image31.png"/><Relationship Id="rId27" Type="http://schemas.openxmlformats.org/officeDocument/2006/relationships/image" Target="../media/image36.png"/><Relationship Id="rId30" Type="http://schemas.openxmlformats.org/officeDocument/2006/relationships/image" Target="../media/image3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Marcador de contenido 3"/>
          <p:cNvPicPr>
            <a:picLocks noGrp="1" noChangeAspect="1"/>
          </p:cNvPicPr>
          <p:nvPr>
            <p:ph idx="1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50" b="3875"/>
          <a:stretch/>
        </p:blipFill>
        <p:spPr>
          <a:xfrm>
            <a:off x="0" y="0"/>
            <a:ext cx="12192000" cy="6858000"/>
          </a:xfrm>
        </p:spPr>
      </p:pic>
      <p:sp>
        <p:nvSpPr>
          <p:cNvPr id="7" name="Rectangle 2"/>
          <p:cNvSpPr txBox="1">
            <a:spLocks noChangeArrowheads="1"/>
          </p:cNvSpPr>
          <p:nvPr/>
        </p:nvSpPr>
        <p:spPr bwMode="auto">
          <a:xfrm>
            <a:off x="0" y="2714625"/>
            <a:ext cx="12192000" cy="1423988"/>
          </a:xfrm>
          <a:prstGeom prst="rect">
            <a:avLst/>
          </a:prstGeom>
          <a:solidFill>
            <a:schemeClr val="bg1">
              <a:alpha val="60000"/>
            </a:schemeClr>
          </a:solidFill>
          <a:ln>
            <a:noFill/>
          </a:ln>
          <a:extLst/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s-ES" altLang="es-PE" sz="5400" b="1" dirty="0">
                <a:cs typeface="Arial" panose="020B0604020202020204" pitchFamily="34" charset="0"/>
              </a:rPr>
              <a:t>Política Comercial del Perú</a:t>
            </a:r>
          </a:p>
        </p:txBody>
      </p:sp>
      <p:sp>
        <p:nvSpPr>
          <p:cNvPr id="5" name="1 CuadroTexto"/>
          <p:cNvSpPr txBox="1">
            <a:spLocks noChangeArrowheads="1"/>
          </p:cNvSpPr>
          <p:nvPr/>
        </p:nvSpPr>
        <p:spPr bwMode="auto">
          <a:xfrm>
            <a:off x="7104063" y="5441990"/>
            <a:ext cx="4867275" cy="11079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s-PE" altLang="es-PE" sz="2200" dirty="0">
                <a:solidFill>
                  <a:schemeClr val="bg1"/>
                </a:solidFill>
                <a:cs typeface="Arial" panose="020B0604020202020204" pitchFamily="34" charset="0"/>
              </a:rPr>
              <a:t>Roger Valencia Espinoza</a:t>
            </a:r>
          </a:p>
          <a:p>
            <a:pPr algn="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s-PE" altLang="es-PE" sz="2200" dirty="0">
                <a:solidFill>
                  <a:schemeClr val="bg1"/>
                </a:solidFill>
                <a:cs typeface="Arial" panose="020B0604020202020204" pitchFamily="34" charset="0"/>
              </a:rPr>
              <a:t>Ministro de Comercio Exterior y Turismo</a:t>
            </a:r>
          </a:p>
          <a:p>
            <a:pPr algn="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s-PE" altLang="es-PE" sz="2200" dirty="0">
                <a:solidFill>
                  <a:schemeClr val="bg1"/>
                </a:solidFill>
                <a:cs typeface="Arial" panose="020B0604020202020204" pitchFamily="34" charset="0"/>
              </a:rPr>
              <a:t>19 de junio de 2018</a:t>
            </a:r>
          </a:p>
        </p:txBody>
      </p:sp>
      <p:pic>
        <p:nvPicPr>
          <p:cNvPr id="6" name="Imagen 9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08"/>
          <a:stretch/>
        </p:blipFill>
        <p:spPr bwMode="auto">
          <a:xfrm>
            <a:off x="9251951" y="325438"/>
            <a:ext cx="2597150" cy="531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959418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ángulo 4"/>
          <p:cNvSpPr/>
          <p:nvPr/>
        </p:nvSpPr>
        <p:spPr>
          <a:xfrm>
            <a:off x="3870155" y="1066459"/>
            <a:ext cx="7224362" cy="26860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s-PE" sz="2400" b="1" dirty="0">
                <a:solidFill>
                  <a:prstClr val="black"/>
                </a:solidFill>
                <a:latin typeface="Albertus Extra Bold" panose="020E0802040304020204" pitchFamily="34" charset="0"/>
              </a:rPr>
              <a:t>Planes Regionales de Exportación – PERX</a:t>
            </a:r>
            <a:endParaRPr lang="es-PE" sz="3200" b="1" dirty="0">
              <a:solidFill>
                <a:prstClr val="black"/>
              </a:solidFill>
              <a:latin typeface="Albertus Extra Bold" panose="020E0802040304020204" pitchFamily="34" charset="0"/>
            </a:endParaRPr>
          </a:p>
          <a:p>
            <a:pPr marL="180975" lvl="2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s-PE" sz="3200" b="1" dirty="0">
                <a:solidFill>
                  <a:srgbClr val="4472C4">
                    <a:lumMod val="75000"/>
                  </a:srgbClr>
                </a:solidFill>
                <a:latin typeface="Franklin Gothic Demi" panose="020B0703020102020204" pitchFamily="34" charset="0"/>
              </a:rPr>
              <a:t>14</a:t>
            </a:r>
            <a:r>
              <a:rPr lang="es-PE" sz="2800" b="1" dirty="0">
                <a:solidFill>
                  <a:srgbClr val="4472C4">
                    <a:lumMod val="75000"/>
                  </a:srgbClr>
                </a:solidFill>
                <a:latin typeface="Franklin Gothic Demi" panose="020B0703020102020204" pitchFamily="34" charset="0"/>
              </a:rPr>
              <a:t> </a:t>
            </a:r>
            <a:r>
              <a:rPr lang="es-PE" dirty="0">
                <a:solidFill>
                  <a:srgbClr val="4472C4">
                    <a:lumMod val="75000"/>
                  </a:srgbClr>
                </a:solidFill>
                <a:latin typeface="Franklin Gothic Demi" panose="020B0703020102020204" pitchFamily="34" charset="0"/>
              </a:rPr>
              <a:t>PERX actualizados</a:t>
            </a:r>
            <a:endParaRPr lang="es-PE" sz="2800" dirty="0">
              <a:solidFill>
                <a:srgbClr val="4472C4">
                  <a:lumMod val="75000"/>
                </a:srgbClr>
              </a:solidFill>
              <a:latin typeface="Franklin Gothic Demi" panose="020B0703020102020204" pitchFamily="34" charset="0"/>
            </a:endParaRPr>
          </a:p>
          <a:p>
            <a:pPr marL="180975" lvl="2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s-PE" altLang="es-PE" sz="1600" b="1" dirty="0">
                <a:solidFill>
                  <a:prstClr val="black"/>
                </a:solidFill>
              </a:rPr>
              <a:t>La Libertad, Lambayeque, Ayacucho, Moquegua, Huánuco, San Martín, Arequipa, Piura, Tacna, Madre de Dios, Ica, Cajamarca, Huancavelica, Puno.</a:t>
            </a:r>
            <a:endParaRPr lang="es-PE" sz="1600" b="1" dirty="0">
              <a:solidFill>
                <a:prstClr val="black"/>
              </a:solidFill>
            </a:endParaRPr>
          </a:p>
          <a:p>
            <a:pPr marL="180975" lvl="2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s-PE" sz="3200" b="1" dirty="0">
                <a:solidFill>
                  <a:srgbClr val="4472C4">
                    <a:lumMod val="75000"/>
                  </a:srgbClr>
                </a:solidFill>
                <a:latin typeface="Franklin Gothic Demi" panose="020B0703020102020204" pitchFamily="34" charset="0"/>
              </a:rPr>
              <a:t>9</a:t>
            </a:r>
            <a:r>
              <a:rPr lang="es-PE" sz="2800" b="1" dirty="0">
                <a:solidFill>
                  <a:srgbClr val="4472C4">
                    <a:lumMod val="75000"/>
                  </a:srgbClr>
                </a:solidFill>
                <a:latin typeface="Franklin Gothic Demi" panose="020B0703020102020204" pitchFamily="34" charset="0"/>
              </a:rPr>
              <a:t> </a:t>
            </a:r>
            <a:r>
              <a:rPr lang="es-PE" dirty="0">
                <a:solidFill>
                  <a:srgbClr val="4472C4">
                    <a:lumMod val="75000"/>
                  </a:srgbClr>
                </a:solidFill>
                <a:latin typeface="Franklin Gothic Demi" panose="020B0703020102020204" pitchFamily="34" charset="0"/>
              </a:rPr>
              <a:t>en proceso</a:t>
            </a:r>
            <a:endParaRPr lang="es-PE" sz="2800" dirty="0">
              <a:solidFill>
                <a:srgbClr val="4472C4">
                  <a:lumMod val="75000"/>
                </a:srgbClr>
              </a:solidFill>
              <a:latin typeface="Franklin Gothic Demi" panose="020B0703020102020204" pitchFamily="34" charset="0"/>
            </a:endParaRPr>
          </a:p>
          <a:p>
            <a:pPr marL="180975" lvl="2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s-PE" altLang="es-PE" sz="1600" b="1" dirty="0">
                <a:solidFill>
                  <a:prstClr val="black"/>
                </a:solidFill>
              </a:rPr>
              <a:t>Amazonas, Ancash, Lima Regiones, Junín, Pasco, Cusco, Apurímac, Ucayali y Loreto.</a:t>
            </a:r>
            <a:endParaRPr lang="es-PE" sz="1600" b="1" dirty="0">
              <a:solidFill>
                <a:prstClr val="black"/>
              </a:solidFill>
            </a:endParaRPr>
          </a:p>
        </p:txBody>
      </p:sp>
      <p:sp>
        <p:nvSpPr>
          <p:cNvPr id="11" name="Rectángulo 10"/>
          <p:cNvSpPr/>
          <p:nvPr/>
        </p:nvSpPr>
        <p:spPr>
          <a:xfrm>
            <a:off x="88962" y="4173006"/>
            <a:ext cx="12004501" cy="249449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s-PE">
              <a:solidFill>
                <a:prstClr val="white"/>
              </a:solidFill>
            </a:endParaRPr>
          </a:p>
        </p:txBody>
      </p:sp>
      <p:sp>
        <p:nvSpPr>
          <p:cNvPr id="16" name="CuadroTexto 15"/>
          <p:cNvSpPr txBox="1"/>
          <p:nvPr/>
        </p:nvSpPr>
        <p:spPr bwMode="auto">
          <a:xfrm>
            <a:off x="263153" y="4284135"/>
            <a:ext cx="2667718" cy="83099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s-PE" sz="2800" b="1" dirty="0">
                <a:solidFill>
                  <a:prstClr val="black"/>
                </a:solidFill>
                <a:latin typeface="Albertus Extra Bold" panose="020E0802040304020204" pitchFamily="34" charset="0"/>
              </a:rPr>
              <a:t>Certificaciones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s-PE" sz="2000" b="1" dirty="0">
                <a:solidFill>
                  <a:prstClr val="black"/>
                </a:solidFill>
                <a:latin typeface="Albertus Extra Bold" panose="020E0802040304020204" pitchFamily="34" charset="0"/>
              </a:rPr>
              <a:t>Internacionales</a:t>
            </a:r>
            <a:endParaRPr lang="es-PE" sz="2400" b="1" dirty="0">
              <a:solidFill>
                <a:prstClr val="black"/>
              </a:solidFill>
            </a:endParaRPr>
          </a:p>
        </p:txBody>
      </p:sp>
      <p:cxnSp>
        <p:nvCxnSpPr>
          <p:cNvPr id="33" name="Conector recto 32"/>
          <p:cNvCxnSpPr/>
          <p:nvPr/>
        </p:nvCxnSpPr>
        <p:spPr>
          <a:xfrm flipH="1">
            <a:off x="4780975" y="4567194"/>
            <a:ext cx="3" cy="1797325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49" name="CuadroTexto 37"/>
          <p:cNvSpPr txBox="1">
            <a:spLocks noChangeArrowheads="1"/>
          </p:cNvSpPr>
          <p:nvPr/>
        </p:nvSpPr>
        <p:spPr bwMode="auto">
          <a:xfrm>
            <a:off x="262647" y="5021903"/>
            <a:ext cx="3774331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s-PE" altLang="es-PE" sz="1400" b="1" dirty="0">
                <a:solidFill>
                  <a:srgbClr val="70AD47">
                    <a:lumMod val="75000"/>
                  </a:srgbClr>
                </a:solidFill>
                <a:latin typeface="Arial Narrow" panose="020B0606020202030204" pitchFamily="34" charset="0"/>
              </a:rPr>
              <a:t>Mejora de la Calidad e Inocuidad</a:t>
            </a: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r>
              <a:rPr lang="es-PE" sz="1300" dirty="0">
                <a:solidFill>
                  <a:srgbClr val="000000"/>
                </a:solidFill>
                <a:latin typeface="Arial Narrow" panose="020B0606020202030204" pitchFamily="34" charset="0"/>
              </a:rPr>
              <a:t>Apoyo a productores de cacao, palta, banano, banano </a:t>
            </a:r>
            <a:r>
              <a:rPr lang="es-PE" sz="1300" dirty="0" err="1">
                <a:solidFill>
                  <a:srgbClr val="000000"/>
                </a:solidFill>
                <a:latin typeface="Arial Narrow" panose="020B0606020202030204" pitchFamily="34" charset="0"/>
              </a:rPr>
              <a:t>moquicho</a:t>
            </a:r>
            <a:r>
              <a:rPr lang="es-PE" sz="1300" dirty="0">
                <a:solidFill>
                  <a:srgbClr val="000000"/>
                </a:solidFill>
                <a:latin typeface="Arial Narrow" panose="020B0606020202030204" pitchFamily="34" charset="0"/>
              </a:rPr>
              <a:t>, granadilla, jengibre, cúrcuma, quinua</a:t>
            </a:r>
            <a:endParaRPr lang="es-PE" altLang="es-PE" sz="1400" dirty="0">
              <a:solidFill>
                <a:srgbClr val="000000"/>
              </a:solidFill>
              <a:latin typeface="Arial Narrow" panose="020B0606020202030204" pitchFamily="34" charset="0"/>
            </a:endParaRPr>
          </a:p>
        </p:txBody>
      </p:sp>
      <p:sp>
        <p:nvSpPr>
          <p:cNvPr id="2" name="Rectángulo 1"/>
          <p:cNvSpPr/>
          <p:nvPr/>
        </p:nvSpPr>
        <p:spPr>
          <a:xfrm>
            <a:off x="518442" y="5760706"/>
            <a:ext cx="2559611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s-PE" sz="1200" b="1" dirty="0">
                <a:solidFill>
                  <a:srgbClr val="339933"/>
                </a:solidFill>
              </a:rPr>
              <a:t>+ de </a:t>
            </a:r>
            <a:r>
              <a:rPr lang="es-PE" sz="1400" b="1" dirty="0">
                <a:solidFill>
                  <a:srgbClr val="70AD47">
                    <a:lumMod val="50000"/>
                  </a:srgbClr>
                </a:solidFill>
              </a:rPr>
              <a:t>3 mil </a:t>
            </a:r>
            <a:r>
              <a:rPr lang="es-PE" sz="1200" b="1" dirty="0">
                <a:solidFill>
                  <a:srgbClr val="339933"/>
                </a:solidFill>
              </a:rPr>
              <a:t>productores capacitados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s-PE" sz="1400" b="1" dirty="0">
                <a:solidFill>
                  <a:srgbClr val="70AD47">
                    <a:lumMod val="50000"/>
                  </a:srgbClr>
                </a:solidFill>
              </a:rPr>
              <a:t>1,575</a:t>
            </a:r>
            <a:r>
              <a:rPr lang="es-PE" sz="1200" b="1" dirty="0">
                <a:solidFill>
                  <a:srgbClr val="339933"/>
                </a:solidFill>
              </a:rPr>
              <a:t> productores certificados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s-PE" sz="1400" b="1" dirty="0">
                <a:solidFill>
                  <a:srgbClr val="70AD47">
                    <a:lumMod val="50000"/>
                  </a:srgbClr>
                </a:solidFill>
              </a:rPr>
              <a:t>+S/. 45 millones </a:t>
            </a:r>
            <a:r>
              <a:rPr lang="es-PE" sz="1200" b="1" dirty="0">
                <a:solidFill>
                  <a:srgbClr val="339933"/>
                </a:solidFill>
              </a:rPr>
              <a:t>de exportaciones.</a:t>
            </a:r>
            <a:endParaRPr lang="es-PE" sz="1400" b="1" dirty="0">
              <a:solidFill>
                <a:srgbClr val="339933"/>
              </a:solidFill>
            </a:endParaRPr>
          </a:p>
        </p:txBody>
      </p:sp>
      <p:pic>
        <p:nvPicPr>
          <p:cNvPr id="34" name="Imagen 3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9262" y="864636"/>
            <a:ext cx="2557323" cy="31754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5" name="Imagen 34"/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49963" y="5353232"/>
            <a:ext cx="652179" cy="652179"/>
          </a:xfrm>
          <a:prstGeom prst="rect">
            <a:avLst/>
          </a:prstGeom>
        </p:spPr>
      </p:pic>
      <p:pic>
        <p:nvPicPr>
          <p:cNvPr id="36" name="Picture 2" descr="Resultado de imagen para certificacion organica"/>
          <p:cNvPicPr>
            <a:picLocks noChangeAspect="1" noChangeArrowheads="1"/>
          </p:cNvPicPr>
          <p:nvPr/>
        </p:nvPicPr>
        <p:blipFill rotWithShape="1">
          <a:blip r:embed="rId5" cstate="print">
            <a:clrChange>
              <a:clrFrom>
                <a:srgbClr val="FDFEF9"/>
              </a:clrFrom>
              <a:clrTo>
                <a:srgbClr val="FDFEF9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0199"/>
          <a:stretch/>
        </p:blipFill>
        <p:spPr bwMode="auto">
          <a:xfrm>
            <a:off x="3923280" y="4862459"/>
            <a:ext cx="703092" cy="4643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32" descr="Resultado de imagen para certificacion organica"/>
          <p:cNvPicPr>
            <a:picLocks noChangeAspect="1" noChangeArrowheads="1"/>
          </p:cNvPicPr>
          <p:nvPr/>
        </p:nvPicPr>
        <p:blipFill rotWithShape="1">
          <a:blip r:embed="rId5" cstate="print">
            <a:clrChange>
              <a:clrFrom>
                <a:srgbClr val="FDFEF9"/>
              </a:clrFrom>
              <a:clrTo>
                <a:srgbClr val="FDFEF9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369"/>
          <a:stretch/>
        </p:blipFill>
        <p:spPr bwMode="auto">
          <a:xfrm>
            <a:off x="3974775" y="5969395"/>
            <a:ext cx="600102" cy="5833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ángulo 3"/>
          <p:cNvSpPr/>
          <p:nvPr/>
        </p:nvSpPr>
        <p:spPr>
          <a:xfrm>
            <a:off x="4846093" y="4833409"/>
            <a:ext cx="7047456" cy="9079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PE" altLang="es-PE" sz="1400" b="1" dirty="0">
                <a:solidFill>
                  <a:srgbClr val="70AD47">
                    <a:lumMod val="75000"/>
                  </a:srgbClr>
                </a:solidFill>
                <a:latin typeface="Arial Narrow" panose="020B0606020202030204" pitchFamily="34" charset="0"/>
              </a:rPr>
              <a:t>Diferenciación de Productos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MX" sz="1300" dirty="0">
                <a:solidFill>
                  <a:srgbClr val="000000"/>
                </a:solidFill>
                <a:latin typeface="Arial Narrow" panose="020B0606020202030204" pitchFamily="34" charset="0"/>
              </a:rPr>
              <a:t>Desarrollo de las marcas colectivas “PUQUYMI” para el mango de Casma, “ZIKUYO” para el cacao blanco de Piura y “KALL KAKAO” para el cacao chuncho de Cusco. Consolidación de las marcas TIBANA, piña y AYNOK’A, quinua; beneficiando a más de 1,800 productores.</a:t>
            </a:r>
            <a:endParaRPr lang="es-PE" altLang="es-PE" sz="1300" dirty="0">
              <a:solidFill>
                <a:srgbClr val="000000"/>
              </a:solidFill>
              <a:latin typeface="Arial Narrow" panose="020B0606020202030204" pitchFamily="34" charset="0"/>
            </a:endParaRPr>
          </a:p>
        </p:txBody>
      </p:sp>
      <p:pic>
        <p:nvPicPr>
          <p:cNvPr id="38" name="Imagen 37"/>
          <p:cNvPicPr>
            <a:picLocks noChangeAspect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4558" y="4194292"/>
            <a:ext cx="717611" cy="636133"/>
          </a:xfrm>
          <a:prstGeom prst="rect">
            <a:avLst/>
          </a:prstGeom>
        </p:spPr>
      </p:pic>
      <p:pic>
        <p:nvPicPr>
          <p:cNvPr id="39" name="Imagen 38"/>
          <p:cNvPicPr/>
          <p:nvPr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b="50975"/>
          <a:stretch/>
        </p:blipFill>
        <p:spPr>
          <a:xfrm>
            <a:off x="7724287" y="5848303"/>
            <a:ext cx="1619601" cy="695451"/>
          </a:xfrm>
          <a:prstGeom prst="rect">
            <a:avLst/>
          </a:prstGeom>
        </p:spPr>
      </p:pic>
      <p:pic>
        <p:nvPicPr>
          <p:cNvPr id="41" name="Imagen 40"/>
          <p:cNvPicPr/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21373" y="5553467"/>
            <a:ext cx="1365902" cy="1246594"/>
          </a:xfrm>
          <a:prstGeom prst="rect">
            <a:avLst/>
          </a:prstGeom>
          <a:noFill/>
          <a:ln>
            <a:noFill/>
          </a:ln>
        </p:spPr>
      </p:pic>
      <p:pic>
        <p:nvPicPr>
          <p:cNvPr id="42" name="Imagen 41" descr="C:\Users\MINAGRI DIGNA\AppData\Local\Microsoft\Windows\INetCacheContent.Word\3.jpg"/>
          <p:cNvPicPr/>
          <p:nvPr/>
        </p:nvPicPr>
        <p:blipFill>
          <a:blip r:embed="rId9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1939" y="5837077"/>
            <a:ext cx="1233359" cy="717905"/>
          </a:xfrm>
          <a:prstGeom prst="rect">
            <a:avLst/>
          </a:prstGeom>
          <a:noFill/>
          <a:ln>
            <a:noFill/>
          </a:ln>
        </p:spPr>
      </p:pic>
      <p:pic>
        <p:nvPicPr>
          <p:cNvPr id="43" name="Imagen 42"/>
          <p:cNvPicPr>
            <a:picLocks noChangeAspect="1"/>
          </p:cNvPicPr>
          <p:nvPr/>
        </p:nvPicPr>
        <p:blipFill rotWithShape="1"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3772" t="48229" r="10929" b="11624"/>
          <a:stretch/>
        </p:blipFill>
        <p:spPr>
          <a:xfrm>
            <a:off x="6190872" y="5679321"/>
            <a:ext cx="1620607" cy="943066"/>
          </a:xfrm>
          <a:prstGeom prst="rect">
            <a:avLst/>
          </a:prstGeom>
        </p:spPr>
      </p:pic>
      <p:sp>
        <p:nvSpPr>
          <p:cNvPr id="8" name="Rectángulo 7"/>
          <p:cNvSpPr/>
          <p:nvPr/>
        </p:nvSpPr>
        <p:spPr>
          <a:xfrm>
            <a:off x="4275136" y="4287285"/>
            <a:ext cx="742321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PE" altLang="es-PE" sz="2800" b="1" dirty="0" smtClean="0">
                <a:solidFill>
                  <a:srgbClr val="F06010"/>
                </a:solidFill>
                <a:latin typeface="Albertus Extra Bold" panose="020E0802040304020204" pitchFamily="34" charset="0"/>
              </a:rPr>
              <a:t>    Elementos </a:t>
            </a:r>
            <a:r>
              <a:rPr lang="es-PE" altLang="es-PE" b="1" dirty="0">
                <a:solidFill>
                  <a:srgbClr val="F06010"/>
                </a:solidFill>
                <a:latin typeface="Albertus Extra Bold" panose="020E0802040304020204" pitchFamily="34" charset="0"/>
              </a:rPr>
              <a:t>Diferenciadores de la oferta exportable</a:t>
            </a:r>
            <a:endParaRPr lang="es-PE" altLang="es-PE" sz="2400" b="1" dirty="0">
              <a:solidFill>
                <a:srgbClr val="000000"/>
              </a:solidFill>
            </a:endParaRPr>
          </a:p>
        </p:txBody>
      </p:sp>
      <p:sp>
        <p:nvSpPr>
          <p:cNvPr id="47" name="Rectángulo 19"/>
          <p:cNvSpPr/>
          <p:nvPr/>
        </p:nvSpPr>
        <p:spPr>
          <a:xfrm>
            <a:off x="82316" y="203150"/>
            <a:ext cx="12011148" cy="7490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s-PE" sz="2800" b="1" spc="-60" dirty="0">
                <a:solidFill>
                  <a:srgbClr val="C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Diversificando y Descentralizando la Oferta Exportable</a:t>
            </a:r>
          </a:p>
        </p:txBody>
      </p:sp>
      <p:sp>
        <p:nvSpPr>
          <p:cNvPr id="3" name="Rectángulo 2"/>
          <p:cNvSpPr/>
          <p:nvPr/>
        </p:nvSpPr>
        <p:spPr>
          <a:xfrm>
            <a:off x="748695" y="1634729"/>
            <a:ext cx="601134" cy="1178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prstClr val="white"/>
              </a:solidFill>
            </a:endParaRPr>
          </a:p>
        </p:txBody>
      </p:sp>
      <p:pic>
        <p:nvPicPr>
          <p:cNvPr id="25" name="Imagen 24">
            <a:extLst>
              <a:ext uri="{FF2B5EF4-FFF2-40B4-BE49-F238E27FC236}">
                <a16:creationId xmlns="" xmlns:a16="http://schemas.microsoft.com/office/drawing/2014/main" id="{1CC4BC11-04E6-4E70-89A5-1429CBA8F129}"/>
              </a:ext>
            </a:extLst>
          </p:cNvPr>
          <p:cNvPicPr/>
          <p:nvPr/>
        </p:nvPicPr>
        <p:blipFill>
          <a:blip r:embed="rId11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436968" y="5587357"/>
            <a:ext cx="1464368" cy="1080142"/>
          </a:xfrm>
          <a:prstGeom prst="rect">
            <a:avLst/>
          </a:prstGeom>
        </p:spPr>
      </p:pic>
      <p:pic>
        <p:nvPicPr>
          <p:cNvPr id="6" name="Imagen 5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9046" y="4254883"/>
            <a:ext cx="561109" cy="561109"/>
          </a:xfrm>
          <a:prstGeom prst="rect">
            <a:avLst/>
          </a:prstGeom>
        </p:spPr>
      </p:pic>
      <p:pic>
        <p:nvPicPr>
          <p:cNvPr id="7" name="Imagen 6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0803" y="5922715"/>
            <a:ext cx="611881" cy="6118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83723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831">
            <a:extLst>
              <a:ext uri="{FF2B5EF4-FFF2-40B4-BE49-F238E27FC236}">
                <a16:creationId xmlns="" xmlns:a16="http://schemas.microsoft.com/office/drawing/2014/main" id="{3824746E-DD1F-4C62-9FEA-DBAF9B28076B}"/>
              </a:ext>
            </a:extLst>
          </p:cNvPr>
          <p:cNvSpPr/>
          <p:nvPr/>
        </p:nvSpPr>
        <p:spPr>
          <a:xfrm>
            <a:off x="6167210" y="2124870"/>
            <a:ext cx="1909990" cy="1587321"/>
          </a:xfrm>
          <a:prstGeom prst="rect">
            <a:avLst/>
          </a:prstGeom>
          <a:noFill/>
          <a:ln>
            <a:noFill/>
          </a:ln>
        </p:spPr>
      </p:sp>
      <p:pic>
        <p:nvPicPr>
          <p:cNvPr id="5" name="Shape 833">
            <a:extLst>
              <a:ext uri="{FF2B5EF4-FFF2-40B4-BE49-F238E27FC236}">
                <a16:creationId xmlns="" xmlns:a16="http://schemas.microsoft.com/office/drawing/2014/main" id="{C459AC1A-1E21-4F48-A984-A9128A812F5D}"/>
              </a:ext>
            </a:extLst>
          </p:cNvPr>
          <p:cNvPicPr preferRelativeResize="0"/>
          <p:nvPr/>
        </p:nvPicPr>
        <p:blipFill rotWithShape="1">
          <a:blip r:embed="rId2">
            <a:alphaModFix/>
          </a:blip>
          <a:srcRect l="33233" t="67437" r="40625" b="12294"/>
          <a:stretch/>
        </p:blipFill>
        <p:spPr>
          <a:xfrm>
            <a:off x="9145440" y="3149448"/>
            <a:ext cx="2265027" cy="1348598"/>
          </a:xfrm>
          <a:prstGeom prst="rect">
            <a:avLst/>
          </a:prstGeom>
          <a:solidFill>
            <a:srgbClr val="ECECEC"/>
          </a:solidFill>
          <a:ln w="190500" cap="rnd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000" algn="tl" rotWithShape="0">
              <a:srgbClr val="000000">
                <a:alpha val="40784"/>
              </a:srgbClr>
            </a:outerShdw>
          </a:effectLst>
        </p:spPr>
      </p:pic>
      <p:sp>
        <p:nvSpPr>
          <p:cNvPr id="6" name="Shape 835" descr="Resultado de imagen para norte exporta">
            <a:extLst>
              <a:ext uri="{FF2B5EF4-FFF2-40B4-BE49-F238E27FC236}">
                <a16:creationId xmlns="" xmlns:a16="http://schemas.microsoft.com/office/drawing/2014/main" id="{F2F4AAA6-0247-4497-9389-ACC72B715514}"/>
              </a:ext>
            </a:extLst>
          </p:cNvPr>
          <p:cNvSpPr/>
          <p:nvPr/>
        </p:nvSpPr>
        <p:spPr>
          <a:xfrm>
            <a:off x="1889721" y="703146"/>
            <a:ext cx="228600" cy="228601"/>
          </a:xfrm>
          <a:prstGeom prst="rect">
            <a:avLst/>
          </a:prstGeom>
          <a:noFill/>
          <a:ln>
            <a:noFill/>
          </a:ln>
        </p:spPr>
        <p:txBody>
          <a:bodyPr wrap="square" lIns="68575" tIns="34275" rIns="68575" bIns="34275" anchor="t" anchorCtr="0">
            <a:noAutofit/>
          </a:bodyPr>
          <a:lstStyle/>
          <a:p>
            <a:endParaRPr sz="135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7" name="Shape 836" descr="Resultado de imagen para norte exporta">
            <a:extLst>
              <a:ext uri="{FF2B5EF4-FFF2-40B4-BE49-F238E27FC236}">
                <a16:creationId xmlns="" xmlns:a16="http://schemas.microsoft.com/office/drawing/2014/main" id="{B141F921-A3EE-44A6-B93D-21FA2777ED08}"/>
              </a:ext>
            </a:extLst>
          </p:cNvPr>
          <p:cNvSpPr/>
          <p:nvPr/>
        </p:nvSpPr>
        <p:spPr>
          <a:xfrm>
            <a:off x="2004021" y="817446"/>
            <a:ext cx="228600" cy="228601"/>
          </a:xfrm>
          <a:prstGeom prst="rect">
            <a:avLst/>
          </a:prstGeom>
          <a:noFill/>
          <a:ln>
            <a:noFill/>
          </a:ln>
        </p:spPr>
        <p:txBody>
          <a:bodyPr wrap="square" lIns="68575" tIns="34275" rIns="68575" bIns="34275" anchor="t" anchorCtr="0">
            <a:noAutofit/>
          </a:bodyPr>
          <a:lstStyle/>
          <a:p>
            <a:endParaRPr sz="135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pic>
        <p:nvPicPr>
          <p:cNvPr id="8" name="Shape 877">
            <a:extLst>
              <a:ext uri="{FF2B5EF4-FFF2-40B4-BE49-F238E27FC236}">
                <a16:creationId xmlns="" xmlns:a16="http://schemas.microsoft.com/office/drawing/2014/main" id="{E5B09C4D-D28B-4598-9B31-E6FD435A49E4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 l="21198" r="21196"/>
          <a:stretch/>
        </p:blipFill>
        <p:spPr>
          <a:xfrm>
            <a:off x="6167210" y="977977"/>
            <a:ext cx="2348658" cy="259903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" name="Imagen 8">
            <a:extLst>
              <a:ext uri="{FF2B5EF4-FFF2-40B4-BE49-F238E27FC236}">
                <a16:creationId xmlns="" xmlns:a16="http://schemas.microsoft.com/office/drawing/2014/main" id="{2E655A23-6BA4-47C0-9F4A-17D5063E2BD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12015" y="3712191"/>
            <a:ext cx="2022915" cy="275054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0" name="Rectángulo 9">
            <a:extLst>
              <a:ext uri="{FF2B5EF4-FFF2-40B4-BE49-F238E27FC236}">
                <a16:creationId xmlns="" xmlns:a16="http://schemas.microsoft.com/office/drawing/2014/main" id="{46AC3065-B1E7-495A-A825-4B6E15E0A2A0}"/>
              </a:ext>
            </a:extLst>
          </p:cNvPr>
          <p:cNvSpPr/>
          <p:nvPr/>
        </p:nvSpPr>
        <p:spPr>
          <a:xfrm>
            <a:off x="1253855" y="987033"/>
            <a:ext cx="148931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2400" b="1" dirty="0">
                <a:solidFill>
                  <a:srgbClr val="ED7D31">
                    <a:lumMod val="75000"/>
                  </a:srgbClr>
                </a:solidFill>
                <a:ea typeface="Calibri"/>
                <a:cs typeface="Calibri"/>
                <a:sym typeface="Calibri"/>
              </a:rPr>
              <a:t>Objetivos:</a:t>
            </a:r>
          </a:p>
        </p:txBody>
      </p:sp>
      <p:pic>
        <p:nvPicPr>
          <p:cNvPr id="11" name="Picture 2" descr="Resultado de imagen para objetivo icono">
            <a:extLst>
              <a:ext uri="{FF2B5EF4-FFF2-40B4-BE49-F238E27FC236}">
                <a16:creationId xmlns="" xmlns:a16="http://schemas.microsoft.com/office/drawing/2014/main" id="{B263A6C5-7AA0-43F0-B513-3AC00D7645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585" y="840285"/>
            <a:ext cx="632197" cy="5872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ángulo 11">
            <a:extLst>
              <a:ext uri="{FF2B5EF4-FFF2-40B4-BE49-F238E27FC236}">
                <a16:creationId xmlns="" xmlns:a16="http://schemas.microsoft.com/office/drawing/2014/main" id="{37CCA726-13D1-4796-AF59-A8F0CE0FFBA9}"/>
              </a:ext>
            </a:extLst>
          </p:cNvPr>
          <p:cNvSpPr/>
          <p:nvPr/>
        </p:nvSpPr>
        <p:spPr>
          <a:xfrm>
            <a:off x="785702" y="1474054"/>
            <a:ext cx="475193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000000"/>
              </a:buClr>
              <a:buSzPts val="2000"/>
            </a:pPr>
            <a:r>
              <a:rPr lang="es-ES" sz="1600" dirty="0">
                <a:solidFill>
                  <a:prstClr val="black"/>
                </a:solidFill>
                <a:ea typeface="Calibri"/>
                <a:cs typeface="Calibri"/>
                <a:sym typeface="Calibri"/>
              </a:rPr>
              <a:t>Posicionamiento de la oferta exportable priorizada utilizando las fortalezas y tecnología de la marca Perú.</a:t>
            </a:r>
          </a:p>
        </p:txBody>
      </p:sp>
      <p:sp>
        <p:nvSpPr>
          <p:cNvPr id="13" name="Rectángulo 12">
            <a:extLst>
              <a:ext uri="{FF2B5EF4-FFF2-40B4-BE49-F238E27FC236}">
                <a16:creationId xmlns="" xmlns:a16="http://schemas.microsoft.com/office/drawing/2014/main" id="{B9770A34-A724-4B4E-99CE-4376427F291F}"/>
              </a:ext>
            </a:extLst>
          </p:cNvPr>
          <p:cNvSpPr/>
          <p:nvPr/>
        </p:nvSpPr>
        <p:spPr>
          <a:xfrm>
            <a:off x="1160144" y="2405611"/>
            <a:ext cx="239078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2400" b="1" dirty="0">
                <a:solidFill>
                  <a:srgbClr val="5B9BD5">
                    <a:lumMod val="50000"/>
                  </a:srgbClr>
                </a:solidFill>
                <a:ea typeface="Calibri"/>
                <a:cs typeface="Calibri"/>
                <a:sym typeface="Calibri"/>
              </a:rPr>
              <a:t>Posicionamiento:</a:t>
            </a:r>
          </a:p>
        </p:txBody>
      </p:sp>
      <p:sp>
        <p:nvSpPr>
          <p:cNvPr id="14" name="Rectángulo 13">
            <a:extLst>
              <a:ext uri="{FF2B5EF4-FFF2-40B4-BE49-F238E27FC236}">
                <a16:creationId xmlns="" xmlns:a16="http://schemas.microsoft.com/office/drawing/2014/main" id="{0EB249BB-6CB0-473E-AE8D-79EDC8C941BB}"/>
              </a:ext>
            </a:extLst>
          </p:cNvPr>
          <p:cNvSpPr/>
          <p:nvPr/>
        </p:nvSpPr>
        <p:spPr>
          <a:xfrm>
            <a:off x="1128937" y="2912893"/>
            <a:ext cx="2660407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 lvl="1" indent="-180975">
              <a:buClr>
                <a:srgbClr val="000000"/>
              </a:buClr>
              <a:buSzPts val="2000"/>
              <a:buFont typeface="Arial"/>
              <a:buChar char="•"/>
            </a:pPr>
            <a:r>
              <a:rPr lang="es-ES" sz="2400" b="1" dirty="0" err="1">
                <a:solidFill>
                  <a:srgbClr val="70AD47">
                    <a:lumMod val="75000"/>
                  </a:srgbClr>
                </a:solidFill>
                <a:ea typeface="Calibri"/>
                <a:cs typeface="Calibri"/>
                <a:sym typeface="Calibri"/>
              </a:rPr>
              <a:t>Super</a:t>
            </a:r>
            <a:r>
              <a:rPr lang="es-ES" sz="2400" b="1" dirty="0">
                <a:solidFill>
                  <a:srgbClr val="70AD47">
                    <a:lumMod val="75000"/>
                  </a:srgbClr>
                </a:solidFill>
                <a:ea typeface="Calibri"/>
                <a:cs typeface="Calibri"/>
                <a:sym typeface="Calibri"/>
              </a:rPr>
              <a:t> </a:t>
            </a:r>
            <a:r>
              <a:rPr lang="es-ES" sz="2400" b="1" dirty="0" err="1">
                <a:solidFill>
                  <a:srgbClr val="70AD47">
                    <a:lumMod val="75000"/>
                  </a:srgbClr>
                </a:solidFill>
                <a:ea typeface="Calibri"/>
                <a:cs typeface="Calibri"/>
                <a:sym typeface="Calibri"/>
              </a:rPr>
              <a:t>Foods</a:t>
            </a:r>
            <a:r>
              <a:rPr lang="es-ES" sz="2400" b="1" dirty="0">
                <a:solidFill>
                  <a:srgbClr val="70AD47">
                    <a:lumMod val="75000"/>
                  </a:srgbClr>
                </a:solidFill>
                <a:ea typeface="Calibri"/>
                <a:cs typeface="Calibri"/>
                <a:sym typeface="Calibri"/>
              </a:rPr>
              <a:t> Perú</a:t>
            </a:r>
          </a:p>
          <a:p>
            <a:pPr marL="180975" lvl="1" indent="-180975">
              <a:buClr>
                <a:srgbClr val="000000"/>
              </a:buClr>
              <a:buSzPts val="2000"/>
              <a:buFont typeface="Arial"/>
              <a:buChar char="•"/>
            </a:pPr>
            <a:r>
              <a:rPr lang="es-ES" sz="2400" b="1" dirty="0">
                <a:solidFill>
                  <a:srgbClr val="008080"/>
                </a:solidFill>
                <a:ea typeface="Calibri"/>
                <a:cs typeface="Calibri"/>
                <a:sym typeface="Calibri"/>
              </a:rPr>
              <a:t>Alpaca Perú</a:t>
            </a:r>
          </a:p>
          <a:p>
            <a:pPr marL="180975" lvl="1" indent="-180975">
              <a:buClr>
                <a:srgbClr val="000000"/>
              </a:buClr>
              <a:buSzPts val="2000"/>
              <a:buFont typeface="Arial"/>
              <a:buChar char="•"/>
            </a:pPr>
            <a:r>
              <a:rPr lang="es-ES" sz="2400" b="1" dirty="0">
                <a:solidFill>
                  <a:srgbClr val="E7E6E6">
                    <a:lumMod val="25000"/>
                  </a:srgbClr>
                </a:solidFill>
                <a:ea typeface="Calibri"/>
                <a:cs typeface="Calibri"/>
                <a:sym typeface="Calibri"/>
              </a:rPr>
              <a:t>Perú Textiles</a:t>
            </a:r>
            <a:r>
              <a:rPr lang="es-ES" sz="2400" dirty="0">
                <a:solidFill>
                  <a:srgbClr val="E7E6E6">
                    <a:lumMod val="25000"/>
                  </a:srgbClr>
                </a:solidFill>
                <a:ea typeface="Calibri"/>
                <a:cs typeface="Calibri"/>
                <a:sym typeface="Calibri"/>
              </a:rPr>
              <a:t> </a:t>
            </a:r>
          </a:p>
        </p:txBody>
      </p:sp>
      <p:sp>
        <p:nvSpPr>
          <p:cNvPr id="15" name="Rectángulo 14">
            <a:extLst>
              <a:ext uri="{FF2B5EF4-FFF2-40B4-BE49-F238E27FC236}">
                <a16:creationId xmlns="" xmlns:a16="http://schemas.microsoft.com/office/drawing/2014/main" id="{A3A61FDB-1597-4942-81B1-A86A36F1BE8A}"/>
              </a:ext>
            </a:extLst>
          </p:cNvPr>
          <p:cNvSpPr/>
          <p:nvPr/>
        </p:nvSpPr>
        <p:spPr>
          <a:xfrm>
            <a:off x="1128937" y="4525189"/>
            <a:ext cx="212019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2400" b="1" dirty="0">
                <a:solidFill>
                  <a:srgbClr val="FFC000">
                    <a:lumMod val="75000"/>
                  </a:srgbClr>
                </a:solidFill>
                <a:ea typeface="Calibri"/>
                <a:cs typeface="Calibri"/>
                <a:sym typeface="Calibri"/>
              </a:rPr>
              <a:t>Nuevas Marcas</a:t>
            </a:r>
          </a:p>
        </p:txBody>
      </p:sp>
      <p:sp>
        <p:nvSpPr>
          <p:cNvPr id="16" name="Rectángulo 15">
            <a:extLst>
              <a:ext uri="{FF2B5EF4-FFF2-40B4-BE49-F238E27FC236}">
                <a16:creationId xmlns="" xmlns:a16="http://schemas.microsoft.com/office/drawing/2014/main" id="{0D316CE4-E798-4414-9ABE-E579C36F6C39}"/>
              </a:ext>
            </a:extLst>
          </p:cNvPr>
          <p:cNvSpPr/>
          <p:nvPr/>
        </p:nvSpPr>
        <p:spPr>
          <a:xfrm>
            <a:off x="1073170" y="5018815"/>
            <a:ext cx="190557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1" indent="-285750">
              <a:buClr>
                <a:srgbClr val="000000"/>
              </a:buClr>
              <a:buSzPts val="2000"/>
              <a:buFont typeface="Arial" panose="020B0604020202020204" pitchFamily="34" charset="0"/>
              <a:buChar char="•"/>
            </a:pPr>
            <a:r>
              <a:rPr lang="es-ES" sz="160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Cafés de Perú</a:t>
            </a:r>
          </a:p>
          <a:p>
            <a:pPr marL="285750" lvl="1" indent="-285750">
              <a:buClr>
                <a:srgbClr val="000000"/>
              </a:buClr>
              <a:buSzPts val="2000"/>
              <a:buFont typeface="Arial" panose="020B0604020202020204" pitchFamily="34" charset="0"/>
              <a:buChar char="•"/>
            </a:pPr>
            <a:r>
              <a:rPr lang="es-ES" sz="1600" dirty="0">
                <a:solidFill>
                  <a:srgbClr val="000000"/>
                </a:solidFill>
                <a:ea typeface="Calibri"/>
                <a:cs typeface="Calibri"/>
                <a:sym typeface="Calibri"/>
              </a:rPr>
              <a:t>Cacao de Perú</a:t>
            </a:r>
          </a:p>
          <a:p>
            <a:pPr marL="285750" lvl="1" indent="-285750">
              <a:buClr>
                <a:srgbClr val="000000"/>
              </a:buClr>
              <a:buSzPts val="2000"/>
              <a:buFont typeface="Arial" panose="020B0604020202020204" pitchFamily="34" charset="0"/>
              <a:buChar char="•"/>
            </a:pPr>
            <a:r>
              <a:rPr lang="es-ES" sz="1600" dirty="0">
                <a:solidFill>
                  <a:prstClr val="black"/>
                </a:solidFill>
                <a:ea typeface="Calibri"/>
                <a:cs typeface="Calibri"/>
                <a:sym typeface="Calibri"/>
              </a:rPr>
              <a:t>Perú Servicios </a:t>
            </a:r>
          </a:p>
        </p:txBody>
      </p:sp>
      <p:sp>
        <p:nvSpPr>
          <p:cNvPr id="17" name="Rectángulo 16">
            <a:extLst>
              <a:ext uri="{FF2B5EF4-FFF2-40B4-BE49-F238E27FC236}">
                <a16:creationId xmlns="" xmlns:a16="http://schemas.microsoft.com/office/drawing/2014/main" id="{16D5FA5D-4D39-48DD-95AD-8E3EF37D34ED}"/>
              </a:ext>
            </a:extLst>
          </p:cNvPr>
          <p:cNvSpPr/>
          <p:nvPr/>
        </p:nvSpPr>
        <p:spPr>
          <a:xfrm>
            <a:off x="3799685" y="4525189"/>
            <a:ext cx="216931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2400" b="1" dirty="0">
                <a:solidFill>
                  <a:srgbClr val="C00000"/>
                </a:solidFill>
                <a:ea typeface="Calibri"/>
                <a:cs typeface="Calibri"/>
                <a:sym typeface="Calibri"/>
              </a:rPr>
              <a:t>Relanzamiento:</a:t>
            </a:r>
          </a:p>
        </p:txBody>
      </p:sp>
      <p:sp>
        <p:nvSpPr>
          <p:cNvPr id="18" name="Rectángulo 17">
            <a:extLst>
              <a:ext uri="{FF2B5EF4-FFF2-40B4-BE49-F238E27FC236}">
                <a16:creationId xmlns="" xmlns:a16="http://schemas.microsoft.com/office/drawing/2014/main" id="{C5BD98A1-B19E-438C-BBF3-F78534115DFA}"/>
              </a:ext>
            </a:extLst>
          </p:cNvPr>
          <p:cNvSpPr/>
          <p:nvPr/>
        </p:nvSpPr>
        <p:spPr>
          <a:xfrm>
            <a:off x="3812211" y="5037199"/>
            <a:ext cx="1559017" cy="338554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285750" lvl="1" indent="-285750">
              <a:buClr>
                <a:srgbClr val="000000"/>
              </a:buClr>
              <a:buSzPts val="2000"/>
              <a:buFont typeface="Arial" panose="020B0604020202020204" pitchFamily="34" charset="0"/>
              <a:buChar char="•"/>
            </a:pPr>
            <a:r>
              <a:rPr lang="es-ES" sz="1600" dirty="0">
                <a:solidFill>
                  <a:prstClr val="black"/>
                </a:solidFill>
                <a:ea typeface="Calibri"/>
                <a:cs typeface="Calibri"/>
                <a:sym typeface="Calibri"/>
              </a:rPr>
              <a:t>Pisco es Perú</a:t>
            </a:r>
            <a:endParaRPr lang="es-ES" sz="1600" dirty="0">
              <a:solidFill>
                <a:srgbClr val="000000"/>
              </a:solidFill>
              <a:ea typeface="Calibri"/>
              <a:cs typeface="Calibri"/>
              <a:sym typeface="Calibri"/>
            </a:endParaRPr>
          </a:p>
        </p:txBody>
      </p:sp>
      <p:pic>
        <p:nvPicPr>
          <p:cNvPr id="19" name="Picture 4" descr="Resultado de imagen para introducción icono">
            <a:extLst>
              <a:ext uri="{FF2B5EF4-FFF2-40B4-BE49-F238E27FC236}">
                <a16:creationId xmlns="" xmlns:a16="http://schemas.microsoft.com/office/drawing/2014/main" id="{EFB63355-1AC3-4CBF-9FD0-DB7083347B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9818" y="4466156"/>
            <a:ext cx="579731" cy="5797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6" descr="Resultado de imagen para flecha  icono">
            <a:extLst>
              <a:ext uri="{FF2B5EF4-FFF2-40B4-BE49-F238E27FC236}">
                <a16:creationId xmlns="" xmlns:a16="http://schemas.microsoft.com/office/drawing/2014/main" id="{8A197074-4CE3-4B61-9676-D6C20CA126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3139587" y="4561301"/>
            <a:ext cx="686727" cy="3894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Imagen 20">
            <a:extLst>
              <a:ext uri="{FF2B5EF4-FFF2-40B4-BE49-F238E27FC236}">
                <a16:creationId xmlns="" xmlns:a16="http://schemas.microsoft.com/office/drawing/2014/main" id="{4D8A42D4-B4DB-4277-8FB4-1A97C9D7372D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904" t="23442" r="20208" b="15006"/>
          <a:stretch/>
        </p:blipFill>
        <p:spPr>
          <a:xfrm>
            <a:off x="8972369" y="944272"/>
            <a:ext cx="2611168" cy="179951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2" name="Imagen 21">
            <a:extLst>
              <a:ext uri="{FF2B5EF4-FFF2-40B4-BE49-F238E27FC236}">
                <a16:creationId xmlns="" xmlns:a16="http://schemas.microsoft.com/office/drawing/2014/main" id="{61379924-6D70-4A9F-959A-4A6C54F6898B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804" b="18073"/>
          <a:stretch/>
        </p:blipFill>
        <p:spPr>
          <a:xfrm>
            <a:off x="8598723" y="4950742"/>
            <a:ext cx="3390757" cy="1203951"/>
          </a:xfrm>
          <a:prstGeom prst="rect">
            <a:avLst/>
          </a:prstGeom>
        </p:spPr>
      </p:pic>
      <p:sp>
        <p:nvSpPr>
          <p:cNvPr id="23" name="Shape 119">
            <a:extLst>
              <a:ext uri="{FF2B5EF4-FFF2-40B4-BE49-F238E27FC236}">
                <a16:creationId xmlns="" xmlns:a16="http://schemas.microsoft.com/office/drawing/2014/main" id="{8B49BFEB-779C-4969-A9E1-2A42E7B0305A}"/>
              </a:ext>
            </a:extLst>
          </p:cNvPr>
          <p:cNvSpPr txBox="1"/>
          <p:nvPr/>
        </p:nvSpPr>
        <p:spPr>
          <a:xfrm>
            <a:off x="1487648" y="105569"/>
            <a:ext cx="9144000" cy="793680"/>
          </a:xfrm>
          <a:prstGeom prst="rect">
            <a:avLst/>
          </a:prstGeom>
          <a:noFill/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indent="-177800" algn="ctr">
              <a:lnSpc>
                <a:spcPct val="70000"/>
              </a:lnSpc>
              <a:buClr>
                <a:srgbClr val="0063AD"/>
              </a:buClr>
              <a:buSzPts val="2800"/>
            </a:pPr>
            <a:r>
              <a:rPr lang="es-ES" sz="3200" b="1" dirty="0">
                <a:solidFill>
                  <a:srgbClr val="C00000"/>
                </a:solidFill>
              </a:rPr>
              <a:t>Impulsando Marcas Sectoriales</a:t>
            </a:r>
          </a:p>
        </p:txBody>
      </p:sp>
      <p:pic>
        <p:nvPicPr>
          <p:cNvPr id="24" name="Picture 2" descr="Resultado de imagen para posicionamiento icono">
            <a:extLst>
              <a:ext uri="{FF2B5EF4-FFF2-40B4-BE49-F238E27FC236}">
                <a16:creationId xmlns="" xmlns:a16="http://schemas.microsoft.com/office/drawing/2014/main" id="{7EA5A892-4936-4283-AA72-02AC898579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749" y="2260441"/>
            <a:ext cx="827869" cy="6337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105844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="" xmlns:a16="http://schemas.microsoft.com/office/drawing/2014/main" id="{91ED959D-95F5-478F-8A65-0CA5D7E2AB29}"/>
              </a:ext>
            </a:extLst>
          </p:cNvPr>
          <p:cNvSpPr/>
          <p:nvPr/>
        </p:nvSpPr>
        <p:spPr>
          <a:xfrm>
            <a:off x="2226271" y="5551032"/>
            <a:ext cx="1023992" cy="614395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34290" tIns="34290" rIns="34290" bIns="34290" numCol="1" spcCol="1270" anchor="ctr" anchorCtr="0">
            <a:noAutofit/>
          </a:bodyPr>
          <a:lstStyle/>
          <a:p>
            <a:pPr algn="ctr" defTabSz="4000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s-ES" sz="900" dirty="0"/>
          </a:p>
        </p:txBody>
      </p:sp>
      <p:sp>
        <p:nvSpPr>
          <p:cNvPr id="5" name="Rectángulo 4">
            <a:extLst>
              <a:ext uri="{FF2B5EF4-FFF2-40B4-BE49-F238E27FC236}">
                <a16:creationId xmlns="" xmlns:a16="http://schemas.microsoft.com/office/drawing/2014/main" id="{58105501-EE0B-4B09-99B0-9D0B3417EA8B}"/>
              </a:ext>
            </a:extLst>
          </p:cNvPr>
          <p:cNvSpPr/>
          <p:nvPr/>
        </p:nvSpPr>
        <p:spPr>
          <a:xfrm>
            <a:off x="3489724" y="5838199"/>
            <a:ext cx="1200988" cy="748918"/>
          </a:xfrm>
          <a:prstGeom prst="rect">
            <a:avLst/>
          </a:prstGeom>
          <a:solidFill>
            <a:srgbClr val="C00000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s-ES" sz="105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GRAMA BPMM</a:t>
            </a:r>
          </a:p>
        </p:txBody>
      </p:sp>
      <p:sp>
        <p:nvSpPr>
          <p:cNvPr id="6" name="Rectángulo 5">
            <a:extLst>
              <a:ext uri="{FF2B5EF4-FFF2-40B4-BE49-F238E27FC236}">
                <a16:creationId xmlns="" xmlns:a16="http://schemas.microsoft.com/office/drawing/2014/main" id="{7549CFB7-3D15-4962-AAAE-36A8D97F74EB}"/>
              </a:ext>
            </a:extLst>
          </p:cNvPr>
          <p:cNvSpPr/>
          <p:nvPr/>
        </p:nvSpPr>
        <p:spPr>
          <a:xfrm>
            <a:off x="4704351" y="5068437"/>
            <a:ext cx="1200988" cy="748918"/>
          </a:xfrm>
          <a:prstGeom prst="rect">
            <a:avLst/>
          </a:prstGeom>
          <a:solidFill>
            <a:srgbClr val="C00000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s-ES" sz="105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GRAMA GESTION INOCUIDAD ALIMENTARIA</a:t>
            </a:r>
          </a:p>
        </p:txBody>
      </p:sp>
      <p:sp>
        <p:nvSpPr>
          <p:cNvPr id="7" name="Rectángulo 6">
            <a:extLst>
              <a:ext uri="{FF2B5EF4-FFF2-40B4-BE49-F238E27FC236}">
                <a16:creationId xmlns="" xmlns:a16="http://schemas.microsoft.com/office/drawing/2014/main" id="{485E74DA-43AC-48B1-9384-754213D3D932}"/>
              </a:ext>
            </a:extLst>
          </p:cNvPr>
          <p:cNvSpPr/>
          <p:nvPr/>
        </p:nvSpPr>
        <p:spPr>
          <a:xfrm>
            <a:off x="5920218" y="5829080"/>
            <a:ext cx="1200988" cy="748918"/>
          </a:xfrm>
          <a:prstGeom prst="rect">
            <a:avLst/>
          </a:prstGeom>
          <a:solidFill>
            <a:srgbClr val="C00000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s-ES" sz="105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GRAMA CERTIFICACIÓN ORGANICA</a:t>
            </a:r>
          </a:p>
        </p:txBody>
      </p:sp>
      <p:sp>
        <p:nvSpPr>
          <p:cNvPr id="8" name="Rectángulo 7">
            <a:extLst>
              <a:ext uri="{FF2B5EF4-FFF2-40B4-BE49-F238E27FC236}">
                <a16:creationId xmlns="" xmlns:a16="http://schemas.microsoft.com/office/drawing/2014/main" id="{974E1F09-B9EA-402A-896C-2012CC2F6078}"/>
              </a:ext>
            </a:extLst>
          </p:cNvPr>
          <p:cNvSpPr/>
          <p:nvPr/>
        </p:nvSpPr>
        <p:spPr>
          <a:xfrm>
            <a:off x="4690712" y="5835244"/>
            <a:ext cx="1200988" cy="748918"/>
          </a:xfrm>
          <a:prstGeom prst="rect">
            <a:avLst/>
          </a:prstGeom>
          <a:solidFill>
            <a:srgbClr val="C00000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s-ES" sz="105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GRAMA CERTIFICACIONES GLUTEN FREE</a:t>
            </a:r>
          </a:p>
        </p:txBody>
      </p:sp>
      <p:sp>
        <p:nvSpPr>
          <p:cNvPr id="9" name="Rectángulo 8">
            <a:extLst>
              <a:ext uri="{FF2B5EF4-FFF2-40B4-BE49-F238E27FC236}">
                <a16:creationId xmlns="" xmlns:a16="http://schemas.microsoft.com/office/drawing/2014/main" id="{6D77C84D-121C-4C91-A77B-7773FAD71A7C}"/>
              </a:ext>
            </a:extLst>
          </p:cNvPr>
          <p:cNvSpPr/>
          <p:nvPr/>
        </p:nvSpPr>
        <p:spPr>
          <a:xfrm>
            <a:off x="3493482" y="5069441"/>
            <a:ext cx="1200988" cy="748918"/>
          </a:xfrm>
          <a:prstGeom prst="rect">
            <a:avLst/>
          </a:prstGeom>
          <a:solidFill>
            <a:srgbClr val="C00000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s-ES" sz="105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ERFIL LOGISTICO</a:t>
            </a:r>
          </a:p>
        </p:txBody>
      </p:sp>
      <p:sp>
        <p:nvSpPr>
          <p:cNvPr id="10" name="Forma libre 40">
            <a:extLst>
              <a:ext uri="{FF2B5EF4-FFF2-40B4-BE49-F238E27FC236}">
                <a16:creationId xmlns="" xmlns:a16="http://schemas.microsoft.com/office/drawing/2014/main" id="{CD5315F3-EECF-4FBB-B285-584C67620CF3}"/>
              </a:ext>
            </a:extLst>
          </p:cNvPr>
          <p:cNvSpPr/>
          <p:nvPr/>
        </p:nvSpPr>
        <p:spPr>
          <a:xfrm>
            <a:off x="6643681" y="1676115"/>
            <a:ext cx="1365924" cy="554871"/>
          </a:xfrm>
          <a:custGeom>
            <a:avLst/>
            <a:gdLst>
              <a:gd name="connsiteX0" fmla="*/ 0 w 943934"/>
              <a:gd name="connsiteY0" fmla="*/ 68464 h 684644"/>
              <a:gd name="connsiteX1" fmla="*/ 68464 w 943934"/>
              <a:gd name="connsiteY1" fmla="*/ 0 h 684644"/>
              <a:gd name="connsiteX2" fmla="*/ 875470 w 943934"/>
              <a:gd name="connsiteY2" fmla="*/ 0 h 684644"/>
              <a:gd name="connsiteX3" fmla="*/ 943934 w 943934"/>
              <a:gd name="connsiteY3" fmla="*/ 68464 h 684644"/>
              <a:gd name="connsiteX4" fmla="*/ 943934 w 943934"/>
              <a:gd name="connsiteY4" fmla="*/ 616180 h 684644"/>
              <a:gd name="connsiteX5" fmla="*/ 875470 w 943934"/>
              <a:gd name="connsiteY5" fmla="*/ 684644 h 684644"/>
              <a:gd name="connsiteX6" fmla="*/ 68464 w 943934"/>
              <a:gd name="connsiteY6" fmla="*/ 684644 h 684644"/>
              <a:gd name="connsiteX7" fmla="*/ 0 w 943934"/>
              <a:gd name="connsiteY7" fmla="*/ 616180 h 684644"/>
              <a:gd name="connsiteX8" fmla="*/ 0 w 943934"/>
              <a:gd name="connsiteY8" fmla="*/ 68464 h 684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43934" h="684644">
                <a:moveTo>
                  <a:pt x="0" y="68464"/>
                </a:moveTo>
                <a:cubicBezTo>
                  <a:pt x="0" y="30652"/>
                  <a:pt x="30652" y="0"/>
                  <a:pt x="68464" y="0"/>
                </a:cubicBezTo>
                <a:lnTo>
                  <a:pt x="875470" y="0"/>
                </a:lnTo>
                <a:cubicBezTo>
                  <a:pt x="913282" y="0"/>
                  <a:pt x="943934" y="30652"/>
                  <a:pt x="943934" y="68464"/>
                </a:cubicBezTo>
                <a:lnTo>
                  <a:pt x="943934" y="616180"/>
                </a:lnTo>
                <a:cubicBezTo>
                  <a:pt x="943934" y="653992"/>
                  <a:pt x="913282" y="684644"/>
                  <a:pt x="875470" y="684644"/>
                </a:cubicBezTo>
                <a:lnTo>
                  <a:pt x="68464" y="684644"/>
                </a:lnTo>
                <a:cubicBezTo>
                  <a:pt x="30652" y="684644"/>
                  <a:pt x="0" y="653992"/>
                  <a:pt x="0" y="616180"/>
                </a:cubicBezTo>
                <a:lnTo>
                  <a:pt x="0" y="68464"/>
                </a:lnTo>
                <a:close/>
              </a:path>
            </a:pathLst>
          </a:custGeom>
          <a:solidFill>
            <a:schemeClr val="bg2">
              <a:lumMod val="25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spcFirstLastPara="0" vert="horz" wrap="square" lIns="68313" tIns="56248" rIns="68313" bIns="56248" numCol="1" spcCol="1270" anchor="ctr" anchorCtr="0">
            <a:noAutofit/>
          </a:bodyPr>
          <a:lstStyle/>
          <a:p>
            <a:pPr algn="ctr" defTabSz="844507">
              <a:lnSpc>
                <a:spcPct val="90000"/>
              </a:lnSpc>
              <a:spcAft>
                <a:spcPct val="35000"/>
              </a:spcAft>
            </a:pPr>
            <a:r>
              <a:rPr lang="es-PE" sz="1400" b="1" dirty="0">
                <a:solidFill>
                  <a:schemeClr val="bg1"/>
                </a:solidFill>
              </a:rPr>
              <a:t>Cafés  Especiales</a:t>
            </a:r>
          </a:p>
        </p:txBody>
      </p:sp>
      <p:sp>
        <p:nvSpPr>
          <p:cNvPr id="11" name="Forma libre 41">
            <a:extLst>
              <a:ext uri="{FF2B5EF4-FFF2-40B4-BE49-F238E27FC236}">
                <a16:creationId xmlns="" xmlns:a16="http://schemas.microsoft.com/office/drawing/2014/main" id="{576DE077-4182-4447-89E5-84B9958EE2FD}"/>
              </a:ext>
            </a:extLst>
          </p:cNvPr>
          <p:cNvSpPr/>
          <p:nvPr/>
        </p:nvSpPr>
        <p:spPr>
          <a:xfrm>
            <a:off x="6643681" y="2280604"/>
            <a:ext cx="1365924" cy="561668"/>
          </a:xfrm>
          <a:custGeom>
            <a:avLst/>
            <a:gdLst>
              <a:gd name="connsiteX0" fmla="*/ 0 w 943934"/>
              <a:gd name="connsiteY0" fmla="*/ 68464 h 684644"/>
              <a:gd name="connsiteX1" fmla="*/ 68464 w 943934"/>
              <a:gd name="connsiteY1" fmla="*/ 0 h 684644"/>
              <a:gd name="connsiteX2" fmla="*/ 875470 w 943934"/>
              <a:gd name="connsiteY2" fmla="*/ 0 h 684644"/>
              <a:gd name="connsiteX3" fmla="*/ 943934 w 943934"/>
              <a:gd name="connsiteY3" fmla="*/ 68464 h 684644"/>
              <a:gd name="connsiteX4" fmla="*/ 943934 w 943934"/>
              <a:gd name="connsiteY4" fmla="*/ 616180 h 684644"/>
              <a:gd name="connsiteX5" fmla="*/ 875470 w 943934"/>
              <a:gd name="connsiteY5" fmla="*/ 684644 h 684644"/>
              <a:gd name="connsiteX6" fmla="*/ 68464 w 943934"/>
              <a:gd name="connsiteY6" fmla="*/ 684644 h 684644"/>
              <a:gd name="connsiteX7" fmla="*/ 0 w 943934"/>
              <a:gd name="connsiteY7" fmla="*/ 616180 h 684644"/>
              <a:gd name="connsiteX8" fmla="*/ 0 w 943934"/>
              <a:gd name="connsiteY8" fmla="*/ 68464 h 684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43934" h="684644">
                <a:moveTo>
                  <a:pt x="0" y="68464"/>
                </a:moveTo>
                <a:cubicBezTo>
                  <a:pt x="0" y="30652"/>
                  <a:pt x="30652" y="0"/>
                  <a:pt x="68464" y="0"/>
                </a:cubicBezTo>
                <a:lnTo>
                  <a:pt x="875470" y="0"/>
                </a:lnTo>
                <a:cubicBezTo>
                  <a:pt x="913282" y="0"/>
                  <a:pt x="943934" y="30652"/>
                  <a:pt x="943934" y="68464"/>
                </a:cubicBezTo>
                <a:lnTo>
                  <a:pt x="943934" y="616180"/>
                </a:lnTo>
                <a:cubicBezTo>
                  <a:pt x="943934" y="653992"/>
                  <a:pt x="913282" y="684644"/>
                  <a:pt x="875470" y="684644"/>
                </a:cubicBezTo>
                <a:lnTo>
                  <a:pt x="68464" y="684644"/>
                </a:lnTo>
                <a:cubicBezTo>
                  <a:pt x="30652" y="684644"/>
                  <a:pt x="0" y="653992"/>
                  <a:pt x="0" y="616180"/>
                </a:cubicBezTo>
                <a:lnTo>
                  <a:pt x="0" y="68464"/>
                </a:lnTo>
                <a:close/>
              </a:path>
            </a:pathLst>
          </a:custGeom>
          <a:solidFill>
            <a:schemeClr val="bg2">
              <a:lumMod val="25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spcFirstLastPara="0" vert="horz" wrap="square" lIns="68313" tIns="56248" rIns="68313" bIns="56248" numCol="1" spcCol="1270" anchor="ctr" anchorCtr="0">
            <a:noAutofit/>
          </a:bodyPr>
          <a:lstStyle/>
          <a:p>
            <a:pPr algn="ctr" defTabSz="844507">
              <a:lnSpc>
                <a:spcPct val="90000"/>
              </a:lnSpc>
              <a:spcAft>
                <a:spcPct val="35000"/>
              </a:spcAft>
            </a:pPr>
            <a:r>
              <a:rPr lang="es-PE" sz="1400" b="1" dirty="0">
                <a:solidFill>
                  <a:schemeClr val="bg1"/>
                </a:solidFill>
              </a:rPr>
              <a:t>Olivo</a:t>
            </a:r>
          </a:p>
        </p:txBody>
      </p:sp>
      <p:sp>
        <p:nvSpPr>
          <p:cNvPr id="12" name="Forma libre 42">
            <a:extLst>
              <a:ext uri="{FF2B5EF4-FFF2-40B4-BE49-F238E27FC236}">
                <a16:creationId xmlns="" xmlns:a16="http://schemas.microsoft.com/office/drawing/2014/main" id="{31783F12-C0AC-4F6F-952E-02AAB3580F8A}"/>
              </a:ext>
            </a:extLst>
          </p:cNvPr>
          <p:cNvSpPr/>
          <p:nvPr/>
        </p:nvSpPr>
        <p:spPr>
          <a:xfrm>
            <a:off x="6634406" y="2903241"/>
            <a:ext cx="1365924" cy="520433"/>
          </a:xfrm>
          <a:custGeom>
            <a:avLst/>
            <a:gdLst>
              <a:gd name="connsiteX0" fmla="*/ 0 w 943934"/>
              <a:gd name="connsiteY0" fmla="*/ 68464 h 684644"/>
              <a:gd name="connsiteX1" fmla="*/ 68464 w 943934"/>
              <a:gd name="connsiteY1" fmla="*/ 0 h 684644"/>
              <a:gd name="connsiteX2" fmla="*/ 875470 w 943934"/>
              <a:gd name="connsiteY2" fmla="*/ 0 h 684644"/>
              <a:gd name="connsiteX3" fmla="*/ 943934 w 943934"/>
              <a:gd name="connsiteY3" fmla="*/ 68464 h 684644"/>
              <a:gd name="connsiteX4" fmla="*/ 943934 w 943934"/>
              <a:gd name="connsiteY4" fmla="*/ 616180 h 684644"/>
              <a:gd name="connsiteX5" fmla="*/ 875470 w 943934"/>
              <a:gd name="connsiteY5" fmla="*/ 684644 h 684644"/>
              <a:gd name="connsiteX6" fmla="*/ 68464 w 943934"/>
              <a:gd name="connsiteY6" fmla="*/ 684644 h 684644"/>
              <a:gd name="connsiteX7" fmla="*/ 0 w 943934"/>
              <a:gd name="connsiteY7" fmla="*/ 616180 h 684644"/>
              <a:gd name="connsiteX8" fmla="*/ 0 w 943934"/>
              <a:gd name="connsiteY8" fmla="*/ 68464 h 684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43934" h="684644">
                <a:moveTo>
                  <a:pt x="0" y="68464"/>
                </a:moveTo>
                <a:cubicBezTo>
                  <a:pt x="0" y="30652"/>
                  <a:pt x="30652" y="0"/>
                  <a:pt x="68464" y="0"/>
                </a:cubicBezTo>
                <a:lnTo>
                  <a:pt x="875470" y="0"/>
                </a:lnTo>
                <a:cubicBezTo>
                  <a:pt x="913282" y="0"/>
                  <a:pt x="943934" y="30652"/>
                  <a:pt x="943934" y="68464"/>
                </a:cubicBezTo>
                <a:lnTo>
                  <a:pt x="943934" y="616180"/>
                </a:lnTo>
                <a:cubicBezTo>
                  <a:pt x="943934" y="653992"/>
                  <a:pt x="913282" y="684644"/>
                  <a:pt x="875470" y="684644"/>
                </a:cubicBezTo>
                <a:lnTo>
                  <a:pt x="68464" y="684644"/>
                </a:lnTo>
                <a:cubicBezTo>
                  <a:pt x="30652" y="684644"/>
                  <a:pt x="0" y="653992"/>
                  <a:pt x="0" y="616180"/>
                </a:cubicBezTo>
                <a:lnTo>
                  <a:pt x="0" y="68464"/>
                </a:lnTo>
                <a:close/>
              </a:path>
            </a:pathLst>
          </a:custGeom>
          <a:solidFill>
            <a:schemeClr val="bg2">
              <a:lumMod val="25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spcFirstLastPara="0" vert="horz" wrap="square" lIns="68313" tIns="56248" rIns="68313" bIns="56248" numCol="1" spcCol="1270" anchor="ctr" anchorCtr="0">
            <a:noAutofit/>
          </a:bodyPr>
          <a:lstStyle/>
          <a:p>
            <a:pPr algn="ctr" defTabSz="844507">
              <a:lnSpc>
                <a:spcPct val="90000"/>
              </a:lnSpc>
              <a:spcAft>
                <a:spcPct val="35000"/>
              </a:spcAft>
            </a:pPr>
            <a:r>
              <a:rPr lang="es-PE" sz="1400" b="1" dirty="0">
                <a:solidFill>
                  <a:schemeClr val="bg1"/>
                </a:solidFill>
              </a:rPr>
              <a:t>Fine </a:t>
            </a:r>
            <a:r>
              <a:rPr lang="es-PE" sz="1400" b="1" dirty="0" err="1">
                <a:solidFill>
                  <a:schemeClr val="bg1"/>
                </a:solidFill>
              </a:rPr>
              <a:t>Food</a:t>
            </a:r>
            <a:endParaRPr lang="es-PE" sz="1400" b="1" dirty="0">
              <a:solidFill>
                <a:schemeClr val="bg1"/>
              </a:solidFill>
            </a:endParaRPr>
          </a:p>
        </p:txBody>
      </p:sp>
      <p:sp>
        <p:nvSpPr>
          <p:cNvPr id="13" name="Forma libre 43">
            <a:extLst>
              <a:ext uri="{FF2B5EF4-FFF2-40B4-BE49-F238E27FC236}">
                <a16:creationId xmlns="" xmlns:a16="http://schemas.microsoft.com/office/drawing/2014/main" id="{9FF2EAD4-6F02-4DB4-839C-57D0FE8F306D}"/>
              </a:ext>
            </a:extLst>
          </p:cNvPr>
          <p:cNvSpPr/>
          <p:nvPr/>
        </p:nvSpPr>
        <p:spPr>
          <a:xfrm>
            <a:off x="6625543" y="3498224"/>
            <a:ext cx="1365924" cy="522196"/>
          </a:xfrm>
          <a:custGeom>
            <a:avLst/>
            <a:gdLst>
              <a:gd name="connsiteX0" fmla="*/ 0 w 943934"/>
              <a:gd name="connsiteY0" fmla="*/ 68464 h 684644"/>
              <a:gd name="connsiteX1" fmla="*/ 68464 w 943934"/>
              <a:gd name="connsiteY1" fmla="*/ 0 h 684644"/>
              <a:gd name="connsiteX2" fmla="*/ 875470 w 943934"/>
              <a:gd name="connsiteY2" fmla="*/ 0 h 684644"/>
              <a:gd name="connsiteX3" fmla="*/ 943934 w 943934"/>
              <a:gd name="connsiteY3" fmla="*/ 68464 h 684644"/>
              <a:gd name="connsiteX4" fmla="*/ 943934 w 943934"/>
              <a:gd name="connsiteY4" fmla="*/ 616180 h 684644"/>
              <a:gd name="connsiteX5" fmla="*/ 875470 w 943934"/>
              <a:gd name="connsiteY5" fmla="*/ 684644 h 684644"/>
              <a:gd name="connsiteX6" fmla="*/ 68464 w 943934"/>
              <a:gd name="connsiteY6" fmla="*/ 684644 h 684644"/>
              <a:gd name="connsiteX7" fmla="*/ 0 w 943934"/>
              <a:gd name="connsiteY7" fmla="*/ 616180 h 684644"/>
              <a:gd name="connsiteX8" fmla="*/ 0 w 943934"/>
              <a:gd name="connsiteY8" fmla="*/ 68464 h 684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43934" h="684644">
                <a:moveTo>
                  <a:pt x="0" y="68464"/>
                </a:moveTo>
                <a:cubicBezTo>
                  <a:pt x="0" y="30652"/>
                  <a:pt x="30652" y="0"/>
                  <a:pt x="68464" y="0"/>
                </a:cubicBezTo>
                <a:lnTo>
                  <a:pt x="875470" y="0"/>
                </a:lnTo>
                <a:cubicBezTo>
                  <a:pt x="913282" y="0"/>
                  <a:pt x="943934" y="30652"/>
                  <a:pt x="943934" y="68464"/>
                </a:cubicBezTo>
                <a:lnTo>
                  <a:pt x="943934" y="616180"/>
                </a:lnTo>
                <a:cubicBezTo>
                  <a:pt x="943934" y="653992"/>
                  <a:pt x="913282" y="684644"/>
                  <a:pt x="875470" y="684644"/>
                </a:cubicBezTo>
                <a:lnTo>
                  <a:pt x="68464" y="684644"/>
                </a:lnTo>
                <a:cubicBezTo>
                  <a:pt x="30652" y="684644"/>
                  <a:pt x="0" y="653992"/>
                  <a:pt x="0" y="616180"/>
                </a:cubicBezTo>
                <a:lnTo>
                  <a:pt x="0" y="68464"/>
                </a:lnTo>
                <a:close/>
              </a:path>
            </a:pathLst>
          </a:custGeom>
          <a:solidFill>
            <a:schemeClr val="bg2">
              <a:lumMod val="25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spcFirstLastPara="0" vert="horz" wrap="square" lIns="68313" tIns="56248" rIns="68313" bIns="56248" numCol="1" spcCol="1270" anchor="ctr" anchorCtr="0">
            <a:noAutofit/>
          </a:bodyPr>
          <a:lstStyle/>
          <a:p>
            <a:pPr algn="ctr" defTabSz="844507">
              <a:lnSpc>
                <a:spcPct val="90000"/>
              </a:lnSpc>
              <a:spcAft>
                <a:spcPct val="35000"/>
              </a:spcAft>
            </a:pPr>
            <a:r>
              <a:rPr lang="es-PE" sz="1400" b="1" dirty="0">
                <a:solidFill>
                  <a:schemeClr val="bg1"/>
                </a:solidFill>
              </a:rPr>
              <a:t>Pisco</a:t>
            </a:r>
          </a:p>
        </p:txBody>
      </p:sp>
      <p:sp>
        <p:nvSpPr>
          <p:cNvPr id="14" name="Forma libre 44">
            <a:extLst>
              <a:ext uri="{FF2B5EF4-FFF2-40B4-BE49-F238E27FC236}">
                <a16:creationId xmlns="" xmlns:a16="http://schemas.microsoft.com/office/drawing/2014/main" id="{4A6C7222-5690-4894-93A0-615FF5EAF05B}"/>
              </a:ext>
            </a:extLst>
          </p:cNvPr>
          <p:cNvSpPr/>
          <p:nvPr/>
        </p:nvSpPr>
        <p:spPr>
          <a:xfrm>
            <a:off x="8249284" y="1959127"/>
            <a:ext cx="1370181" cy="923299"/>
          </a:xfrm>
          <a:custGeom>
            <a:avLst/>
            <a:gdLst>
              <a:gd name="connsiteX0" fmla="*/ 0 w 943934"/>
              <a:gd name="connsiteY0" fmla="*/ 92330 h 923299"/>
              <a:gd name="connsiteX1" fmla="*/ 92330 w 943934"/>
              <a:gd name="connsiteY1" fmla="*/ 0 h 923299"/>
              <a:gd name="connsiteX2" fmla="*/ 851604 w 943934"/>
              <a:gd name="connsiteY2" fmla="*/ 0 h 923299"/>
              <a:gd name="connsiteX3" fmla="*/ 943934 w 943934"/>
              <a:gd name="connsiteY3" fmla="*/ 92330 h 923299"/>
              <a:gd name="connsiteX4" fmla="*/ 943934 w 943934"/>
              <a:gd name="connsiteY4" fmla="*/ 830969 h 923299"/>
              <a:gd name="connsiteX5" fmla="*/ 851604 w 943934"/>
              <a:gd name="connsiteY5" fmla="*/ 923299 h 923299"/>
              <a:gd name="connsiteX6" fmla="*/ 92330 w 943934"/>
              <a:gd name="connsiteY6" fmla="*/ 923299 h 923299"/>
              <a:gd name="connsiteX7" fmla="*/ 0 w 943934"/>
              <a:gd name="connsiteY7" fmla="*/ 830969 h 923299"/>
              <a:gd name="connsiteX8" fmla="*/ 0 w 943934"/>
              <a:gd name="connsiteY8" fmla="*/ 92330 h 923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43934" h="923299">
                <a:moveTo>
                  <a:pt x="0" y="92330"/>
                </a:moveTo>
                <a:cubicBezTo>
                  <a:pt x="0" y="41338"/>
                  <a:pt x="41338" y="0"/>
                  <a:pt x="92330" y="0"/>
                </a:cubicBezTo>
                <a:lnTo>
                  <a:pt x="851604" y="0"/>
                </a:lnTo>
                <a:cubicBezTo>
                  <a:pt x="902596" y="0"/>
                  <a:pt x="943934" y="41338"/>
                  <a:pt x="943934" y="92330"/>
                </a:cubicBezTo>
                <a:lnTo>
                  <a:pt x="943934" y="830969"/>
                </a:lnTo>
                <a:cubicBezTo>
                  <a:pt x="943934" y="881961"/>
                  <a:pt x="902596" y="923299"/>
                  <a:pt x="851604" y="923299"/>
                </a:cubicBezTo>
                <a:lnTo>
                  <a:pt x="92330" y="923299"/>
                </a:lnTo>
                <a:cubicBezTo>
                  <a:pt x="41338" y="923299"/>
                  <a:pt x="0" y="881961"/>
                  <a:pt x="0" y="830969"/>
                </a:cubicBezTo>
                <a:lnTo>
                  <a:pt x="0" y="9233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spcFirstLastPara="0" vert="horz" wrap="square" lIns="54983" tIns="47998" rIns="54983" bIns="47998" numCol="1" spcCol="1270" anchor="ctr" anchorCtr="0">
            <a:noAutofit/>
          </a:bodyPr>
          <a:lstStyle/>
          <a:p>
            <a:pPr algn="ctr" defTabSz="488925">
              <a:lnSpc>
                <a:spcPct val="90000"/>
              </a:lnSpc>
              <a:spcAft>
                <a:spcPct val="35000"/>
              </a:spcAft>
            </a:pPr>
            <a:r>
              <a:rPr lang="es-PE" sz="1400" b="1" dirty="0">
                <a:solidFill>
                  <a:schemeClr val="bg1"/>
                </a:solidFill>
              </a:rPr>
              <a:t>Confecciones y accesorios</a:t>
            </a:r>
          </a:p>
          <a:p>
            <a:pPr algn="ctr" defTabSz="488925">
              <a:lnSpc>
                <a:spcPct val="90000"/>
              </a:lnSpc>
              <a:spcAft>
                <a:spcPct val="35000"/>
              </a:spcAft>
            </a:pPr>
            <a:r>
              <a:rPr lang="es-PE" sz="1400" b="1" dirty="0">
                <a:solidFill>
                  <a:schemeClr val="bg1"/>
                </a:solidFill>
              </a:rPr>
              <a:t>Alpaca</a:t>
            </a:r>
          </a:p>
        </p:txBody>
      </p:sp>
      <p:sp>
        <p:nvSpPr>
          <p:cNvPr id="15" name="Forma libre 45">
            <a:extLst>
              <a:ext uri="{FF2B5EF4-FFF2-40B4-BE49-F238E27FC236}">
                <a16:creationId xmlns="" xmlns:a16="http://schemas.microsoft.com/office/drawing/2014/main" id="{6A2932A1-F036-4ECB-90B0-CB3F19BCFA30}"/>
              </a:ext>
            </a:extLst>
          </p:cNvPr>
          <p:cNvSpPr/>
          <p:nvPr/>
        </p:nvSpPr>
        <p:spPr>
          <a:xfrm>
            <a:off x="8249284" y="2942295"/>
            <a:ext cx="1370181" cy="923299"/>
          </a:xfrm>
          <a:custGeom>
            <a:avLst/>
            <a:gdLst>
              <a:gd name="connsiteX0" fmla="*/ 0 w 943934"/>
              <a:gd name="connsiteY0" fmla="*/ 92330 h 923299"/>
              <a:gd name="connsiteX1" fmla="*/ 92330 w 943934"/>
              <a:gd name="connsiteY1" fmla="*/ 0 h 923299"/>
              <a:gd name="connsiteX2" fmla="*/ 851604 w 943934"/>
              <a:gd name="connsiteY2" fmla="*/ 0 h 923299"/>
              <a:gd name="connsiteX3" fmla="*/ 943934 w 943934"/>
              <a:gd name="connsiteY3" fmla="*/ 92330 h 923299"/>
              <a:gd name="connsiteX4" fmla="*/ 943934 w 943934"/>
              <a:gd name="connsiteY4" fmla="*/ 830969 h 923299"/>
              <a:gd name="connsiteX5" fmla="*/ 851604 w 943934"/>
              <a:gd name="connsiteY5" fmla="*/ 923299 h 923299"/>
              <a:gd name="connsiteX6" fmla="*/ 92330 w 943934"/>
              <a:gd name="connsiteY6" fmla="*/ 923299 h 923299"/>
              <a:gd name="connsiteX7" fmla="*/ 0 w 943934"/>
              <a:gd name="connsiteY7" fmla="*/ 830969 h 923299"/>
              <a:gd name="connsiteX8" fmla="*/ 0 w 943934"/>
              <a:gd name="connsiteY8" fmla="*/ 92330 h 923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43934" h="923299">
                <a:moveTo>
                  <a:pt x="0" y="92330"/>
                </a:moveTo>
                <a:cubicBezTo>
                  <a:pt x="0" y="41338"/>
                  <a:pt x="41338" y="0"/>
                  <a:pt x="92330" y="0"/>
                </a:cubicBezTo>
                <a:lnTo>
                  <a:pt x="851604" y="0"/>
                </a:lnTo>
                <a:cubicBezTo>
                  <a:pt x="902596" y="0"/>
                  <a:pt x="943934" y="41338"/>
                  <a:pt x="943934" y="92330"/>
                </a:cubicBezTo>
                <a:lnTo>
                  <a:pt x="943934" y="830969"/>
                </a:lnTo>
                <a:cubicBezTo>
                  <a:pt x="943934" y="881961"/>
                  <a:pt x="902596" y="923299"/>
                  <a:pt x="851604" y="923299"/>
                </a:cubicBezTo>
                <a:lnTo>
                  <a:pt x="92330" y="923299"/>
                </a:lnTo>
                <a:cubicBezTo>
                  <a:pt x="41338" y="923299"/>
                  <a:pt x="0" y="881961"/>
                  <a:pt x="0" y="830969"/>
                </a:cubicBezTo>
                <a:lnTo>
                  <a:pt x="0" y="9233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spcFirstLastPara="0" vert="horz" wrap="square" lIns="54983" tIns="47998" rIns="54983" bIns="47998" numCol="1" spcCol="1270" anchor="ctr" anchorCtr="0">
            <a:noAutofit/>
          </a:bodyPr>
          <a:lstStyle/>
          <a:p>
            <a:pPr algn="ctr" defTabSz="488925">
              <a:lnSpc>
                <a:spcPct val="90000"/>
              </a:lnSpc>
              <a:spcAft>
                <a:spcPct val="35000"/>
              </a:spcAft>
            </a:pPr>
            <a:r>
              <a:rPr lang="es-PE" sz="1400" b="1" dirty="0">
                <a:solidFill>
                  <a:schemeClr val="bg1"/>
                </a:solidFill>
              </a:rPr>
              <a:t>Confecciones y accesorios</a:t>
            </a:r>
          </a:p>
          <a:p>
            <a:pPr algn="ctr" defTabSz="488925">
              <a:lnSpc>
                <a:spcPct val="90000"/>
              </a:lnSpc>
              <a:spcAft>
                <a:spcPct val="35000"/>
              </a:spcAft>
            </a:pPr>
            <a:r>
              <a:rPr lang="es-PE" sz="1400" b="1" dirty="0">
                <a:solidFill>
                  <a:schemeClr val="bg1"/>
                </a:solidFill>
              </a:rPr>
              <a:t>Algodón</a:t>
            </a:r>
          </a:p>
        </p:txBody>
      </p:sp>
      <p:sp>
        <p:nvSpPr>
          <p:cNvPr id="16" name="Forma libre 46">
            <a:extLst>
              <a:ext uri="{FF2B5EF4-FFF2-40B4-BE49-F238E27FC236}">
                <a16:creationId xmlns="" xmlns:a16="http://schemas.microsoft.com/office/drawing/2014/main" id="{F16721EE-F96C-41DA-B213-E33050DD3564}"/>
              </a:ext>
            </a:extLst>
          </p:cNvPr>
          <p:cNvSpPr/>
          <p:nvPr/>
        </p:nvSpPr>
        <p:spPr>
          <a:xfrm>
            <a:off x="8249284" y="3931686"/>
            <a:ext cx="1370181" cy="923299"/>
          </a:xfrm>
          <a:custGeom>
            <a:avLst/>
            <a:gdLst>
              <a:gd name="connsiteX0" fmla="*/ 0 w 943934"/>
              <a:gd name="connsiteY0" fmla="*/ 92330 h 923299"/>
              <a:gd name="connsiteX1" fmla="*/ 92330 w 943934"/>
              <a:gd name="connsiteY1" fmla="*/ 0 h 923299"/>
              <a:gd name="connsiteX2" fmla="*/ 851604 w 943934"/>
              <a:gd name="connsiteY2" fmla="*/ 0 h 923299"/>
              <a:gd name="connsiteX3" fmla="*/ 943934 w 943934"/>
              <a:gd name="connsiteY3" fmla="*/ 92330 h 923299"/>
              <a:gd name="connsiteX4" fmla="*/ 943934 w 943934"/>
              <a:gd name="connsiteY4" fmla="*/ 830969 h 923299"/>
              <a:gd name="connsiteX5" fmla="*/ 851604 w 943934"/>
              <a:gd name="connsiteY5" fmla="*/ 923299 h 923299"/>
              <a:gd name="connsiteX6" fmla="*/ 92330 w 943934"/>
              <a:gd name="connsiteY6" fmla="*/ 923299 h 923299"/>
              <a:gd name="connsiteX7" fmla="*/ 0 w 943934"/>
              <a:gd name="connsiteY7" fmla="*/ 830969 h 923299"/>
              <a:gd name="connsiteX8" fmla="*/ 0 w 943934"/>
              <a:gd name="connsiteY8" fmla="*/ 92330 h 923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43934" h="923299">
                <a:moveTo>
                  <a:pt x="0" y="92330"/>
                </a:moveTo>
                <a:cubicBezTo>
                  <a:pt x="0" y="41338"/>
                  <a:pt x="41338" y="0"/>
                  <a:pt x="92330" y="0"/>
                </a:cubicBezTo>
                <a:lnTo>
                  <a:pt x="851604" y="0"/>
                </a:lnTo>
                <a:cubicBezTo>
                  <a:pt x="902596" y="0"/>
                  <a:pt x="943934" y="41338"/>
                  <a:pt x="943934" y="92330"/>
                </a:cubicBezTo>
                <a:lnTo>
                  <a:pt x="943934" y="830969"/>
                </a:lnTo>
                <a:cubicBezTo>
                  <a:pt x="943934" y="881961"/>
                  <a:pt x="902596" y="923299"/>
                  <a:pt x="851604" y="923299"/>
                </a:cubicBezTo>
                <a:lnTo>
                  <a:pt x="92330" y="923299"/>
                </a:lnTo>
                <a:cubicBezTo>
                  <a:pt x="41338" y="923299"/>
                  <a:pt x="0" y="881961"/>
                  <a:pt x="0" y="830969"/>
                </a:cubicBezTo>
                <a:lnTo>
                  <a:pt x="0" y="9233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spcFirstLastPara="0" vert="horz" wrap="square" lIns="54983" tIns="47998" rIns="54983" bIns="47998" numCol="1" spcCol="1270" anchor="ctr" anchorCtr="0">
            <a:noAutofit/>
          </a:bodyPr>
          <a:lstStyle/>
          <a:p>
            <a:pPr algn="ctr" defTabSz="488925">
              <a:lnSpc>
                <a:spcPct val="90000"/>
              </a:lnSpc>
              <a:spcAft>
                <a:spcPct val="35000"/>
              </a:spcAft>
            </a:pPr>
            <a:r>
              <a:rPr lang="es-PE" sz="1400" b="1" dirty="0">
                <a:solidFill>
                  <a:schemeClr val="bg1"/>
                </a:solidFill>
              </a:rPr>
              <a:t>Artículos de Regalos y Decoración</a:t>
            </a:r>
          </a:p>
        </p:txBody>
      </p:sp>
      <p:sp>
        <p:nvSpPr>
          <p:cNvPr id="17" name="Forma libre 47">
            <a:extLst>
              <a:ext uri="{FF2B5EF4-FFF2-40B4-BE49-F238E27FC236}">
                <a16:creationId xmlns="" xmlns:a16="http://schemas.microsoft.com/office/drawing/2014/main" id="{3827205D-4804-40B4-845C-3C87C3E7A2FD}"/>
              </a:ext>
            </a:extLst>
          </p:cNvPr>
          <p:cNvSpPr/>
          <p:nvPr/>
        </p:nvSpPr>
        <p:spPr>
          <a:xfrm>
            <a:off x="9825527" y="1960778"/>
            <a:ext cx="1480838" cy="616927"/>
          </a:xfrm>
          <a:custGeom>
            <a:avLst/>
            <a:gdLst>
              <a:gd name="connsiteX0" fmla="*/ 0 w 943934"/>
              <a:gd name="connsiteY0" fmla="*/ 68464 h 684644"/>
              <a:gd name="connsiteX1" fmla="*/ 68464 w 943934"/>
              <a:gd name="connsiteY1" fmla="*/ 0 h 684644"/>
              <a:gd name="connsiteX2" fmla="*/ 875470 w 943934"/>
              <a:gd name="connsiteY2" fmla="*/ 0 h 684644"/>
              <a:gd name="connsiteX3" fmla="*/ 943934 w 943934"/>
              <a:gd name="connsiteY3" fmla="*/ 68464 h 684644"/>
              <a:gd name="connsiteX4" fmla="*/ 943934 w 943934"/>
              <a:gd name="connsiteY4" fmla="*/ 616180 h 684644"/>
              <a:gd name="connsiteX5" fmla="*/ 875470 w 943934"/>
              <a:gd name="connsiteY5" fmla="*/ 684644 h 684644"/>
              <a:gd name="connsiteX6" fmla="*/ 68464 w 943934"/>
              <a:gd name="connsiteY6" fmla="*/ 684644 h 684644"/>
              <a:gd name="connsiteX7" fmla="*/ 0 w 943934"/>
              <a:gd name="connsiteY7" fmla="*/ 616180 h 684644"/>
              <a:gd name="connsiteX8" fmla="*/ 0 w 943934"/>
              <a:gd name="connsiteY8" fmla="*/ 68464 h 684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43934" h="684644">
                <a:moveTo>
                  <a:pt x="0" y="68464"/>
                </a:moveTo>
                <a:cubicBezTo>
                  <a:pt x="0" y="30652"/>
                  <a:pt x="30652" y="0"/>
                  <a:pt x="68464" y="0"/>
                </a:cubicBezTo>
                <a:lnTo>
                  <a:pt x="875470" y="0"/>
                </a:lnTo>
                <a:cubicBezTo>
                  <a:pt x="913282" y="0"/>
                  <a:pt x="943934" y="30652"/>
                  <a:pt x="943934" y="68464"/>
                </a:cubicBezTo>
                <a:lnTo>
                  <a:pt x="943934" y="616180"/>
                </a:lnTo>
                <a:cubicBezTo>
                  <a:pt x="943934" y="653992"/>
                  <a:pt x="913282" y="684644"/>
                  <a:pt x="875470" y="684644"/>
                </a:cubicBezTo>
                <a:lnTo>
                  <a:pt x="68464" y="684644"/>
                </a:lnTo>
                <a:cubicBezTo>
                  <a:pt x="30652" y="684644"/>
                  <a:pt x="0" y="653992"/>
                  <a:pt x="0" y="616180"/>
                </a:cubicBezTo>
                <a:lnTo>
                  <a:pt x="0" y="6846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spcFirstLastPara="0" vert="horz" wrap="square" lIns="47993" tIns="41008" rIns="47993" bIns="41008" numCol="1" spcCol="1270" anchor="ctr" anchorCtr="0">
            <a:noAutofit/>
          </a:bodyPr>
          <a:lstStyle/>
          <a:p>
            <a:pPr algn="ctr" defTabSz="488925">
              <a:lnSpc>
                <a:spcPct val="90000"/>
              </a:lnSpc>
              <a:spcAft>
                <a:spcPct val="35000"/>
              </a:spcAft>
            </a:pPr>
            <a:r>
              <a:rPr lang="es-PE" sz="1300" b="1" dirty="0">
                <a:solidFill>
                  <a:schemeClr val="bg1"/>
                </a:solidFill>
              </a:rPr>
              <a:t>Maquinarias y equipos para la industria</a:t>
            </a:r>
          </a:p>
        </p:txBody>
      </p:sp>
      <p:sp>
        <p:nvSpPr>
          <p:cNvPr id="18" name="Forma libre 48">
            <a:extLst>
              <a:ext uri="{FF2B5EF4-FFF2-40B4-BE49-F238E27FC236}">
                <a16:creationId xmlns="" xmlns:a16="http://schemas.microsoft.com/office/drawing/2014/main" id="{BF8E3885-98D2-4B7C-8437-F617CCDA8DA4}"/>
              </a:ext>
            </a:extLst>
          </p:cNvPr>
          <p:cNvSpPr/>
          <p:nvPr/>
        </p:nvSpPr>
        <p:spPr>
          <a:xfrm>
            <a:off x="9825527" y="2656080"/>
            <a:ext cx="1492414" cy="537834"/>
          </a:xfrm>
          <a:custGeom>
            <a:avLst/>
            <a:gdLst>
              <a:gd name="connsiteX0" fmla="*/ 0 w 943934"/>
              <a:gd name="connsiteY0" fmla="*/ 68464 h 684644"/>
              <a:gd name="connsiteX1" fmla="*/ 68464 w 943934"/>
              <a:gd name="connsiteY1" fmla="*/ 0 h 684644"/>
              <a:gd name="connsiteX2" fmla="*/ 875470 w 943934"/>
              <a:gd name="connsiteY2" fmla="*/ 0 h 684644"/>
              <a:gd name="connsiteX3" fmla="*/ 943934 w 943934"/>
              <a:gd name="connsiteY3" fmla="*/ 68464 h 684644"/>
              <a:gd name="connsiteX4" fmla="*/ 943934 w 943934"/>
              <a:gd name="connsiteY4" fmla="*/ 616180 h 684644"/>
              <a:gd name="connsiteX5" fmla="*/ 875470 w 943934"/>
              <a:gd name="connsiteY5" fmla="*/ 684644 h 684644"/>
              <a:gd name="connsiteX6" fmla="*/ 68464 w 943934"/>
              <a:gd name="connsiteY6" fmla="*/ 684644 h 684644"/>
              <a:gd name="connsiteX7" fmla="*/ 0 w 943934"/>
              <a:gd name="connsiteY7" fmla="*/ 616180 h 684644"/>
              <a:gd name="connsiteX8" fmla="*/ 0 w 943934"/>
              <a:gd name="connsiteY8" fmla="*/ 68464 h 684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43934" h="684644">
                <a:moveTo>
                  <a:pt x="0" y="68464"/>
                </a:moveTo>
                <a:cubicBezTo>
                  <a:pt x="0" y="30652"/>
                  <a:pt x="30652" y="0"/>
                  <a:pt x="68464" y="0"/>
                </a:cubicBezTo>
                <a:lnTo>
                  <a:pt x="875470" y="0"/>
                </a:lnTo>
                <a:cubicBezTo>
                  <a:pt x="913282" y="0"/>
                  <a:pt x="943934" y="30652"/>
                  <a:pt x="943934" y="68464"/>
                </a:cubicBezTo>
                <a:lnTo>
                  <a:pt x="943934" y="616180"/>
                </a:lnTo>
                <a:cubicBezTo>
                  <a:pt x="943934" y="653992"/>
                  <a:pt x="913282" y="684644"/>
                  <a:pt x="875470" y="684644"/>
                </a:cubicBezTo>
                <a:lnTo>
                  <a:pt x="68464" y="684644"/>
                </a:lnTo>
                <a:cubicBezTo>
                  <a:pt x="30652" y="684644"/>
                  <a:pt x="0" y="653992"/>
                  <a:pt x="0" y="616180"/>
                </a:cubicBezTo>
                <a:lnTo>
                  <a:pt x="0" y="6846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spcFirstLastPara="0" vert="horz" wrap="square" lIns="47993" tIns="41008" rIns="47993" bIns="41008" numCol="1" spcCol="1270" anchor="ctr" anchorCtr="0">
            <a:noAutofit/>
          </a:bodyPr>
          <a:lstStyle/>
          <a:p>
            <a:pPr algn="ctr" defTabSz="488925">
              <a:lnSpc>
                <a:spcPct val="90000"/>
              </a:lnSpc>
              <a:spcAft>
                <a:spcPct val="35000"/>
              </a:spcAft>
            </a:pPr>
            <a:r>
              <a:rPr lang="es-PE" sz="1400" b="1" dirty="0">
                <a:solidFill>
                  <a:schemeClr val="bg1"/>
                </a:solidFill>
              </a:rPr>
              <a:t>Madera y sus Manufactura</a:t>
            </a:r>
          </a:p>
        </p:txBody>
      </p:sp>
      <p:sp>
        <p:nvSpPr>
          <p:cNvPr id="19" name="Forma libre 49">
            <a:extLst>
              <a:ext uri="{FF2B5EF4-FFF2-40B4-BE49-F238E27FC236}">
                <a16:creationId xmlns="" xmlns:a16="http://schemas.microsoft.com/office/drawing/2014/main" id="{9CC9E151-6D35-4944-889C-EF1B42986D91}"/>
              </a:ext>
            </a:extLst>
          </p:cNvPr>
          <p:cNvSpPr/>
          <p:nvPr/>
        </p:nvSpPr>
        <p:spPr>
          <a:xfrm>
            <a:off x="9825527" y="3270592"/>
            <a:ext cx="1492415" cy="1584392"/>
          </a:xfrm>
          <a:custGeom>
            <a:avLst/>
            <a:gdLst>
              <a:gd name="connsiteX0" fmla="*/ 0 w 943934"/>
              <a:gd name="connsiteY0" fmla="*/ 94393 h 1417019"/>
              <a:gd name="connsiteX1" fmla="*/ 94393 w 943934"/>
              <a:gd name="connsiteY1" fmla="*/ 0 h 1417019"/>
              <a:gd name="connsiteX2" fmla="*/ 849541 w 943934"/>
              <a:gd name="connsiteY2" fmla="*/ 0 h 1417019"/>
              <a:gd name="connsiteX3" fmla="*/ 943934 w 943934"/>
              <a:gd name="connsiteY3" fmla="*/ 94393 h 1417019"/>
              <a:gd name="connsiteX4" fmla="*/ 943934 w 943934"/>
              <a:gd name="connsiteY4" fmla="*/ 1322626 h 1417019"/>
              <a:gd name="connsiteX5" fmla="*/ 849541 w 943934"/>
              <a:gd name="connsiteY5" fmla="*/ 1417019 h 1417019"/>
              <a:gd name="connsiteX6" fmla="*/ 94393 w 943934"/>
              <a:gd name="connsiteY6" fmla="*/ 1417019 h 1417019"/>
              <a:gd name="connsiteX7" fmla="*/ 0 w 943934"/>
              <a:gd name="connsiteY7" fmla="*/ 1322626 h 1417019"/>
              <a:gd name="connsiteX8" fmla="*/ 0 w 943934"/>
              <a:gd name="connsiteY8" fmla="*/ 94393 h 1417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43934" h="1417019">
                <a:moveTo>
                  <a:pt x="0" y="94393"/>
                </a:moveTo>
                <a:cubicBezTo>
                  <a:pt x="0" y="42261"/>
                  <a:pt x="42261" y="0"/>
                  <a:pt x="94393" y="0"/>
                </a:cubicBezTo>
                <a:lnTo>
                  <a:pt x="849541" y="0"/>
                </a:lnTo>
                <a:cubicBezTo>
                  <a:pt x="901673" y="0"/>
                  <a:pt x="943934" y="42261"/>
                  <a:pt x="943934" y="94393"/>
                </a:cubicBezTo>
                <a:lnTo>
                  <a:pt x="943934" y="1322626"/>
                </a:lnTo>
                <a:cubicBezTo>
                  <a:pt x="943934" y="1374758"/>
                  <a:pt x="901673" y="1417019"/>
                  <a:pt x="849541" y="1417019"/>
                </a:cubicBezTo>
                <a:lnTo>
                  <a:pt x="94393" y="1417019"/>
                </a:lnTo>
                <a:cubicBezTo>
                  <a:pt x="42261" y="1417019"/>
                  <a:pt x="0" y="1374758"/>
                  <a:pt x="0" y="1322626"/>
                </a:cubicBezTo>
                <a:lnTo>
                  <a:pt x="0" y="94393"/>
                </a:lnTo>
                <a:close/>
              </a:path>
            </a:pathLst>
          </a:custGeom>
          <a:solidFill>
            <a:srgbClr val="FFC000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spcFirstLastPara="0" vert="horz" wrap="square" lIns="55587" tIns="48602" rIns="55587" bIns="48602" numCol="1" spcCol="1270" anchor="ctr" anchorCtr="0">
            <a:noAutofit/>
          </a:bodyPr>
          <a:lstStyle/>
          <a:p>
            <a:pPr algn="ctr" defTabSz="488925">
              <a:lnSpc>
                <a:spcPct val="90000"/>
              </a:lnSpc>
              <a:spcAft>
                <a:spcPct val="35000"/>
              </a:spcAft>
            </a:pPr>
            <a:r>
              <a:rPr lang="es-PE" sz="1400" b="1" dirty="0">
                <a:solidFill>
                  <a:schemeClr val="bg1"/>
                </a:solidFill>
              </a:rPr>
              <a:t>Servicios</a:t>
            </a:r>
          </a:p>
        </p:txBody>
      </p:sp>
      <p:sp>
        <p:nvSpPr>
          <p:cNvPr id="20" name="Forma libre 50">
            <a:extLst>
              <a:ext uri="{FF2B5EF4-FFF2-40B4-BE49-F238E27FC236}">
                <a16:creationId xmlns="" xmlns:a16="http://schemas.microsoft.com/office/drawing/2014/main" id="{5BB36573-4FA2-4C07-88B2-D1B140EA3D24}"/>
              </a:ext>
            </a:extLst>
          </p:cNvPr>
          <p:cNvSpPr/>
          <p:nvPr/>
        </p:nvSpPr>
        <p:spPr>
          <a:xfrm>
            <a:off x="6643681" y="1128527"/>
            <a:ext cx="1365924" cy="506468"/>
          </a:xfrm>
          <a:custGeom>
            <a:avLst/>
            <a:gdLst>
              <a:gd name="connsiteX0" fmla="*/ 0 w 943934"/>
              <a:gd name="connsiteY0" fmla="*/ 68464 h 684644"/>
              <a:gd name="connsiteX1" fmla="*/ 68464 w 943934"/>
              <a:gd name="connsiteY1" fmla="*/ 0 h 684644"/>
              <a:gd name="connsiteX2" fmla="*/ 875470 w 943934"/>
              <a:gd name="connsiteY2" fmla="*/ 0 h 684644"/>
              <a:gd name="connsiteX3" fmla="*/ 943934 w 943934"/>
              <a:gd name="connsiteY3" fmla="*/ 68464 h 684644"/>
              <a:gd name="connsiteX4" fmla="*/ 943934 w 943934"/>
              <a:gd name="connsiteY4" fmla="*/ 616180 h 684644"/>
              <a:gd name="connsiteX5" fmla="*/ 875470 w 943934"/>
              <a:gd name="connsiteY5" fmla="*/ 684644 h 684644"/>
              <a:gd name="connsiteX6" fmla="*/ 68464 w 943934"/>
              <a:gd name="connsiteY6" fmla="*/ 684644 h 684644"/>
              <a:gd name="connsiteX7" fmla="*/ 0 w 943934"/>
              <a:gd name="connsiteY7" fmla="*/ 616180 h 684644"/>
              <a:gd name="connsiteX8" fmla="*/ 0 w 943934"/>
              <a:gd name="connsiteY8" fmla="*/ 68464 h 684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43934" h="684644">
                <a:moveTo>
                  <a:pt x="0" y="68464"/>
                </a:moveTo>
                <a:cubicBezTo>
                  <a:pt x="0" y="30652"/>
                  <a:pt x="30652" y="0"/>
                  <a:pt x="68464" y="0"/>
                </a:cubicBezTo>
                <a:lnTo>
                  <a:pt x="875470" y="0"/>
                </a:lnTo>
                <a:cubicBezTo>
                  <a:pt x="913282" y="0"/>
                  <a:pt x="943934" y="30652"/>
                  <a:pt x="943934" y="68464"/>
                </a:cubicBezTo>
                <a:lnTo>
                  <a:pt x="943934" y="616180"/>
                </a:lnTo>
                <a:cubicBezTo>
                  <a:pt x="943934" y="653992"/>
                  <a:pt x="913282" y="684644"/>
                  <a:pt x="875470" y="684644"/>
                </a:cubicBezTo>
                <a:lnTo>
                  <a:pt x="68464" y="684644"/>
                </a:lnTo>
                <a:cubicBezTo>
                  <a:pt x="30652" y="684644"/>
                  <a:pt x="0" y="653992"/>
                  <a:pt x="0" y="616180"/>
                </a:cubicBezTo>
                <a:lnTo>
                  <a:pt x="0" y="68464"/>
                </a:lnTo>
                <a:close/>
              </a:path>
            </a:pathLst>
          </a:custGeom>
          <a:solidFill>
            <a:schemeClr val="bg2">
              <a:lumMod val="25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spcFirstLastPara="0" vert="horz" wrap="square" lIns="68313" tIns="56248" rIns="68313" bIns="56248" numCol="1" spcCol="1270" anchor="ctr" anchorCtr="0">
            <a:noAutofit/>
          </a:bodyPr>
          <a:lstStyle/>
          <a:p>
            <a:pPr algn="ctr" defTabSz="844507">
              <a:lnSpc>
                <a:spcPct val="90000"/>
              </a:lnSpc>
              <a:spcAft>
                <a:spcPct val="35000"/>
              </a:spcAft>
            </a:pPr>
            <a:r>
              <a:rPr lang="es-PE" sz="1400" b="1" dirty="0">
                <a:solidFill>
                  <a:schemeClr val="bg1"/>
                </a:solidFill>
              </a:rPr>
              <a:t>Chocolate (Cacao)</a:t>
            </a:r>
          </a:p>
        </p:txBody>
      </p:sp>
      <p:sp>
        <p:nvSpPr>
          <p:cNvPr id="21" name="Forma libre 51">
            <a:extLst>
              <a:ext uri="{FF2B5EF4-FFF2-40B4-BE49-F238E27FC236}">
                <a16:creationId xmlns="" xmlns:a16="http://schemas.microsoft.com/office/drawing/2014/main" id="{7E1B9D39-C69F-4481-B871-CD1D6ADE1BA7}"/>
              </a:ext>
            </a:extLst>
          </p:cNvPr>
          <p:cNvSpPr/>
          <p:nvPr/>
        </p:nvSpPr>
        <p:spPr>
          <a:xfrm>
            <a:off x="6625543" y="4092406"/>
            <a:ext cx="1365924" cy="748369"/>
          </a:xfrm>
          <a:custGeom>
            <a:avLst/>
            <a:gdLst>
              <a:gd name="connsiteX0" fmla="*/ 0 w 943934"/>
              <a:gd name="connsiteY0" fmla="*/ 68464 h 684644"/>
              <a:gd name="connsiteX1" fmla="*/ 68464 w 943934"/>
              <a:gd name="connsiteY1" fmla="*/ 0 h 684644"/>
              <a:gd name="connsiteX2" fmla="*/ 875470 w 943934"/>
              <a:gd name="connsiteY2" fmla="*/ 0 h 684644"/>
              <a:gd name="connsiteX3" fmla="*/ 943934 w 943934"/>
              <a:gd name="connsiteY3" fmla="*/ 68464 h 684644"/>
              <a:gd name="connsiteX4" fmla="*/ 943934 w 943934"/>
              <a:gd name="connsiteY4" fmla="*/ 616180 h 684644"/>
              <a:gd name="connsiteX5" fmla="*/ 875470 w 943934"/>
              <a:gd name="connsiteY5" fmla="*/ 684644 h 684644"/>
              <a:gd name="connsiteX6" fmla="*/ 68464 w 943934"/>
              <a:gd name="connsiteY6" fmla="*/ 684644 h 684644"/>
              <a:gd name="connsiteX7" fmla="*/ 0 w 943934"/>
              <a:gd name="connsiteY7" fmla="*/ 616180 h 684644"/>
              <a:gd name="connsiteX8" fmla="*/ 0 w 943934"/>
              <a:gd name="connsiteY8" fmla="*/ 68464 h 684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43934" h="684644">
                <a:moveTo>
                  <a:pt x="0" y="68464"/>
                </a:moveTo>
                <a:cubicBezTo>
                  <a:pt x="0" y="30652"/>
                  <a:pt x="30652" y="0"/>
                  <a:pt x="68464" y="0"/>
                </a:cubicBezTo>
                <a:lnTo>
                  <a:pt x="875470" y="0"/>
                </a:lnTo>
                <a:cubicBezTo>
                  <a:pt x="913282" y="0"/>
                  <a:pt x="943934" y="30652"/>
                  <a:pt x="943934" y="68464"/>
                </a:cubicBezTo>
                <a:lnTo>
                  <a:pt x="943934" y="616180"/>
                </a:lnTo>
                <a:cubicBezTo>
                  <a:pt x="943934" y="653992"/>
                  <a:pt x="913282" y="684644"/>
                  <a:pt x="875470" y="684644"/>
                </a:cubicBezTo>
                <a:lnTo>
                  <a:pt x="68464" y="684644"/>
                </a:lnTo>
                <a:cubicBezTo>
                  <a:pt x="30652" y="684644"/>
                  <a:pt x="0" y="653992"/>
                  <a:pt x="0" y="616180"/>
                </a:cubicBezTo>
                <a:lnTo>
                  <a:pt x="0" y="68464"/>
                </a:lnTo>
                <a:close/>
              </a:path>
            </a:pathLst>
          </a:custGeom>
          <a:solidFill>
            <a:schemeClr val="bg2">
              <a:lumMod val="25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spcFirstLastPara="0" vert="horz" wrap="square" lIns="68313" tIns="56248" rIns="68313" bIns="56248" numCol="1" spcCol="1270" anchor="ctr" anchorCtr="0">
            <a:noAutofit/>
          </a:bodyPr>
          <a:lstStyle/>
          <a:p>
            <a:pPr algn="ctr" defTabSz="844507">
              <a:lnSpc>
                <a:spcPct val="90000"/>
              </a:lnSpc>
              <a:spcAft>
                <a:spcPct val="35000"/>
              </a:spcAft>
            </a:pPr>
            <a:r>
              <a:rPr lang="es-PE" sz="1400" b="1" dirty="0" err="1">
                <a:solidFill>
                  <a:schemeClr val="bg1"/>
                </a:solidFill>
              </a:rPr>
              <a:t>Super</a:t>
            </a:r>
            <a:r>
              <a:rPr lang="es-PE" sz="1400" b="1" dirty="0">
                <a:solidFill>
                  <a:schemeClr val="bg1"/>
                </a:solidFill>
              </a:rPr>
              <a:t> </a:t>
            </a:r>
            <a:r>
              <a:rPr lang="es-PE" sz="1400" b="1" dirty="0" err="1">
                <a:solidFill>
                  <a:schemeClr val="bg1"/>
                </a:solidFill>
              </a:rPr>
              <a:t>Food</a:t>
            </a:r>
            <a:endParaRPr lang="es-PE" sz="1400" b="1" dirty="0">
              <a:solidFill>
                <a:schemeClr val="bg1"/>
              </a:solidFill>
            </a:endParaRPr>
          </a:p>
        </p:txBody>
      </p:sp>
      <p:sp>
        <p:nvSpPr>
          <p:cNvPr id="22" name="Forma libre 52">
            <a:extLst>
              <a:ext uri="{FF2B5EF4-FFF2-40B4-BE49-F238E27FC236}">
                <a16:creationId xmlns="" xmlns:a16="http://schemas.microsoft.com/office/drawing/2014/main" id="{AC3ECD13-EF30-4CAC-B9D8-143DDB8F8EE2}"/>
              </a:ext>
            </a:extLst>
          </p:cNvPr>
          <p:cNvSpPr/>
          <p:nvPr/>
        </p:nvSpPr>
        <p:spPr>
          <a:xfrm>
            <a:off x="8249284" y="1128527"/>
            <a:ext cx="1370181" cy="770730"/>
          </a:xfrm>
          <a:custGeom>
            <a:avLst/>
            <a:gdLst>
              <a:gd name="connsiteX0" fmla="*/ 0 w 943934"/>
              <a:gd name="connsiteY0" fmla="*/ 92330 h 923299"/>
              <a:gd name="connsiteX1" fmla="*/ 92330 w 943934"/>
              <a:gd name="connsiteY1" fmla="*/ 0 h 923299"/>
              <a:gd name="connsiteX2" fmla="*/ 851604 w 943934"/>
              <a:gd name="connsiteY2" fmla="*/ 0 h 923299"/>
              <a:gd name="connsiteX3" fmla="*/ 943934 w 943934"/>
              <a:gd name="connsiteY3" fmla="*/ 92330 h 923299"/>
              <a:gd name="connsiteX4" fmla="*/ 943934 w 943934"/>
              <a:gd name="connsiteY4" fmla="*/ 830969 h 923299"/>
              <a:gd name="connsiteX5" fmla="*/ 851604 w 943934"/>
              <a:gd name="connsiteY5" fmla="*/ 923299 h 923299"/>
              <a:gd name="connsiteX6" fmla="*/ 92330 w 943934"/>
              <a:gd name="connsiteY6" fmla="*/ 923299 h 923299"/>
              <a:gd name="connsiteX7" fmla="*/ 0 w 943934"/>
              <a:gd name="connsiteY7" fmla="*/ 830969 h 923299"/>
              <a:gd name="connsiteX8" fmla="*/ 0 w 943934"/>
              <a:gd name="connsiteY8" fmla="*/ 92330 h 923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43934" h="923299">
                <a:moveTo>
                  <a:pt x="0" y="92330"/>
                </a:moveTo>
                <a:cubicBezTo>
                  <a:pt x="0" y="41338"/>
                  <a:pt x="41338" y="0"/>
                  <a:pt x="92330" y="0"/>
                </a:cubicBezTo>
                <a:lnTo>
                  <a:pt x="851604" y="0"/>
                </a:lnTo>
                <a:cubicBezTo>
                  <a:pt x="902596" y="0"/>
                  <a:pt x="943934" y="41338"/>
                  <a:pt x="943934" y="92330"/>
                </a:cubicBezTo>
                <a:lnTo>
                  <a:pt x="943934" y="830969"/>
                </a:lnTo>
                <a:cubicBezTo>
                  <a:pt x="943934" y="881961"/>
                  <a:pt x="902596" y="923299"/>
                  <a:pt x="851604" y="923299"/>
                </a:cubicBezTo>
                <a:lnTo>
                  <a:pt x="92330" y="923299"/>
                </a:lnTo>
                <a:cubicBezTo>
                  <a:pt x="41338" y="923299"/>
                  <a:pt x="0" y="881961"/>
                  <a:pt x="0" y="830969"/>
                </a:cubicBezTo>
                <a:lnTo>
                  <a:pt x="0" y="92330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spcFirstLastPara="0" vert="horz" wrap="square" lIns="54983" tIns="47998" rIns="54983" bIns="47998" numCol="1" spcCol="1270" anchor="ctr" anchorCtr="0">
            <a:noAutofit/>
          </a:bodyPr>
          <a:lstStyle/>
          <a:p>
            <a:pPr algn="ctr" defTabSz="488925">
              <a:lnSpc>
                <a:spcPct val="90000"/>
              </a:lnSpc>
              <a:spcAft>
                <a:spcPct val="35000"/>
              </a:spcAft>
            </a:pPr>
            <a:r>
              <a:rPr lang="es-PE" sz="1400" b="1" dirty="0">
                <a:solidFill>
                  <a:schemeClr val="bg1"/>
                </a:solidFill>
              </a:rPr>
              <a:t>Trucha, Paiche, langostinos</a:t>
            </a:r>
          </a:p>
        </p:txBody>
      </p:sp>
      <p:sp>
        <p:nvSpPr>
          <p:cNvPr id="23" name="Forma libre 53">
            <a:extLst>
              <a:ext uri="{FF2B5EF4-FFF2-40B4-BE49-F238E27FC236}">
                <a16:creationId xmlns="" xmlns:a16="http://schemas.microsoft.com/office/drawing/2014/main" id="{B1DCEDC1-650A-4877-BC50-92E046C41C01}"/>
              </a:ext>
            </a:extLst>
          </p:cNvPr>
          <p:cNvSpPr/>
          <p:nvPr/>
        </p:nvSpPr>
        <p:spPr>
          <a:xfrm>
            <a:off x="9825527" y="1127431"/>
            <a:ext cx="1481855" cy="754970"/>
          </a:xfrm>
          <a:custGeom>
            <a:avLst/>
            <a:gdLst>
              <a:gd name="connsiteX0" fmla="*/ 0 w 943934"/>
              <a:gd name="connsiteY0" fmla="*/ 68464 h 684644"/>
              <a:gd name="connsiteX1" fmla="*/ 68464 w 943934"/>
              <a:gd name="connsiteY1" fmla="*/ 0 h 684644"/>
              <a:gd name="connsiteX2" fmla="*/ 875470 w 943934"/>
              <a:gd name="connsiteY2" fmla="*/ 0 h 684644"/>
              <a:gd name="connsiteX3" fmla="*/ 943934 w 943934"/>
              <a:gd name="connsiteY3" fmla="*/ 68464 h 684644"/>
              <a:gd name="connsiteX4" fmla="*/ 943934 w 943934"/>
              <a:gd name="connsiteY4" fmla="*/ 616180 h 684644"/>
              <a:gd name="connsiteX5" fmla="*/ 875470 w 943934"/>
              <a:gd name="connsiteY5" fmla="*/ 684644 h 684644"/>
              <a:gd name="connsiteX6" fmla="*/ 68464 w 943934"/>
              <a:gd name="connsiteY6" fmla="*/ 684644 h 684644"/>
              <a:gd name="connsiteX7" fmla="*/ 0 w 943934"/>
              <a:gd name="connsiteY7" fmla="*/ 616180 h 684644"/>
              <a:gd name="connsiteX8" fmla="*/ 0 w 943934"/>
              <a:gd name="connsiteY8" fmla="*/ 68464 h 684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43934" h="684644">
                <a:moveTo>
                  <a:pt x="0" y="68464"/>
                </a:moveTo>
                <a:cubicBezTo>
                  <a:pt x="0" y="30652"/>
                  <a:pt x="30652" y="0"/>
                  <a:pt x="68464" y="0"/>
                </a:cubicBezTo>
                <a:lnTo>
                  <a:pt x="875470" y="0"/>
                </a:lnTo>
                <a:cubicBezTo>
                  <a:pt x="913282" y="0"/>
                  <a:pt x="943934" y="30652"/>
                  <a:pt x="943934" y="68464"/>
                </a:cubicBezTo>
                <a:lnTo>
                  <a:pt x="943934" y="616180"/>
                </a:lnTo>
                <a:cubicBezTo>
                  <a:pt x="943934" y="653992"/>
                  <a:pt x="913282" y="684644"/>
                  <a:pt x="875470" y="684644"/>
                </a:cubicBezTo>
                <a:lnTo>
                  <a:pt x="68464" y="684644"/>
                </a:lnTo>
                <a:cubicBezTo>
                  <a:pt x="30652" y="684644"/>
                  <a:pt x="0" y="653992"/>
                  <a:pt x="0" y="616180"/>
                </a:cubicBezTo>
                <a:lnTo>
                  <a:pt x="0" y="68464"/>
                </a:lnTo>
                <a:close/>
              </a:path>
            </a:pathLst>
          </a:cu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spcFirstLastPara="0" vert="horz" wrap="square" lIns="47993" tIns="41008" rIns="47993" bIns="41008" numCol="1" spcCol="1270" anchor="ctr" anchorCtr="0">
            <a:noAutofit/>
          </a:bodyPr>
          <a:lstStyle/>
          <a:p>
            <a:pPr algn="ctr" defTabSz="488925">
              <a:lnSpc>
                <a:spcPct val="90000"/>
              </a:lnSpc>
              <a:spcAft>
                <a:spcPct val="35000"/>
              </a:spcAft>
            </a:pPr>
            <a:r>
              <a:rPr lang="es-PE" sz="1400" b="1" dirty="0">
                <a:solidFill>
                  <a:schemeClr val="bg1"/>
                </a:solidFill>
              </a:rPr>
              <a:t>Mercados: Alemania, Canadá</a:t>
            </a:r>
          </a:p>
        </p:txBody>
      </p:sp>
      <p:sp>
        <p:nvSpPr>
          <p:cNvPr id="24" name="Rectángulo 23">
            <a:extLst>
              <a:ext uri="{FF2B5EF4-FFF2-40B4-BE49-F238E27FC236}">
                <a16:creationId xmlns="" xmlns:a16="http://schemas.microsoft.com/office/drawing/2014/main" id="{07E02F0F-714C-4483-BEB8-0907E8A950FC}"/>
              </a:ext>
            </a:extLst>
          </p:cNvPr>
          <p:cNvSpPr/>
          <p:nvPr/>
        </p:nvSpPr>
        <p:spPr>
          <a:xfrm>
            <a:off x="8360031" y="5064588"/>
            <a:ext cx="1200988" cy="748918"/>
          </a:xfrm>
          <a:prstGeom prst="rect">
            <a:avLst/>
          </a:prstGeom>
          <a:solidFill>
            <a:srgbClr val="C00000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s-ES" sz="105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NSORCIOS DE EXPORTACION</a:t>
            </a:r>
          </a:p>
        </p:txBody>
      </p:sp>
      <p:sp>
        <p:nvSpPr>
          <p:cNvPr id="25" name="Rectángulo 24">
            <a:extLst>
              <a:ext uri="{FF2B5EF4-FFF2-40B4-BE49-F238E27FC236}">
                <a16:creationId xmlns="" xmlns:a16="http://schemas.microsoft.com/office/drawing/2014/main" id="{25346115-EE70-4521-951D-1BE5CC9BF158}"/>
              </a:ext>
            </a:extLst>
          </p:cNvPr>
          <p:cNvSpPr/>
          <p:nvPr/>
        </p:nvSpPr>
        <p:spPr>
          <a:xfrm>
            <a:off x="7136085" y="5057609"/>
            <a:ext cx="1200988" cy="748918"/>
          </a:xfrm>
          <a:prstGeom prst="rect">
            <a:avLst/>
          </a:prstGeom>
          <a:solidFill>
            <a:srgbClr val="C00000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s-ES" sz="105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ALLERES DE COSTOS DE EXPORTACION Y LOGISTICA</a:t>
            </a:r>
          </a:p>
        </p:txBody>
      </p:sp>
      <p:sp>
        <p:nvSpPr>
          <p:cNvPr id="26" name="Rectángulo 25">
            <a:extLst>
              <a:ext uri="{FF2B5EF4-FFF2-40B4-BE49-F238E27FC236}">
                <a16:creationId xmlns="" xmlns:a16="http://schemas.microsoft.com/office/drawing/2014/main" id="{3EF9B8F9-BED3-487F-B68B-BE154D3BF08C}"/>
              </a:ext>
            </a:extLst>
          </p:cNvPr>
          <p:cNvSpPr/>
          <p:nvPr/>
        </p:nvSpPr>
        <p:spPr>
          <a:xfrm>
            <a:off x="7136085" y="5829080"/>
            <a:ext cx="1200988" cy="748918"/>
          </a:xfrm>
          <a:prstGeom prst="rect">
            <a:avLst/>
          </a:prstGeom>
          <a:solidFill>
            <a:srgbClr val="C00000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s-ES" sz="105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ALLERES DE NEGOCICION INTERNACIONAL</a:t>
            </a:r>
          </a:p>
        </p:txBody>
      </p:sp>
      <p:sp>
        <p:nvSpPr>
          <p:cNvPr id="27" name="Rectángulo 26">
            <a:extLst>
              <a:ext uri="{FF2B5EF4-FFF2-40B4-BE49-F238E27FC236}">
                <a16:creationId xmlns="" xmlns:a16="http://schemas.microsoft.com/office/drawing/2014/main" id="{3049A80C-06A1-417A-ABCB-DA3EC1996A8E}"/>
              </a:ext>
            </a:extLst>
          </p:cNvPr>
          <p:cNvSpPr/>
          <p:nvPr/>
        </p:nvSpPr>
        <p:spPr>
          <a:xfrm>
            <a:off x="8360031" y="5815345"/>
            <a:ext cx="1200988" cy="762654"/>
          </a:xfrm>
          <a:prstGeom prst="rect">
            <a:avLst/>
          </a:prstGeom>
          <a:solidFill>
            <a:srgbClr val="C00000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s-ES" sz="105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GRAMA E-COMMERCE</a:t>
            </a:r>
          </a:p>
        </p:txBody>
      </p:sp>
      <p:sp>
        <p:nvSpPr>
          <p:cNvPr id="28" name="Rectángulo 27">
            <a:extLst>
              <a:ext uri="{FF2B5EF4-FFF2-40B4-BE49-F238E27FC236}">
                <a16:creationId xmlns="" xmlns:a16="http://schemas.microsoft.com/office/drawing/2014/main" id="{736CECBD-57F7-4AC7-B597-A828F67F276B}"/>
              </a:ext>
            </a:extLst>
          </p:cNvPr>
          <p:cNvSpPr/>
          <p:nvPr/>
        </p:nvSpPr>
        <p:spPr>
          <a:xfrm>
            <a:off x="5920218" y="5057609"/>
            <a:ext cx="1200988" cy="748918"/>
          </a:xfrm>
          <a:prstGeom prst="rect">
            <a:avLst/>
          </a:prstGeom>
          <a:solidFill>
            <a:srgbClr val="C00000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s-ES" sz="105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GRAMA TRAZABILIDAD  ECOEFICIENCIA</a:t>
            </a:r>
          </a:p>
        </p:txBody>
      </p:sp>
      <p:sp>
        <p:nvSpPr>
          <p:cNvPr id="29" name="Rectángulo 28">
            <a:extLst>
              <a:ext uri="{FF2B5EF4-FFF2-40B4-BE49-F238E27FC236}">
                <a16:creationId xmlns="" xmlns:a16="http://schemas.microsoft.com/office/drawing/2014/main" id="{BD8BDC66-AA76-4045-A7D8-FED2D054C0B6}"/>
              </a:ext>
            </a:extLst>
          </p:cNvPr>
          <p:cNvSpPr/>
          <p:nvPr/>
        </p:nvSpPr>
        <p:spPr>
          <a:xfrm>
            <a:off x="2198825" y="5080162"/>
            <a:ext cx="1247502" cy="726365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algn="ctr"/>
            <a:endParaRPr lang="es-ES" sz="11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ctr"/>
            <a:r>
              <a:rPr lang="es-ES" sz="11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EST DE COMPETITIVIDAD</a:t>
            </a:r>
          </a:p>
        </p:txBody>
      </p:sp>
      <p:sp>
        <p:nvSpPr>
          <p:cNvPr id="30" name="Rectángulo 29">
            <a:extLst>
              <a:ext uri="{FF2B5EF4-FFF2-40B4-BE49-F238E27FC236}">
                <a16:creationId xmlns="" xmlns:a16="http://schemas.microsoft.com/office/drawing/2014/main" id="{3B185F03-82A5-41F7-BC9D-6C1A3F81077D}"/>
              </a:ext>
            </a:extLst>
          </p:cNvPr>
          <p:cNvSpPr/>
          <p:nvPr/>
        </p:nvSpPr>
        <p:spPr>
          <a:xfrm>
            <a:off x="1214891" y="1008300"/>
            <a:ext cx="148931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2400" b="1" dirty="0">
                <a:solidFill>
                  <a:schemeClr val="accent2">
                    <a:lumMod val="75000"/>
                  </a:schemeClr>
                </a:solidFill>
                <a:ea typeface="Calibri"/>
                <a:cs typeface="Calibri"/>
                <a:sym typeface="Calibri"/>
              </a:rPr>
              <a:t>Objetivos:</a:t>
            </a:r>
          </a:p>
        </p:txBody>
      </p:sp>
      <p:pic>
        <p:nvPicPr>
          <p:cNvPr id="31" name="Picture 2" descr="Resultado de imagen para objetivo icono">
            <a:extLst>
              <a:ext uri="{FF2B5EF4-FFF2-40B4-BE49-F238E27FC236}">
                <a16:creationId xmlns="" xmlns:a16="http://schemas.microsoft.com/office/drawing/2014/main" id="{55D95F59-E03B-4492-AEF1-FA79D551AC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499" y="1032573"/>
            <a:ext cx="437392" cy="4373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Rectángulo 31">
            <a:extLst>
              <a:ext uri="{FF2B5EF4-FFF2-40B4-BE49-F238E27FC236}">
                <a16:creationId xmlns="" xmlns:a16="http://schemas.microsoft.com/office/drawing/2014/main" id="{390CC0F1-7FEE-4035-8D05-83BCBDBE9B44}"/>
              </a:ext>
            </a:extLst>
          </p:cNvPr>
          <p:cNvSpPr/>
          <p:nvPr/>
        </p:nvSpPr>
        <p:spPr>
          <a:xfrm>
            <a:off x="777499" y="1616662"/>
            <a:ext cx="2339192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1400" dirty="0">
                <a:solidFill>
                  <a:schemeClr val="dk1"/>
                </a:solidFill>
                <a:ea typeface="Source Sans Pro"/>
                <a:cs typeface="Arial" panose="020B0604020202020204" pitchFamily="34" charset="0"/>
                <a:sym typeface="Source Sans Pro"/>
              </a:rPr>
              <a:t>Incentivar el emprendimiento exportador en bienes y servicios con valor agregado</a:t>
            </a:r>
          </a:p>
        </p:txBody>
      </p:sp>
      <p:sp>
        <p:nvSpPr>
          <p:cNvPr id="33" name="Rectángulo 32">
            <a:extLst>
              <a:ext uri="{FF2B5EF4-FFF2-40B4-BE49-F238E27FC236}">
                <a16:creationId xmlns="" xmlns:a16="http://schemas.microsoft.com/office/drawing/2014/main" id="{D4F6382B-90E7-4A2A-AC3E-914BDA412F6B}"/>
              </a:ext>
            </a:extLst>
          </p:cNvPr>
          <p:cNvSpPr/>
          <p:nvPr/>
        </p:nvSpPr>
        <p:spPr>
          <a:xfrm>
            <a:off x="3130049" y="1607172"/>
            <a:ext cx="292943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63525" indent="-263525"/>
            <a:r>
              <a:rPr lang="es-ES" sz="1400" dirty="0">
                <a:solidFill>
                  <a:schemeClr val="dk1"/>
                </a:solidFill>
                <a:ea typeface="Source Sans Pro"/>
                <a:cs typeface="Arial" panose="020B0604020202020204" pitchFamily="34" charset="0"/>
                <a:sym typeface="Source Sans Pro"/>
              </a:rPr>
              <a:t> 1. Rutas Exportadoras Especializadas.</a:t>
            </a:r>
          </a:p>
          <a:p>
            <a:pPr marL="263525" indent="-263525"/>
            <a:r>
              <a:rPr lang="es-ES" sz="1400" dirty="0">
                <a:solidFill>
                  <a:schemeClr val="dk1"/>
                </a:solidFill>
                <a:ea typeface="Source Sans Pro"/>
                <a:cs typeface="Arial" panose="020B0604020202020204" pitchFamily="34" charset="0"/>
                <a:sym typeface="Source Sans Pro"/>
              </a:rPr>
              <a:t> 2. E Learning - Aula Virtual.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="" xmlns:a16="http://schemas.microsoft.com/office/drawing/2014/main" id="{37CBA0A6-F250-457C-93FD-3A551181B25B}"/>
              </a:ext>
            </a:extLst>
          </p:cNvPr>
          <p:cNvSpPr/>
          <p:nvPr/>
        </p:nvSpPr>
        <p:spPr>
          <a:xfrm>
            <a:off x="3676741" y="1008299"/>
            <a:ext cx="204389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2400" b="1" dirty="0">
                <a:solidFill>
                  <a:schemeClr val="accent1">
                    <a:lumMod val="75000"/>
                  </a:schemeClr>
                </a:solidFill>
                <a:ea typeface="Calibri"/>
                <a:cs typeface="Calibri"/>
                <a:sym typeface="Calibri"/>
              </a:rPr>
              <a:t>Componentes:</a:t>
            </a:r>
          </a:p>
        </p:txBody>
      </p:sp>
      <p:pic>
        <p:nvPicPr>
          <p:cNvPr id="35" name="Picture 2" descr="Resultado de imagen para componentes icono">
            <a:extLst>
              <a:ext uri="{FF2B5EF4-FFF2-40B4-BE49-F238E27FC236}">
                <a16:creationId xmlns="" xmlns:a16="http://schemas.microsoft.com/office/drawing/2014/main" id="{27F39CC4-5037-4E58-BB19-6C271CDFD6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98879" y="852184"/>
            <a:ext cx="698704" cy="6987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Rectángulo 35">
            <a:extLst>
              <a:ext uri="{FF2B5EF4-FFF2-40B4-BE49-F238E27FC236}">
                <a16:creationId xmlns="" xmlns:a16="http://schemas.microsoft.com/office/drawing/2014/main" id="{46A57DE4-51B1-44CE-AC8A-4D7E4F9C14B2}"/>
              </a:ext>
            </a:extLst>
          </p:cNvPr>
          <p:cNvSpPr/>
          <p:nvPr/>
        </p:nvSpPr>
        <p:spPr>
          <a:xfrm>
            <a:off x="1438519" y="2717741"/>
            <a:ext cx="300819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63525" indent="-263525"/>
            <a:r>
              <a:rPr lang="es-ES" sz="2400" b="1" dirty="0">
                <a:solidFill>
                  <a:schemeClr val="accent6">
                    <a:lumMod val="75000"/>
                  </a:schemeClr>
                </a:solidFill>
                <a:ea typeface="Source Sans Pro"/>
                <a:cs typeface="Arial" panose="020B0604020202020204" pitchFamily="34" charset="0"/>
                <a:sym typeface="Source Sans Pro"/>
              </a:rPr>
              <a:t>Cobertura:  </a:t>
            </a:r>
            <a:r>
              <a:rPr lang="es-ES" dirty="0">
                <a:solidFill>
                  <a:schemeClr val="dk1"/>
                </a:solidFill>
                <a:ea typeface="Source Sans Pro"/>
                <a:cs typeface="Arial" panose="020B0604020202020204" pitchFamily="34" charset="0"/>
                <a:sym typeface="Source Sans Pro"/>
              </a:rPr>
              <a:t>Nivel nacional</a:t>
            </a:r>
          </a:p>
        </p:txBody>
      </p:sp>
      <p:pic>
        <p:nvPicPr>
          <p:cNvPr id="37" name="Picture 6" descr="Resultado de imagen para metas icono">
            <a:extLst>
              <a:ext uri="{FF2B5EF4-FFF2-40B4-BE49-F238E27FC236}">
                <a16:creationId xmlns="" xmlns:a16="http://schemas.microsoft.com/office/drawing/2014/main" id="{666895FA-2E58-4CEE-A6F9-534CA5DDA3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869407" y="3177791"/>
            <a:ext cx="482118" cy="5619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Rectángulo 37">
            <a:extLst>
              <a:ext uri="{FF2B5EF4-FFF2-40B4-BE49-F238E27FC236}">
                <a16:creationId xmlns="" xmlns:a16="http://schemas.microsoft.com/office/drawing/2014/main" id="{972444B6-05E4-4A61-840A-7F85C3DCD556}"/>
              </a:ext>
            </a:extLst>
          </p:cNvPr>
          <p:cNvSpPr/>
          <p:nvPr/>
        </p:nvSpPr>
        <p:spPr>
          <a:xfrm>
            <a:off x="1367304" y="3323564"/>
            <a:ext cx="107240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2400" b="1" dirty="0">
                <a:solidFill>
                  <a:srgbClr val="7030A0"/>
                </a:solidFill>
                <a:ea typeface="Calibri"/>
                <a:cs typeface="Calibri"/>
                <a:sym typeface="Calibri"/>
              </a:rPr>
              <a:t>Metas:</a:t>
            </a:r>
          </a:p>
        </p:txBody>
      </p:sp>
      <p:sp>
        <p:nvSpPr>
          <p:cNvPr id="39" name="Rectángulo 38">
            <a:extLst>
              <a:ext uri="{FF2B5EF4-FFF2-40B4-BE49-F238E27FC236}">
                <a16:creationId xmlns="" xmlns:a16="http://schemas.microsoft.com/office/drawing/2014/main" id="{01C3318E-FB86-4AF2-AC08-130387860154}"/>
              </a:ext>
            </a:extLst>
          </p:cNvPr>
          <p:cNvSpPr/>
          <p:nvPr/>
        </p:nvSpPr>
        <p:spPr>
          <a:xfrm>
            <a:off x="1367304" y="3799053"/>
            <a:ext cx="321466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1400" b="1" dirty="0">
                <a:solidFill>
                  <a:srgbClr val="FF0000"/>
                </a:solidFill>
                <a:ea typeface="Source Sans Pro"/>
                <a:cs typeface="Arial" panose="020B0604020202020204" pitchFamily="34" charset="0"/>
                <a:sym typeface="Source Sans Pro"/>
              </a:rPr>
              <a:t>904</a:t>
            </a:r>
            <a:r>
              <a:rPr lang="es-ES" sz="1400" dirty="0">
                <a:solidFill>
                  <a:schemeClr val="dk1"/>
                </a:solidFill>
                <a:ea typeface="Source Sans Pro"/>
                <a:cs typeface="Arial" panose="020B0604020202020204" pitchFamily="34" charset="0"/>
                <a:sym typeface="Source Sans Pro"/>
              </a:rPr>
              <a:t> empresas exportadoras beneficiadas.</a:t>
            </a:r>
          </a:p>
        </p:txBody>
      </p:sp>
      <p:sp>
        <p:nvSpPr>
          <p:cNvPr id="40" name="Elipse 39">
            <a:extLst>
              <a:ext uri="{FF2B5EF4-FFF2-40B4-BE49-F238E27FC236}">
                <a16:creationId xmlns="" xmlns:a16="http://schemas.microsoft.com/office/drawing/2014/main" id="{E40CA4BC-A168-44DC-8C31-E009E710DC5C}"/>
              </a:ext>
            </a:extLst>
          </p:cNvPr>
          <p:cNvSpPr/>
          <p:nvPr/>
        </p:nvSpPr>
        <p:spPr>
          <a:xfrm>
            <a:off x="989054" y="3799053"/>
            <a:ext cx="228644" cy="240633"/>
          </a:xfrm>
          <a:prstGeom prst="ellipse">
            <a:avLst/>
          </a:prstGeom>
          <a:solidFill>
            <a:schemeClr val="accent4">
              <a:lumMod val="75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Elipse 40">
            <a:extLst>
              <a:ext uri="{FF2B5EF4-FFF2-40B4-BE49-F238E27FC236}">
                <a16:creationId xmlns="" xmlns:a16="http://schemas.microsoft.com/office/drawing/2014/main" id="{034D8E87-4C03-41FE-A79E-1487499AD20D}"/>
              </a:ext>
            </a:extLst>
          </p:cNvPr>
          <p:cNvSpPr/>
          <p:nvPr/>
        </p:nvSpPr>
        <p:spPr>
          <a:xfrm>
            <a:off x="996144" y="4219064"/>
            <a:ext cx="228644" cy="240633"/>
          </a:xfrm>
          <a:prstGeom prst="ellipse">
            <a:avLst/>
          </a:prstGeom>
          <a:solidFill>
            <a:schemeClr val="accent4">
              <a:lumMod val="75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Elipse 41">
            <a:extLst>
              <a:ext uri="{FF2B5EF4-FFF2-40B4-BE49-F238E27FC236}">
                <a16:creationId xmlns="" xmlns:a16="http://schemas.microsoft.com/office/drawing/2014/main" id="{7E534590-B6A7-4B47-810D-1EC65BAB09EE}"/>
              </a:ext>
            </a:extLst>
          </p:cNvPr>
          <p:cNvSpPr/>
          <p:nvPr/>
        </p:nvSpPr>
        <p:spPr>
          <a:xfrm>
            <a:off x="996144" y="4660767"/>
            <a:ext cx="228644" cy="240633"/>
          </a:xfrm>
          <a:prstGeom prst="ellipse">
            <a:avLst/>
          </a:prstGeom>
          <a:solidFill>
            <a:schemeClr val="accent4">
              <a:lumMod val="75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Rectángulo 42">
            <a:extLst>
              <a:ext uri="{FF2B5EF4-FFF2-40B4-BE49-F238E27FC236}">
                <a16:creationId xmlns="" xmlns:a16="http://schemas.microsoft.com/office/drawing/2014/main" id="{27E9C01B-950F-44CE-AB89-632835CBF6C1}"/>
              </a:ext>
            </a:extLst>
          </p:cNvPr>
          <p:cNvSpPr/>
          <p:nvPr/>
        </p:nvSpPr>
        <p:spPr>
          <a:xfrm>
            <a:off x="1385469" y="4201451"/>
            <a:ext cx="275902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1400" b="1" dirty="0">
                <a:solidFill>
                  <a:srgbClr val="FF0000"/>
                </a:solidFill>
                <a:ea typeface="Source Sans Pro"/>
                <a:cs typeface="Arial" panose="020B0604020202020204" pitchFamily="34" charset="0"/>
                <a:sym typeface="Source Sans Pro"/>
              </a:rPr>
              <a:t>US$ 4 200 </a:t>
            </a:r>
            <a:r>
              <a:rPr lang="es-ES" sz="1400" dirty="0">
                <a:solidFill>
                  <a:schemeClr val="dk1"/>
                </a:solidFill>
                <a:ea typeface="Source Sans Pro"/>
                <a:cs typeface="Arial" panose="020B0604020202020204" pitchFamily="34" charset="0"/>
                <a:sym typeface="Source Sans Pro"/>
              </a:rPr>
              <a:t>millones de exportación.</a:t>
            </a:r>
          </a:p>
        </p:txBody>
      </p:sp>
      <p:sp>
        <p:nvSpPr>
          <p:cNvPr id="44" name="Rectángulo 43">
            <a:extLst>
              <a:ext uri="{FF2B5EF4-FFF2-40B4-BE49-F238E27FC236}">
                <a16:creationId xmlns="" xmlns:a16="http://schemas.microsoft.com/office/drawing/2014/main" id="{18F9FD87-8352-4B36-BC90-93C868CE3613}"/>
              </a:ext>
            </a:extLst>
          </p:cNvPr>
          <p:cNvSpPr/>
          <p:nvPr/>
        </p:nvSpPr>
        <p:spPr>
          <a:xfrm>
            <a:off x="1385469" y="4629527"/>
            <a:ext cx="309257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1400" b="1" dirty="0">
                <a:solidFill>
                  <a:srgbClr val="FF0000"/>
                </a:solidFill>
                <a:ea typeface="Source Sans Pro"/>
                <a:cs typeface="Arial" panose="020B0604020202020204" pitchFamily="34" charset="0"/>
                <a:sym typeface="Source Sans Pro"/>
              </a:rPr>
              <a:t>10 </a:t>
            </a:r>
            <a:r>
              <a:rPr lang="es-ES" sz="1400" dirty="0">
                <a:solidFill>
                  <a:schemeClr val="dk1"/>
                </a:solidFill>
                <a:ea typeface="Source Sans Pro"/>
                <a:cs typeface="Arial" panose="020B0604020202020204" pitchFamily="34" charset="0"/>
                <a:sym typeface="Source Sans Pro"/>
              </a:rPr>
              <a:t>consorcios de exportación formados.</a:t>
            </a:r>
            <a:endParaRPr lang="en-US" sz="1400" dirty="0"/>
          </a:p>
        </p:txBody>
      </p:sp>
      <p:pic>
        <p:nvPicPr>
          <p:cNvPr id="45" name="Picture 4" descr="Resultado de imagen para cobertura icono">
            <a:extLst>
              <a:ext uri="{FF2B5EF4-FFF2-40B4-BE49-F238E27FC236}">
                <a16:creationId xmlns="" xmlns:a16="http://schemas.microsoft.com/office/drawing/2014/main" id="{AE77AA0B-2F4A-445C-ABFF-B81FAF9543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2953" y="2754750"/>
            <a:ext cx="456556" cy="4565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6" name="Shape 119">
            <a:extLst>
              <a:ext uri="{FF2B5EF4-FFF2-40B4-BE49-F238E27FC236}">
                <a16:creationId xmlns="" xmlns:a16="http://schemas.microsoft.com/office/drawing/2014/main" id="{E8A057BB-F30B-4529-8916-B88F881C8B70}"/>
              </a:ext>
            </a:extLst>
          </p:cNvPr>
          <p:cNvSpPr txBox="1"/>
          <p:nvPr/>
        </p:nvSpPr>
        <p:spPr>
          <a:xfrm>
            <a:off x="0" y="124252"/>
            <a:ext cx="12191999" cy="717580"/>
          </a:xfrm>
          <a:prstGeom prst="rect">
            <a:avLst/>
          </a:prstGeom>
          <a:noFill/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square" lIns="91425" tIns="45700" rIns="91425" bIns="45700" anchor="ctr" anchorCtr="0">
            <a:noAutofit/>
          </a:bodyPr>
          <a:lstStyle/>
          <a:p>
            <a:pPr algn="ctr"/>
            <a:r>
              <a:rPr lang="es-PE" sz="2800" b="1" dirty="0">
                <a:solidFill>
                  <a:srgbClr val="C00000"/>
                </a:solidFill>
                <a:cs typeface="Arial" panose="020B0604020202020204" pitchFamily="34" charset="0"/>
              </a:rPr>
              <a:t>Y apoyando directamente a la pequeña empresa exportadora: </a:t>
            </a:r>
          </a:p>
          <a:p>
            <a:pPr algn="ctr"/>
            <a:r>
              <a:rPr lang="es-PE" sz="2800" b="1" dirty="0">
                <a:solidFill>
                  <a:srgbClr val="C00000"/>
                </a:solidFill>
                <a:cs typeface="Arial" panose="020B0604020202020204" pitchFamily="34" charset="0"/>
              </a:rPr>
              <a:t>Ruta Exportadora 2.0</a:t>
            </a:r>
            <a:endParaRPr lang="es-ES" sz="2800" b="1" dirty="0">
              <a:solidFill>
                <a:srgbClr val="C00000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75653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ángulo 4"/>
          <p:cNvSpPr/>
          <p:nvPr/>
        </p:nvSpPr>
        <p:spPr>
          <a:xfrm>
            <a:off x="585406" y="635921"/>
            <a:ext cx="5911596" cy="26860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s-PE" sz="3600" b="1" dirty="0">
                <a:solidFill>
                  <a:srgbClr val="70AD47">
                    <a:lumMod val="50000"/>
                  </a:srgbClr>
                </a:solidFill>
                <a:latin typeface="Albertus Extra Bold" panose="020E0802040304020204" pitchFamily="34" charset="0"/>
              </a:rPr>
              <a:t>13</a:t>
            </a:r>
            <a:r>
              <a:rPr lang="es-PE" sz="3600" b="1" dirty="0">
                <a:solidFill>
                  <a:prstClr val="black"/>
                </a:solidFill>
                <a:latin typeface="Albertus Extra Bold" panose="020E0802040304020204" pitchFamily="34" charset="0"/>
              </a:rPr>
              <a:t> </a:t>
            </a:r>
            <a:r>
              <a:rPr lang="es-PE" b="1" dirty="0">
                <a:solidFill>
                  <a:prstClr val="black"/>
                </a:solidFill>
                <a:latin typeface="Albertus Extra Bold" panose="020E0802040304020204" pitchFamily="34" charset="0"/>
              </a:rPr>
              <a:t>medidas para facilitar el comercio</a:t>
            </a:r>
            <a:r>
              <a:rPr lang="es-PE" sz="3600" b="1" dirty="0">
                <a:solidFill>
                  <a:prstClr val="black"/>
                </a:solidFill>
                <a:latin typeface="Albertus Extra Bold" panose="020E0802040304020204" pitchFamily="34" charset="0"/>
              </a:rPr>
              <a:t> </a:t>
            </a:r>
            <a:r>
              <a:rPr lang="es-PE" sz="2800" b="1" dirty="0">
                <a:solidFill>
                  <a:prstClr val="black"/>
                </a:solidFill>
                <a:latin typeface="Albertus Extra Bold" panose="020E0802040304020204" pitchFamily="34" charset="0"/>
              </a:rPr>
              <a:t> </a:t>
            </a:r>
          </a:p>
          <a:p>
            <a:pPr marL="809625" lvl="2" eaLnBrk="0" fontAlgn="base" hangingPunct="0">
              <a:spcBef>
                <a:spcPct val="0"/>
              </a:spcBef>
              <a:spcAft>
                <a:spcPts val="600"/>
              </a:spcAft>
              <a:defRPr/>
            </a:pPr>
            <a:r>
              <a:rPr lang="es-PE" sz="1400" dirty="0">
                <a:solidFill>
                  <a:srgbClr val="000000"/>
                </a:solidFill>
                <a:latin typeface="Arial Narrow" panose="020B0606020202030204" pitchFamily="34" charset="0"/>
              </a:rPr>
              <a:t>Primer paquete para la mejora de aspectos logísticos, aduaneros y coordinación institucional, entre ellas la reciente instalación de la </a:t>
            </a:r>
            <a:r>
              <a:rPr lang="es-PE" sz="1400" b="1" dirty="0">
                <a:solidFill>
                  <a:prstClr val="black"/>
                </a:solidFill>
              </a:rPr>
              <a:t>Comisión Multisectorial para la Facilitación del Comercio Exterior</a:t>
            </a:r>
          </a:p>
          <a:p>
            <a:pPr marL="809625" lvl="2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s-PE" sz="1400" dirty="0">
                <a:solidFill>
                  <a:prstClr val="black"/>
                </a:solidFill>
                <a:latin typeface="Arial Narrow" panose="020B0606020202030204" pitchFamily="34" charset="0"/>
              </a:rPr>
              <a:t>Se ha solicitado respetuosamente al</a:t>
            </a:r>
            <a:r>
              <a:rPr lang="es-PE" sz="1400" dirty="0">
                <a:solidFill>
                  <a:prstClr val="black"/>
                </a:solidFill>
              </a:rPr>
              <a:t> </a:t>
            </a:r>
            <a:r>
              <a:rPr lang="es-PE" sz="1400" b="1" dirty="0">
                <a:solidFill>
                  <a:prstClr val="black"/>
                </a:solidFill>
              </a:rPr>
              <a:t>Congreso de la República</a:t>
            </a:r>
            <a:r>
              <a:rPr lang="es-PE" sz="1400" dirty="0">
                <a:solidFill>
                  <a:prstClr val="black"/>
                </a:solidFill>
              </a:rPr>
              <a:t>, </a:t>
            </a:r>
            <a:r>
              <a:rPr lang="es-PE" sz="1400" dirty="0">
                <a:solidFill>
                  <a:prstClr val="black"/>
                </a:solidFill>
                <a:latin typeface="Arial Narrow" panose="020B0606020202030204" pitchFamily="34" charset="0"/>
              </a:rPr>
              <a:t>delegación de facultades para un segundo paquete a fin de mejorar y desarrollar, entre otros, los siguiente temas:</a:t>
            </a:r>
          </a:p>
          <a:p>
            <a:pPr marL="1076325" indent="-285750" algn="just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s-PE" sz="1200" b="1" dirty="0">
                <a:solidFill>
                  <a:schemeClr val="tx1"/>
                </a:solidFill>
              </a:rPr>
              <a:t>Fortalecimiento del transporte multimodal</a:t>
            </a:r>
          </a:p>
          <a:p>
            <a:pPr marL="1076325" indent="-285750" algn="just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s-PE" sz="1200" b="1" dirty="0">
                <a:solidFill>
                  <a:schemeClr val="tx1"/>
                </a:solidFill>
              </a:rPr>
              <a:t>Mejora de regulación del Cabotaje </a:t>
            </a:r>
          </a:p>
          <a:p>
            <a:pPr marL="1076325" lvl="2" indent="-285750" algn="just" fontAlgn="base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/>
            </a:pPr>
            <a:r>
              <a:rPr lang="es-PE" sz="1200" b="1" dirty="0">
                <a:solidFill>
                  <a:schemeClr val="tx1"/>
                </a:solidFill>
              </a:rPr>
              <a:t>Régimen de trabajador portuario </a:t>
            </a:r>
          </a:p>
          <a:p>
            <a:pPr marL="1076325" lvl="2" indent="-285750" algn="just" fontAlgn="base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/>
            </a:pPr>
            <a:r>
              <a:rPr lang="es-PE" sz="1200" b="1" dirty="0">
                <a:solidFill>
                  <a:schemeClr val="tx1"/>
                </a:solidFill>
              </a:rPr>
              <a:t>Incorporación de nuevos agentes como operadores de comercio exterior</a:t>
            </a:r>
          </a:p>
          <a:p>
            <a:pPr marL="1076325" lvl="2" indent="-285750" algn="just" fontAlgn="base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/>
            </a:pPr>
            <a:r>
              <a:rPr lang="es-PE" sz="1200" b="1" dirty="0">
                <a:solidFill>
                  <a:schemeClr val="tx1"/>
                </a:solidFill>
              </a:rPr>
              <a:t>Disminución del plazo para la emisión de las resoluciones anticipadas</a:t>
            </a:r>
          </a:p>
          <a:p>
            <a:pPr marL="1076325" lvl="2" indent="-285750" algn="just" fontAlgn="base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/>
            </a:pPr>
            <a:r>
              <a:rPr lang="es-PE" sz="1200" b="1" dirty="0">
                <a:solidFill>
                  <a:schemeClr val="tx1"/>
                </a:solidFill>
              </a:rPr>
              <a:t>Facilidades para el embarque directo de mercancías</a:t>
            </a:r>
          </a:p>
          <a:p>
            <a:pPr marL="1076325" lvl="2" indent="-285750" algn="just" fontAlgn="base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/>
            </a:pPr>
            <a:r>
              <a:rPr lang="es-PE" sz="1200" b="1" dirty="0">
                <a:solidFill>
                  <a:schemeClr val="tx1"/>
                </a:solidFill>
              </a:rPr>
              <a:t>Inspecciones simultáneas con SUCAMEC y SANIPES </a:t>
            </a:r>
          </a:p>
        </p:txBody>
      </p:sp>
      <p:sp>
        <p:nvSpPr>
          <p:cNvPr id="11" name="Rectángulo 10"/>
          <p:cNvSpPr/>
          <p:nvPr/>
        </p:nvSpPr>
        <p:spPr>
          <a:xfrm>
            <a:off x="295275" y="4008511"/>
            <a:ext cx="11609388" cy="27756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s-PE">
              <a:solidFill>
                <a:prstClr val="white"/>
              </a:solidFill>
            </a:endParaRPr>
          </a:p>
        </p:txBody>
      </p:sp>
      <p:sp>
        <p:nvSpPr>
          <p:cNvPr id="18438" name="CuadroTexto 13"/>
          <p:cNvSpPr txBox="1">
            <a:spLocks noChangeArrowheads="1"/>
          </p:cNvSpPr>
          <p:nvPr/>
        </p:nvSpPr>
        <p:spPr bwMode="auto">
          <a:xfrm>
            <a:off x="6897452" y="4950300"/>
            <a:ext cx="4878779" cy="1600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285750" lvl="1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s-PE" sz="1400" b="1" dirty="0">
                <a:solidFill>
                  <a:prstClr val="black"/>
                </a:solidFill>
                <a:ea typeface="Tahoma" panose="020B0604030504040204" pitchFamily="34" charset="0"/>
                <a:cs typeface="Arial" panose="020B0604020202020204" pitchFamily="34" charset="0"/>
              </a:rPr>
              <a:t>Nueva plataforma VUCE </a:t>
            </a:r>
          </a:p>
          <a:p>
            <a:pPr marL="285750" lvl="1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s-PE" sz="1400" dirty="0">
                <a:solidFill>
                  <a:srgbClr val="000000"/>
                </a:solidFill>
                <a:latin typeface="Arial Narrow" panose="020B0606020202030204" pitchFamily="34" charset="0"/>
              </a:rPr>
              <a:t>Reingeniería de procesos, diseño y construcción de sistemas y equipamiento de entidades</a:t>
            </a:r>
          </a:p>
          <a:p>
            <a:pPr marL="285750" lvl="1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s-PE" sz="1400" b="1" dirty="0">
                <a:solidFill>
                  <a:prstClr val="black"/>
                </a:solidFill>
                <a:ea typeface="Tahoma" panose="020B0604030504040204" pitchFamily="34" charset="0"/>
                <a:cs typeface="Arial" panose="020B0604020202020204" pitchFamily="34" charset="0"/>
              </a:rPr>
              <a:t>Aplicación de criterios de gestión de riesgo</a:t>
            </a:r>
          </a:p>
          <a:p>
            <a:pPr marL="285750" lvl="1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s-PE" sz="1400" dirty="0">
                <a:solidFill>
                  <a:srgbClr val="000000"/>
                </a:solidFill>
                <a:latin typeface="Arial Narrow" panose="020B0606020202030204" pitchFamily="34" charset="0"/>
              </a:rPr>
              <a:t>Port </a:t>
            </a:r>
            <a:r>
              <a:rPr lang="es-PE" sz="1400" dirty="0" err="1">
                <a:solidFill>
                  <a:srgbClr val="000000"/>
                </a:solidFill>
                <a:latin typeface="Arial Narrow" panose="020B0606020202030204" pitchFamily="34" charset="0"/>
              </a:rPr>
              <a:t>Community</a:t>
            </a:r>
            <a:r>
              <a:rPr lang="es-PE" sz="1400" dirty="0">
                <a:solidFill>
                  <a:srgbClr val="000000"/>
                </a:solidFill>
                <a:latin typeface="Arial Narrow" panose="020B0606020202030204" pitchFamily="34" charset="0"/>
              </a:rPr>
              <a:t> </a:t>
            </a:r>
            <a:r>
              <a:rPr lang="es-PE" sz="1400" dirty="0" err="1">
                <a:solidFill>
                  <a:srgbClr val="000000"/>
                </a:solidFill>
                <a:latin typeface="Arial Narrow" panose="020B0606020202030204" pitchFamily="34" charset="0"/>
              </a:rPr>
              <a:t>System</a:t>
            </a:r>
            <a:endParaRPr lang="es-PE" sz="1400" dirty="0">
              <a:solidFill>
                <a:srgbClr val="000000"/>
              </a:solidFill>
              <a:latin typeface="Arial Narrow" panose="020B0606020202030204" pitchFamily="34" charset="0"/>
            </a:endParaRPr>
          </a:p>
          <a:p>
            <a:pPr marL="285750" lvl="1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s-PE" sz="1400" b="1" dirty="0">
                <a:solidFill>
                  <a:prstClr val="black"/>
                </a:solidFill>
                <a:ea typeface="Tahoma" panose="020B0604030504040204" pitchFamily="34" charset="0"/>
                <a:cs typeface="Arial" panose="020B0604020202020204" pitchFamily="34" charset="0"/>
              </a:rPr>
              <a:t>E-PYMEX y VUCE B2B</a:t>
            </a:r>
          </a:p>
          <a:p>
            <a:pPr marL="285750" lvl="1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s-PE" sz="1400" dirty="0">
                <a:solidFill>
                  <a:srgbClr val="000000"/>
                </a:solidFill>
                <a:latin typeface="Arial Narrow" panose="020B0606020202030204" pitchFamily="34" charset="0"/>
              </a:rPr>
              <a:t>Portales de información</a:t>
            </a:r>
          </a:p>
        </p:txBody>
      </p:sp>
      <p:sp>
        <p:nvSpPr>
          <p:cNvPr id="16" name="CuadroTexto 15"/>
          <p:cNvSpPr txBox="1"/>
          <p:nvPr/>
        </p:nvSpPr>
        <p:spPr bwMode="auto">
          <a:xfrm>
            <a:off x="546879" y="4733509"/>
            <a:ext cx="6114942" cy="20774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s-PE" sz="1600" b="1" dirty="0">
                <a:solidFill>
                  <a:prstClr val="black"/>
                </a:solidFill>
                <a:latin typeface="Arial Narrow" panose="020B0606020202030204" pitchFamily="34" charset="0"/>
              </a:rPr>
              <a:t>Resultados al 2017: </a:t>
            </a:r>
            <a:r>
              <a:rPr lang="es-PE" sz="1400" b="1" dirty="0">
                <a:solidFill>
                  <a:prstClr val="black"/>
                </a:solidFill>
                <a:latin typeface="Arial Narrow" panose="020B0606020202030204" pitchFamily="34" charset="0"/>
              </a:rPr>
              <a:t>3 </a:t>
            </a:r>
            <a:r>
              <a:rPr lang="es-PE" sz="1400" b="1" dirty="0">
                <a:solidFill>
                  <a:prstClr val="black"/>
                </a:solidFill>
              </a:rPr>
              <a:t>Componentes:</a:t>
            </a:r>
          </a:p>
          <a:p>
            <a:pPr indent="-2857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s-PE" sz="1300" b="1" dirty="0">
                <a:solidFill>
                  <a:prstClr val="black"/>
                </a:solidFill>
              </a:rPr>
              <a:t>Mercancías restringidas: </a:t>
            </a:r>
            <a:r>
              <a:rPr lang="es-PE" sz="1300" b="1" dirty="0">
                <a:solidFill>
                  <a:srgbClr val="339933"/>
                </a:solidFill>
              </a:rPr>
              <a:t>autorizaciones de ingreso  y salida de mercancía</a:t>
            </a:r>
          </a:p>
          <a:p>
            <a:pPr indent="-2857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s-PE" sz="1300" b="1" dirty="0">
                <a:solidFill>
                  <a:prstClr val="black"/>
                </a:solidFill>
              </a:rPr>
              <a:t>Origen:  </a:t>
            </a:r>
            <a:r>
              <a:rPr lang="es-PE" sz="1300" b="1" dirty="0">
                <a:solidFill>
                  <a:srgbClr val="339933"/>
                </a:solidFill>
              </a:rPr>
              <a:t>obtención del Certificado de origen para nuestras exportaciones</a:t>
            </a:r>
          </a:p>
          <a:p>
            <a:pPr indent="-28575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s-PE" sz="1300" b="1" dirty="0">
                <a:solidFill>
                  <a:prstClr val="black"/>
                </a:solidFill>
              </a:rPr>
              <a:t>Portuario:  </a:t>
            </a:r>
            <a:r>
              <a:rPr lang="es-PE" sz="1300" b="1" dirty="0">
                <a:solidFill>
                  <a:srgbClr val="339933"/>
                </a:solidFill>
              </a:rPr>
              <a:t>Tramites  para arribo y zarpe  de naves en nuestros puertos.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s-PE" sz="1200" b="1" dirty="0">
                <a:solidFill>
                  <a:prstClr val="black"/>
                </a:solidFill>
              </a:rPr>
              <a:t>19 </a:t>
            </a:r>
            <a:r>
              <a:rPr lang="es-PE" sz="1400" b="1" dirty="0">
                <a:solidFill>
                  <a:srgbClr val="339933"/>
                </a:solidFill>
              </a:rPr>
              <a:t>entidades de control y </a:t>
            </a:r>
            <a:r>
              <a:rPr lang="es-PE" sz="1200" b="1" dirty="0">
                <a:solidFill>
                  <a:prstClr val="black"/>
                </a:solidFill>
              </a:rPr>
              <a:t>22 </a:t>
            </a:r>
            <a:r>
              <a:rPr lang="es-PE" sz="1400" b="1" dirty="0">
                <a:solidFill>
                  <a:srgbClr val="339933"/>
                </a:solidFill>
              </a:rPr>
              <a:t>entidades certificadoras de origen  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s-PE" sz="1200" b="1" dirty="0">
                <a:solidFill>
                  <a:prstClr val="black"/>
                </a:solidFill>
              </a:rPr>
              <a:t>270 </a:t>
            </a:r>
            <a:r>
              <a:rPr lang="es-PE" sz="1400" b="1" dirty="0">
                <a:solidFill>
                  <a:srgbClr val="339933"/>
                </a:solidFill>
              </a:rPr>
              <a:t>procedimientos administrativos incorporados en la VUCE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s-PE" sz="1400" b="1" dirty="0">
                <a:solidFill>
                  <a:srgbClr val="339933"/>
                </a:solidFill>
              </a:rPr>
              <a:t>Atención</a:t>
            </a:r>
            <a:r>
              <a:rPr lang="es-PE" sz="1200" b="1" dirty="0">
                <a:solidFill>
                  <a:prstClr val="black"/>
                </a:solidFill>
              </a:rPr>
              <a:t> 24*7*365 </a:t>
            </a:r>
            <a:r>
              <a:rPr lang="es-PE" sz="1400" b="1" dirty="0">
                <a:solidFill>
                  <a:srgbClr val="339933"/>
                </a:solidFill>
              </a:rPr>
              <a:t>/ Pagos electrónicos / Notificaciones Electrónicas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s-PE" sz="1200" b="1" dirty="0">
                <a:solidFill>
                  <a:prstClr val="black"/>
                </a:solidFill>
              </a:rPr>
              <a:t>54,000 </a:t>
            </a:r>
            <a:r>
              <a:rPr lang="es-PE" sz="1400" b="1" dirty="0">
                <a:solidFill>
                  <a:srgbClr val="339933"/>
                </a:solidFill>
              </a:rPr>
              <a:t>usuarios han realizado trámites la VUCE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s-PE" sz="1400" b="1" dirty="0">
                <a:solidFill>
                  <a:srgbClr val="339933"/>
                </a:solidFill>
              </a:rPr>
              <a:t>Interoperabilidad con SUNAT y con los países de Alianza del Pacífico</a:t>
            </a:r>
          </a:p>
        </p:txBody>
      </p:sp>
      <p:sp>
        <p:nvSpPr>
          <p:cNvPr id="18449" name="CuadroTexto 37"/>
          <p:cNvSpPr txBox="1">
            <a:spLocks noChangeArrowheads="1"/>
          </p:cNvSpPr>
          <p:nvPr/>
        </p:nvSpPr>
        <p:spPr bwMode="auto">
          <a:xfrm>
            <a:off x="7210501" y="4152071"/>
            <a:ext cx="3132589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s-PE" altLang="es-PE" sz="2400" b="1" dirty="0">
                <a:solidFill>
                  <a:srgbClr val="F06010"/>
                </a:solidFill>
                <a:latin typeface="Albertus Extra Bold" panose="020E0802040304020204" pitchFamily="34" charset="0"/>
              </a:rPr>
              <a:t>Proyecto VUCE 2.0</a:t>
            </a:r>
            <a:endParaRPr lang="x-none" altLang="es-PE" sz="2400" b="1" dirty="0">
              <a:solidFill>
                <a:srgbClr val="F06010"/>
              </a:solidFill>
              <a:latin typeface="Albertus Extra Bold" panose="020E0802040304020204" pitchFamily="34" charset="0"/>
            </a:endParaRPr>
          </a:p>
          <a:p>
            <a:pPr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x-none" altLang="es-PE" sz="1600" b="1" dirty="0">
                <a:solidFill>
                  <a:srgbClr val="F06010"/>
                </a:solidFill>
                <a:latin typeface="Albertus Extra Bold" panose="020E0802040304020204" pitchFamily="34" charset="0"/>
              </a:rPr>
              <a:t>(US$ 6</a:t>
            </a:r>
            <a:r>
              <a:rPr lang="es-PE" altLang="es-PE" sz="1600" b="1" dirty="0">
                <a:solidFill>
                  <a:srgbClr val="F06010"/>
                </a:solidFill>
                <a:latin typeface="Albertus Extra Bold" panose="020E0802040304020204" pitchFamily="34" charset="0"/>
              </a:rPr>
              <a:t>1.9</a:t>
            </a:r>
            <a:r>
              <a:rPr lang="x-none" altLang="es-PE" sz="1600" b="1" dirty="0">
                <a:solidFill>
                  <a:srgbClr val="F06010"/>
                </a:solidFill>
                <a:latin typeface="Albertus Extra Bold" panose="020E0802040304020204" pitchFamily="34" charset="0"/>
              </a:rPr>
              <a:t> millones)</a:t>
            </a:r>
            <a:endParaRPr lang="es-PE" altLang="es-PE" sz="2000" b="1" dirty="0">
              <a:solidFill>
                <a:srgbClr val="000000"/>
              </a:solidFill>
            </a:endParaRPr>
          </a:p>
        </p:txBody>
      </p:sp>
      <p:sp>
        <p:nvSpPr>
          <p:cNvPr id="18452" name="CuadroTexto 40"/>
          <p:cNvSpPr txBox="1">
            <a:spLocks noChangeArrowheads="1"/>
          </p:cNvSpPr>
          <p:nvPr/>
        </p:nvSpPr>
        <p:spPr bwMode="auto">
          <a:xfrm>
            <a:off x="7418386" y="482120"/>
            <a:ext cx="4552816" cy="5909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lvl="8" indent="0">
              <a:buFont typeface="Arial" panose="020B0604020202020204" pitchFamily="34" charset="0"/>
              <a:buNone/>
            </a:pPr>
            <a:r>
              <a:rPr lang="es-PE" b="1" dirty="0">
                <a:solidFill>
                  <a:prstClr val="black"/>
                </a:solidFill>
                <a:latin typeface="Albertus Extra Bold" panose="020E0802040304020204" pitchFamily="34" charset="0"/>
              </a:rPr>
              <a:t>Acceso al financiamiento de comercio exterior</a:t>
            </a:r>
          </a:p>
        </p:txBody>
      </p:sp>
      <p:sp>
        <p:nvSpPr>
          <p:cNvPr id="18453" name="CuadroTexto 41"/>
          <p:cNvSpPr txBox="1">
            <a:spLocks noChangeArrowheads="1"/>
          </p:cNvSpPr>
          <p:nvPr/>
        </p:nvSpPr>
        <p:spPr bwMode="auto">
          <a:xfrm>
            <a:off x="7759182" y="1041077"/>
            <a:ext cx="4296975" cy="25145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20000"/>
              </a:spcBef>
              <a:buFont typeface="Arial" panose="020B0604020202020204" pitchFamily="34" charset="0"/>
              <a:buNone/>
            </a:pPr>
            <a:r>
              <a:rPr lang="es-PE" sz="1600" b="1" dirty="0">
                <a:solidFill>
                  <a:srgbClr val="70AD47">
                    <a:lumMod val="75000"/>
                  </a:srgbClr>
                </a:solidFill>
                <a:latin typeface="Calibri" panose="020F0502020204030204"/>
                <a:ea typeface="Tahoma" panose="020B0604030504040204" pitchFamily="34" charset="0"/>
              </a:rPr>
              <a:t>Programa de Apoyo a la Internacionalización (PAI)</a:t>
            </a:r>
            <a:endParaRPr lang="en-GB" altLang="es-PE" sz="1600" b="1" dirty="0">
              <a:solidFill>
                <a:srgbClr val="70AD47">
                  <a:lumMod val="75000"/>
                </a:srgbClr>
              </a:solidFill>
              <a:latin typeface="Calibri" panose="020F0502020204030204"/>
            </a:endParaRPr>
          </a:p>
          <a:p>
            <a:pPr>
              <a:spcBef>
                <a:spcPts val="0"/>
              </a:spcBef>
              <a:buNone/>
            </a:pPr>
            <a:r>
              <a:rPr lang="es-PE" sz="1200" dirty="0">
                <a:solidFill>
                  <a:srgbClr val="000000"/>
                </a:solidFill>
                <a:latin typeface="+mn-lt"/>
              </a:rPr>
              <a:t>Primer fondo de comercio exterior de S/ 25 millones.</a:t>
            </a:r>
          </a:p>
          <a:p>
            <a:pPr>
              <a:spcBef>
                <a:spcPts val="0"/>
              </a:spcBef>
              <a:buFont typeface="Arial" panose="020B0604020202020204" pitchFamily="34" charset="0"/>
              <a:buNone/>
            </a:pPr>
            <a:endParaRPr lang="es-PE" sz="400" dirty="0">
              <a:solidFill>
                <a:srgbClr val="000000"/>
              </a:solidFill>
              <a:latin typeface="Arial Narrow" panose="020B060602020203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s-PE" sz="1600" b="1" dirty="0">
                <a:solidFill>
                  <a:srgbClr val="70AD47">
                    <a:lumMod val="75000"/>
                  </a:srgbClr>
                </a:solidFill>
                <a:latin typeface="Calibri" panose="020F0502020204030204"/>
                <a:ea typeface="Tahoma" panose="020B0604030504040204" pitchFamily="34" charset="0"/>
              </a:rPr>
              <a:t>Ampliación del Seguro de Crédito a la Exportación para las PYME (SEPYMEX)</a:t>
            </a:r>
          </a:p>
          <a:p>
            <a:pPr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s-PE" sz="1200" dirty="0">
                <a:solidFill>
                  <a:srgbClr val="000000"/>
                </a:solidFill>
                <a:latin typeface="+mn-lt"/>
              </a:rPr>
              <a:t>Cobertura de las operaciones post-embarque a partir de octubre 2017. Incremento de la cobertura de 50% a 75% para nuevos beneficiarios.</a:t>
            </a:r>
          </a:p>
          <a:p>
            <a:pPr>
              <a:spcBef>
                <a:spcPts val="0"/>
              </a:spcBef>
              <a:buFont typeface="Arial" panose="020B0604020202020204" pitchFamily="34" charset="0"/>
              <a:buNone/>
            </a:pPr>
            <a:endParaRPr lang="es-PE" sz="400" dirty="0">
              <a:solidFill>
                <a:srgbClr val="000000"/>
              </a:solidFill>
              <a:latin typeface="Arial Narrow" panose="020B060602020203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s-PE" sz="1600" b="1" dirty="0" err="1">
                <a:solidFill>
                  <a:srgbClr val="70AD47">
                    <a:lumMod val="75000"/>
                  </a:srgbClr>
                </a:solidFill>
                <a:latin typeface="Calibri" panose="020F0502020204030204"/>
                <a:ea typeface="Tahoma" panose="020B0604030504040204" pitchFamily="34" charset="0"/>
              </a:rPr>
              <a:t>Microfinanzas</a:t>
            </a:r>
            <a:endParaRPr lang="es-PE" sz="1600" b="1" dirty="0">
              <a:solidFill>
                <a:srgbClr val="70AD47">
                  <a:lumMod val="75000"/>
                </a:srgbClr>
              </a:solidFill>
              <a:latin typeface="Calibri" panose="020F0502020204030204"/>
              <a:ea typeface="Tahoma" panose="020B0604030504040204" pitchFamily="34" charset="0"/>
            </a:endParaRPr>
          </a:p>
          <a:p>
            <a:pPr>
              <a:spcBef>
                <a:spcPts val="0"/>
              </a:spcBef>
              <a:buNone/>
            </a:pPr>
            <a:r>
              <a:rPr lang="es-PE" sz="1200" dirty="0">
                <a:solidFill>
                  <a:srgbClr val="000000"/>
                </a:solidFill>
                <a:latin typeface="+mn-lt"/>
              </a:rPr>
              <a:t>Estudio para el diseño de producto financiero que podrían ofrecer las cajas para el financiamiento de comercio exterior.</a:t>
            </a:r>
            <a:endParaRPr lang="en-US" sz="1200" dirty="0">
              <a:solidFill>
                <a:srgbClr val="000000"/>
              </a:solidFill>
              <a:latin typeface="+mn-lt"/>
            </a:endParaRPr>
          </a:p>
        </p:txBody>
      </p:sp>
      <p:cxnSp>
        <p:nvCxnSpPr>
          <p:cNvPr id="44" name="Conector recto 43"/>
          <p:cNvCxnSpPr/>
          <p:nvPr/>
        </p:nvCxnSpPr>
        <p:spPr>
          <a:xfrm>
            <a:off x="6653211" y="1216847"/>
            <a:ext cx="0" cy="1997075"/>
          </a:xfrm>
          <a:prstGeom prst="line">
            <a:avLst/>
          </a:prstGeom>
          <a:ln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5 Título"/>
          <p:cNvSpPr txBox="1">
            <a:spLocks/>
          </p:cNvSpPr>
          <p:nvPr/>
        </p:nvSpPr>
        <p:spPr>
          <a:xfrm>
            <a:off x="205982" y="254903"/>
            <a:ext cx="6832980" cy="431800"/>
          </a:xfrm>
          <a:prstGeom prst="roundRect">
            <a:avLst/>
          </a:prstGeom>
          <a:noFill/>
          <a:ln w="25400" cap="flat" cmpd="sng" algn="ctr">
            <a:noFill/>
            <a:prstDash val="solid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s-ES" sz="3200" b="1" dirty="0">
                <a:solidFill>
                  <a:srgbClr val="C00000"/>
                </a:solidFill>
              </a:rPr>
              <a:t>Facilitando el Comercio Exterior</a:t>
            </a:r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F9FAFC"/>
              </a:clrFrom>
              <a:clrTo>
                <a:srgbClr val="F9FAFC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415" y="1607011"/>
            <a:ext cx="1183167" cy="1183167"/>
          </a:xfrm>
          <a:prstGeom prst="rect">
            <a:avLst/>
          </a:prstGeom>
        </p:spPr>
      </p:pic>
      <p:pic>
        <p:nvPicPr>
          <p:cNvPr id="7" name="Imagen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406" y="4020474"/>
            <a:ext cx="1131094" cy="676989"/>
          </a:xfrm>
          <a:prstGeom prst="rect">
            <a:avLst/>
          </a:prstGeom>
        </p:spPr>
      </p:pic>
      <p:pic>
        <p:nvPicPr>
          <p:cNvPr id="35" name="Imagen 3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97452" y="2916790"/>
            <a:ext cx="696912" cy="69691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6" name="Imagen 35"/>
          <p:cNvPicPr>
            <a:picLocks noChangeAspect="1"/>
          </p:cNvPicPr>
          <p:nvPr/>
        </p:nvPicPr>
        <p:blipFill rotWithShape="1">
          <a:blip r:embed="rId6"/>
          <a:srcRect t="21443" b="23634"/>
          <a:stretch/>
        </p:blipFill>
        <p:spPr>
          <a:xfrm>
            <a:off x="6661820" y="1248480"/>
            <a:ext cx="1168177" cy="449733"/>
          </a:xfrm>
          <a:prstGeom prst="rect">
            <a:avLst/>
          </a:prstGeom>
        </p:spPr>
      </p:pic>
      <p:pic>
        <p:nvPicPr>
          <p:cNvPr id="37" name="Picture 2" descr="Resultado de imagen para sepymex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2385"/>
          <a:stretch/>
        </p:blipFill>
        <p:spPr bwMode="auto">
          <a:xfrm>
            <a:off x="6949661" y="2010945"/>
            <a:ext cx="521680" cy="66967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1 Rectángulo redondeado"/>
          <p:cNvSpPr/>
          <p:nvPr/>
        </p:nvSpPr>
        <p:spPr>
          <a:xfrm>
            <a:off x="2620975" y="4127949"/>
            <a:ext cx="3747496" cy="462037"/>
          </a:xfrm>
          <a:prstGeom prst="roundRect">
            <a:avLst/>
          </a:prstGeom>
          <a:solidFill>
            <a:srgbClr val="F4803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/>
            <a:r>
              <a:rPr lang="es-PE" sz="1600" b="1" dirty="0">
                <a:solidFill>
                  <a:prstClr val="white"/>
                </a:solidFill>
              </a:rPr>
              <a:t>S/. 455 millones de ahorros  acumulados</a:t>
            </a:r>
          </a:p>
        </p:txBody>
      </p:sp>
    </p:spTree>
    <p:extLst>
      <p:ext uri="{BB962C8B-B14F-4D97-AF65-F5344CB8AC3E}">
        <p14:creationId xmlns:p14="http://schemas.microsoft.com/office/powerpoint/2010/main" val="30129870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Marcador de contenido 3"/>
          <p:cNvPicPr>
            <a:picLocks noGrp="1" noChangeAspect="1"/>
          </p:cNvPicPr>
          <p:nvPr>
            <p:ph idx="1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50" b="3875"/>
          <a:stretch/>
        </p:blipFill>
        <p:spPr>
          <a:xfrm>
            <a:off x="0" y="0"/>
            <a:ext cx="12192000" cy="6858000"/>
          </a:xfrm>
        </p:spPr>
      </p:pic>
      <p:sp>
        <p:nvSpPr>
          <p:cNvPr id="7" name="Rectangle 2"/>
          <p:cNvSpPr txBox="1">
            <a:spLocks noChangeArrowheads="1"/>
          </p:cNvSpPr>
          <p:nvPr/>
        </p:nvSpPr>
        <p:spPr bwMode="auto">
          <a:xfrm>
            <a:off x="0" y="2714625"/>
            <a:ext cx="12192000" cy="1423988"/>
          </a:xfrm>
          <a:prstGeom prst="rect">
            <a:avLst/>
          </a:prstGeom>
          <a:solidFill>
            <a:schemeClr val="bg1">
              <a:alpha val="60000"/>
            </a:schemeClr>
          </a:solidFill>
          <a:ln>
            <a:noFill/>
          </a:ln>
          <a:extLst/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s-ES" altLang="es-PE" sz="5400" b="1" dirty="0">
                <a:solidFill>
                  <a:prstClr val="black"/>
                </a:solidFill>
                <a:cs typeface="Arial" panose="020B0604020202020204" pitchFamily="34" charset="0"/>
              </a:rPr>
              <a:t>Política Comercial del Perú</a:t>
            </a:r>
          </a:p>
        </p:txBody>
      </p:sp>
      <p:sp>
        <p:nvSpPr>
          <p:cNvPr id="5" name="1 CuadroTexto"/>
          <p:cNvSpPr txBox="1">
            <a:spLocks noChangeArrowheads="1"/>
          </p:cNvSpPr>
          <p:nvPr/>
        </p:nvSpPr>
        <p:spPr bwMode="auto">
          <a:xfrm>
            <a:off x="7104063" y="5441990"/>
            <a:ext cx="4867275" cy="11079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s-PE" altLang="es-PE" sz="2200" dirty="0">
                <a:solidFill>
                  <a:prstClr val="white"/>
                </a:solidFill>
                <a:cs typeface="Arial" panose="020B0604020202020204" pitchFamily="34" charset="0"/>
              </a:rPr>
              <a:t>Roger Valencia Espinoza</a:t>
            </a:r>
          </a:p>
          <a:p>
            <a:pPr algn="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s-PE" altLang="es-PE" sz="2200" dirty="0">
                <a:solidFill>
                  <a:prstClr val="white"/>
                </a:solidFill>
                <a:cs typeface="Arial" panose="020B0604020202020204" pitchFamily="34" charset="0"/>
              </a:rPr>
              <a:t>Ministro de Comercio Exterior y Turismo</a:t>
            </a:r>
          </a:p>
          <a:p>
            <a:pPr algn="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es-PE" altLang="es-PE" sz="2200" dirty="0">
                <a:solidFill>
                  <a:prstClr val="white"/>
                </a:solidFill>
                <a:cs typeface="Arial" panose="020B0604020202020204" pitchFamily="34" charset="0"/>
              </a:rPr>
              <a:t>19 de junio de 2018</a:t>
            </a:r>
          </a:p>
        </p:txBody>
      </p:sp>
      <p:pic>
        <p:nvPicPr>
          <p:cNvPr id="6" name="Imagen 9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08"/>
          <a:stretch/>
        </p:blipFill>
        <p:spPr bwMode="auto">
          <a:xfrm>
            <a:off x="9251951" y="325438"/>
            <a:ext cx="2597150" cy="531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397459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1 Gráfico">
            <a:extLst>
              <a:ext uri="{FF2B5EF4-FFF2-40B4-BE49-F238E27FC236}">
                <a16:creationId xmlns="" xmlns:a16="http://schemas.microsoft.com/office/drawing/2014/main" id="{00000000-0008-0000-0000-000002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56901236"/>
              </p:ext>
            </p:extLst>
          </p:nvPr>
        </p:nvGraphicFramePr>
        <p:xfrm>
          <a:off x="992600" y="838200"/>
          <a:ext cx="10133776" cy="50413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0" y="186233"/>
            <a:ext cx="12192000" cy="57727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rmAutofit/>
          </a:bodyPr>
          <a:lstStyle/>
          <a:p>
            <a:pPr algn="ctr" fontAlgn="base">
              <a:spcAft>
                <a:spcPct val="0"/>
              </a:spcAft>
            </a:pPr>
            <a:r>
              <a:rPr lang="es-PE" sz="3200" b="1" spc="-60" dirty="0">
                <a:solidFill>
                  <a:srgbClr val="C00000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Importancia del comercio mundial</a:t>
            </a:r>
          </a:p>
        </p:txBody>
      </p:sp>
      <p:sp>
        <p:nvSpPr>
          <p:cNvPr id="3" name="2 CuadroTexto"/>
          <p:cNvSpPr txBox="1"/>
          <p:nvPr/>
        </p:nvSpPr>
        <p:spPr>
          <a:xfrm>
            <a:off x="301997" y="6458664"/>
            <a:ext cx="139172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s-PE"/>
            </a:defPPr>
            <a:lvl1pPr>
              <a:defRPr sz="1000">
                <a:solidFill>
                  <a:prstClr val="white"/>
                </a:solidFill>
              </a:defRPr>
            </a:lvl1pPr>
          </a:lstStyle>
          <a:p>
            <a:r>
              <a:rPr lang="es-PE" dirty="0">
                <a:solidFill>
                  <a:schemeClr val="tx1"/>
                </a:solidFill>
              </a:rPr>
              <a:t>Fuente: Banco Mundial</a:t>
            </a:r>
          </a:p>
        </p:txBody>
      </p:sp>
      <p:grpSp>
        <p:nvGrpSpPr>
          <p:cNvPr id="17" name="Group 44"/>
          <p:cNvGrpSpPr>
            <a:grpSpLocks/>
          </p:cNvGrpSpPr>
          <p:nvPr/>
        </p:nvGrpSpPr>
        <p:grpSpPr bwMode="auto">
          <a:xfrm>
            <a:off x="632028" y="1444623"/>
            <a:ext cx="11003989" cy="4838700"/>
            <a:chOff x="56" y="1006"/>
            <a:chExt cx="5634" cy="3048"/>
          </a:xfrm>
          <a:noFill/>
        </p:grpSpPr>
        <p:sp>
          <p:nvSpPr>
            <p:cNvPr id="18" name="Freeform 4"/>
            <p:cNvSpPr>
              <a:spLocks noChangeAspect="1" noEditPoints="1"/>
            </p:cNvSpPr>
            <p:nvPr/>
          </p:nvSpPr>
          <p:spPr bwMode="auto">
            <a:xfrm>
              <a:off x="2489" y="1006"/>
              <a:ext cx="3201" cy="2883"/>
            </a:xfrm>
            <a:custGeom>
              <a:avLst/>
              <a:gdLst/>
              <a:ahLst/>
              <a:cxnLst>
                <a:cxn ang="0">
                  <a:pos x="2146" y="1956"/>
                </a:cxn>
                <a:cxn ang="0">
                  <a:pos x="2100" y="1866"/>
                </a:cxn>
                <a:cxn ang="0">
                  <a:pos x="2180" y="1810"/>
                </a:cxn>
                <a:cxn ang="0">
                  <a:pos x="2152" y="1724"/>
                </a:cxn>
                <a:cxn ang="0">
                  <a:pos x="2920" y="422"/>
                </a:cxn>
                <a:cxn ang="0">
                  <a:pos x="2474" y="286"/>
                </a:cxn>
                <a:cxn ang="0">
                  <a:pos x="2216" y="240"/>
                </a:cxn>
                <a:cxn ang="0">
                  <a:pos x="2010" y="144"/>
                </a:cxn>
                <a:cxn ang="0">
                  <a:pos x="1482" y="300"/>
                </a:cxn>
                <a:cxn ang="0">
                  <a:pos x="1316" y="436"/>
                </a:cxn>
                <a:cxn ang="0">
                  <a:pos x="972" y="526"/>
                </a:cxn>
                <a:cxn ang="0">
                  <a:pos x="842" y="632"/>
                </a:cxn>
                <a:cxn ang="0">
                  <a:pos x="778" y="422"/>
                </a:cxn>
                <a:cxn ang="0">
                  <a:pos x="502" y="484"/>
                </a:cxn>
                <a:cxn ang="0">
                  <a:pos x="442" y="796"/>
                </a:cxn>
                <a:cxn ang="0">
                  <a:pos x="536" y="746"/>
                </a:cxn>
                <a:cxn ang="0">
                  <a:pos x="704" y="766"/>
                </a:cxn>
                <a:cxn ang="0">
                  <a:pos x="516" y="938"/>
                </a:cxn>
                <a:cxn ang="0">
                  <a:pos x="404" y="942"/>
                </a:cxn>
                <a:cxn ang="0">
                  <a:pos x="226" y="1106"/>
                </a:cxn>
                <a:cxn ang="0">
                  <a:pos x="164" y="1322"/>
                </a:cxn>
                <a:cxn ang="0">
                  <a:pos x="508" y="1316"/>
                </a:cxn>
                <a:cxn ang="0">
                  <a:pos x="570" y="1260"/>
                </a:cxn>
                <a:cxn ang="0">
                  <a:pos x="748" y="1330"/>
                </a:cxn>
                <a:cxn ang="0">
                  <a:pos x="534" y="1434"/>
                </a:cxn>
                <a:cxn ang="0">
                  <a:pos x="190" y="1354"/>
                </a:cxn>
                <a:cxn ang="0">
                  <a:pos x="32" y="1772"/>
                </a:cxn>
                <a:cxn ang="0">
                  <a:pos x="392" y="1878"/>
                </a:cxn>
                <a:cxn ang="0">
                  <a:pos x="484" y="2302"/>
                </a:cxn>
                <a:cxn ang="0">
                  <a:pos x="838" y="2228"/>
                </a:cxn>
                <a:cxn ang="0">
                  <a:pos x="1054" y="1770"/>
                </a:cxn>
                <a:cxn ang="0">
                  <a:pos x="898" y="1636"/>
                </a:cxn>
                <a:cxn ang="0">
                  <a:pos x="1058" y="1534"/>
                </a:cxn>
                <a:cxn ang="0">
                  <a:pos x="1386" y="1598"/>
                </a:cxn>
                <a:cxn ang="0">
                  <a:pos x="1728" y="1676"/>
                </a:cxn>
                <a:cxn ang="0">
                  <a:pos x="1848" y="1742"/>
                </a:cxn>
                <a:cxn ang="0">
                  <a:pos x="2076" y="1570"/>
                </a:cxn>
                <a:cxn ang="0">
                  <a:pos x="2158" y="1260"/>
                </a:cxn>
                <a:cxn ang="0">
                  <a:pos x="2314" y="1218"/>
                </a:cxn>
                <a:cxn ang="0">
                  <a:pos x="2576" y="796"/>
                </a:cxn>
                <a:cxn ang="0">
                  <a:pos x="2702" y="854"/>
                </a:cxn>
                <a:cxn ang="0">
                  <a:pos x="2908" y="786"/>
                </a:cxn>
                <a:cxn ang="0">
                  <a:pos x="864" y="1244"/>
                </a:cxn>
                <a:cxn ang="0">
                  <a:pos x="870" y="1166"/>
                </a:cxn>
                <a:cxn ang="0">
                  <a:pos x="980" y="1256"/>
                </a:cxn>
                <a:cxn ang="0">
                  <a:pos x="1140" y="262"/>
                </a:cxn>
                <a:cxn ang="0">
                  <a:pos x="1082" y="252"/>
                </a:cxn>
                <a:cxn ang="0">
                  <a:pos x="120" y="984"/>
                </a:cxn>
                <a:cxn ang="0">
                  <a:pos x="1814" y="1942"/>
                </a:cxn>
                <a:cxn ang="0">
                  <a:pos x="1030" y="2140"/>
                </a:cxn>
                <a:cxn ang="0">
                  <a:pos x="208" y="1038"/>
                </a:cxn>
                <a:cxn ang="0">
                  <a:pos x="206" y="840"/>
                </a:cxn>
                <a:cxn ang="0">
                  <a:pos x="2980" y="2638"/>
                </a:cxn>
                <a:cxn ang="0">
                  <a:pos x="2880" y="2756"/>
                </a:cxn>
                <a:cxn ang="0">
                  <a:pos x="2308" y="1394"/>
                </a:cxn>
                <a:cxn ang="0">
                  <a:pos x="2434" y="2068"/>
                </a:cxn>
                <a:cxn ang="0">
                  <a:pos x="2320" y="1948"/>
                </a:cxn>
                <a:cxn ang="0">
                  <a:pos x="2384" y="2138"/>
                </a:cxn>
                <a:cxn ang="0">
                  <a:pos x="2054" y="2448"/>
                </a:cxn>
                <a:cxn ang="0">
                  <a:pos x="2544" y="2592"/>
                </a:cxn>
                <a:cxn ang="0">
                  <a:pos x="2476" y="954"/>
                </a:cxn>
                <a:cxn ang="0">
                  <a:pos x="2488" y="1226"/>
                </a:cxn>
                <a:cxn ang="0">
                  <a:pos x="2408" y="1360"/>
                </a:cxn>
              </a:cxnLst>
              <a:rect l="0" t="0" r="r" b="b"/>
              <a:pathLst>
                <a:path w="3062" h="2758">
                  <a:moveTo>
                    <a:pt x="1982" y="1630"/>
                  </a:moveTo>
                  <a:lnTo>
                    <a:pt x="1982" y="1630"/>
                  </a:lnTo>
                  <a:lnTo>
                    <a:pt x="1976" y="1628"/>
                  </a:lnTo>
                  <a:lnTo>
                    <a:pt x="1972" y="1630"/>
                  </a:lnTo>
                  <a:lnTo>
                    <a:pt x="1972" y="1630"/>
                  </a:lnTo>
                  <a:lnTo>
                    <a:pt x="1962" y="1640"/>
                  </a:lnTo>
                  <a:lnTo>
                    <a:pt x="1962" y="1640"/>
                  </a:lnTo>
                  <a:lnTo>
                    <a:pt x="1960" y="1644"/>
                  </a:lnTo>
                  <a:lnTo>
                    <a:pt x="1962" y="1650"/>
                  </a:lnTo>
                  <a:lnTo>
                    <a:pt x="1962" y="1650"/>
                  </a:lnTo>
                  <a:lnTo>
                    <a:pt x="1966" y="1652"/>
                  </a:lnTo>
                  <a:lnTo>
                    <a:pt x="1972" y="1650"/>
                  </a:lnTo>
                  <a:lnTo>
                    <a:pt x="1972" y="1650"/>
                  </a:lnTo>
                  <a:lnTo>
                    <a:pt x="1982" y="1640"/>
                  </a:lnTo>
                  <a:lnTo>
                    <a:pt x="1982" y="1640"/>
                  </a:lnTo>
                  <a:lnTo>
                    <a:pt x="1984" y="1634"/>
                  </a:lnTo>
                  <a:lnTo>
                    <a:pt x="1982" y="1630"/>
                  </a:lnTo>
                  <a:lnTo>
                    <a:pt x="1982" y="1630"/>
                  </a:lnTo>
                  <a:close/>
                  <a:moveTo>
                    <a:pt x="2112" y="1982"/>
                  </a:moveTo>
                  <a:lnTo>
                    <a:pt x="2112" y="1982"/>
                  </a:lnTo>
                  <a:lnTo>
                    <a:pt x="2116" y="1994"/>
                  </a:lnTo>
                  <a:lnTo>
                    <a:pt x="2120" y="2000"/>
                  </a:lnTo>
                  <a:lnTo>
                    <a:pt x="2120" y="2000"/>
                  </a:lnTo>
                  <a:lnTo>
                    <a:pt x="2122" y="2006"/>
                  </a:lnTo>
                  <a:lnTo>
                    <a:pt x="2122" y="2014"/>
                  </a:lnTo>
                  <a:lnTo>
                    <a:pt x="2122" y="2018"/>
                  </a:lnTo>
                  <a:lnTo>
                    <a:pt x="2122" y="2018"/>
                  </a:lnTo>
                  <a:lnTo>
                    <a:pt x="2124" y="2022"/>
                  </a:lnTo>
                  <a:lnTo>
                    <a:pt x="2126" y="2024"/>
                  </a:lnTo>
                  <a:lnTo>
                    <a:pt x="2128" y="2026"/>
                  </a:lnTo>
                  <a:lnTo>
                    <a:pt x="2130" y="2026"/>
                  </a:lnTo>
                  <a:lnTo>
                    <a:pt x="2134" y="2026"/>
                  </a:lnTo>
                  <a:lnTo>
                    <a:pt x="2134" y="2026"/>
                  </a:lnTo>
                  <a:lnTo>
                    <a:pt x="2140" y="2024"/>
                  </a:lnTo>
                  <a:lnTo>
                    <a:pt x="2142" y="2022"/>
                  </a:lnTo>
                  <a:lnTo>
                    <a:pt x="2142" y="2022"/>
                  </a:lnTo>
                  <a:lnTo>
                    <a:pt x="2142" y="2008"/>
                  </a:lnTo>
                  <a:lnTo>
                    <a:pt x="2142" y="1996"/>
                  </a:lnTo>
                  <a:lnTo>
                    <a:pt x="2142" y="1996"/>
                  </a:lnTo>
                  <a:lnTo>
                    <a:pt x="2144" y="1992"/>
                  </a:lnTo>
                  <a:lnTo>
                    <a:pt x="2146" y="1994"/>
                  </a:lnTo>
                  <a:lnTo>
                    <a:pt x="2148" y="2000"/>
                  </a:lnTo>
                  <a:lnTo>
                    <a:pt x="2148" y="2000"/>
                  </a:lnTo>
                  <a:lnTo>
                    <a:pt x="2158" y="2012"/>
                  </a:lnTo>
                  <a:lnTo>
                    <a:pt x="2166" y="2020"/>
                  </a:lnTo>
                  <a:lnTo>
                    <a:pt x="2166" y="2020"/>
                  </a:lnTo>
                  <a:lnTo>
                    <a:pt x="2172" y="2024"/>
                  </a:lnTo>
                  <a:lnTo>
                    <a:pt x="2180" y="2026"/>
                  </a:lnTo>
                  <a:lnTo>
                    <a:pt x="2184" y="2026"/>
                  </a:lnTo>
                  <a:lnTo>
                    <a:pt x="2184" y="2026"/>
                  </a:lnTo>
                  <a:lnTo>
                    <a:pt x="2186" y="2026"/>
                  </a:lnTo>
                  <a:lnTo>
                    <a:pt x="2188" y="2024"/>
                  </a:lnTo>
                  <a:lnTo>
                    <a:pt x="2190" y="2022"/>
                  </a:lnTo>
                  <a:lnTo>
                    <a:pt x="2188" y="2020"/>
                  </a:lnTo>
                  <a:lnTo>
                    <a:pt x="2186" y="2014"/>
                  </a:lnTo>
                  <a:lnTo>
                    <a:pt x="2186" y="2014"/>
                  </a:lnTo>
                  <a:lnTo>
                    <a:pt x="2176" y="2002"/>
                  </a:lnTo>
                  <a:lnTo>
                    <a:pt x="2168" y="1992"/>
                  </a:lnTo>
                  <a:lnTo>
                    <a:pt x="2168" y="1992"/>
                  </a:lnTo>
                  <a:lnTo>
                    <a:pt x="2166" y="1988"/>
                  </a:lnTo>
                  <a:lnTo>
                    <a:pt x="2166" y="1984"/>
                  </a:lnTo>
                  <a:lnTo>
                    <a:pt x="2168" y="1982"/>
                  </a:lnTo>
                  <a:lnTo>
                    <a:pt x="2168" y="1982"/>
                  </a:lnTo>
                  <a:lnTo>
                    <a:pt x="2178" y="1972"/>
                  </a:lnTo>
                  <a:lnTo>
                    <a:pt x="2178" y="1972"/>
                  </a:lnTo>
                  <a:lnTo>
                    <a:pt x="2180" y="1968"/>
                  </a:lnTo>
                  <a:lnTo>
                    <a:pt x="2182" y="1962"/>
                  </a:lnTo>
                  <a:lnTo>
                    <a:pt x="2182" y="1962"/>
                  </a:lnTo>
                  <a:lnTo>
                    <a:pt x="2180" y="1960"/>
                  </a:lnTo>
                  <a:lnTo>
                    <a:pt x="2174" y="1958"/>
                  </a:lnTo>
                  <a:lnTo>
                    <a:pt x="2150" y="1958"/>
                  </a:lnTo>
                  <a:lnTo>
                    <a:pt x="2150" y="1958"/>
                  </a:lnTo>
                  <a:lnTo>
                    <a:pt x="2148" y="1958"/>
                  </a:lnTo>
                  <a:lnTo>
                    <a:pt x="2146" y="1956"/>
                  </a:lnTo>
                  <a:lnTo>
                    <a:pt x="2146" y="1954"/>
                  </a:lnTo>
                  <a:lnTo>
                    <a:pt x="2146" y="1950"/>
                  </a:lnTo>
                  <a:lnTo>
                    <a:pt x="2148" y="1946"/>
                  </a:lnTo>
                  <a:lnTo>
                    <a:pt x="2148" y="1946"/>
                  </a:lnTo>
                  <a:lnTo>
                    <a:pt x="2158" y="1934"/>
                  </a:lnTo>
                  <a:lnTo>
                    <a:pt x="2158" y="1934"/>
                  </a:lnTo>
                  <a:lnTo>
                    <a:pt x="2158" y="1932"/>
                  </a:lnTo>
                  <a:lnTo>
                    <a:pt x="2158" y="1930"/>
                  </a:lnTo>
                  <a:lnTo>
                    <a:pt x="2154" y="1928"/>
                  </a:lnTo>
                  <a:lnTo>
                    <a:pt x="2150" y="1928"/>
                  </a:lnTo>
                  <a:lnTo>
                    <a:pt x="2150" y="1928"/>
                  </a:lnTo>
                  <a:lnTo>
                    <a:pt x="2144" y="1930"/>
                  </a:lnTo>
                  <a:lnTo>
                    <a:pt x="2138" y="1934"/>
                  </a:lnTo>
                  <a:lnTo>
                    <a:pt x="2138" y="1934"/>
                  </a:lnTo>
                  <a:lnTo>
                    <a:pt x="2130" y="1946"/>
                  </a:lnTo>
                  <a:lnTo>
                    <a:pt x="2116" y="1970"/>
                  </a:lnTo>
                  <a:lnTo>
                    <a:pt x="2116" y="1970"/>
                  </a:lnTo>
                  <a:lnTo>
                    <a:pt x="2112" y="1982"/>
                  </a:lnTo>
                  <a:lnTo>
                    <a:pt x="2112" y="1982"/>
                  </a:lnTo>
                  <a:close/>
                  <a:moveTo>
                    <a:pt x="1966" y="1940"/>
                  </a:moveTo>
                  <a:lnTo>
                    <a:pt x="1966" y="1940"/>
                  </a:lnTo>
                  <a:lnTo>
                    <a:pt x="1968" y="1948"/>
                  </a:lnTo>
                  <a:lnTo>
                    <a:pt x="1970" y="1954"/>
                  </a:lnTo>
                  <a:lnTo>
                    <a:pt x="1972" y="1960"/>
                  </a:lnTo>
                  <a:lnTo>
                    <a:pt x="1972" y="1960"/>
                  </a:lnTo>
                  <a:lnTo>
                    <a:pt x="1980" y="1974"/>
                  </a:lnTo>
                  <a:lnTo>
                    <a:pt x="1982" y="1980"/>
                  </a:lnTo>
                  <a:lnTo>
                    <a:pt x="1982" y="1980"/>
                  </a:lnTo>
                  <a:lnTo>
                    <a:pt x="1988" y="1984"/>
                  </a:lnTo>
                  <a:lnTo>
                    <a:pt x="1994" y="1986"/>
                  </a:lnTo>
                  <a:lnTo>
                    <a:pt x="1998" y="1986"/>
                  </a:lnTo>
                  <a:lnTo>
                    <a:pt x="1998" y="1986"/>
                  </a:lnTo>
                  <a:lnTo>
                    <a:pt x="2014" y="1986"/>
                  </a:lnTo>
                  <a:lnTo>
                    <a:pt x="2018" y="1986"/>
                  </a:lnTo>
                  <a:lnTo>
                    <a:pt x="2018" y="1986"/>
                  </a:lnTo>
                  <a:lnTo>
                    <a:pt x="2024" y="1988"/>
                  </a:lnTo>
                  <a:lnTo>
                    <a:pt x="2032" y="1990"/>
                  </a:lnTo>
                  <a:lnTo>
                    <a:pt x="2038" y="1992"/>
                  </a:lnTo>
                  <a:lnTo>
                    <a:pt x="2038" y="1992"/>
                  </a:lnTo>
                  <a:lnTo>
                    <a:pt x="2044" y="1996"/>
                  </a:lnTo>
                  <a:lnTo>
                    <a:pt x="2052" y="1996"/>
                  </a:lnTo>
                  <a:lnTo>
                    <a:pt x="2056" y="1996"/>
                  </a:lnTo>
                  <a:lnTo>
                    <a:pt x="2056" y="1996"/>
                  </a:lnTo>
                  <a:lnTo>
                    <a:pt x="2062" y="1994"/>
                  </a:lnTo>
                  <a:lnTo>
                    <a:pt x="2066" y="1988"/>
                  </a:lnTo>
                  <a:lnTo>
                    <a:pt x="2072" y="1974"/>
                  </a:lnTo>
                  <a:lnTo>
                    <a:pt x="2072" y="1974"/>
                  </a:lnTo>
                  <a:lnTo>
                    <a:pt x="2074" y="1968"/>
                  </a:lnTo>
                  <a:lnTo>
                    <a:pt x="2078" y="1962"/>
                  </a:lnTo>
                  <a:lnTo>
                    <a:pt x="2078" y="1962"/>
                  </a:lnTo>
                  <a:lnTo>
                    <a:pt x="2088" y="1950"/>
                  </a:lnTo>
                  <a:lnTo>
                    <a:pt x="2090" y="1944"/>
                  </a:lnTo>
                  <a:lnTo>
                    <a:pt x="2090" y="1944"/>
                  </a:lnTo>
                  <a:lnTo>
                    <a:pt x="2094" y="1932"/>
                  </a:lnTo>
                  <a:lnTo>
                    <a:pt x="2094" y="1932"/>
                  </a:lnTo>
                  <a:lnTo>
                    <a:pt x="2096" y="1928"/>
                  </a:lnTo>
                  <a:lnTo>
                    <a:pt x="2100" y="1924"/>
                  </a:lnTo>
                  <a:lnTo>
                    <a:pt x="2106" y="1922"/>
                  </a:lnTo>
                  <a:lnTo>
                    <a:pt x="2106" y="1922"/>
                  </a:lnTo>
                  <a:lnTo>
                    <a:pt x="2108" y="1920"/>
                  </a:lnTo>
                  <a:lnTo>
                    <a:pt x="2108" y="1918"/>
                  </a:lnTo>
                  <a:lnTo>
                    <a:pt x="2108" y="1916"/>
                  </a:lnTo>
                  <a:lnTo>
                    <a:pt x="2106" y="1914"/>
                  </a:lnTo>
                  <a:lnTo>
                    <a:pt x="2100" y="1912"/>
                  </a:lnTo>
                  <a:lnTo>
                    <a:pt x="2100" y="1912"/>
                  </a:lnTo>
                  <a:lnTo>
                    <a:pt x="2096" y="1908"/>
                  </a:lnTo>
                  <a:lnTo>
                    <a:pt x="2094" y="1900"/>
                  </a:lnTo>
                  <a:lnTo>
                    <a:pt x="2094" y="1898"/>
                  </a:lnTo>
                  <a:lnTo>
                    <a:pt x="2094" y="1898"/>
                  </a:lnTo>
                  <a:lnTo>
                    <a:pt x="2094" y="1882"/>
                  </a:lnTo>
                  <a:lnTo>
                    <a:pt x="2094" y="1878"/>
                  </a:lnTo>
                  <a:lnTo>
                    <a:pt x="2094" y="1878"/>
                  </a:lnTo>
                  <a:lnTo>
                    <a:pt x="2096" y="1870"/>
                  </a:lnTo>
                  <a:lnTo>
                    <a:pt x="2100" y="1866"/>
                  </a:lnTo>
                  <a:lnTo>
                    <a:pt x="2106" y="1864"/>
                  </a:lnTo>
                  <a:lnTo>
                    <a:pt x="2106" y="1864"/>
                  </a:lnTo>
                  <a:lnTo>
                    <a:pt x="2108" y="1862"/>
                  </a:lnTo>
                  <a:lnTo>
                    <a:pt x="2110" y="1858"/>
                  </a:lnTo>
                  <a:lnTo>
                    <a:pt x="2110" y="1856"/>
                  </a:lnTo>
                  <a:lnTo>
                    <a:pt x="2110" y="1852"/>
                  </a:lnTo>
                  <a:lnTo>
                    <a:pt x="2106" y="1848"/>
                  </a:lnTo>
                  <a:lnTo>
                    <a:pt x="2106" y="1848"/>
                  </a:lnTo>
                  <a:lnTo>
                    <a:pt x="2102" y="1842"/>
                  </a:lnTo>
                  <a:lnTo>
                    <a:pt x="2096" y="1836"/>
                  </a:lnTo>
                  <a:lnTo>
                    <a:pt x="2090" y="1834"/>
                  </a:lnTo>
                  <a:lnTo>
                    <a:pt x="2090" y="1834"/>
                  </a:lnTo>
                  <a:lnTo>
                    <a:pt x="2084" y="1832"/>
                  </a:lnTo>
                  <a:lnTo>
                    <a:pt x="2076" y="1834"/>
                  </a:lnTo>
                  <a:lnTo>
                    <a:pt x="2052" y="1846"/>
                  </a:lnTo>
                  <a:lnTo>
                    <a:pt x="2052" y="1846"/>
                  </a:lnTo>
                  <a:lnTo>
                    <a:pt x="2046" y="1850"/>
                  </a:lnTo>
                  <a:lnTo>
                    <a:pt x="2040" y="1856"/>
                  </a:lnTo>
                  <a:lnTo>
                    <a:pt x="2020" y="1882"/>
                  </a:lnTo>
                  <a:lnTo>
                    <a:pt x="2020" y="1882"/>
                  </a:lnTo>
                  <a:lnTo>
                    <a:pt x="2014" y="1888"/>
                  </a:lnTo>
                  <a:lnTo>
                    <a:pt x="2008" y="1892"/>
                  </a:lnTo>
                  <a:lnTo>
                    <a:pt x="2004" y="1896"/>
                  </a:lnTo>
                  <a:lnTo>
                    <a:pt x="2004" y="1896"/>
                  </a:lnTo>
                  <a:lnTo>
                    <a:pt x="1988" y="1902"/>
                  </a:lnTo>
                  <a:lnTo>
                    <a:pt x="1984" y="1904"/>
                  </a:lnTo>
                  <a:lnTo>
                    <a:pt x="1984" y="1904"/>
                  </a:lnTo>
                  <a:lnTo>
                    <a:pt x="1972" y="1914"/>
                  </a:lnTo>
                  <a:lnTo>
                    <a:pt x="1972" y="1914"/>
                  </a:lnTo>
                  <a:lnTo>
                    <a:pt x="1968" y="1920"/>
                  </a:lnTo>
                  <a:lnTo>
                    <a:pt x="1966" y="1926"/>
                  </a:lnTo>
                  <a:lnTo>
                    <a:pt x="1966" y="1940"/>
                  </a:lnTo>
                  <a:close/>
                  <a:moveTo>
                    <a:pt x="2180" y="1810"/>
                  </a:moveTo>
                  <a:lnTo>
                    <a:pt x="2180" y="1810"/>
                  </a:lnTo>
                  <a:lnTo>
                    <a:pt x="2174" y="1814"/>
                  </a:lnTo>
                  <a:lnTo>
                    <a:pt x="2170" y="1818"/>
                  </a:lnTo>
                  <a:lnTo>
                    <a:pt x="2164" y="1832"/>
                  </a:lnTo>
                  <a:lnTo>
                    <a:pt x="2164" y="1832"/>
                  </a:lnTo>
                  <a:lnTo>
                    <a:pt x="2164" y="1834"/>
                  </a:lnTo>
                  <a:lnTo>
                    <a:pt x="2164" y="1836"/>
                  </a:lnTo>
                  <a:lnTo>
                    <a:pt x="2166" y="1838"/>
                  </a:lnTo>
                  <a:lnTo>
                    <a:pt x="2168" y="1836"/>
                  </a:lnTo>
                  <a:lnTo>
                    <a:pt x="2174" y="1834"/>
                  </a:lnTo>
                  <a:lnTo>
                    <a:pt x="2174" y="1834"/>
                  </a:lnTo>
                  <a:lnTo>
                    <a:pt x="2180" y="1832"/>
                  </a:lnTo>
                  <a:lnTo>
                    <a:pt x="2186" y="1834"/>
                  </a:lnTo>
                  <a:lnTo>
                    <a:pt x="2186" y="1834"/>
                  </a:lnTo>
                  <a:lnTo>
                    <a:pt x="2192" y="1838"/>
                  </a:lnTo>
                  <a:lnTo>
                    <a:pt x="2200" y="1840"/>
                  </a:lnTo>
                  <a:lnTo>
                    <a:pt x="2204" y="1840"/>
                  </a:lnTo>
                  <a:lnTo>
                    <a:pt x="2204" y="1840"/>
                  </a:lnTo>
                  <a:lnTo>
                    <a:pt x="2210" y="1840"/>
                  </a:lnTo>
                  <a:lnTo>
                    <a:pt x="2218" y="1844"/>
                  </a:lnTo>
                  <a:lnTo>
                    <a:pt x="2224" y="1846"/>
                  </a:lnTo>
                  <a:lnTo>
                    <a:pt x="2224" y="1846"/>
                  </a:lnTo>
                  <a:lnTo>
                    <a:pt x="2226" y="1846"/>
                  </a:lnTo>
                  <a:lnTo>
                    <a:pt x="2228" y="1846"/>
                  </a:lnTo>
                  <a:lnTo>
                    <a:pt x="2230" y="1844"/>
                  </a:lnTo>
                  <a:lnTo>
                    <a:pt x="2230" y="1842"/>
                  </a:lnTo>
                  <a:lnTo>
                    <a:pt x="2230" y="1818"/>
                  </a:lnTo>
                  <a:lnTo>
                    <a:pt x="2230" y="1818"/>
                  </a:lnTo>
                  <a:lnTo>
                    <a:pt x="2230" y="1812"/>
                  </a:lnTo>
                  <a:lnTo>
                    <a:pt x="2226" y="1806"/>
                  </a:lnTo>
                  <a:lnTo>
                    <a:pt x="2216" y="1798"/>
                  </a:lnTo>
                  <a:lnTo>
                    <a:pt x="2216" y="1798"/>
                  </a:lnTo>
                  <a:lnTo>
                    <a:pt x="2214" y="1796"/>
                  </a:lnTo>
                  <a:lnTo>
                    <a:pt x="2212" y="1794"/>
                  </a:lnTo>
                  <a:lnTo>
                    <a:pt x="2208" y="1796"/>
                  </a:lnTo>
                  <a:lnTo>
                    <a:pt x="2206" y="1798"/>
                  </a:lnTo>
                  <a:lnTo>
                    <a:pt x="2198" y="1806"/>
                  </a:lnTo>
                  <a:lnTo>
                    <a:pt x="2198" y="1806"/>
                  </a:lnTo>
                  <a:lnTo>
                    <a:pt x="2190" y="1810"/>
                  </a:lnTo>
                  <a:lnTo>
                    <a:pt x="2184" y="1810"/>
                  </a:lnTo>
                  <a:lnTo>
                    <a:pt x="2180" y="1810"/>
                  </a:lnTo>
                  <a:close/>
                  <a:moveTo>
                    <a:pt x="2152" y="1544"/>
                  </a:moveTo>
                  <a:lnTo>
                    <a:pt x="2152" y="1544"/>
                  </a:lnTo>
                  <a:lnTo>
                    <a:pt x="2152" y="1542"/>
                  </a:lnTo>
                  <a:lnTo>
                    <a:pt x="2152" y="1540"/>
                  </a:lnTo>
                  <a:lnTo>
                    <a:pt x="2150" y="1540"/>
                  </a:lnTo>
                  <a:lnTo>
                    <a:pt x="2148" y="1542"/>
                  </a:lnTo>
                  <a:lnTo>
                    <a:pt x="2138" y="1550"/>
                  </a:lnTo>
                  <a:lnTo>
                    <a:pt x="2138" y="1550"/>
                  </a:lnTo>
                  <a:lnTo>
                    <a:pt x="2134" y="1558"/>
                  </a:lnTo>
                  <a:lnTo>
                    <a:pt x="2132" y="1564"/>
                  </a:lnTo>
                  <a:lnTo>
                    <a:pt x="2132" y="1568"/>
                  </a:lnTo>
                  <a:lnTo>
                    <a:pt x="2132" y="1568"/>
                  </a:lnTo>
                  <a:lnTo>
                    <a:pt x="2134" y="1576"/>
                  </a:lnTo>
                  <a:lnTo>
                    <a:pt x="2136" y="1584"/>
                  </a:lnTo>
                  <a:lnTo>
                    <a:pt x="2140" y="1588"/>
                  </a:lnTo>
                  <a:lnTo>
                    <a:pt x="2140" y="1588"/>
                  </a:lnTo>
                  <a:lnTo>
                    <a:pt x="2140" y="1590"/>
                  </a:lnTo>
                  <a:lnTo>
                    <a:pt x="2142" y="1592"/>
                  </a:lnTo>
                  <a:lnTo>
                    <a:pt x="2144" y="1590"/>
                  </a:lnTo>
                  <a:lnTo>
                    <a:pt x="2144" y="1588"/>
                  </a:lnTo>
                  <a:lnTo>
                    <a:pt x="2150" y="1564"/>
                  </a:lnTo>
                  <a:lnTo>
                    <a:pt x="2150" y="1564"/>
                  </a:lnTo>
                  <a:lnTo>
                    <a:pt x="2152" y="1548"/>
                  </a:lnTo>
                  <a:lnTo>
                    <a:pt x="2152" y="1544"/>
                  </a:lnTo>
                  <a:close/>
                  <a:moveTo>
                    <a:pt x="2066" y="2082"/>
                  </a:moveTo>
                  <a:lnTo>
                    <a:pt x="2066" y="2082"/>
                  </a:lnTo>
                  <a:lnTo>
                    <a:pt x="2068" y="2082"/>
                  </a:lnTo>
                  <a:lnTo>
                    <a:pt x="2070" y="2082"/>
                  </a:lnTo>
                  <a:lnTo>
                    <a:pt x="2072" y="2080"/>
                  </a:lnTo>
                  <a:lnTo>
                    <a:pt x="2070" y="2078"/>
                  </a:lnTo>
                  <a:lnTo>
                    <a:pt x="2068" y="2072"/>
                  </a:lnTo>
                  <a:lnTo>
                    <a:pt x="2068" y="2072"/>
                  </a:lnTo>
                  <a:lnTo>
                    <a:pt x="2062" y="2066"/>
                  </a:lnTo>
                  <a:lnTo>
                    <a:pt x="2056" y="2062"/>
                  </a:lnTo>
                  <a:lnTo>
                    <a:pt x="2032" y="2058"/>
                  </a:lnTo>
                  <a:lnTo>
                    <a:pt x="2032" y="2058"/>
                  </a:lnTo>
                  <a:lnTo>
                    <a:pt x="2018" y="2052"/>
                  </a:lnTo>
                  <a:lnTo>
                    <a:pt x="2012" y="2048"/>
                  </a:lnTo>
                  <a:lnTo>
                    <a:pt x="2012" y="2048"/>
                  </a:lnTo>
                  <a:lnTo>
                    <a:pt x="2006" y="2046"/>
                  </a:lnTo>
                  <a:lnTo>
                    <a:pt x="1998" y="2046"/>
                  </a:lnTo>
                  <a:lnTo>
                    <a:pt x="1994" y="2046"/>
                  </a:lnTo>
                  <a:lnTo>
                    <a:pt x="1994" y="2046"/>
                  </a:lnTo>
                  <a:lnTo>
                    <a:pt x="1978" y="2046"/>
                  </a:lnTo>
                  <a:lnTo>
                    <a:pt x="1964" y="2046"/>
                  </a:lnTo>
                  <a:lnTo>
                    <a:pt x="1964" y="2046"/>
                  </a:lnTo>
                  <a:lnTo>
                    <a:pt x="1948" y="2046"/>
                  </a:lnTo>
                  <a:lnTo>
                    <a:pt x="1916" y="2046"/>
                  </a:lnTo>
                  <a:lnTo>
                    <a:pt x="1916" y="2046"/>
                  </a:lnTo>
                  <a:lnTo>
                    <a:pt x="1912" y="2046"/>
                  </a:lnTo>
                  <a:lnTo>
                    <a:pt x="1916" y="2048"/>
                  </a:lnTo>
                  <a:lnTo>
                    <a:pt x="1940" y="2062"/>
                  </a:lnTo>
                  <a:lnTo>
                    <a:pt x="1940" y="2062"/>
                  </a:lnTo>
                  <a:lnTo>
                    <a:pt x="1954" y="2066"/>
                  </a:lnTo>
                  <a:lnTo>
                    <a:pt x="1998" y="2074"/>
                  </a:lnTo>
                  <a:lnTo>
                    <a:pt x="1998" y="2074"/>
                  </a:lnTo>
                  <a:lnTo>
                    <a:pt x="2014" y="2074"/>
                  </a:lnTo>
                  <a:lnTo>
                    <a:pt x="2026" y="2074"/>
                  </a:lnTo>
                  <a:lnTo>
                    <a:pt x="2026" y="2074"/>
                  </a:lnTo>
                  <a:lnTo>
                    <a:pt x="2042" y="2076"/>
                  </a:lnTo>
                  <a:lnTo>
                    <a:pt x="2066" y="2082"/>
                  </a:lnTo>
                  <a:close/>
                  <a:moveTo>
                    <a:pt x="2126" y="1676"/>
                  </a:moveTo>
                  <a:lnTo>
                    <a:pt x="2126" y="1676"/>
                  </a:lnTo>
                  <a:lnTo>
                    <a:pt x="2124" y="1684"/>
                  </a:lnTo>
                  <a:lnTo>
                    <a:pt x="2126" y="1692"/>
                  </a:lnTo>
                  <a:lnTo>
                    <a:pt x="2130" y="1706"/>
                  </a:lnTo>
                  <a:lnTo>
                    <a:pt x="2130" y="1706"/>
                  </a:lnTo>
                  <a:lnTo>
                    <a:pt x="2134" y="1712"/>
                  </a:lnTo>
                  <a:lnTo>
                    <a:pt x="2138" y="1718"/>
                  </a:lnTo>
                  <a:lnTo>
                    <a:pt x="2138" y="1718"/>
                  </a:lnTo>
                  <a:lnTo>
                    <a:pt x="2142" y="1722"/>
                  </a:lnTo>
                  <a:lnTo>
                    <a:pt x="2148" y="1722"/>
                  </a:lnTo>
                  <a:lnTo>
                    <a:pt x="2148" y="1722"/>
                  </a:lnTo>
                  <a:lnTo>
                    <a:pt x="2152" y="1724"/>
                  </a:lnTo>
                  <a:lnTo>
                    <a:pt x="2158" y="1728"/>
                  </a:lnTo>
                  <a:lnTo>
                    <a:pt x="2174" y="1738"/>
                  </a:lnTo>
                  <a:lnTo>
                    <a:pt x="2174" y="1738"/>
                  </a:lnTo>
                  <a:lnTo>
                    <a:pt x="2180" y="1744"/>
                  </a:lnTo>
                  <a:lnTo>
                    <a:pt x="2186" y="1750"/>
                  </a:lnTo>
                  <a:lnTo>
                    <a:pt x="2188" y="1754"/>
                  </a:lnTo>
                  <a:lnTo>
                    <a:pt x="2188" y="1754"/>
                  </a:lnTo>
                  <a:lnTo>
                    <a:pt x="2192" y="1760"/>
                  </a:lnTo>
                  <a:lnTo>
                    <a:pt x="2198" y="1766"/>
                  </a:lnTo>
                  <a:lnTo>
                    <a:pt x="2204" y="1768"/>
                  </a:lnTo>
                  <a:lnTo>
                    <a:pt x="2204" y="1768"/>
                  </a:lnTo>
                  <a:lnTo>
                    <a:pt x="2206" y="1768"/>
                  </a:lnTo>
                  <a:lnTo>
                    <a:pt x="2208" y="1768"/>
                  </a:lnTo>
                  <a:lnTo>
                    <a:pt x="2210" y="1766"/>
                  </a:lnTo>
                  <a:lnTo>
                    <a:pt x="2210" y="1764"/>
                  </a:lnTo>
                  <a:lnTo>
                    <a:pt x="2210" y="1760"/>
                  </a:lnTo>
                  <a:lnTo>
                    <a:pt x="2210" y="1760"/>
                  </a:lnTo>
                  <a:lnTo>
                    <a:pt x="2210" y="1752"/>
                  </a:lnTo>
                  <a:lnTo>
                    <a:pt x="2206" y="1746"/>
                  </a:lnTo>
                  <a:lnTo>
                    <a:pt x="2196" y="1730"/>
                  </a:lnTo>
                  <a:lnTo>
                    <a:pt x="2196" y="1730"/>
                  </a:lnTo>
                  <a:lnTo>
                    <a:pt x="2190" y="1724"/>
                  </a:lnTo>
                  <a:lnTo>
                    <a:pt x="2184" y="1718"/>
                  </a:lnTo>
                  <a:lnTo>
                    <a:pt x="2168" y="1708"/>
                  </a:lnTo>
                  <a:lnTo>
                    <a:pt x="2168" y="1708"/>
                  </a:lnTo>
                  <a:lnTo>
                    <a:pt x="2164" y="1704"/>
                  </a:lnTo>
                  <a:lnTo>
                    <a:pt x="2162" y="1698"/>
                  </a:lnTo>
                  <a:lnTo>
                    <a:pt x="2162" y="1698"/>
                  </a:lnTo>
                  <a:lnTo>
                    <a:pt x="2164" y="1686"/>
                  </a:lnTo>
                  <a:lnTo>
                    <a:pt x="2170" y="1672"/>
                  </a:lnTo>
                  <a:lnTo>
                    <a:pt x="2170" y="1672"/>
                  </a:lnTo>
                  <a:lnTo>
                    <a:pt x="2168" y="1666"/>
                  </a:lnTo>
                  <a:lnTo>
                    <a:pt x="2164" y="1660"/>
                  </a:lnTo>
                  <a:lnTo>
                    <a:pt x="2160" y="1658"/>
                  </a:lnTo>
                  <a:lnTo>
                    <a:pt x="2160" y="1658"/>
                  </a:lnTo>
                  <a:lnTo>
                    <a:pt x="2152" y="1656"/>
                  </a:lnTo>
                  <a:lnTo>
                    <a:pt x="2146" y="1658"/>
                  </a:lnTo>
                  <a:lnTo>
                    <a:pt x="2140" y="1660"/>
                  </a:lnTo>
                  <a:lnTo>
                    <a:pt x="2140" y="1660"/>
                  </a:lnTo>
                  <a:lnTo>
                    <a:pt x="2134" y="1666"/>
                  </a:lnTo>
                  <a:lnTo>
                    <a:pt x="2130" y="1672"/>
                  </a:lnTo>
                  <a:lnTo>
                    <a:pt x="2126" y="1676"/>
                  </a:lnTo>
                  <a:close/>
                  <a:moveTo>
                    <a:pt x="3046" y="620"/>
                  </a:moveTo>
                  <a:lnTo>
                    <a:pt x="3046" y="620"/>
                  </a:lnTo>
                  <a:lnTo>
                    <a:pt x="3052" y="616"/>
                  </a:lnTo>
                  <a:lnTo>
                    <a:pt x="3054" y="610"/>
                  </a:lnTo>
                  <a:lnTo>
                    <a:pt x="3062" y="478"/>
                  </a:lnTo>
                  <a:lnTo>
                    <a:pt x="3062" y="478"/>
                  </a:lnTo>
                  <a:lnTo>
                    <a:pt x="3060" y="472"/>
                  </a:lnTo>
                  <a:lnTo>
                    <a:pt x="3056" y="466"/>
                  </a:lnTo>
                  <a:lnTo>
                    <a:pt x="3050" y="464"/>
                  </a:lnTo>
                  <a:lnTo>
                    <a:pt x="3050" y="464"/>
                  </a:lnTo>
                  <a:lnTo>
                    <a:pt x="3038" y="460"/>
                  </a:lnTo>
                  <a:lnTo>
                    <a:pt x="3038" y="460"/>
                  </a:lnTo>
                  <a:lnTo>
                    <a:pt x="3034" y="458"/>
                  </a:lnTo>
                  <a:lnTo>
                    <a:pt x="3028" y="454"/>
                  </a:lnTo>
                  <a:lnTo>
                    <a:pt x="3020" y="446"/>
                  </a:lnTo>
                  <a:lnTo>
                    <a:pt x="3020" y="446"/>
                  </a:lnTo>
                  <a:lnTo>
                    <a:pt x="3006" y="438"/>
                  </a:lnTo>
                  <a:lnTo>
                    <a:pt x="3002" y="434"/>
                  </a:lnTo>
                  <a:lnTo>
                    <a:pt x="3002" y="434"/>
                  </a:lnTo>
                  <a:lnTo>
                    <a:pt x="2994" y="432"/>
                  </a:lnTo>
                  <a:lnTo>
                    <a:pt x="2986" y="432"/>
                  </a:lnTo>
                  <a:lnTo>
                    <a:pt x="2972" y="432"/>
                  </a:lnTo>
                  <a:lnTo>
                    <a:pt x="2972" y="432"/>
                  </a:lnTo>
                  <a:lnTo>
                    <a:pt x="2966" y="430"/>
                  </a:lnTo>
                  <a:lnTo>
                    <a:pt x="2958" y="428"/>
                  </a:lnTo>
                  <a:lnTo>
                    <a:pt x="2952" y="424"/>
                  </a:lnTo>
                  <a:lnTo>
                    <a:pt x="2952" y="424"/>
                  </a:lnTo>
                  <a:lnTo>
                    <a:pt x="2946" y="422"/>
                  </a:lnTo>
                  <a:lnTo>
                    <a:pt x="2938" y="422"/>
                  </a:lnTo>
                  <a:lnTo>
                    <a:pt x="2934" y="422"/>
                  </a:lnTo>
                  <a:lnTo>
                    <a:pt x="2934" y="422"/>
                  </a:lnTo>
                  <a:lnTo>
                    <a:pt x="2920" y="422"/>
                  </a:lnTo>
                  <a:lnTo>
                    <a:pt x="2920" y="422"/>
                  </a:lnTo>
                  <a:lnTo>
                    <a:pt x="2920" y="422"/>
                  </a:lnTo>
                  <a:lnTo>
                    <a:pt x="2918" y="424"/>
                  </a:lnTo>
                  <a:lnTo>
                    <a:pt x="2918" y="430"/>
                  </a:lnTo>
                  <a:lnTo>
                    <a:pt x="2924" y="452"/>
                  </a:lnTo>
                  <a:lnTo>
                    <a:pt x="2924" y="452"/>
                  </a:lnTo>
                  <a:lnTo>
                    <a:pt x="2922" y="460"/>
                  </a:lnTo>
                  <a:lnTo>
                    <a:pt x="2918" y="464"/>
                  </a:lnTo>
                  <a:lnTo>
                    <a:pt x="2914" y="466"/>
                  </a:lnTo>
                  <a:lnTo>
                    <a:pt x="2914" y="466"/>
                  </a:lnTo>
                  <a:lnTo>
                    <a:pt x="2906" y="468"/>
                  </a:lnTo>
                  <a:lnTo>
                    <a:pt x="2900" y="466"/>
                  </a:lnTo>
                  <a:lnTo>
                    <a:pt x="2894" y="464"/>
                  </a:lnTo>
                  <a:lnTo>
                    <a:pt x="2894" y="464"/>
                  </a:lnTo>
                  <a:lnTo>
                    <a:pt x="2888" y="460"/>
                  </a:lnTo>
                  <a:lnTo>
                    <a:pt x="2882" y="454"/>
                  </a:lnTo>
                  <a:lnTo>
                    <a:pt x="2880" y="448"/>
                  </a:lnTo>
                  <a:lnTo>
                    <a:pt x="2880" y="448"/>
                  </a:lnTo>
                  <a:lnTo>
                    <a:pt x="2876" y="436"/>
                  </a:lnTo>
                  <a:lnTo>
                    <a:pt x="2876" y="436"/>
                  </a:lnTo>
                  <a:lnTo>
                    <a:pt x="2874" y="432"/>
                  </a:lnTo>
                  <a:lnTo>
                    <a:pt x="2868" y="432"/>
                  </a:lnTo>
                  <a:lnTo>
                    <a:pt x="2856" y="432"/>
                  </a:lnTo>
                  <a:lnTo>
                    <a:pt x="2856" y="432"/>
                  </a:lnTo>
                  <a:lnTo>
                    <a:pt x="2848" y="432"/>
                  </a:lnTo>
                  <a:lnTo>
                    <a:pt x="2842" y="436"/>
                  </a:lnTo>
                  <a:lnTo>
                    <a:pt x="2842" y="436"/>
                  </a:lnTo>
                  <a:lnTo>
                    <a:pt x="2836" y="438"/>
                  </a:lnTo>
                  <a:lnTo>
                    <a:pt x="2830" y="438"/>
                  </a:lnTo>
                  <a:lnTo>
                    <a:pt x="2816" y="434"/>
                  </a:lnTo>
                  <a:lnTo>
                    <a:pt x="2816" y="434"/>
                  </a:lnTo>
                  <a:lnTo>
                    <a:pt x="2800" y="432"/>
                  </a:lnTo>
                  <a:lnTo>
                    <a:pt x="2786" y="432"/>
                  </a:lnTo>
                  <a:lnTo>
                    <a:pt x="2786" y="432"/>
                  </a:lnTo>
                  <a:lnTo>
                    <a:pt x="2780" y="432"/>
                  </a:lnTo>
                  <a:lnTo>
                    <a:pt x="2774" y="436"/>
                  </a:lnTo>
                  <a:lnTo>
                    <a:pt x="2774" y="436"/>
                  </a:lnTo>
                  <a:lnTo>
                    <a:pt x="2772" y="438"/>
                  </a:lnTo>
                  <a:lnTo>
                    <a:pt x="2768" y="438"/>
                  </a:lnTo>
                  <a:lnTo>
                    <a:pt x="2764" y="436"/>
                  </a:lnTo>
                  <a:lnTo>
                    <a:pt x="2756" y="426"/>
                  </a:lnTo>
                  <a:lnTo>
                    <a:pt x="2756" y="426"/>
                  </a:lnTo>
                  <a:lnTo>
                    <a:pt x="2752" y="420"/>
                  </a:lnTo>
                  <a:lnTo>
                    <a:pt x="2750" y="414"/>
                  </a:lnTo>
                  <a:lnTo>
                    <a:pt x="2750" y="400"/>
                  </a:lnTo>
                  <a:lnTo>
                    <a:pt x="2750" y="400"/>
                  </a:lnTo>
                  <a:lnTo>
                    <a:pt x="2748" y="394"/>
                  </a:lnTo>
                  <a:lnTo>
                    <a:pt x="2742" y="388"/>
                  </a:lnTo>
                  <a:lnTo>
                    <a:pt x="2726" y="376"/>
                  </a:lnTo>
                  <a:lnTo>
                    <a:pt x="2726" y="376"/>
                  </a:lnTo>
                  <a:lnTo>
                    <a:pt x="2720" y="374"/>
                  </a:lnTo>
                  <a:lnTo>
                    <a:pt x="2712" y="372"/>
                  </a:lnTo>
                  <a:lnTo>
                    <a:pt x="2680" y="372"/>
                  </a:lnTo>
                  <a:lnTo>
                    <a:pt x="2680" y="372"/>
                  </a:lnTo>
                  <a:lnTo>
                    <a:pt x="2664" y="372"/>
                  </a:lnTo>
                  <a:lnTo>
                    <a:pt x="2630" y="372"/>
                  </a:lnTo>
                  <a:lnTo>
                    <a:pt x="2630" y="372"/>
                  </a:lnTo>
                  <a:lnTo>
                    <a:pt x="2624" y="370"/>
                  </a:lnTo>
                  <a:lnTo>
                    <a:pt x="2622" y="368"/>
                  </a:lnTo>
                  <a:lnTo>
                    <a:pt x="2622" y="368"/>
                  </a:lnTo>
                  <a:lnTo>
                    <a:pt x="2620" y="362"/>
                  </a:lnTo>
                  <a:lnTo>
                    <a:pt x="2618" y="358"/>
                  </a:lnTo>
                  <a:lnTo>
                    <a:pt x="2618" y="358"/>
                  </a:lnTo>
                  <a:lnTo>
                    <a:pt x="2606" y="348"/>
                  </a:lnTo>
                  <a:lnTo>
                    <a:pt x="2590" y="338"/>
                  </a:lnTo>
                  <a:lnTo>
                    <a:pt x="2590" y="338"/>
                  </a:lnTo>
                  <a:lnTo>
                    <a:pt x="2586" y="332"/>
                  </a:lnTo>
                  <a:lnTo>
                    <a:pt x="2584" y="326"/>
                  </a:lnTo>
                  <a:lnTo>
                    <a:pt x="2584" y="322"/>
                  </a:lnTo>
                  <a:lnTo>
                    <a:pt x="2584" y="322"/>
                  </a:lnTo>
                  <a:lnTo>
                    <a:pt x="2580" y="316"/>
                  </a:lnTo>
                  <a:lnTo>
                    <a:pt x="2576" y="312"/>
                  </a:lnTo>
                  <a:lnTo>
                    <a:pt x="2474" y="286"/>
                  </a:lnTo>
                  <a:lnTo>
                    <a:pt x="2474" y="286"/>
                  </a:lnTo>
                  <a:lnTo>
                    <a:pt x="2468" y="286"/>
                  </a:lnTo>
                  <a:lnTo>
                    <a:pt x="2466" y="288"/>
                  </a:lnTo>
                  <a:lnTo>
                    <a:pt x="2466" y="290"/>
                  </a:lnTo>
                  <a:lnTo>
                    <a:pt x="2466" y="290"/>
                  </a:lnTo>
                  <a:lnTo>
                    <a:pt x="2464" y="294"/>
                  </a:lnTo>
                  <a:lnTo>
                    <a:pt x="2458" y="298"/>
                  </a:lnTo>
                  <a:lnTo>
                    <a:pt x="2442" y="310"/>
                  </a:lnTo>
                  <a:lnTo>
                    <a:pt x="2442" y="310"/>
                  </a:lnTo>
                  <a:lnTo>
                    <a:pt x="2438" y="314"/>
                  </a:lnTo>
                  <a:lnTo>
                    <a:pt x="2438" y="322"/>
                  </a:lnTo>
                  <a:lnTo>
                    <a:pt x="2444" y="336"/>
                  </a:lnTo>
                  <a:lnTo>
                    <a:pt x="2444" y="336"/>
                  </a:lnTo>
                  <a:lnTo>
                    <a:pt x="2444" y="338"/>
                  </a:lnTo>
                  <a:lnTo>
                    <a:pt x="2444" y="342"/>
                  </a:lnTo>
                  <a:lnTo>
                    <a:pt x="2442" y="344"/>
                  </a:lnTo>
                  <a:lnTo>
                    <a:pt x="2438" y="346"/>
                  </a:lnTo>
                  <a:lnTo>
                    <a:pt x="2424" y="350"/>
                  </a:lnTo>
                  <a:lnTo>
                    <a:pt x="2424" y="350"/>
                  </a:lnTo>
                  <a:lnTo>
                    <a:pt x="2408" y="352"/>
                  </a:lnTo>
                  <a:lnTo>
                    <a:pt x="2406" y="352"/>
                  </a:lnTo>
                  <a:lnTo>
                    <a:pt x="2406" y="352"/>
                  </a:lnTo>
                  <a:lnTo>
                    <a:pt x="2390" y="350"/>
                  </a:lnTo>
                  <a:lnTo>
                    <a:pt x="2376" y="346"/>
                  </a:lnTo>
                  <a:lnTo>
                    <a:pt x="2376" y="346"/>
                  </a:lnTo>
                  <a:lnTo>
                    <a:pt x="2368" y="346"/>
                  </a:lnTo>
                  <a:lnTo>
                    <a:pt x="2362" y="348"/>
                  </a:lnTo>
                  <a:lnTo>
                    <a:pt x="2362" y="348"/>
                  </a:lnTo>
                  <a:lnTo>
                    <a:pt x="2358" y="350"/>
                  </a:lnTo>
                  <a:lnTo>
                    <a:pt x="2350" y="350"/>
                  </a:lnTo>
                  <a:lnTo>
                    <a:pt x="2346" y="346"/>
                  </a:lnTo>
                  <a:lnTo>
                    <a:pt x="2346" y="346"/>
                  </a:lnTo>
                  <a:lnTo>
                    <a:pt x="2332" y="340"/>
                  </a:lnTo>
                  <a:lnTo>
                    <a:pt x="2326" y="336"/>
                  </a:lnTo>
                  <a:lnTo>
                    <a:pt x="2326" y="336"/>
                  </a:lnTo>
                  <a:lnTo>
                    <a:pt x="2324" y="336"/>
                  </a:lnTo>
                  <a:lnTo>
                    <a:pt x="2322" y="336"/>
                  </a:lnTo>
                  <a:lnTo>
                    <a:pt x="2320" y="338"/>
                  </a:lnTo>
                  <a:lnTo>
                    <a:pt x="2318" y="342"/>
                  </a:lnTo>
                  <a:lnTo>
                    <a:pt x="2318" y="354"/>
                  </a:lnTo>
                  <a:lnTo>
                    <a:pt x="2318" y="354"/>
                  </a:lnTo>
                  <a:lnTo>
                    <a:pt x="2318" y="362"/>
                  </a:lnTo>
                  <a:lnTo>
                    <a:pt x="2314" y="368"/>
                  </a:lnTo>
                  <a:lnTo>
                    <a:pt x="2304" y="376"/>
                  </a:lnTo>
                  <a:lnTo>
                    <a:pt x="2304" y="376"/>
                  </a:lnTo>
                  <a:lnTo>
                    <a:pt x="2302" y="378"/>
                  </a:lnTo>
                  <a:lnTo>
                    <a:pt x="2300" y="378"/>
                  </a:lnTo>
                  <a:lnTo>
                    <a:pt x="2298" y="378"/>
                  </a:lnTo>
                  <a:lnTo>
                    <a:pt x="2294" y="376"/>
                  </a:lnTo>
                  <a:lnTo>
                    <a:pt x="2284" y="360"/>
                  </a:lnTo>
                  <a:lnTo>
                    <a:pt x="2284" y="360"/>
                  </a:lnTo>
                  <a:lnTo>
                    <a:pt x="2276" y="346"/>
                  </a:lnTo>
                  <a:lnTo>
                    <a:pt x="2264" y="330"/>
                  </a:lnTo>
                  <a:lnTo>
                    <a:pt x="2264" y="330"/>
                  </a:lnTo>
                  <a:lnTo>
                    <a:pt x="2262" y="324"/>
                  </a:lnTo>
                  <a:lnTo>
                    <a:pt x="2264" y="316"/>
                  </a:lnTo>
                  <a:lnTo>
                    <a:pt x="2276" y="300"/>
                  </a:lnTo>
                  <a:lnTo>
                    <a:pt x="2276" y="300"/>
                  </a:lnTo>
                  <a:lnTo>
                    <a:pt x="2278" y="294"/>
                  </a:lnTo>
                  <a:lnTo>
                    <a:pt x="2280" y="286"/>
                  </a:lnTo>
                  <a:lnTo>
                    <a:pt x="2280" y="282"/>
                  </a:lnTo>
                  <a:lnTo>
                    <a:pt x="2280" y="282"/>
                  </a:lnTo>
                  <a:lnTo>
                    <a:pt x="2278" y="276"/>
                  </a:lnTo>
                  <a:lnTo>
                    <a:pt x="2274" y="268"/>
                  </a:lnTo>
                  <a:lnTo>
                    <a:pt x="2266" y="260"/>
                  </a:lnTo>
                  <a:lnTo>
                    <a:pt x="2266" y="260"/>
                  </a:lnTo>
                  <a:lnTo>
                    <a:pt x="2252" y="252"/>
                  </a:lnTo>
                  <a:lnTo>
                    <a:pt x="2248" y="248"/>
                  </a:lnTo>
                  <a:lnTo>
                    <a:pt x="2248" y="248"/>
                  </a:lnTo>
                  <a:lnTo>
                    <a:pt x="2240" y="246"/>
                  </a:lnTo>
                  <a:lnTo>
                    <a:pt x="2232" y="246"/>
                  </a:lnTo>
                  <a:lnTo>
                    <a:pt x="2230" y="246"/>
                  </a:lnTo>
                  <a:lnTo>
                    <a:pt x="2230" y="246"/>
                  </a:lnTo>
                  <a:lnTo>
                    <a:pt x="2222" y="244"/>
                  </a:lnTo>
                  <a:lnTo>
                    <a:pt x="2216" y="240"/>
                  </a:lnTo>
                  <a:lnTo>
                    <a:pt x="2216" y="240"/>
                  </a:lnTo>
                  <a:lnTo>
                    <a:pt x="2204" y="232"/>
                  </a:lnTo>
                  <a:lnTo>
                    <a:pt x="2198" y="230"/>
                  </a:lnTo>
                  <a:lnTo>
                    <a:pt x="2198" y="230"/>
                  </a:lnTo>
                  <a:lnTo>
                    <a:pt x="2196" y="228"/>
                  </a:lnTo>
                  <a:lnTo>
                    <a:pt x="2192" y="228"/>
                  </a:lnTo>
                  <a:lnTo>
                    <a:pt x="2190" y="230"/>
                  </a:lnTo>
                  <a:lnTo>
                    <a:pt x="2188" y="232"/>
                  </a:lnTo>
                  <a:lnTo>
                    <a:pt x="2186" y="238"/>
                  </a:lnTo>
                  <a:lnTo>
                    <a:pt x="2186" y="238"/>
                  </a:lnTo>
                  <a:lnTo>
                    <a:pt x="2178" y="252"/>
                  </a:lnTo>
                  <a:lnTo>
                    <a:pt x="2176" y="258"/>
                  </a:lnTo>
                  <a:lnTo>
                    <a:pt x="2176" y="258"/>
                  </a:lnTo>
                  <a:lnTo>
                    <a:pt x="2170" y="262"/>
                  </a:lnTo>
                  <a:lnTo>
                    <a:pt x="2164" y="264"/>
                  </a:lnTo>
                  <a:lnTo>
                    <a:pt x="2132" y="264"/>
                  </a:lnTo>
                  <a:lnTo>
                    <a:pt x="2132" y="264"/>
                  </a:lnTo>
                  <a:lnTo>
                    <a:pt x="2124" y="264"/>
                  </a:lnTo>
                  <a:lnTo>
                    <a:pt x="2116" y="262"/>
                  </a:lnTo>
                  <a:lnTo>
                    <a:pt x="2110" y="258"/>
                  </a:lnTo>
                  <a:lnTo>
                    <a:pt x="2110" y="258"/>
                  </a:lnTo>
                  <a:lnTo>
                    <a:pt x="2104" y="254"/>
                  </a:lnTo>
                  <a:lnTo>
                    <a:pt x="2100" y="248"/>
                  </a:lnTo>
                  <a:lnTo>
                    <a:pt x="2098" y="242"/>
                  </a:lnTo>
                  <a:lnTo>
                    <a:pt x="2098" y="242"/>
                  </a:lnTo>
                  <a:lnTo>
                    <a:pt x="2092" y="238"/>
                  </a:lnTo>
                  <a:lnTo>
                    <a:pt x="2086" y="236"/>
                  </a:lnTo>
                  <a:lnTo>
                    <a:pt x="2062" y="236"/>
                  </a:lnTo>
                  <a:lnTo>
                    <a:pt x="2062" y="236"/>
                  </a:lnTo>
                  <a:lnTo>
                    <a:pt x="2054" y="236"/>
                  </a:lnTo>
                  <a:lnTo>
                    <a:pt x="2048" y="240"/>
                  </a:lnTo>
                  <a:lnTo>
                    <a:pt x="2032" y="250"/>
                  </a:lnTo>
                  <a:lnTo>
                    <a:pt x="2032" y="250"/>
                  </a:lnTo>
                  <a:lnTo>
                    <a:pt x="2030" y="252"/>
                  </a:lnTo>
                  <a:lnTo>
                    <a:pt x="2028" y="252"/>
                  </a:lnTo>
                  <a:lnTo>
                    <a:pt x="2026" y="250"/>
                  </a:lnTo>
                  <a:lnTo>
                    <a:pt x="2026" y="246"/>
                  </a:lnTo>
                  <a:lnTo>
                    <a:pt x="2026" y="244"/>
                  </a:lnTo>
                  <a:lnTo>
                    <a:pt x="2026" y="244"/>
                  </a:lnTo>
                  <a:lnTo>
                    <a:pt x="2024" y="236"/>
                  </a:lnTo>
                  <a:lnTo>
                    <a:pt x="2020" y="230"/>
                  </a:lnTo>
                  <a:lnTo>
                    <a:pt x="2012" y="222"/>
                  </a:lnTo>
                  <a:lnTo>
                    <a:pt x="2012" y="222"/>
                  </a:lnTo>
                  <a:lnTo>
                    <a:pt x="2004" y="218"/>
                  </a:lnTo>
                  <a:lnTo>
                    <a:pt x="1998" y="216"/>
                  </a:lnTo>
                  <a:lnTo>
                    <a:pt x="1994" y="216"/>
                  </a:lnTo>
                  <a:lnTo>
                    <a:pt x="1994" y="216"/>
                  </a:lnTo>
                  <a:lnTo>
                    <a:pt x="1986" y="218"/>
                  </a:lnTo>
                  <a:lnTo>
                    <a:pt x="1980" y="222"/>
                  </a:lnTo>
                  <a:lnTo>
                    <a:pt x="1972" y="230"/>
                  </a:lnTo>
                  <a:lnTo>
                    <a:pt x="1972" y="230"/>
                  </a:lnTo>
                  <a:lnTo>
                    <a:pt x="1960" y="240"/>
                  </a:lnTo>
                  <a:lnTo>
                    <a:pt x="1944" y="250"/>
                  </a:lnTo>
                  <a:lnTo>
                    <a:pt x="1944" y="250"/>
                  </a:lnTo>
                  <a:lnTo>
                    <a:pt x="1930" y="260"/>
                  </a:lnTo>
                  <a:lnTo>
                    <a:pt x="1914" y="270"/>
                  </a:lnTo>
                  <a:lnTo>
                    <a:pt x="1914" y="270"/>
                  </a:lnTo>
                  <a:lnTo>
                    <a:pt x="1910" y="272"/>
                  </a:lnTo>
                  <a:lnTo>
                    <a:pt x="1912" y="268"/>
                  </a:lnTo>
                  <a:lnTo>
                    <a:pt x="1922" y="252"/>
                  </a:lnTo>
                  <a:lnTo>
                    <a:pt x="1922" y="252"/>
                  </a:lnTo>
                  <a:lnTo>
                    <a:pt x="1928" y="246"/>
                  </a:lnTo>
                  <a:lnTo>
                    <a:pt x="1934" y="242"/>
                  </a:lnTo>
                  <a:lnTo>
                    <a:pt x="1940" y="238"/>
                  </a:lnTo>
                  <a:lnTo>
                    <a:pt x="1940" y="238"/>
                  </a:lnTo>
                  <a:lnTo>
                    <a:pt x="1946" y="234"/>
                  </a:lnTo>
                  <a:lnTo>
                    <a:pt x="1952" y="228"/>
                  </a:lnTo>
                  <a:lnTo>
                    <a:pt x="1972" y="194"/>
                  </a:lnTo>
                  <a:lnTo>
                    <a:pt x="1972" y="194"/>
                  </a:lnTo>
                  <a:lnTo>
                    <a:pt x="1982" y="180"/>
                  </a:lnTo>
                  <a:lnTo>
                    <a:pt x="1990" y="172"/>
                  </a:lnTo>
                  <a:lnTo>
                    <a:pt x="1990" y="172"/>
                  </a:lnTo>
                  <a:lnTo>
                    <a:pt x="2000" y="160"/>
                  </a:lnTo>
                  <a:lnTo>
                    <a:pt x="2010" y="144"/>
                  </a:lnTo>
                  <a:lnTo>
                    <a:pt x="2010" y="144"/>
                  </a:lnTo>
                  <a:lnTo>
                    <a:pt x="2014" y="138"/>
                  </a:lnTo>
                  <a:lnTo>
                    <a:pt x="2014" y="130"/>
                  </a:lnTo>
                  <a:lnTo>
                    <a:pt x="2008" y="96"/>
                  </a:lnTo>
                  <a:lnTo>
                    <a:pt x="2008" y="96"/>
                  </a:lnTo>
                  <a:lnTo>
                    <a:pt x="2004" y="90"/>
                  </a:lnTo>
                  <a:lnTo>
                    <a:pt x="2000" y="84"/>
                  </a:lnTo>
                  <a:lnTo>
                    <a:pt x="1972" y="64"/>
                  </a:lnTo>
                  <a:lnTo>
                    <a:pt x="1972" y="64"/>
                  </a:lnTo>
                  <a:lnTo>
                    <a:pt x="1958" y="56"/>
                  </a:lnTo>
                  <a:lnTo>
                    <a:pt x="1944" y="52"/>
                  </a:lnTo>
                  <a:lnTo>
                    <a:pt x="1944" y="52"/>
                  </a:lnTo>
                  <a:lnTo>
                    <a:pt x="1940" y="48"/>
                  </a:lnTo>
                  <a:lnTo>
                    <a:pt x="1938" y="44"/>
                  </a:lnTo>
                  <a:lnTo>
                    <a:pt x="1938" y="44"/>
                  </a:lnTo>
                  <a:lnTo>
                    <a:pt x="1934" y="32"/>
                  </a:lnTo>
                  <a:lnTo>
                    <a:pt x="1922" y="8"/>
                  </a:lnTo>
                  <a:lnTo>
                    <a:pt x="1922" y="8"/>
                  </a:lnTo>
                  <a:lnTo>
                    <a:pt x="1916" y="2"/>
                  </a:lnTo>
                  <a:lnTo>
                    <a:pt x="1910" y="0"/>
                  </a:lnTo>
                  <a:lnTo>
                    <a:pt x="1886" y="0"/>
                  </a:lnTo>
                  <a:lnTo>
                    <a:pt x="1886" y="0"/>
                  </a:lnTo>
                  <a:lnTo>
                    <a:pt x="1880" y="2"/>
                  </a:lnTo>
                  <a:lnTo>
                    <a:pt x="1872" y="6"/>
                  </a:lnTo>
                  <a:lnTo>
                    <a:pt x="1844" y="34"/>
                  </a:lnTo>
                  <a:lnTo>
                    <a:pt x="1844" y="34"/>
                  </a:lnTo>
                  <a:lnTo>
                    <a:pt x="1840" y="40"/>
                  </a:lnTo>
                  <a:lnTo>
                    <a:pt x="1838" y="48"/>
                  </a:lnTo>
                  <a:lnTo>
                    <a:pt x="1832" y="70"/>
                  </a:lnTo>
                  <a:lnTo>
                    <a:pt x="1832" y="70"/>
                  </a:lnTo>
                  <a:lnTo>
                    <a:pt x="1828" y="78"/>
                  </a:lnTo>
                  <a:lnTo>
                    <a:pt x="1822" y="82"/>
                  </a:lnTo>
                  <a:lnTo>
                    <a:pt x="1788" y="104"/>
                  </a:lnTo>
                  <a:lnTo>
                    <a:pt x="1788" y="104"/>
                  </a:lnTo>
                  <a:lnTo>
                    <a:pt x="1780" y="106"/>
                  </a:lnTo>
                  <a:lnTo>
                    <a:pt x="1774" y="104"/>
                  </a:lnTo>
                  <a:lnTo>
                    <a:pt x="1758" y="92"/>
                  </a:lnTo>
                  <a:lnTo>
                    <a:pt x="1758" y="92"/>
                  </a:lnTo>
                  <a:lnTo>
                    <a:pt x="1750" y="90"/>
                  </a:lnTo>
                  <a:lnTo>
                    <a:pt x="1744" y="92"/>
                  </a:lnTo>
                  <a:lnTo>
                    <a:pt x="1710" y="106"/>
                  </a:lnTo>
                  <a:lnTo>
                    <a:pt x="1710" y="106"/>
                  </a:lnTo>
                  <a:lnTo>
                    <a:pt x="1696" y="112"/>
                  </a:lnTo>
                  <a:lnTo>
                    <a:pt x="1660" y="134"/>
                  </a:lnTo>
                  <a:lnTo>
                    <a:pt x="1660" y="134"/>
                  </a:lnTo>
                  <a:lnTo>
                    <a:pt x="1648" y="144"/>
                  </a:lnTo>
                  <a:lnTo>
                    <a:pt x="1630" y="162"/>
                  </a:lnTo>
                  <a:lnTo>
                    <a:pt x="1630" y="162"/>
                  </a:lnTo>
                  <a:lnTo>
                    <a:pt x="1626" y="168"/>
                  </a:lnTo>
                  <a:lnTo>
                    <a:pt x="1622" y="174"/>
                  </a:lnTo>
                  <a:lnTo>
                    <a:pt x="1616" y="218"/>
                  </a:lnTo>
                  <a:lnTo>
                    <a:pt x="1616" y="218"/>
                  </a:lnTo>
                  <a:lnTo>
                    <a:pt x="1612" y="224"/>
                  </a:lnTo>
                  <a:lnTo>
                    <a:pt x="1606" y="228"/>
                  </a:lnTo>
                  <a:lnTo>
                    <a:pt x="1544" y="244"/>
                  </a:lnTo>
                  <a:lnTo>
                    <a:pt x="1544" y="244"/>
                  </a:lnTo>
                  <a:lnTo>
                    <a:pt x="1536" y="246"/>
                  </a:lnTo>
                  <a:lnTo>
                    <a:pt x="1532" y="252"/>
                  </a:lnTo>
                  <a:lnTo>
                    <a:pt x="1530" y="258"/>
                  </a:lnTo>
                  <a:lnTo>
                    <a:pt x="1530" y="258"/>
                  </a:lnTo>
                  <a:lnTo>
                    <a:pt x="1528" y="264"/>
                  </a:lnTo>
                  <a:lnTo>
                    <a:pt x="1526" y="272"/>
                  </a:lnTo>
                  <a:lnTo>
                    <a:pt x="1526" y="306"/>
                  </a:lnTo>
                  <a:lnTo>
                    <a:pt x="1526" y="306"/>
                  </a:lnTo>
                  <a:lnTo>
                    <a:pt x="1524" y="310"/>
                  </a:lnTo>
                  <a:lnTo>
                    <a:pt x="1524" y="310"/>
                  </a:lnTo>
                  <a:lnTo>
                    <a:pt x="1522" y="308"/>
                  </a:lnTo>
                  <a:lnTo>
                    <a:pt x="1522" y="308"/>
                  </a:lnTo>
                  <a:lnTo>
                    <a:pt x="1516" y="304"/>
                  </a:lnTo>
                  <a:lnTo>
                    <a:pt x="1508" y="302"/>
                  </a:lnTo>
                  <a:lnTo>
                    <a:pt x="1494" y="296"/>
                  </a:lnTo>
                  <a:lnTo>
                    <a:pt x="1494" y="296"/>
                  </a:lnTo>
                  <a:lnTo>
                    <a:pt x="1488" y="296"/>
                  </a:lnTo>
                  <a:lnTo>
                    <a:pt x="1482" y="300"/>
                  </a:lnTo>
                  <a:lnTo>
                    <a:pt x="1472" y="316"/>
                  </a:lnTo>
                  <a:lnTo>
                    <a:pt x="1472" y="316"/>
                  </a:lnTo>
                  <a:lnTo>
                    <a:pt x="1468" y="320"/>
                  </a:lnTo>
                  <a:lnTo>
                    <a:pt x="1464" y="320"/>
                  </a:lnTo>
                  <a:lnTo>
                    <a:pt x="1462" y="318"/>
                  </a:lnTo>
                  <a:lnTo>
                    <a:pt x="1462" y="318"/>
                  </a:lnTo>
                  <a:lnTo>
                    <a:pt x="1458" y="314"/>
                  </a:lnTo>
                  <a:lnTo>
                    <a:pt x="1458" y="308"/>
                  </a:lnTo>
                  <a:lnTo>
                    <a:pt x="1458" y="308"/>
                  </a:lnTo>
                  <a:lnTo>
                    <a:pt x="1456" y="304"/>
                  </a:lnTo>
                  <a:lnTo>
                    <a:pt x="1452" y="298"/>
                  </a:lnTo>
                  <a:lnTo>
                    <a:pt x="1444" y="290"/>
                  </a:lnTo>
                  <a:lnTo>
                    <a:pt x="1444" y="290"/>
                  </a:lnTo>
                  <a:lnTo>
                    <a:pt x="1438" y="286"/>
                  </a:lnTo>
                  <a:lnTo>
                    <a:pt x="1434" y="284"/>
                  </a:lnTo>
                  <a:lnTo>
                    <a:pt x="1434" y="284"/>
                  </a:lnTo>
                  <a:lnTo>
                    <a:pt x="1428" y="286"/>
                  </a:lnTo>
                  <a:lnTo>
                    <a:pt x="1426" y="292"/>
                  </a:lnTo>
                  <a:lnTo>
                    <a:pt x="1420" y="306"/>
                  </a:lnTo>
                  <a:lnTo>
                    <a:pt x="1420" y="306"/>
                  </a:lnTo>
                  <a:lnTo>
                    <a:pt x="1418" y="322"/>
                  </a:lnTo>
                  <a:lnTo>
                    <a:pt x="1418" y="336"/>
                  </a:lnTo>
                  <a:lnTo>
                    <a:pt x="1418" y="336"/>
                  </a:lnTo>
                  <a:lnTo>
                    <a:pt x="1418" y="352"/>
                  </a:lnTo>
                  <a:lnTo>
                    <a:pt x="1418" y="374"/>
                  </a:lnTo>
                  <a:lnTo>
                    <a:pt x="1418" y="374"/>
                  </a:lnTo>
                  <a:lnTo>
                    <a:pt x="1416" y="382"/>
                  </a:lnTo>
                  <a:lnTo>
                    <a:pt x="1414" y="388"/>
                  </a:lnTo>
                  <a:lnTo>
                    <a:pt x="1414" y="388"/>
                  </a:lnTo>
                  <a:lnTo>
                    <a:pt x="1412" y="388"/>
                  </a:lnTo>
                  <a:lnTo>
                    <a:pt x="1408" y="388"/>
                  </a:lnTo>
                  <a:lnTo>
                    <a:pt x="1404" y="384"/>
                  </a:lnTo>
                  <a:lnTo>
                    <a:pt x="1402" y="380"/>
                  </a:lnTo>
                  <a:lnTo>
                    <a:pt x="1402" y="380"/>
                  </a:lnTo>
                  <a:lnTo>
                    <a:pt x="1400" y="372"/>
                  </a:lnTo>
                  <a:lnTo>
                    <a:pt x="1400" y="364"/>
                  </a:lnTo>
                  <a:lnTo>
                    <a:pt x="1406" y="340"/>
                  </a:lnTo>
                  <a:lnTo>
                    <a:pt x="1406" y="340"/>
                  </a:lnTo>
                  <a:lnTo>
                    <a:pt x="1408" y="334"/>
                  </a:lnTo>
                  <a:lnTo>
                    <a:pt x="1406" y="326"/>
                  </a:lnTo>
                  <a:lnTo>
                    <a:pt x="1402" y="312"/>
                  </a:lnTo>
                  <a:lnTo>
                    <a:pt x="1402" y="312"/>
                  </a:lnTo>
                  <a:lnTo>
                    <a:pt x="1398" y="296"/>
                  </a:lnTo>
                  <a:lnTo>
                    <a:pt x="1398" y="292"/>
                  </a:lnTo>
                  <a:lnTo>
                    <a:pt x="1398" y="292"/>
                  </a:lnTo>
                  <a:lnTo>
                    <a:pt x="1396" y="286"/>
                  </a:lnTo>
                  <a:lnTo>
                    <a:pt x="1392" y="282"/>
                  </a:lnTo>
                  <a:lnTo>
                    <a:pt x="1376" y="278"/>
                  </a:lnTo>
                  <a:lnTo>
                    <a:pt x="1376" y="278"/>
                  </a:lnTo>
                  <a:lnTo>
                    <a:pt x="1362" y="274"/>
                  </a:lnTo>
                  <a:lnTo>
                    <a:pt x="1348" y="274"/>
                  </a:lnTo>
                  <a:lnTo>
                    <a:pt x="1348" y="274"/>
                  </a:lnTo>
                  <a:lnTo>
                    <a:pt x="1342" y="276"/>
                  </a:lnTo>
                  <a:lnTo>
                    <a:pt x="1338" y="282"/>
                  </a:lnTo>
                  <a:lnTo>
                    <a:pt x="1322" y="336"/>
                  </a:lnTo>
                  <a:lnTo>
                    <a:pt x="1322" y="336"/>
                  </a:lnTo>
                  <a:lnTo>
                    <a:pt x="1320" y="342"/>
                  </a:lnTo>
                  <a:lnTo>
                    <a:pt x="1316" y="348"/>
                  </a:lnTo>
                  <a:lnTo>
                    <a:pt x="1316" y="348"/>
                  </a:lnTo>
                  <a:lnTo>
                    <a:pt x="1308" y="360"/>
                  </a:lnTo>
                  <a:lnTo>
                    <a:pt x="1304" y="366"/>
                  </a:lnTo>
                  <a:lnTo>
                    <a:pt x="1304" y="366"/>
                  </a:lnTo>
                  <a:lnTo>
                    <a:pt x="1304" y="372"/>
                  </a:lnTo>
                  <a:lnTo>
                    <a:pt x="1304" y="380"/>
                  </a:lnTo>
                  <a:lnTo>
                    <a:pt x="1308" y="384"/>
                  </a:lnTo>
                  <a:lnTo>
                    <a:pt x="1308" y="384"/>
                  </a:lnTo>
                  <a:lnTo>
                    <a:pt x="1310" y="392"/>
                  </a:lnTo>
                  <a:lnTo>
                    <a:pt x="1310" y="400"/>
                  </a:lnTo>
                  <a:lnTo>
                    <a:pt x="1310" y="414"/>
                  </a:lnTo>
                  <a:lnTo>
                    <a:pt x="1310" y="414"/>
                  </a:lnTo>
                  <a:lnTo>
                    <a:pt x="1310" y="426"/>
                  </a:lnTo>
                  <a:lnTo>
                    <a:pt x="1310" y="426"/>
                  </a:lnTo>
                  <a:lnTo>
                    <a:pt x="1312" y="432"/>
                  </a:lnTo>
                  <a:lnTo>
                    <a:pt x="1316" y="436"/>
                  </a:lnTo>
                  <a:lnTo>
                    <a:pt x="1334" y="454"/>
                  </a:lnTo>
                  <a:lnTo>
                    <a:pt x="1334" y="454"/>
                  </a:lnTo>
                  <a:lnTo>
                    <a:pt x="1338" y="460"/>
                  </a:lnTo>
                  <a:lnTo>
                    <a:pt x="1336" y="468"/>
                  </a:lnTo>
                  <a:lnTo>
                    <a:pt x="1324" y="484"/>
                  </a:lnTo>
                  <a:lnTo>
                    <a:pt x="1324" y="484"/>
                  </a:lnTo>
                  <a:lnTo>
                    <a:pt x="1322" y="486"/>
                  </a:lnTo>
                  <a:lnTo>
                    <a:pt x="1320" y="486"/>
                  </a:lnTo>
                  <a:lnTo>
                    <a:pt x="1318" y="486"/>
                  </a:lnTo>
                  <a:lnTo>
                    <a:pt x="1314" y="484"/>
                  </a:lnTo>
                  <a:lnTo>
                    <a:pt x="1296" y="466"/>
                  </a:lnTo>
                  <a:lnTo>
                    <a:pt x="1296" y="466"/>
                  </a:lnTo>
                  <a:lnTo>
                    <a:pt x="1284" y="456"/>
                  </a:lnTo>
                  <a:lnTo>
                    <a:pt x="1258" y="436"/>
                  </a:lnTo>
                  <a:lnTo>
                    <a:pt x="1258" y="436"/>
                  </a:lnTo>
                  <a:lnTo>
                    <a:pt x="1252" y="432"/>
                  </a:lnTo>
                  <a:lnTo>
                    <a:pt x="1244" y="432"/>
                  </a:lnTo>
                  <a:lnTo>
                    <a:pt x="1230" y="432"/>
                  </a:lnTo>
                  <a:lnTo>
                    <a:pt x="1230" y="432"/>
                  </a:lnTo>
                  <a:lnTo>
                    <a:pt x="1214" y="432"/>
                  </a:lnTo>
                  <a:lnTo>
                    <a:pt x="1212" y="432"/>
                  </a:lnTo>
                  <a:lnTo>
                    <a:pt x="1212" y="432"/>
                  </a:lnTo>
                  <a:lnTo>
                    <a:pt x="1208" y="432"/>
                  </a:lnTo>
                  <a:lnTo>
                    <a:pt x="1206" y="434"/>
                  </a:lnTo>
                  <a:lnTo>
                    <a:pt x="1204" y="436"/>
                  </a:lnTo>
                  <a:lnTo>
                    <a:pt x="1204" y="440"/>
                  </a:lnTo>
                  <a:lnTo>
                    <a:pt x="1204" y="452"/>
                  </a:lnTo>
                  <a:lnTo>
                    <a:pt x="1204" y="452"/>
                  </a:lnTo>
                  <a:lnTo>
                    <a:pt x="1202" y="460"/>
                  </a:lnTo>
                  <a:lnTo>
                    <a:pt x="1198" y="466"/>
                  </a:lnTo>
                  <a:lnTo>
                    <a:pt x="1198" y="466"/>
                  </a:lnTo>
                  <a:lnTo>
                    <a:pt x="1192" y="468"/>
                  </a:lnTo>
                  <a:lnTo>
                    <a:pt x="1186" y="466"/>
                  </a:lnTo>
                  <a:lnTo>
                    <a:pt x="1180" y="464"/>
                  </a:lnTo>
                  <a:lnTo>
                    <a:pt x="1180" y="464"/>
                  </a:lnTo>
                  <a:lnTo>
                    <a:pt x="1174" y="462"/>
                  </a:lnTo>
                  <a:lnTo>
                    <a:pt x="1166" y="464"/>
                  </a:lnTo>
                  <a:lnTo>
                    <a:pt x="1162" y="466"/>
                  </a:lnTo>
                  <a:lnTo>
                    <a:pt x="1162" y="466"/>
                  </a:lnTo>
                  <a:lnTo>
                    <a:pt x="1146" y="474"/>
                  </a:lnTo>
                  <a:lnTo>
                    <a:pt x="1142" y="476"/>
                  </a:lnTo>
                  <a:lnTo>
                    <a:pt x="1142" y="476"/>
                  </a:lnTo>
                  <a:lnTo>
                    <a:pt x="1134" y="478"/>
                  </a:lnTo>
                  <a:lnTo>
                    <a:pt x="1126" y="480"/>
                  </a:lnTo>
                  <a:lnTo>
                    <a:pt x="1124" y="480"/>
                  </a:lnTo>
                  <a:lnTo>
                    <a:pt x="1124" y="480"/>
                  </a:lnTo>
                  <a:lnTo>
                    <a:pt x="1116" y="478"/>
                  </a:lnTo>
                  <a:lnTo>
                    <a:pt x="1110" y="476"/>
                  </a:lnTo>
                  <a:lnTo>
                    <a:pt x="1110" y="476"/>
                  </a:lnTo>
                  <a:lnTo>
                    <a:pt x="1104" y="472"/>
                  </a:lnTo>
                  <a:lnTo>
                    <a:pt x="1098" y="474"/>
                  </a:lnTo>
                  <a:lnTo>
                    <a:pt x="1092" y="476"/>
                  </a:lnTo>
                  <a:lnTo>
                    <a:pt x="1092" y="476"/>
                  </a:lnTo>
                  <a:lnTo>
                    <a:pt x="1078" y="484"/>
                  </a:lnTo>
                  <a:lnTo>
                    <a:pt x="1062" y="496"/>
                  </a:lnTo>
                  <a:lnTo>
                    <a:pt x="1062" y="496"/>
                  </a:lnTo>
                  <a:lnTo>
                    <a:pt x="1050" y="504"/>
                  </a:lnTo>
                  <a:lnTo>
                    <a:pt x="1024" y="516"/>
                  </a:lnTo>
                  <a:lnTo>
                    <a:pt x="1024" y="516"/>
                  </a:lnTo>
                  <a:lnTo>
                    <a:pt x="1012" y="520"/>
                  </a:lnTo>
                  <a:lnTo>
                    <a:pt x="1012" y="520"/>
                  </a:lnTo>
                  <a:lnTo>
                    <a:pt x="1008" y="522"/>
                  </a:lnTo>
                  <a:lnTo>
                    <a:pt x="1004" y="526"/>
                  </a:lnTo>
                  <a:lnTo>
                    <a:pt x="1000" y="540"/>
                  </a:lnTo>
                  <a:lnTo>
                    <a:pt x="1000" y="540"/>
                  </a:lnTo>
                  <a:lnTo>
                    <a:pt x="996" y="546"/>
                  </a:lnTo>
                  <a:lnTo>
                    <a:pt x="992" y="548"/>
                  </a:lnTo>
                  <a:lnTo>
                    <a:pt x="992" y="548"/>
                  </a:lnTo>
                  <a:lnTo>
                    <a:pt x="988" y="546"/>
                  </a:lnTo>
                  <a:lnTo>
                    <a:pt x="982" y="542"/>
                  </a:lnTo>
                  <a:lnTo>
                    <a:pt x="974" y="534"/>
                  </a:lnTo>
                  <a:lnTo>
                    <a:pt x="974" y="534"/>
                  </a:lnTo>
                  <a:lnTo>
                    <a:pt x="972" y="530"/>
                  </a:lnTo>
                  <a:lnTo>
                    <a:pt x="972" y="526"/>
                  </a:lnTo>
                  <a:lnTo>
                    <a:pt x="974" y="524"/>
                  </a:lnTo>
                  <a:lnTo>
                    <a:pt x="974" y="524"/>
                  </a:lnTo>
                  <a:lnTo>
                    <a:pt x="982" y="514"/>
                  </a:lnTo>
                  <a:lnTo>
                    <a:pt x="982" y="514"/>
                  </a:lnTo>
                  <a:lnTo>
                    <a:pt x="986" y="508"/>
                  </a:lnTo>
                  <a:lnTo>
                    <a:pt x="988" y="502"/>
                  </a:lnTo>
                  <a:lnTo>
                    <a:pt x="988" y="498"/>
                  </a:lnTo>
                  <a:lnTo>
                    <a:pt x="988" y="498"/>
                  </a:lnTo>
                  <a:lnTo>
                    <a:pt x="986" y="492"/>
                  </a:lnTo>
                  <a:lnTo>
                    <a:pt x="980" y="486"/>
                  </a:lnTo>
                  <a:lnTo>
                    <a:pt x="976" y="484"/>
                  </a:lnTo>
                  <a:lnTo>
                    <a:pt x="976" y="484"/>
                  </a:lnTo>
                  <a:lnTo>
                    <a:pt x="964" y="480"/>
                  </a:lnTo>
                  <a:lnTo>
                    <a:pt x="964" y="480"/>
                  </a:lnTo>
                  <a:lnTo>
                    <a:pt x="950" y="480"/>
                  </a:lnTo>
                  <a:lnTo>
                    <a:pt x="946" y="480"/>
                  </a:lnTo>
                  <a:lnTo>
                    <a:pt x="946" y="480"/>
                  </a:lnTo>
                  <a:lnTo>
                    <a:pt x="944" y="480"/>
                  </a:lnTo>
                  <a:lnTo>
                    <a:pt x="942" y="482"/>
                  </a:lnTo>
                  <a:lnTo>
                    <a:pt x="942" y="484"/>
                  </a:lnTo>
                  <a:lnTo>
                    <a:pt x="942" y="488"/>
                  </a:lnTo>
                  <a:lnTo>
                    <a:pt x="944" y="492"/>
                  </a:lnTo>
                  <a:lnTo>
                    <a:pt x="944" y="492"/>
                  </a:lnTo>
                  <a:lnTo>
                    <a:pt x="948" y="500"/>
                  </a:lnTo>
                  <a:lnTo>
                    <a:pt x="948" y="508"/>
                  </a:lnTo>
                  <a:lnTo>
                    <a:pt x="948" y="520"/>
                  </a:lnTo>
                  <a:lnTo>
                    <a:pt x="948" y="520"/>
                  </a:lnTo>
                  <a:lnTo>
                    <a:pt x="950" y="528"/>
                  </a:lnTo>
                  <a:lnTo>
                    <a:pt x="952" y="536"/>
                  </a:lnTo>
                  <a:lnTo>
                    <a:pt x="954" y="542"/>
                  </a:lnTo>
                  <a:lnTo>
                    <a:pt x="954" y="542"/>
                  </a:lnTo>
                  <a:lnTo>
                    <a:pt x="956" y="548"/>
                  </a:lnTo>
                  <a:lnTo>
                    <a:pt x="956" y="556"/>
                  </a:lnTo>
                  <a:lnTo>
                    <a:pt x="952" y="570"/>
                  </a:lnTo>
                  <a:lnTo>
                    <a:pt x="952" y="570"/>
                  </a:lnTo>
                  <a:lnTo>
                    <a:pt x="948" y="574"/>
                  </a:lnTo>
                  <a:lnTo>
                    <a:pt x="946" y="574"/>
                  </a:lnTo>
                  <a:lnTo>
                    <a:pt x="944" y="572"/>
                  </a:lnTo>
                  <a:lnTo>
                    <a:pt x="944" y="572"/>
                  </a:lnTo>
                  <a:lnTo>
                    <a:pt x="938" y="570"/>
                  </a:lnTo>
                  <a:lnTo>
                    <a:pt x="930" y="568"/>
                  </a:lnTo>
                  <a:lnTo>
                    <a:pt x="928" y="568"/>
                  </a:lnTo>
                  <a:lnTo>
                    <a:pt x="928" y="568"/>
                  </a:lnTo>
                  <a:lnTo>
                    <a:pt x="920" y="570"/>
                  </a:lnTo>
                  <a:lnTo>
                    <a:pt x="914" y="572"/>
                  </a:lnTo>
                  <a:lnTo>
                    <a:pt x="914" y="572"/>
                  </a:lnTo>
                  <a:lnTo>
                    <a:pt x="902" y="582"/>
                  </a:lnTo>
                  <a:lnTo>
                    <a:pt x="896" y="584"/>
                  </a:lnTo>
                  <a:lnTo>
                    <a:pt x="896" y="584"/>
                  </a:lnTo>
                  <a:lnTo>
                    <a:pt x="884" y="592"/>
                  </a:lnTo>
                  <a:lnTo>
                    <a:pt x="884" y="592"/>
                  </a:lnTo>
                  <a:lnTo>
                    <a:pt x="882" y="598"/>
                  </a:lnTo>
                  <a:lnTo>
                    <a:pt x="884" y="604"/>
                  </a:lnTo>
                  <a:lnTo>
                    <a:pt x="896" y="630"/>
                  </a:lnTo>
                  <a:lnTo>
                    <a:pt x="896" y="630"/>
                  </a:lnTo>
                  <a:lnTo>
                    <a:pt x="898" y="634"/>
                  </a:lnTo>
                  <a:lnTo>
                    <a:pt x="894" y="632"/>
                  </a:lnTo>
                  <a:lnTo>
                    <a:pt x="894" y="632"/>
                  </a:lnTo>
                  <a:lnTo>
                    <a:pt x="888" y="628"/>
                  </a:lnTo>
                  <a:lnTo>
                    <a:pt x="882" y="626"/>
                  </a:lnTo>
                  <a:lnTo>
                    <a:pt x="868" y="626"/>
                  </a:lnTo>
                  <a:lnTo>
                    <a:pt x="868" y="626"/>
                  </a:lnTo>
                  <a:lnTo>
                    <a:pt x="860" y="626"/>
                  </a:lnTo>
                  <a:lnTo>
                    <a:pt x="854" y="624"/>
                  </a:lnTo>
                  <a:lnTo>
                    <a:pt x="848" y="620"/>
                  </a:lnTo>
                  <a:lnTo>
                    <a:pt x="848" y="620"/>
                  </a:lnTo>
                  <a:lnTo>
                    <a:pt x="842" y="620"/>
                  </a:lnTo>
                  <a:lnTo>
                    <a:pt x="842" y="620"/>
                  </a:lnTo>
                  <a:lnTo>
                    <a:pt x="840" y="622"/>
                  </a:lnTo>
                  <a:lnTo>
                    <a:pt x="840" y="622"/>
                  </a:lnTo>
                  <a:lnTo>
                    <a:pt x="842" y="630"/>
                  </a:lnTo>
                  <a:lnTo>
                    <a:pt x="842" y="630"/>
                  </a:lnTo>
                  <a:lnTo>
                    <a:pt x="842" y="630"/>
                  </a:lnTo>
                  <a:lnTo>
                    <a:pt x="842" y="632"/>
                  </a:lnTo>
                  <a:lnTo>
                    <a:pt x="836" y="630"/>
                  </a:lnTo>
                  <a:lnTo>
                    <a:pt x="818" y="624"/>
                  </a:lnTo>
                  <a:lnTo>
                    <a:pt x="818" y="624"/>
                  </a:lnTo>
                  <a:lnTo>
                    <a:pt x="812" y="622"/>
                  </a:lnTo>
                  <a:lnTo>
                    <a:pt x="808" y="616"/>
                  </a:lnTo>
                  <a:lnTo>
                    <a:pt x="804" y="604"/>
                  </a:lnTo>
                  <a:lnTo>
                    <a:pt x="804" y="604"/>
                  </a:lnTo>
                  <a:lnTo>
                    <a:pt x="804" y="598"/>
                  </a:lnTo>
                  <a:lnTo>
                    <a:pt x="806" y="592"/>
                  </a:lnTo>
                  <a:lnTo>
                    <a:pt x="806" y="592"/>
                  </a:lnTo>
                  <a:lnTo>
                    <a:pt x="810" y="588"/>
                  </a:lnTo>
                  <a:lnTo>
                    <a:pt x="812" y="582"/>
                  </a:lnTo>
                  <a:lnTo>
                    <a:pt x="812" y="582"/>
                  </a:lnTo>
                  <a:lnTo>
                    <a:pt x="810" y="578"/>
                  </a:lnTo>
                  <a:lnTo>
                    <a:pt x="804" y="574"/>
                  </a:lnTo>
                  <a:lnTo>
                    <a:pt x="800" y="572"/>
                  </a:lnTo>
                  <a:lnTo>
                    <a:pt x="800" y="572"/>
                  </a:lnTo>
                  <a:lnTo>
                    <a:pt x="786" y="562"/>
                  </a:lnTo>
                  <a:lnTo>
                    <a:pt x="778" y="554"/>
                  </a:lnTo>
                  <a:lnTo>
                    <a:pt x="778" y="554"/>
                  </a:lnTo>
                  <a:lnTo>
                    <a:pt x="768" y="544"/>
                  </a:lnTo>
                  <a:lnTo>
                    <a:pt x="768" y="544"/>
                  </a:lnTo>
                  <a:lnTo>
                    <a:pt x="766" y="540"/>
                  </a:lnTo>
                  <a:lnTo>
                    <a:pt x="768" y="538"/>
                  </a:lnTo>
                  <a:lnTo>
                    <a:pt x="768" y="538"/>
                  </a:lnTo>
                  <a:lnTo>
                    <a:pt x="772" y="540"/>
                  </a:lnTo>
                  <a:lnTo>
                    <a:pt x="778" y="544"/>
                  </a:lnTo>
                  <a:lnTo>
                    <a:pt x="778" y="544"/>
                  </a:lnTo>
                  <a:lnTo>
                    <a:pt x="784" y="546"/>
                  </a:lnTo>
                  <a:lnTo>
                    <a:pt x="790" y="548"/>
                  </a:lnTo>
                  <a:lnTo>
                    <a:pt x="794" y="548"/>
                  </a:lnTo>
                  <a:lnTo>
                    <a:pt x="794" y="548"/>
                  </a:lnTo>
                  <a:lnTo>
                    <a:pt x="800" y="550"/>
                  </a:lnTo>
                  <a:lnTo>
                    <a:pt x="806" y="556"/>
                  </a:lnTo>
                  <a:lnTo>
                    <a:pt x="808" y="560"/>
                  </a:lnTo>
                  <a:lnTo>
                    <a:pt x="808" y="560"/>
                  </a:lnTo>
                  <a:lnTo>
                    <a:pt x="812" y="566"/>
                  </a:lnTo>
                  <a:lnTo>
                    <a:pt x="820" y="570"/>
                  </a:lnTo>
                  <a:lnTo>
                    <a:pt x="842" y="576"/>
                  </a:lnTo>
                  <a:lnTo>
                    <a:pt x="842" y="576"/>
                  </a:lnTo>
                  <a:lnTo>
                    <a:pt x="850" y="576"/>
                  </a:lnTo>
                  <a:lnTo>
                    <a:pt x="858" y="576"/>
                  </a:lnTo>
                  <a:lnTo>
                    <a:pt x="872" y="570"/>
                  </a:lnTo>
                  <a:lnTo>
                    <a:pt x="872" y="570"/>
                  </a:lnTo>
                  <a:lnTo>
                    <a:pt x="888" y="564"/>
                  </a:lnTo>
                  <a:lnTo>
                    <a:pt x="892" y="562"/>
                  </a:lnTo>
                  <a:lnTo>
                    <a:pt x="892" y="562"/>
                  </a:lnTo>
                  <a:lnTo>
                    <a:pt x="898" y="558"/>
                  </a:lnTo>
                  <a:lnTo>
                    <a:pt x="902" y="550"/>
                  </a:lnTo>
                  <a:lnTo>
                    <a:pt x="906" y="536"/>
                  </a:lnTo>
                  <a:lnTo>
                    <a:pt x="906" y="536"/>
                  </a:lnTo>
                  <a:lnTo>
                    <a:pt x="906" y="530"/>
                  </a:lnTo>
                  <a:lnTo>
                    <a:pt x="904" y="524"/>
                  </a:lnTo>
                  <a:lnTo>
                    <a:pt x="876" y="496"/>
                  </a:lnTo>
                  <a:lnTo>
                    <a:pt x="876" y="496"/>
                  </a:lnTo>
                  <a:lnTo>
                    <a:pt x="864" y="486"/>
                  </a:lnTo>
                  <a:lnTo>
                    <a:pt x="848" y="474"/>
                  </a:lnTo>
                  <a:lnTo>
                    <a:pt x="848" y="474"/>
                  </a:lnTo>
                  <a:lnTo>
                    <a:pt x="836" y="464"/>
                  </a:lnTo>
                  <a:lnTo>
                    <a:pt x="826" y="456"/>
                  </a:lnTo>
                  <a:lnTo>
                    <a:pt x="826" y="456"/>
                  </a:lnTo>
                  <a:lnTo>
                    <a:pt x="820" y="452"/>
                  </a:lnTo>
                  <a:lnTo>
                    <a:pt x="814" y="448"/>
                  </a:lnTo>
                  <a:lnTo>
                    <a:pt x="800" y="444"/>
                  </a:lnTo>
                  <a:lnTo>
                    <a:pt x="800" y="444"/>
                  </a:lnTo>
                  <a:lnTo>
                    <a:pt x="788" y="440"/>
                  </a:lnTo>
                  <a:lnTo>
                    <a:pt x="788" y="440"/>
                  </a:lnTo>
                  <a:lnTo>
                    <a:pt x="784" y="438"/>
                  </a:lnTo>
                  <a:lnTo>
                    <a:pt x="782" y="432"/>
                  </a:lnTo>
                  <a:lnTo>
                    <a:pt x="782" y="430"/>
                  </a:lnTo>
                  <a:lnTo>
                    <a:pt x="782" y="430"/>
                  </a:lnTo>
                  <a:lnTo>
                    <a:pt x="782" y="426"/>
                  </a:lnTo>
                  <a:lnTo>
                    <a:pt x="780" y="424"/>
                  </a:lnTo>
                  <a:lnTo>
                    <a:pt x="778" y="422"/>
                  </a:lnTo>
                  <a:lnTo>
                    <a:pt x="774" y="422"/>
                  </a:lnTo>
                  <a:lnTo>
                    <a:pt x="770" y="422"/>
                  </a:lnTo>
                  <a:lnTo>
                    <a:pt x="770" y="422"/>
                  </a:lnTo>
                  <a:lnTo>
                    <a:pt x="754" y="422"/>
                  </a:lnTo>
                  <a:lnTo>
                    <a:pt x="752" y="422"/>
                  </a:lnTo>
                  <a:lnTo>
                    <a:pt x="752" y="422"/>
                  </a:lnTo>
                  <a:lnTo>
                    <a:pt x="742" y="422"/>
                  </a:lnTo>
                  <a:lnTo>
                    <a:pt x="742" y="422"/>
                  </a:lnTo>
                  <a:lnTo>
                    <a:pt x="738" y="416"/>
                  </a:lnTo>
                  <a:lnTo>
                    <a:pt x="738" y="416"/>
                  </a:lnTo>
                  <a:lnTo>
                    <a:pt x="734" y="412"/>
                  </a:lnTo>
                  <a:lnTo>
                    <a:pt x="734" y="406"/>
                  </a:lnTo>
                  <a:lnTo>
                    <a:pt x="734" y="406"/>
                  </a:lnTo>
                  <a:lnTo>
                    <a:pt x="736" y="394"/>
                  </a:lnTo>
                  <a:lnTo>
                    <a:pt x="740" y="390"/>
                  </a:lnTo>
                  <a:lnTo>
                    <a:pt x="740" y="390"/>
                  </a:lnTo>
                  <a:lnTo>
                    <a:pt x="740" y="384"/>
                  </a:lnTo>
                  <a:lnTo>
                    <a:pt x="738" y="378"/>
                  </a:lnTo>
                  <a:lnTo>
                    <a:pt x="738" y="378"/>
                  </a:lnTo>
                  <a:lnTo>
                    <a:pt x="728" y="368"/>
                  </a:lnTo>
                  <a:lnTo>
                    <a:pt x="720" y="358"/>
                  </a:lnTo>
                  <a:lnTo>
                    <a:pt x="720" y="358"/>
                  </a:lnTo>
                  <a:lnTo>
                    <a:pt x="716" y="358"/>
                  </a:lnTo>
                  <a:lnTo>
                    <a:pt x="714" y="356"/>
                  </a:lnTo>
                  <a:lnTo>
                    <a:pt x="710" y="358"/>
                  </a:lnTo>
                  <a:lnTo>
                    <a:pt x="708" y="358"/>
                  </a:lnTo>
                  <a:lnTo>
                    <a:pt x="700" y="368"/>
                  </a:lnTo>
                  <a:lnTo>
                    <a:pt x="700" y="368"/>
                  </a:lnTo>
                  <a:lnTo>
                    <a:pt x="694" y="370"/>
                  </a:lnTo>
                  <a:lnTo>
                    <a:pt x="686" y="370"/>
                  </a:lnTo>
                  <a:lnTo>
                    <a:pt x="682" y="366"/>
                  </a:lnTo>
                  <a:lnTo>
                    <a:pt x="682" y="366"/>
                  </a:lnTo>
                  <a:lnTo>
                    <a:pt x="670" y="362"/>
                  </a:lnTo>
                  <a:lnTo>
                    <a:pt x="670" y="362"/>
                  </a:lnTo>
                  <a:lnTo>
                    <a:pt x="656" y="362"/>
                  </a:lnTo>
                  <a:lnTo>
                    <a:pt x="654" y="362"/>
                  </a:lnTo>
                  <a:lnTo>
                    <a:pt x="654" y="362"/>
                  </a:lnTo>
                  <a:lnTo>
                    <a:pt x="646" y="364"/>
                  </a:lnTo>
                  <a:lnTo>
                    <a:pt x="640" y="368"/>
                  </a:lnTo>
                  <a:lnTo>
                    <a:pt x="632" y="376"/>
                  </a:lnTo>
                  <a:lnTo>
                    <a:pt x="632" y="376"/>
                  </a:lnTo>
                  <a:lnTo>
                    <a:pt x="626" y="380"/>
                  </a:lnTo>
                  <a:lnTo>
                    <a:pt x="620" y="382"/>
                  </a:lnTo>
                  <a:lnTo>
                    <a:pt x="620" y="382"/>
                  </a:lnTo>
                  <a:lnTo>
                    <a:pt x="610" y="382"/>
                  </a:lnTo>
                  <a:lnTo>
                    <a:pt x="610" y="382"/>
                  </a:lnTo>
                  <a:lnTo>
                    <a:pt x="606" y="384"/>
                  </a:lnTo>
                  <a:lnTo>
                    <a:pt x="600" y="388"/>
                  </a:lnTo>
                  <a:lnTo>
                    <a:pt x="600" y="388"/>
                  </a:lnTo>
                  <a:lnTo>
                    <a:pt x="596" y="390"/>
                  </a:lnTo>
                  <a:lnTo>
                    <a:pt x="592" y="392"/>
                  </a:lnTo>
                  <a:lnTo>
                    <a:pt x="592" y="392"/>
                  </a:lnTo>
                  <a:lnTo>
                    <a:pt x="586" y="394"/>
                  </a:lnTo>
                  <a:lnTo>
                    <a:pt x="584" y="400"/>
                  </a:lnTo>
                  <a:lnTo>
                    <a:pt x="578" y="414"/>
                  </a:lnTo>
                  <a:lnTo>
                    <a:pt x="578" y="414"/>
                  </a:lnTo>
                  <a:lnTo>
                    <a:pt x="574" y="420"/>
                  </a:lnTo>
                  <a:lnTo>
                    <a:pt x="568" y="422"/>
                  </a:lnTo>
                  <a:lnTo>
                    <a:pt x="556" y="422"/>
                  </a:lnTo>
                  <a:lnTo>
                    <a:pt x="556" y="422"/>
                  </a:lnTo>
                  <a:lnTo>
                    <a:pt x="548" y="424"/>
                  </a:lnTo>
                  <a:lnTo>
                    <a:pt x="544" y="430"/>
                  </a:lnTo>
                  <a:lnTo>
                    <a:pt x="540" y="444"/>
                  </a:lnTo>
                  <a:lnTo>
                    <a:pt x="540" y="444"/>
                  </a:lnTo>
                  <a:lnTo>
                    <a:pt x="538" y="456"/>
                  </a:lnTo>
                  <a:lnTo>
                    <a:pt x="538" y="456"/>
                  </a:lnTo>
                  <a:lnTo>
                    <a:pt x="534" y="460"/>
                  </a:lnTo>
                  <a:lnTo>
                    <a:pt x="530" y="460"/>
                  </a:lnTo>
                  <a:lnTo>
                    <a:pt x="526" y="460"/>
                  </a:lnTo>
                  <a:lnTo>
                    <a:pt x="526" y="460"/>
                  </a:lnTo>
                  <a:lnTo>
                    <a:pt x="518" y="462"/>
                  </a:lnTo>
                  <a:lnTo>
                    <a:pt x="514" y="468"/>
                  </a:lnTo>
                  <a:lnTo>
                    <a:pt x="502" y="484"/>
                  </a:lnTo>
                  <a:lnTo>
                    <a:pt x="502" y="484"/>
                  </a:lnTo>
                  <a:lnTo>
                    <a:pt x="500" y="490"/>
                  </a:lnTo>
                  <a:lnTo>
                    <a:pt x="498" y="498"/>
                  </a:lnTo>
                  <a:lnTo>
                    <a:pt x="498" y="502"/>
                  </a:lnTo>
                  <a:lnTo>
                    <a:pt x="498" y="502"/>
                  </a:lnTo>
                  <a:lnTo>
                    <a:pt x="496" y="510"/>
                  </a:lnTo>
                  <a:lnTo>
                    <a:pt x="494" y="516"/>
                  </a:lnTo>
                  <a:lnTo>
                    <a:pt x="482" y="532"/>
                  </a:lnTo>
                  <a:lnTo>
                    <a:pt x="482" y="532"/>
                  </a:lnTo>
                  <a:lnTo>
                    <a:pt x="474" y="546"/>
                  </a:lnTo>
                  <a:lnTo>
                    <a:pt x="472" y="552"/>
                  </a:lnTo>
                  <a:lnTo>
                    <a:pt x="472" y="552"/>
                  </a:lnTo>
                  <a:lnTo>
                    <a:pt x="466" y="566"/>
                  </a:lnTo>
                  <a:lnTo>
                    <a:pt x="462" y="570"/>
                  </a:lnTo>
                  <a:lnTo>
                    <a:pt x="462" y="570"/>
                  </a:lnTo>
                  <a:lnTo>
                    <a:pt x="456" y="586"/>
                  </a:lnTo>
                  <a:lnTo>
                    <a:pt x="452" y="590"/>
                  </a:lnTo>
                  <a:lnTo>
                    <a:pt x="452" y="590"/>
                  </a:lnTo>
                  <a:lnTo>
                    <a:pt x="444" y="604"/>
                  </a:lnTo>
                  <a:lnTo>
                    <a:pt x="424" y="640"/>
                  </a:lnTo>
                  <a:lnTo>
                    <a:pt x="424" y="640"/>
                  </a:lnTo>
                  <a:lnTo>
                    <a:pt x="414" y="652"/>
                  </a:lnTo>
                  <a:lnTo>
                    <a:pt x="406" y="660"/>
                  </a:lnTo>
                  <a:lnTo>
                    <a:pt x="406" y="660"/>
                  </a:lnTo>
                  <a:lnTo>
                    <a:pt x="392" y="670"/>
                  </a:lnTo>
                  <a:lnTo>
                    <a:pt x="388" y="672"/>
                  </a:lnTo>
                  <a:lnTo>
                    <a:pt x="388" y="672"/>
                  </a:lnTo>
                  <a:lnTo>
                    <a:pt x="382" y="676"/>
                  </a:lnTo>
                  <a:lnTo>
                    <a:pt x="376" y="682"/>
                  </a:lnTo>
                  <a:lnTo>
                    <a:pt x="374" y="688"/>
                  </a:lnTo>
                  <a:lnTo>
                    <a:pt x="374" y="688"/>
                  </a:lnTo>
                  <a:lnTo>
                    <a:pt x="366" y="700"/>
                  </a:lnTo>
                  <a:lnTo>
                    <a:pt x="366" y="700"/>
                  </a:lnTo>
                  <a:lnTo>
                    <a:pt x="356" y="710"/>
                  </a:lnTo>
                  <a:lnTo>
                    <a:pt x="356" y="710"/>
                  </a:lnTo>
                  <a:lnTo>
                    <a:pt x="352" y="714"/>
                  </a:lnTo>
                  <a:lnTo>
                    <a:pt x="350" y="720"/>
                  </a:lnTo>
                  <a:lnTo>
                    <a:pt x="350" y="720"/>
                  </a:lnTo>
                  <a:lnTo>
                    <a:pt x="346" y="732"/>
                  </a:lnTo>
                  <a:lnTo>
                    <a:pt x="344" y="736"/>
                  </a:lnTo>
                  <a:lnTo>
                    <a:pt x="344" y="736"/>
                  </a:lnTo>
                  <a:lnTo>
                    <a:pt x="342" y="744"/>
                  </a:lnTo>
                  <a:lnTo>
                    <a:pt x="340" y="752"/>
                  </a:lnTo>
                  <a:lnTo>
                    <a:pt x="340" y="756"/>
                  </a:lnTo>
                  <a:lnTo>
                    <a:pt x="340" y="756"/>
                  </a:lnTo>
                  <a:lnTo>
                    <a:pt x="342" y="764"/>
                  </a:lnTo>
                  <a:lnTo>
                    <a:pt x="344" y="770"/>
                  </a:lnTo>
                  <a:lnTo>
                    <a:pt x="346" y="776"/>
                  </a:lnTo>
                  <a:lnTo>
                    <a:pt x="346" y="776"/>
                  </a:lnTo>
                  <a:lnTo>
                    <a:pt x="348" y="784"/>
                  </a:lnTo>
                  <a:lnTo>
                    <a:pt x="350" y="792"/>
                  </a:lnTo>
                  <a:lnTo>
                    <a:pt x="350" y="794"/>
                  </a:lnTo>
                  <a:lnTo>
                    <a:pt x="350" y="794"/>
                  </a:lnTo>
                  <a:lnTo>
                    <a:pt x="350" y="810"/>
                  </a:lnTo>
                  <a:lnTo>
                    <a:pt x="350" y="814"/>
                  </a:lnTo>
                  <a:lnTo>
                    <a:pt x="350" y="814"/>
                  </a:lnTo>
                  <a:lnTo>
                    <a:pt x="352" y="820"/>
                  </a:lnTo>
                  <a:lnTo>
                    <a:pt x="356" y="826"/>
                  </a:lnTo>
                  <a:lnTo>
                    <a:pt x="364" y="828"/>
                  </a:lnTo>
                  <a:lnTo>
                    <a:pt x="364" y="828"/>
                  </a:lnTo>
                  <a:lnTo>
                    <a:pt x="370" y="830"/>
                  </a:lnTo>
                  <a:lnTo>
                    <a:pt x="378" y="832"/>
                  </a:lnTo>
                  <a:lnTo>
                    <a:pt x="382" y="832"/>
                  </a:lnTo>
                  <a:lnTo>
                    <a:pt x="382" y="832"/>
                  </a:lnTo>
                  <a:lnTo>
                    <a:pt x="390" y="830"/>
                  </a:lnTo>
                  <a:lnTo>
                    <a:pt x="396" y="828"/>
                  </a:lnTo>
                  <a:lnTo>
                    <a:pt x="412" y="816"/>
                  </a:lnTo>
                  <a:lnTo>
                    <a:pt x="412" y="816"/>
                  </a:lnTo>
                  <a:lnTo>
                    <a:pt x="424" y="808"/>
                  </a:lnTo>
                  <a:lnTo>
                    <a:pt x="424" y="808"/>
                  </a:lnTo>
                  <a:lnTo>
                    <a:pt x="430" y="804"/>
                  </a:lnTo>
                  <a:lnTo>
                    <a:pt x="434" y="802"/>
                  </a:lnTo>
                  <a:lnTo>
                    <a:pt x="434" y="802"/>
                  </a:lnTo>
                  <a:lnTo>
                    <a:pt x="438" y="800"/>
                  </a:lnTo>
                  <a:lnTo>
                    <a:pt x="442" y="796"/>
                  </a:lnTo>
                  <a:lnTo>
                    <a:pt x="446" y="790"/>
                  </a:lnTo>
                  <a:lnTo>
                    <a:pt x="446" y="790"/>
                  </a:lnTo>
                  <a:lnTo>
                    <a:pt x="454" y="778"/>
                  </a:lnTo>
                  <a:lnTo>
                    <a:pt x="454" y="778"/>
                  </a:lnTo>
                  <a:lnTo>
                    <a:pt x="458" y="774"/>
                  </a:lnTo>
                  <a:lnTo>
                    <a:pt x="458" y="774"/>
                  </a:lnTo>
                  <a:lnTo>
                    <a:pt x="454" y="778"/>
                  </a:lnTo>
                  <a:lnTo>
                    <a:pt x="454" y="778"/>
                  </a:lnTo>
                  <a:lnTo>
                    <a:pt x="446" y="790"/>
                  </a:lnTo>
                  <a:lnTo>
                    <a:pt x="442" y="796"/>
                  </a:lnTo>
                  <a:lnTo>
                    <a:pt x="442" y="796"/>
                  </a:lnTo>
                  <a:lnTo>
                    <a:pt x="440" y="808"/>
                  </a:lnTo>
                  <a:lnTo>
                    <a:pt x="440" y="808"/>
                  </a:lnTo>
                  <a:lnTo>
                    <a:pt x="442" y="820"/>
                  </a:lnTo>
                  <a:lnTo>
                    <a:pt x="446" y="826"/>
                  </a:lnTo>
                  <a:lnTo>
                    <a:pt x="446" y="826"/>
                  </a:lnTo>
                  <a:lnTo>
                    <a:pt x="448" y="832"/>
                  </a:lnTo>
                  <a:lnTo>
                    <a:pt x="448" y="840"/>
                  </a:lnTo>
                  <a:lnTo>
                    <a:pt x="448" y="844"/>
                  </a:lnTo>
                  <a:lnTo>
                    <a:pt x="448" y="844"/>
                  </a:lnTo>
                  <a:lnTo>
                    <a:pt x="452" y="860"/>
                  </a:lnTo>
                  <a:lnTo>
                    <a:pt x="456" y="874"/>
                  </a:lnTo>
                  <a:lnTo>
                    <a:pt x="456" y="874"/>
                  </a:lnTo>
                  <a:lnTo>
                    <a:pt x="458" y="886"/>
                  </a:lnTo>
                  <a:lnTo>
                    <a:pt x="458" y="886"/>
                  </a:lnTo>
                  <a:lnTo>
                    <a:pt x="460" y="892"/>
                  </a:lnTo>
                  <a:lnTo>
                    <a:pt x="464" y="896"/>
                  </a:lnTo>
                  <a:lnTo>
                    <a:pt x="464" y="896"/>
                  </a:lnTo>
                  <a:lnTo>
                    <a:pt x="466" y="902"/>
                  </a:lnTo>
                  <a:lnTo>
                    <a:pt x="468" y="906"/>
                  </a:lnTo>
                  <a:lnTo>
                    <a:pt x="468" y="906"/>
                  </a:lnTo>
                  <a:lnTo>
                    <a:pt x="470" y="910"/>
                  </a:lnTo>
                  <a:lnTo>
                    <a:pt x="476" y="910"/>
                  </a:lnTo>
                  <a:lnTo>
                    <a:pt x="480" y="910"/>
                  </a:lnTo>
                  <a:lnTo>
                    <a:pt x="480" y="910"/>
                  </a:lnTo>
                  <a:lnTo>
                    <a:pt x="486" y="910"/>
                  </a:lnTo>
                  <a:lnTo>
                    <a:pt x="488" y="906"/>
                  </a:lnTo>
                  <a:lnTo>
                    <a:pt x="488" y="906"/>
                  </a:lnTo>
                  <a:lnTo>
                    <a:pt x="490" y="902"/>
                  </a:lnTo>
                  <a:lnTo>
                    <a:pt x="492" y="896"/>
                  </a:lnTo>
                  <a:lnTo>
                    <a:pt x="492" y="896"/>
                  </a:lnTo>
                  <a:lnTo>
                    <a:pt x="498" y="892"/>
                  </a:lnTo>
                  <a:lnTo>
                    <a:pt x="506" y="892"/>
                  </a:lnTo>
                  <a:lnTo>
                    <a:pt x="510" y="892"/>
                  </a:lnTo>
                  <a:lnTo>
                    <a:pt x="510" y="892"/>
                  </a:lnTo>
                  <a:lnTo>
                    <a:pt x="516" y="890"/>
                  </a:lnTo>
                  <a:lnTo>
                    <a:pt x="520" y="884"/>
                  </a:lnTo>
                  <a:lnTo>
                    <a:pt x="524" y="878"/>
                  </a:lnTo>
                  <a:lnTo>
                    <a:pt x="524" y="878"/>
                  </a:lnTo>
                  <a:lnTo>
                    <a:pt x="526" y="872"/>
                  </a:lnTo>
                  <a:lnTo>
                    <a:pt x="528" y="864"/>
                  </a:lnTo>
                  <a:lnTo>
                    <a:pt x="528" y="840"/>
                  </a:lnTo>
                  <a:lnTo>
                    <a:pt x="528" y="840"/>
                  </a:lnTo>
                  <a:lnTo>
                    <a:pt x="528" y="824"/>
                  </a:lnTo>
                  <a:lnTo>
                    <a:pt x="528" y="822"/>
                  </a:lnTo>
                  <a:lnTo>
                    <a:pt x="528" y="822"/>
                  </a:lnTo>
                  <a:lnTo>
                    <a:pt x="528" y="816"/>
                  </a:lnTo>
                  <a:lnTo>
                    <a:pt x="532" y="814"/>
                  </a:lnTo>
                  <a:lnTo>
                    <a:pt x="532" y="814"/>
                  </a:lnTo>
                  <a:lnTo>
                    <a:pt x="544" y="810"/>
                  </a:lnTo>
                  <a:lnTo>
                    <a:pt x="550" y="806"/>
                  </a:lnTo>
                  <a:lnTo>
                    <a:pt x="550" y="806"/>
                  </a:lnTo>
                  <a:lnTo>
                    <a:pt x="554" y="802"/>
                  </a:lnTo>
                  <a:lnTo>
                    <a:pt x="556" y="796"/>
                  </a:lnTo>
                  <a:lnTo>
                    <a:pt x="556" y="792"/>
                  </a:lnTo>
                  <a:lnTo>
                    <a:pt x="556" y="792"/>
                  </a:lnTo>
                  <a:lnTo>
                    <a:pt x="556" y="784"/>
                  </a:lnTo>
                  <a:lnTo>
                    <a:pt x="554" y="776"/>
                  </a:lnTo>
                  <a:lnTo>
                    <a:pt x="550" y="772"/>
                  </a:lnTo>
                  <a:lnTo>
                    <a:pt x="550" y="772"/>
                  </a:lnTo>
                  <a:lnTo>
                    <a:pt x="542" y="760"/>
                  </a:lnTo>
                  <a:lnTo>
                    <a:pt x="542" y="760"/>
                  </a:lnTo>
                  <a:lnTo>
                    <a:pt x="538" y="754"/>
                  </a:lnTo>
                  <a:lnTo>
                    <a:pt x="536" y="746"/>
                  </a:lnTo>
                  <a:lnTo>
                    <a:pt x="536" y="732"/>
                  </a:lnTo>
                  <a:lnTo>
                    <a:pt x="536" y="732"/>
                  </a:lnTo>
                  <a:lnTo>
                    <a:pt x="536" y="716"/>
                  </a:lnTo>
                  <a:lnTo>
                    <a:pt x="536" y="704"/>
                  </a:lnTo>
                  <a:lnTo>
                    <a:pt x="536" y="704"/>
                  </a:lnTo>
                  <a:lnTo>
                    <a:pt x="538" y="696"/>
                  </a:lnTo>
                  <a:lnTo>
                    <a:pt x="542" y="690"/>
                  </a:lnTo>
                  <a:lnTo>
                    <a:pt x="550" y="682"/>
                  </a:lnTo>
                  <a:lnTo>
                    <a:pt x="550" y="682"/>
                  </a:lnTo>
                  <a:lnTo>
                    <a:pt x="562" y="672"/>
                  </a:lnTo>
                  <a:lnTo>
                    <a:pt x="562" y="672"/>
                  </a:lnTo>
                  <a:lnTo>
                    <a:pt x="572" y="662"/>
                  </a:lnTo>
                  <a:lnTo>
                    <a:pt x="590" y="652"/>
                  </a:lnTo>
                  <a:lnTo>
                    <a:pt x="590" y="652"/>
                  </a:lnTo>
                  <a:lnTo>
                    <a:pt x="594" y="646"/>
                  </a:lnTo>
                  <a:lnTo>
                    <a:pt x="600" y="640"/>
                  </a:lnTo>
                  <a:lnTo>
                    <a:pt x="602" y="634"/>
                  </a:lnTo>
                  <a:lnTo>
                    <a:pt x="602" y="634"/>
                  </a:lnTo>
                  <a:lnTo>
                    <a:pt x="604" y="628"/>
                  </a:lnTo>
                  <a:lnTo>
                    <a:pt x="600" y="622"/>
                  </a:lnTo>
                  <a:lnTo>
                    <a:pt x="600" y="622"/>
                  </a:lnTo>
                  <a:lnTo>
                    <a:pt x="598" y="616"/>
                  </a:lnTo>
                  <a:lnTo>
                    <a:pt x="600" y="610"/>
                  </a:lnTo>
                  <a:lnTo>
                    <a:pt x="602" y="604"/>
                  </a:lnTo>
                  <a:lnTo>
                    <a:pt x="602" y="604"/>
                  </a:lnTo>
                  <a:lnTo>
                    <a:pt x="612" y="592"/>
                  </a:lnTo>
                  <a:lnTo>
                    <a:pt x="620" y="584"/>
                  </a:lnTo>
                  <a:lnTo>
                    <a:pt x="620" y="584"/>
                  </a:lnTo>
                  <a:lnTo>
                    <a:pt x="624" y="580"/>
                  </a:lnTo>
                  <a:lnTo>
                    <a:pt x="630" y="576"/>
                  </a:lnTo>
                  <a:lnTo>
                    <a:pt x="630" y="576"/>
                  </a:lnTo>
                  <a:lnTo>
                    <a:pt x="634" y="578"/>
                  </a:lnTo>
                  <a:lnTo>
                    <a:pt x="640" y="582"/>
                  </a:lnTo>
                  <a:lnTo>
                    <a:pt x="640" y="582"/>
                  </a:lnTo>
                  <a:lnTo>
                    <a:pt x="648" y="594"/>
                  </a:lnTo>
                  <a:lnTo>
                    <a:pt x="652" y="600"/>
                  </a:lnTo>
                  <a:lnTo>
                    <a:pt x="652" y="600"/>
                  </a:lnTo>
                  <a:lnTo>
                    <a:pt x="652" y="608"/>
                  </a:lnTo>
                  <a:lnTo>
                    <a:pt x="652" y="614"/>
                  </a:lnTo>
                  <a:lnTo>
                    <a:pt x="638" y="640"/>
                  </a:lnTo>
                  <a:lnTo>
                    <a:pt x="638" y="640"/>
                  </a:lnTo>
                  <a:lnTo>
                    <a:pt x="634" y="646"/>
                  </a:lnTo>
                  <a:lnTo>
                    <a:pt x="628" y="650"/>
                  </a:lnTo>
                  <a:lnTo>
                    <a:pt x="612" y="662"/>
                  </a:lnTo>
                  <a:lnTo>
                    <a:pt x="612" y="662"/>
                  </a:lnTo>
                  <a:lnTo>
                    <a:pt x="606" y="666"/>
                  </a:lnTo>
                  <a:lnTo>
                    <a:pt x="604" y="674"/>
                  </a:lnTo>
                  <a:lnTo>
                    <a:pt x="598" y="688"/>
                  </a:lnTo>
                  <a:lnTo>
                    <a:pt x="598" y="688"/>
                  </a:lnTo>
                  <a:lnTo>
                    <a:pt x="596" y="704"/>
                  </a:lnTo>
                  <a:lnTo>
                    <a:pt x="596" y="726"/>
                  </a:lnTo>
                  <a:lnTo>
                    <a:pt x="596" y="726"/>
                  </a:lnTo>
                  <a:lnTo>
                    <a:pt x="596" y="734"/>
                  </a:lnTo>
                  <a:lnTo>
                    <a:pt x="600" y="742"/>
                  </a:lnTo>
                  <a:lnTo>
                    <a:pt x="602" y="748"/>
                  </a:lnTo>
                  <a:lnTo>
                    <a:pt x="602" y="748"/>
                  </a:lnTo>
                  <a:lnTo>
                    <a:pt x="610" y="760"/>
                  </a:lnTo>
                  <a:lnTo>
                    <a:pt x="610" y="760"/>
                  </a:lnTo>
                  <a:lnTo>
                    <a:pt x="620" y="770"/>
                  </a:lnTo>
                  <a:lnTo>
                    <a:pt x="620" y="770"/>
                  </a:lnTo>
                  <a:lnTo>
                    <a:pt x="626" y="772"/>
                  </a:lnTo>
                  <a:lnTo>
                    <a:pt x="634" y="774"/>
                  </a:lnTo>
                  <a:lnTo>
                    <a:pt x="636" y="774"/>
                  </a:lnTo>
                  <a:lnTo>
                    <a:pt x="636" y="774"/>
                  </a:lnTo>
                  <a:lnTo>
                    <a:pt x="652" y="772"/>
                  </a:lnTo>
                  <a:lnTo>
                    <a:pt x="676" y="766"/>
                  </a:lnTo>
                  <a:lnTo>
                    <a:pt x="676" y="766"/>
                  </a:lnTo>
                  <a:lnTo>
                    <a:pt x="690" y="764"/>
                  </a:lnTo>
                  <a:lnTo>
                    <a:pt x="690" y="764"/>
                  </a:lnTo>
                  <a:lnTo>
                    <a:pt x="694" y="764"/>
                  </a:lnTo>
                  <a:lnTo>
                    <a:pt x="694" y="764"/>
                  </a:lnTo>
                  <a:lnTo>
                    <a:pt x="700" y="764"/>
                  </a:lnTo>
                  <a:lnTo>
                    <a:pt x="700" y="764"/>
                  </a:lnTo>
                  <a:lnTo>
                    <a:pt x="704" y="766"/>
                  </a:lnTo>
                  <a:lnTo>
                    <a:pt x="708" y="768"/>
                  </a:lnTo>
                  <a:lnTo>
                    <a:pt x="708" y="768"/>
                  </a:lnTo>
                  <a:lnTo>
                    <a:pt x="712" y="774"/>
                  </a:lnTo>
                  <a:lnTo>
                    <a:pt x="714" y="782"/>
                  </a:lnTo>
                  <a:lnTo>
                    <a:pt x="714" y="786"/>
                  </a:lnTo>
                  <a:lnTo>
                    <a:pt x="714" y="786"/>
                  </a:lnTo>
                  <a:lnTo>
                    <a:pt x="712" y="790"/>
                  </a:lnTo>
                  <a:lnTo>
                    <a:pt x="708" y="794"/>
                  </a:lnTo>
                  <a:lnTo>
                    <a:pt x="708" y="794"/>
                  </a:lnTo>
                  <a:lnTo>
                    <a:pt x="704" y="794"/>
                  </a:lnTo>
                  <a:lnTo>
                    <a:pt x="704" y="794"/>
                  </a:lnTo>
                  <a:lnTo>
                    <a:pt x="700" y="792"/>
                  </a:lnTo>
                  <a:lnTo>
                    <a:pt x="700" y="792"/>
                  </a:lnTo>
                  <a:lnTo>
                    <a:pt x="686" y="792"/>
                  </a:lnTo>
                  <a:lnTo>
                    <a:pt x="672" y="792"/>
                  </a:lnTo>
                  <a:lnTo>
                    <a:pt x="672" y="792"/>
                  </a:lnTo>
                  <a:lnTo>
                    <a:pt x="658" y="796"/>
                  </a:lnTo>
                  <a:lnTo>
                    <a:pt x="642" y="800"/>
                  </a:lnTo>
                  <a:lnTo>
                    <a:pt x="642" y="800"/>
                  </a:lnTo>
                  <a:lnTo>
                    <a:pt x="638" y="804"/>
                  </a:lnTo>
                  <a:lnTo>
                    <a:pt x="634" y="808"/>
                  </a:lnTo>
                  <a:lnTo>
                    <a:pt x="634" y="808"/>
                  </a:lnTo>
                  <a:lnTo>
                    <a:pt x="634" y="818"/>
                  </a:lnTo>
                  <a:lnTo>
                    <a:pt x="634" y="818"/>
                  </a:lnTo>
                  <a:lnTo>
                    <a:pt x="636" y="822"/>
                  </a:lnTo>
                  <a:lnTo>
                    <a:pt x="640" y="828"/>
                  </a:lnTo>
                  <a:lnTo>
                    <a:pt x="640" y="828"/>
                  </a:lnTo>
                  <a:lnTo>
                    <a:pt x="644" y="832"/>
                  </a:lnTo>
                  <a:lnTo>
                    <a:pt x="644" y="838"/>
                  </a:lnTo>
                  <a:lnTo>
                    <a:pt x="644" y="838"/>
                  </a:lnTo>
                  <a:lnTo>
                    <a:pt x="644" y="842"/>
                  </a:lnTo>
                  <a:lnTo>
                    <a:pt x="644" y="842"/>
                  </a:lnTo>
                  <a:lnTo>
                    <a:pt x="642" y="850"/>
                  </a:lnTo>
                  <a:lnTo>
                    <a:pt x="638" y="854"/>
                  </a:lnTo>
                  <a:lnTo>
                    <a:pt x="638" y="854"/>
                  </a:lnTo>
                  <a:lnTo>
                    <a:pt x="636" y="856"/>
                  </a:lnTo>
                  <a:lnTo>
                    <a:pt x="634" y="858"/>
                  </a:lnTo>
                  <a:lnTo>
                    <a:pt x="632" y="858"/>
                  </a:lnTo>
                  <a:lnTo>
                    <a:pt x="628" y="858"/>
                  </a:lnTo>
                  <a:lnTo>
                    <a:pt x="622" y="856"/>
                  </a:lnTo>
                  <a:lnTo>
                    <a:pt x="622" y="856"/>
                  </a:lnTo>
                  <a:lnTo>
                    <a:pt x="610" y="852"/>
                  </a:lnTo>
                  <a:lnTo>
                    <a:pt x="610" y="852"/>
                  </a:lnTo>
                  <a:lnTo>
                    <a:pt x="606" y="854"/>
                  </a:lnTo>
                  <a:lnTo>
                    <a:pt x="602" y="858"/>
                  </a:lnTo>
                  <a:lnTo>
                    <a:pt x="600" y="864"/>
                  </a:lnTo>
                  <a:lnTo>
                    <a:pt x="600" y="864"/>
                  </a:lnTo>
                  <a:lnTo>
                    <a:pt x="598" y="872"/>
                  </a:lnTo>
                  <a:lnTo>
                    <a:pt x="596" y="880"/>
                  </a:lnTo>
                  <a:lnTo>
                    <a:pt x="596" y="882"/>
                  </a:lnTo>
                  <a:lnTo>
                    <a:pt x="596" y="882"/>
                  </a:lnTo>
                  <a:lnTo>
                    <a:pt x="596" y="890"/>
                  </a:lnTo>
                  <a:lnTo>
                    <a:pt x="596" y="890"/>
                  </a:lnTo>
                  <a:lnTo>
                    <a:pt x="596" y="898"/>
                  </a:lnTo>
                  <a:lnTo>
                    <a:pt x="596" y="902"/>
                  </a:lnTo>
                  <a:lnTo>
                    <a:pt x="596" y="902"/>
                  </a:lnTo>
                  <a:lnTo>
                    <a:pt x="596" y="910"/>
                  </a:lnTo>
                  <a:lnTo>
                    <a:pt x="596" y="910"/>
                  </a:lnTo>
                  <a:lnTo>
                    <a:pt x="592" y="910"/>
                  </a:lnTo>
                  <a:lnTo>
                    <a:pt x="592" y="910"/>
                  </a:lnTo>
                  <a:lnTo>
                    <a:pt x="586" y="912"/>
                  </a:lnTo>
                  <a:lnTo>
                    <a:pt x="582" y="916"/>
                  </a:lnTo>
                  <a:lnTo>
                    <a:pt x="582" y="916"/>
                  </a:lnTo>
                  <a:lnTo>
                    <a:pt x="578" y="920"/>
                  </a:lnTo>
                  <a:lnTo>
                    <a:pt x="576" y="926"/>
                  </a:lnTo>
                  <a:lnTo>
                    <a:pt x="576" y="926"/>
                  </a:lnTo>
                  <a:lnTo>
                    <a:pt x="574" y="928"/>
                  </a:lnTo>
                  <a:lnTo>
                    <a:pt x="568" y="930"/>
                  </a:lnTo>
                  <a:lnTo>
                    <a:pt x="564" y="930"/>
                  </a:lnTo>
                  <a:lnTo>
                    <a:pt x="564" y="930"/>
                  </a:lnTo>
                  <a:lnTo>
                    <a:pt x="552" y="930"/>
                  </a:lnTo>
                  <a:lnTo>
                    <a:pt x="552" y="930"/>
                  </a:lnTo>
                  <a:lnTo>
                    <a:pt x="540" y="932"/>
                  </a:lnTo>
                  <a:lnTo>
                    <a:pt x="516" y="938"/>
                  </a:lnTo>
                  <a:lnTo>
                    <a:pt x="516" y="938"/>
                  </a:lnTo>
                  <a:lnTo>
                    <a:pt x="500" y="944"/>
                  </a:lnTo>
                  <a:lnTo>
                    <a:pt x="496" y="946"/>
                  </a:lnTo>
                  <a:lnTo>
                    <a:pt x="496" y="946"/>
                  </a:lnTo>
                  <a:lnTo>
                    <a:pt x="488" y="950"/>
                  </a:lnTo>
                  <a:lnTo>
                    <a:pt x="488" y="950"/>
                  </a:lnTo>
                  <a:lnTo>
                    <a:pt x="482" y="946"/>
                  </a:lnTo>
                  <a:lnTo>
                    <a:pt x="476" y="944"/>
                  </a:lnTo>
                  <a:lnTo>
                    <a:pt x="476" y="944"/>
                  </a:lnTo>
                  <a:lnTo>
                    <a:pt x="468" y="942"/>
                  </a:lnTo>
                  <a:lnTo>
                    <a:pt x="462" y="944"/>
                  </a:lnTo>
                  <a:lnTo>
                    <a:pt x="456" y="946"/>
                  </a:lnTo>
                  <a:lnTo>
                    <a:pt x="456" y="946"/>
                  </a:lnTo>
                  <a:lnTo>
                    <a:pt x="450" y="946"/>
                  </a:lnTo>
                  <a:lnTo>
                    <a:pt x="444" y="944"/>
                  </a:lnTo>
                  <a:lnTo>
                    <a:pt x="444" y="944"/>
                  </a:lnTo>
                  <a:lnTo>
                    <a:pt x="440" y="940"/>
                  </a:lnTo>
                  <a:lnTo>
                    <a:pt x="440" y="934"/>
                  </a:lnTo>
                  <a:lnTo>
                    <a:pt x="440" y="934"/>
                  </a:lnTo>
                  <a:lnTo>
                    <a:pt x="436" y="932"/>
                  </a:lnTo>
                  <a:lnTo>
                    <a:pt x="432" y="930"/>
                  </a:lnTo>
                  <a:lnTo>
                    <a:pt x="428" y="930"/>
                  </a:lnTo>
                  <a:lnTo>
                    <a:pt x="428" y="930"/>
                  </a:lnTo>
                  <a:lnTo>
                    <a:pt x="424" y="930"/>
                  </a:lnTo>
                  <a:lnTo>
                    <a:pt x="422" y="928"/>
                  </a:lnTo>
                  <a:lnTo>
                    <a:pt x="420" y="924"/>
                  </a:lnTo>
                  <a:lnTo>
                    <a:pt x="420" y="922"/>
                  </a:lnTo>
                  <a:lnTo>
                    <a:pt x="420" y="918"/>
                  </a:lnTo>
                  <a:lnTo>
                    <a:pt x="420" y="918"/>
                  </a:lnTo>
                  <a:lnTo>
                    <a:pt x="420" y="902"/>
                  </a:lnTo>
                  <a:lnTo>
                    <a:pt x="420" y="898"/>
                  </a:lnTo>
                  <a:lnTo>
                    <a:pt x="420" y="898"/>
                  </a:lnTo>
                  <a:lnTo>
                    <a:pt x="422" y="894"/>
                  </a:lnTo>
                  <a:lnTo>
                    <a:pt x="424" y="890"/>
                  </a:lnTo>
                  <a:lnTo>
                    <a:pt x="424" y="890"/>
                  </a:lnTo>
                  <a:lnTo>
                    <a:pt x="430" y="890"/>
                  </a:lnTo>
                  <a:lnTo>
                    <a:pt x="434" y="886"/>
                  </a:lnTo>
                  <a:lnTo>
                    <a:pt x="434" y="886"/>
                  </a:lnTo>
                  <a:lnTo>
                    <a:pt x="436" y="882"/>
                  </a:lnTo>
                  <a:lnTo>
                    <a:pt x="434" y="882"/>
                  </a:lnTo>
                  <a:lnTo>
                    <a:pt x="434" y="882"/>
                  </a:lnTo>
                  <a:lnTo>
                    <a:pt x="430" y="880"/>
                  </a:lnTo>
                  <a:lnTo>
                    <a:pt x="430" y="876"/>
                  </a:lnTo>
                  <a:lnTo>
                    <a:pt x="430" y="876"/>
                  </a:lnTo>
                  <a:lnTo>
                    <a:pt x="430" y="864"/>
                  </a:lnTo>
                  <a:lnTo>
                    <a:pt x="430" y="860"/>
                  </a:lnTo>
                  <a:lnTo>
                    <a:pt x="430" y="860"/>
                  </a:lnTo>
                  <a:lnTo>
                    <a:pt x="428" y="858"/>
                  </a:lnTo>
                  <a:lnTo>
                    <a:pt x="428" y="856"/>
                  </a:lnTo>
                  <a:lnTo>
                    <a:pt x="426" y="854"/>
                  </a:lnTo>
                  <a:lnTo>
                    <a:pt x="422" y="856"/>
                  </a:lnTo>
                  <a:lnTo>
                    <a:pt x="418" y="858"/>
                  </a:lnTo>
                  <a:lnTo>
                    <a:pt x="418" y="858"/>
                  </a:lnTo>
                  <a:lnTo>
                    <a:pt x="406" y="862"/>
                  </a:lnTo>
                  <a:lnTo>
                    <a:pt x="406" y="862"/>
                  </a:lnTo>
                  <a:lnTo>
                    <a:pt x="400" y="864"/>
                  </a:lnTo>
                  <a:lnTo>
                    <a:pt x="398" y="868"/>
                  </a:lnTo>
                  <a:lnTo>
                    <a:pt x="394" y="874"/>
                  </a:lnTo>
                  <a:lnTo>
                    <a:pt x="394" y="874"/>
                  </a:lnTo>
                  <a:lnTo>
                    <a:pt x="392" y="882"/>
                  </a:lnTo>
                  <a:lnTo>
                    <a:pt x="392" y="890"/>
                  </a:lnTo>
                  <a:lnTo>
                    <a:pt x="392" y="892"/>
                  </a:lnTo>
                  <a:lnTo>
                    <a:pt x="392" y="892"/>
                  </a:lnTo>
                  <a:lnTo>
                    <a:pt x="392" y="900"/>
                  </a:lnTo>
                  <a:lnTo>
                    <a:pt x="396" y="906"/>
                  </a:lnTo>
                  <a:lnTo>
                    <a:pt x="396" y="906"/>
                  </a:lnTo>
                  <a:lnTo>
                    <a:pt x="404" y="918"/>
                  </a:lnTo>
                  <a:lnTo>
                    <a:pt x="406" y="922"/>
                  </a:lnTo>
                  <a:lnTo>
                    <a:pt x="406" y="922"/>
                  </a:lnTo>
                  <a:lnTo>
                    <a:pt x="410" y="930"/>
                  </a:lnTo>
                  <a:lnTo>
                    <a:pt x="410" y="930"/>
                  </a:lnTo>
                  <a:lnTo>
                    <a:pt x="406" y="936"/>
                  </a:lnTo>
                  <a:lnTo>
                    <a:pt x="404" y="942"/>
                  </a:lnTo>
                  <a:lnTo>
                    <a:pt x="404" y="942"/>
                  </a:lnTo>
                  <a:lnTo>
                    <a:pt x="400" y="954"/>
                  </a:lnTo>
                  <a:lnTo>
                    <a:pt x="400" y="954"/>
                  </a:lnTo>
                  <a:lnTo>
                    <a:pt x="398" y="958"/>
                  </a:lnTo>
                  <a:lnTo>
                    <a:pt x="396" y="958"/>
                  </a:lnTo>
                  <a:lnTo>
                    <a:pt x="396" y="958"/>
                  </a:lnTo>
                  <a:lnTo>
                    <a:pt x="386" y="958"/>
                  </a:lnTo>
                  <a:lnTo>
                    <a:pt x="386" y="958"/>
                  </a:lnTo>
                  <a:lnTo>
                    <a:pt x="380" y="960"/>
                  </a:lnTo>
                  <a:lnTo>
                    <a:pt x="380" y="960"/>
                  </a:lnTo>
                  <a:lnTo>
                    <a:pt x="376" y="960"/>
                  </a:lnTo>
                  <a:lnTo>
                    <a:pt x="376" y="960"/>
                  </a:lnTo>
                  <a:lnTo>
                    <a:pt x="364" y="964"/>
                  </a:lnTo>
                  <a:lnTo>
                    <a:pt x="358" y="966"/>
                  </a:lnTo>
                  <a:lnTo>
                    <a:pt x="358" y="966"/>
                  </a:lnTo>
                  <a:lnTo>
                    <a:pt x="352" y="970"/>
                  </a:lnTo>
                  <a:lnTo>
                    <a:pt x="346" y="976"/>
                  </a:lnTo>
                  <a:lnTo>
                    <a:pt x="336" y="992"/>
                  </a:lnTo>
                  <a:lnTo>
                    <a:pt x="336" y="992"/>
                  </a:lnTo>
                  <a:lnTo>
                    <a:pt x="326" y="1004"/>
                  </a:lnTo>
                  <a:lnTo>
                    <a:pt x="326" y="1004"/>
                  </a:lnTo>
                  <a:lnTo>
                    <a:pt x="320" y="1008"/>
                  </a:lnTo>
                  <a:lnTo>
                    <a:pt x="320" y="1008"/>
                  </a:lnTo>
                  <a:lnTo>
                    <a:pt x="316" y="1012"/>
                  </a:lnTo>
                  <a:lnTo>
                    <a:pt x="316" y="1012"/>
                  </a:lnTo>
                  <a:lnTo>
                    <a:pt x="312" y="1018"/>
                  </a:lnTo>
                  <a:lnTo>
                    <a:pt x="312" y="1018"/>
                  </a:lnTo>
                  <a:lnTo>
                    <a:pt x="306" y="1024"/>
                  </a:lnTo>
                  <a:lnTo>
                    <a:pt x="306" y="1024"/>
                  </a:lnTo>
                  <a:lnTo>
                    <a:pt x="298" y="1034"/>
                  </a:lnTo>
                  <a:lnTo>
                    <a:pt x="296" y="1040"/>
                  </a:lnTo>
                  <a:lnTo>
                    <a:pt x="296" y="1040"/>
                  </a:lnTo>
                  <a:lnTo>
                    <a:pt x="292" y="1046"/>
                  </a:lnTo>
                  <a:lnTo>
                    <a:pt x="288" y="1048"/>
                  </a:lnTo>
                  <a:lnTo>
                    <a:pt x="288" y="1048"/>
                  </a:lnTo>
                  <a:lnTo>
                    <a:pt x="282" y="1050"/>
                  </a:lnTo>
                  <a:lnTo>
                    <a:pt x="278" y="1054"/>
                  </a:lnTo>
                  <a:lnTo>
                    <a:pt x="276" y="1060"/>
                  </a:lnTo>
                  <a:lnTo>
                    <a:pt x="276" y="1060"/>
                  </a:lnTo>
                  <a:lnTo>
                    <a:pt x="272" y="1064"/>
                  </a:lnTo>
                  <a:lnTo>
                    <a:pt x="264" y="1066"/>
                  </a:lnTo>
                  <a:lnTo>
                    <a:pt x="260" y="1066"/>
                  </a:lnTo>
                  <a:lnTo>
                    <a:pt x="260" y="1066"/>
                  </a:lnTo>
                  <a:lnTo>
                    <a:pt x="256" y="1066"/>
                  </a:lnTo>
                  <a:lnTo>
                    <a:pt x="252" y="1062"/>
                  </a:lnTo>
                  <a:lnTo>
                    <a:pt x="252" y="1062"/>
                  </a:lnTo>
                  <a:lnTo>
                    <a:pt x="252" y="1058"/>
                  </a:lnTo>
                  <a:lnTo>
                    <a:pt x="248" y="1058"/>
                  </a:lnTo>
                  <a:lnTo>
                    <a:pt x="248" y="1058"/>
                  </a:lnTo>
                  <a:lnTo>
                    <a:pt x="244" y="1058"/>
                  </a:lnTo>
                  <a:lnTo>
                    <a:pt x="242" y="1062"/>
                  </a:lnTo>
                  <a:lnTo>
                    <a:pt x="242" y="1062"/>
                  </a:lnTo>
                  <a:lnTo>
                    <a:pt x="242" y="1072"/>
                  </a:lnTo>
                  <a:lnTo>
                    <a:pt x="242" y="1072"/>
                  </a:lnTo>
                  <a:lnTo>
                    <a:pt x="242" y="1076"/>
                  </a:lnTo>
                  <a:lnTo>
                    <a:pt x="238" y="1076"/>
                  </a:lnTo>
                  <a:lnTo>
                    <a:pt x="238" y="1076"/>
                  </a:lnTo>
                  <a:lnTo>
                    <a:pt x="228" y="1076"/>
                  </a:lnTo>
                  <a:lnTo>
                    <a:pt x="228" y="1076"/>
                  </a:lnTo>
                  <a:lnTo>
                    <a:pt x="218" y="1076"/>
                  </a:lnTo>
                  <a:lnTo>
                    <a:pt x="218" y="1076"/>
                  </a:lnTo>
                  <a:lnTo>
                    <a:pt x="206" y="1080"/>
                  </a:lnTo>
                  <a:lnTo>
                    <a:pt x="202" y="1082"/>
                  </a:lnTo>
                  <a:lnTo>
                    <a:pt x="202" y="1082"/>
                  </a:lnTo>
                  <a:lnTo>
                    <a:pt x="196" y="1086"/>
                  </a:lnTo>
                  <a:lnTo>
                    <a:pt x="194" y="1092"/>
                  </a:lnTo>
                  <a:lnTo>
                    <a:pt x="194" y="1092"/>
                  </a:lnTo>
                  <a:lnTo>
                    <a:pt x="196" y="1096"/>
                  </a:lnTo>
                  <a:lnTo>
                    <a:pt x="202" y="1100"/>
                  </a:lnTo>
                  <a:lnTo>
                    <a:pt x="206" y="1102"/>
                  </a:lnTo>
                  <a:lnTo>
                    <a:pt x="206" y="1102"/>
                  </a:lnTo>
                  <a:lnTo>
                    <a:pt x="214" y="1106"/>
                  </a:lnTo>
                  <a:lnTo>
                    <a:pt x="222" y="1106"/>
                  </a:lnTo>
                  <a:lnTo>
                    <a:pt x="226" y="1106"/>
                  </a:lnTo>
                  <a:lnTo>
                    <a:pt x="226" y="1106"/>
                  </a:lnTo>
                  <a:lnTo>
                    <a:pt x="230" y="1108"/>
                  </a:lnTo>
                  <a:lnTo>
                    <a:pt x="234" y="1110"/>
                  </a:lnTo>
                  <a:lnTo>
                    <a:pt x="234" y="1110"/>
                  </a:lnTo>
                  <a:lnTo>
                    <a:pt x="234" y="1116"/>
                  </a:lnTo>
                  <a:lnTo>
                    <a:pt x="238" y="1120"/>
                  </a:lnTo>
                  <a:lnTo>
                    <a:pt x="238" y="1120"/>
                  </a:lnTo>
                  <a:lnTo>
                    <a:pt x="242" y="1126"/>
                  </a:lnTo>
                  <a:lnTo>
                    <a:pt x="242" y="1134"/>
                  </a:lnTo>
                  <a:lnTo>
                    <a:pt x="242" y="1138"/>
                  </a:lnTo>
                  <a:lnTo>
                    <a:pt x="242" y="1138"/>
                  </a:lnTo>
                  <a:lnTo>
                    <a:pt x="244" y="1142"/>
                  </a:lnTo>
                  <a:lnTo>
                    <a:pt x="248" y="1146"/>
                  </a:lnTo>
                  <a:lnTo>
                    <a:pt x="248" y="1146"/>
                  </a:lnTo>
                  <a:lnTo>
                    <a:pt x="252" y="1148"/>
                  </a:lnTo>
                  <a:lnTo>
                    <a:pt x="252" y="1154"/>
                  </a:lnTo>
                  <a:lnTo>
                    <a:pt x="252" y="1156"/>
                  </a:lnTo>
                  <a:lnTo>
                    <a:pt x="252" y="1156"/>
                  </a:lnTo>
                  <a:lnTo>
                    <a:pt x="250" y="1172"/>
                  </a:lnTo>
                  <a:lnTo>
                    <a:pt x="244" y="1196"/>
                  </a:lnTo>
                  <a:lnTo>
                    <a:pt x="244" y="1196"/>
                  </a:lnTo>
                  <a:lnTo>
                    <a:pt x="242" y="1204"/>
                  </a:lnTo>
                  <a:lnTo>
                    <a:pt x="242" y="1204"/>
                  </a:lnTo>
                  <a:lnTo>
                    <a:pt x="234" y="1202"/>
                  </a:lnTo>
                  <a:lnTo>
                    <a:pt x="192" y="1194"/>
                  </a:lnTo>
                  <a:lnTo>
                    <a:pt x="192" y="1194"/>
                  </a:lnTo>
                  <a:lnTo>
                    <a:pt x="176" y="1194"/>
                  </a:lnTo>
                  <a:lnTo>
                    <a:pt x="162" y="1194"/>
                  </a:lnTo>
                  <a:lnTo>
                    <a:pt x="162" y="1194"/>
                  </a:lnTo>
                  <a:lnTo>
                    <a:pt x="150" y="1194"/>
                  </a:lnTo>
                  <a:lnTo>
                    <a:pt x="150" y="1194"/>
                  </a:lnTo>
                  <a:lnTo>
                    <a:pt x="140" y="1194"/>
                  </a:lnTo>
                  <a:lnTo>
                    <a:pt x="140" y="1194"/>
                  </a:lnTo>
                  <a:lnTo>
                    <a:pt x="134" y="1196"/>
                  </a:lnTo>
                  <a:lnTo>
                    <a:pt x="130" y="1198"/>
                  </a:lnTo>
                  <a:lnTo>
                    <a:pt x="130" y="1198"/>
                  </a:lnTo>
                  <a:lnTo>
                    <a:pt x="128" y="1204"/>
                  </a:lnTo>
                  <a:lnTo>
                    <a:pt x="128" y="1212"/>
                  </a:lnTo>
                  <a:lnTo>
                    <a:pt x="132" y="1226"/>
                  </a:lnTo>
                  <a:lnTo>
                    <a:pt x="132" y="1226"/>
                  </a:lnTo>
                  <a:lnTo>
                    <a:pt x="134" y="1234"/>
                  </a:lnTo>
                  <a:lnTo>
                    <a:pt x="134" y="1234"/>
                  </a:lnTo>
                  <a:lnTo>
                    <a:pt x="130" y="1234"/>
                  </a:lnTo>
                  <a:lnTo>
                    <a:pt x="130" y="1234"/>
                  </a:lnTo>
                  <a:lnTo>
                    <a:pt x="128" y="1234"/>
                  </a:lnTo>
                  <a:lnTo>
                    <a:pt x="128" y="1236"/>
                  </a:lnTo>
                  <a:lnTo>
                    <a:pt x="128" y="1240"/>
                  </a:lnTo>
                  <a:lnTo>
                    <a:pt x="132" y="1246"/>
                  </a:lnTo>
                  <a:lnTo>
                    <a:pt x="132" y="1246"/>
                  </a:lnTo>
                  <a:lnTo>
                    <a:pt x="134" y="1254"/>
                  </a:lnTo>
                  <a:lnTo>
                    <a:pt x="134" y="1262"/>
                  </a:lnTo>
                  <a:lnTo>
                    <a:pt x="134" y="1264"/>
                  </a:lnTo>
                  <a:lnTo>
                    <a:pt x="134" y="1264"/>
                  </a:lnTo>
                  <a:lnTo>
                    <a:pt x="134" y="1272"/>
                  </a:lnTo>
                  <a:lnTo>
                    <a:pt x="132" y="1280"/>
                  </a:lnTo>
                  <a:lnTo>
                    <a:pt x="128" y="1286"/>
                  </a:lnTo>
                  <a:lnTo>
                    <a:pt x="128" y="1286"/>
                  </a:lnTo>
                  <a:lnTo>
                    <a:pt x="128" y="1292"/>
                  </a:lnTo>
                  <a:lnTo>
                    <a:pt x="130" y="1298"/>
                  </a:lnTo>
                  <a:lnTo>
                    <a:pt x="130" y="1298"/>
                  </a:lnTo>
                  <a:lnTo>
                    <a:pt x="134" y="1304"/>
                  </a:lnTo>
                  <a:lnTo>
                    <a:pt x="134" y="1310"/>
                  </a:lnTo>
                  <a:lnTo>
                    <a:pt x="134" y="1314"/>
                  </a:lnTo>
                  <a:lnTo>
                    <a:pt x="134" y="1314"/>
                  </a:lnTo>
                  <a:lnTo>
                    <a:pt x="136" y="1316"/>
                  </a:lnTo>
                  <a:lnTo>
                    <a:pt x="138" y="1320"/>
                  </a:lnTo>
                  <a:lnTo>
                    <a:pt x="140" y="1322"/>
                  </a:lnTo>
                  <a:lnTo>
                    <a:pt x="142" y="1322"/>
                  </a:lnTo>
                  <a:lnTo>
                    <a:pt x="146" y="1322"/>
                  </a:lnTo>
                  <a:lnTo>
                    <a:pt x="146" y="1322"/>
                  </a:lnTo>
                  <a:lnTo>
                    <a:pt x="154" y="1322"/>
                  </a:lnTo>
                  <a:lnTo>
                    <a:pt x="154" y="1322"/>
                  </a:lnTo>
                  <a:lnTo>
                    <a:pt x="160" y="1322"/>
                  </a:lnTo>
                  <a:lnTo>
                    <a:pt x="160" y="1322"/>
                  </a:lnTo>
                  <a:lnTo>
                    <a:pt x="164" y="1322"/>
                  </a:lnTo>
                  <a:lnTo>
                    <a:pt x="170" y="1326"/>
                  </a:lnTo>
                  <a:lnTo>
                    <a:pt x="178" y="1334"/>
                  </a:lnTo>
                  <a:lnTo>
                    <a:pt x="178" y="1334"/>
                  </a:lnTo>
                  <a:lnTo>
                    <a:pt x="184" y="1338"/>
                  </a:lnTo>
                  <a:lnTo>
                    <a:pt x="192" y="1338"/>
                  </a:lnTo>
                  <a:lnTo>
                    <a:pt x="206" y="1334"/>
                  </a:lnTo>
                  <a:lnTo>
                    <a:pt x="206" y="1334"/>
                  </a:lnTo>
                  <a:lnTo>
                    <a:pt x="220" y="1328"/>
                  </a:lnTo>
                  <a:lnTo>
                    <a:pt x="234" y="1324"/>
                  </a:lnTo>
                  <a:lnTo>
                    <a:pt x="234" y="1324"/>
                  </a:lnTo>
                  <a:lnTo>
                    <a:pt x="242" y="1320"/>
                  </a:lnTo>
                  <a:lnTo>
                    <a:pt x="246" y="1314"/>
                  </a:lnTo>
                  <a:lnTo>
                    <a:pt x="248" y="1308"/>
                  </a:lnTo>
                  <a:lnTo>
                    <a:pt x="248" y="1308"/>
                  </a:lnTo>
                  <a:lnTo>
                    <a:pt x="258" y="1296"/>
                  </a:lnTo>
                  <a:lnTo>
                    <a:pt x="266" y="1288"/>
                  </a:lnTo>
                  <a:lnTo>
                    <a:pt x="266" y="1288"/>
                  </a:lnTo>
                  <a:lnTo>
                    <a:pt x="270" y="1282"/>
                  </a:lnTo>
                  <a:lnTo>
                    <a:pt x="272" y="1276"/>
                  </a:lnTo>
                  <a:lnTo>
                    <a:pt x="272" y="1276"/>
                  </a:lnTo>
                  <a:lnTo>
                    <a:pt x="274" y="1264"/>
                  </a:lnTo>
                  <a:lnTo>
                    <a:pt x="280" y="1250"/>
                  </a:lnTo>
                  <a:lnTo>
                    <a:pt x="280" y="1250"/>
                  </a:lnTo>
                  <a:lnTo>
                    <a:pt x="282" y="1244"/>
                  </a:lnTo>
                  <a:lnTo>
                    <a:pt x="288" y="1238"/>
                  </a:lnTo>
                  <a:lnTo>
                    <a:pt x="304" y="1228"/>
                  </a:lnTo>
                  <a:lnTo>
                    <a:pt x="304" y="1228"/>
                  </a:lnTo>
                  <a:lnTo>
                    <a:pt x="310" y="1224"/>
                  </a:lnTo>
                  <a:lnTo>
                    <a:pt x="310" y="1224"/>
                  </a:lnTo>
                  <a:lnTo>
                    <a:pt x="316" y="1216"/>
                  </a:lnTo>
                  <a:lnTo>
                    <a:pt x="318" y="1212"/>
                  </a:lnTo>
                  <a:lnTo>
                    <a:pt x="318" y="1212"/>
                  </a:lnTo>
                  <a:lnTo>
                    <a:pt x="322" y="1206"/>
                  </a:lnTo>
                  <a:lnTo>
                    <a:pt x="326" y="1204"/>
                  </a:lnTo>
                  <a:lnTo>
                    <a:pt x="326" y="1204"/>
                  </a:lnTo>
                  <a:lnTo>
                    <a:pt x="340" y="1204"/>
                  </a:lnTo>
                  <a:lnTo>
                    <a:pt x="342" y="1204"/>
                  </a:lnTo>
                  <a:lnTo>
                    <a:pt x="342" y="1204"/>
                  </a:lnTo>
                  <a:lnTo>
                    <a:pt x="350" y="1202"/>
                  </a:lnTo>
                  <a:lnTo>
                    <a:pt x="358" y="1200"/>
                  </a:lnTo>
                  <a:lnTo>
                    <a:pt x="374" y="1188"/>
                  </a:lnTo>
                  <a:lnTo>
                    <a:pt x="374" y="1188"/>
                  </a:lnTo>
                  <a:lnTo>
                    <a:pt x="380" y="1186"/>
                  </a:lnTo>
                  <a:lnTo>
                    <a:pt x="386" y="1184"/>
                  </a:lnTo>
                  <a:lnTo>
                    <a:pt x="386" y="1184"/>
                  </a:lnTo>
                  <a:lnTo>
                    <a:pt x="390" y="1182"/>
                  </a:lnTo>
                  <a:lnTo>
                    <a:pt x="396" y="1180"/>
                  </a:lnTo>
                  <a:lnTo>
                    <a:pt x="396" y="1180"/>
                  </a:lnTo>
                  <a:lnTo>
                    <a:pt x="402" y="1178"/>
                  </a:lnTo>
                  <a:lnTo>
                    <a:pt x="408" y="1178"/>
                  </a:lnTo>
                  <a:lnTo>
                    <a:pt x="412" y="1180"/>
                  </a:lnTo>
                  <a:lnTo>
                    <a:pt x="412" y="1180"/>
                  </a:lnTo>
                  <a:lnTo>
                    <a:pt x="420" y="1186"/>
                  </a:lnTo>
                  <a:lnTo>
                    <a:pt x="424" y="1192"/>
                  </a:lnTo>
                  <a:lnTo>
                    <a:pt x="436" y="1208"/>
                  </a:lnTo>
                  <a:lnTo>
                    <a:pt x="436" y="1208"/>
                  </a:lnTo>
                  <a:lnTo>
                    <a:pt x="444" y="1220"/>
                  </a:lnTo>
                  <a:lnTo>
                    <a:pt x="446" y="1226"/>
                  </a:lnTo>
                  <a:lnTo>
                    <a:pt x="446" y="1226"/>
                  </a:lnTo>
                  <a:lnTo>
                    <a:pt x="450" y="1232"/>
                  </a:lnTo>
                  <a:lnTo>
                    <a:pt x="456" y="1236"/>
                  </a:lnTo>
                  <a:lnTo>
                    <a:pt x="482" y="1250"/>
                  </a:lnTo>
                  <a:lnTo>
                    <a:pt x="482" y="1250"/>
                  </a:lnTo>
                  <a:lnTo>
                    <a:pt x="488" y="1254"/>
                  </a:lnTo>
                  <a:lnTo>
                    <a:pt x="492" y="1260"/>
                  </a:lnTo>
                  <a:lnTo>
                    <a:pt x="502" y="1274"/>
                  </a:lnTo>
                  <a:lnTo>
                    <a:pt x="502" y="1274"/>
                  </a:lnTo>
                  <a:lnTo>
                    <a:pt x="506" y="1282"/>
                  </a:lnTo>
                  <a:lnTo>
                    <a:pt x="506" y="1290"/>
                  </a:lnTo>
                  <a:lnTo>
                    <a:pt x="506" y="1304"/>
                  </a:lnTo>
                  <a:lnTo>
                    <a:pt x="506" y="1304"/>
                  </a:lnTo>
                  <a:lnTo>
                    <a:pt x="506" y="1312"/>
                  </a:lnTo>
                  <a:lnTo>
                    <a:pt x="508" y="1316"/>
                  </a:lnTo>
                  <a:lnTo>
                    <a:pt x="508" y="1316"/>
                  </a:lnTo>
                  <a:lnTo>
                    <a:pt x="510" y="1316"/>
                  </a:lnTo>
                  <a:lnTo>
                    <a:pt x="512" y="1316"/>
                  </a:lnTo>
                  <a:lnTo>
                    <a:pt x="514" y="1312"/>
                  </a:lnTo>
                  <a:lnTo>
                    <a:pt x="518" y="1302"/>
                  </a:lnTo>
                  <a:lnTo>
                    <a:pt x="518" y="1302"/>
                  </a:lnTo>
                  <a:lnTo>
                    <a:pt x="522" y="1294"/>
                  </a:lnTo>
                  <a:lnTo>
                    <a:pt x="522" y="1294"/>
                  </a:lnTo>
                  <a:lnTo>
                    <a:pt x="524" y="1288"/>
                  </a:lnTo>
                  <a:lnTo>
                    <a:pt x="524" y="1288"/>
                  </a:lnTo>
                  <a:lnTo>
                    <a:pt x="526" y="1282"/>
                  </a:lnTo>
                  <a:lnTo>
                    <a:pt x="528" y="1274"/>
                  </a:lnTo>
                  <a:lnTo>
                    <a:pt x="528" y="1270"/>
                  </a:lnTo>
                  <a:lnTo>
                    <a:pt x="528" y="1270"/>
                  </a:lnTo>
                  <a:lnTo>
                    <a:pt x="528" y="1268"/>
                  </a:lnTo>
                  <a:lnTo>
                    <a:pt x="530" y="1266"/>
                  </a:lnTo>
                  <a:lnTo>
                    <a:pt x="532" y="1266"/>
                  </a:lnTo>
                  <a:lnTo>
                    <a:pt x="534" y="1266"/>
                  </a:lnTo>
                  <a:lnTo>
                    <a:pt x="540" y="1268"/>
                  </a:lnTo>
                  <a:lnTo>
                    <a:pt x="540" y="1268"/>
                  </a:lnTo>
                  <a:lnTo>
                    <a:pt x="552" y="1272"/>
                  </a:lnTo>
                  <a:lnTo>
                    <a:pt x="552" y="1272"/>
                  </a:lnTo>
                  <a:lnTo>
                    <a:pt x="554" y="1272"/>
                  </a:lnTo>
                  <a:lnTo>
                    <a:pt x="554" y="1270"/>
                  </a:lnTo>
                  <a:lnTo>
                    <a:pt x="552" y="1266"/>
                  </a:lnTo>
                  <a:lnTo>
                    <a:pt x="534" y="1248"/>
                  </a:lnTo>
                  <a:lnTo>
                    <a:pt x="534" y="1248"/>
                  </a:lnTo>
                  <a:lnTo>
                    <a:pt x="520" y="1240"/>
                  </a:lnTo>
                  <a:lnTo>
                    <a:pt x="516" y="1236"/>
                  </a:lnTo>
                  <a:lnTo>
                    <a:pt x="516" y="1236"/>
                  </a:lnTo>
                  <a:lnTo>
                    <a:pt x="504" y="1228"/>
                  </a:lnTo>
                  <a:lnTo>
                    <a:pt x="504" y="1228"/>
                  </a:lnTo>
                  <a:lnTo>
                    <a:pt x="494" y="1216"/>
                  </a:lnTo>
                  <a:lnTo>
                    <a:pt x="484" y="1200"/>
                  </a:lnTo>
                  <a:lnTo>
                    <a:pt x="484" y="1200"/>
                  </a:lnTo>
                  <a:lnTo>
                    <a:pt x="476" y="1188"/>
                  </a:lnTo>
                  <a:lnTo>
                    <a:pt x="472" y="1182"/>
                  </a:lnTo>
                  <a:lnTo>
                    <a:pt x="472" y="1182"/>
                  </a:lnTo>
                  <a:lnTo>
                    <a:pt x="470" y="1174"/>
                  </a:lnTo>
                  <a:lnTo>
                    <a:pt x="468" y="1166"/>
                  </a:lnTo>
                  <a:lnTo>
                    <a:pt x="468" y="1164"/>
                  </a:lnTo>
                  <a:lnTo>
                    <a:pt x="468" y="1164"/>
                  </a:lnTo>
                  <a:lnTo>
                    <a:pt x="470" y="1158"/>
                  </a:lnTo>
                  <a:lnTo>
                    <a:pt x="474" y="1156"/>
                  </a:lnTo>
                  <a:lnTo>
                    <a:pt x="474" y="1156"/>
                  </a:lnTo>
                  <a:lnTo>
                    <a:pt x="478" y="1154"/>
                  </a:lnTo>
                  <a:lnTo>
                    <a:pt x="478" y="1154"/>
                  </a:lnTo>
                  <a:lnTo>
                    <a:pt x="478" y="1154"/>
                  </a:lnTo>
                  <a:lnTo>
                    <a:pt x="478" y="1154"/>
                  </a:lnTo>
                  <a:lnTo>
                    <a:pt x="478" y="1154"/>
                  </a:lnTo>
                  <a:lnTo>
                    <a:pt x="478" y="1154"/>
                  </a:lnTo>
                  <a:lnTo>
                    <a:pt x="482" y="1156"/>
                  </a:lnTo>
                  <a:lnTo>
                    <a:pt x="482" y="1156"/>
                  </a:lnTo>
                  <a:lnTo>
                    <a:pt x="488" y="1156"/>
                  </a:lnTo>
                  <a:lnTo>
                    <a:pt x="488" y="1156"/>
                  </a:lnTo>
                  <a:lnTo>
                    <a:pt x="496" y="1162"/>
                  </a:lnTo>
                  <a:lnTo>
                    <a:pt x="502" y="1168"/>
                  </a:lnTo>
                  <a:lnTo>
                    <a:pt x="502" y="1168"/>
                  </a:lnTo>
                  <a:lnTo>
                    <a:pt x="508" y="1176"/>
                  </a:lnTo>
                  <a:lnTo>
                    <a:pt x="510" y="1182"/>
                  </a:lnTo>
                  <a:lnTo>
                    <a:pt x="516" y="1196"/>
                  </a:lnTo>
                  <a:lnTo>
                    <a:pt x="516" y="1196"/>
                  </a:lnTo>
                  <a:lnTo>
                    <a:pt x="520" y="1204"/>
                  </a:lnTo>
                  <a:lnTo>
                    <a:pt x="524" y="1208"/>
                  </a:lnTo>
                  <a:lnTo>
                    <a:pt x="540" y="1220"/>
                  </a:lnTo>
                  <a:lnTo>
                    <a:pt x="540" y="1220"/>
                  </a:lnTo>
                  <a:lnTo>
                    <a:pt x="548" y="1224"/>
                  </a:lnTo>
                  <a:lnTo>
                    <a:pt x="548" y="1224"/>
                  </a:lnTo>
                  <a:lnTo>
                    <a:pt x="552" y="1230"/>
                  </a:lnTo>
                  <a:lnTo>
                    <a:pt x="560" y="1238"/>
                  </a:lnTo>
                  <a:lnTo>
                    <a:pt x="560" y="1238"/>
                  </a:lnTo>
                  <a:lnTo>
                    <a:pt x="564" y="1244"/>
                  </a:lnTo>
                  <a:lnTo>
                    <a:pt x="566" y="1248"/>
                  </a:lnTo>
                  <a:lnTo>
                    <a:pt x="566" y="1248"/>
                  </a:lnTo>
                  <a:lnTo>
                    <a:pt x="570" y="1260"/>
                  </a:lnTo>
                  <a:lnTo>
                    <a:pt x="572" y="1266"/>
                  </a:lnTo>
                  <a:lnTo>
                    <a:pt x="572" y="1266"/>
                  </a:lnTo>
                  <a:lnTo>
                    <a:pt x="576" y="1272"/>
                  </a:lnTo>
                  <a:lnTo>
                    <a:pt x="576" y="1272"/>
                  </a:lnTo>
                  <a:lnTo>
                    <a:pt x="580" y="1280"/>
                  </a:lnTo>
                  <a:lnTo>
                    <a:pt x="584" y="1286"/>
                  </a:lnTo>
                  <a:lnTo>
                    <a:pt x="584" y="1286"/>
                  </a:lnTo>
                  <a:lnTo>
                    <a:pt x="588" y="1290"/>
                  </a:lnTo>
                  <a:lnTo>
                    <a:pt x="594" y="1292"/>
                  </a:lnTo>
                  <a:lnTo>
                    <a:pt x="598" y="1292"/>
                  </a:lnTo>
                  <a:lnTo>
                    <a:pt x="598" y="1292"/>
                  </a:lnTo>
                  <a:lnTo>
                    <a:pt x="602" y="1294"/>
                  </a:lnTo>
                  <a:lnTo>
                    <a:pt x="602" y="1296"/>
                  </a:lnTo>
                  <a:lnTo>
                    <a:pt x="602" y="1298"/>
                  </a:lnTo>
                  <a:lnTo>
                    <a:pt x="602" y="1298"/>
                  </a:lnTo>
                  <a:lnTo>
                    <a:pt x="598" y="1304"/>
                  </a:lnTo>
                  <a:lnTo>
                    <a:pt x="596" y="1310"/>
                  </a:lnTo>
                  <a:lnTo>
                    <a:pt x="596" y="1314"/>
                  </a:lnTo>
                  <a:lnTo>
                    <a:pt x="596" y="1314"/>
                  </a:lnTo>
                  <a:lnTo>
                    <a:pt x="598" y="1320"/>
                  </a:lnTo>
                  <a:lnTo>
                    <a:pt x="604" y="1326"/>
                  </a:lnTo>
                  <a:lnTo>
                    <a:pt x="608" y="1328"/>
                  </a:lnTo>
                  <a:lnTo>
                    <a:pt x="608" y="1328"/>
                  </a:lnTo>
                  <a:lnTo>
                    <a:pt x="616" y="1330"/>
                  </a:lnTo>
                  <a:lnTo>
                    <a:pt x="620" y="1326"/>
                  </a:lnTo>
                  <a:lnTo>
                    <a:pt x="620" y="1326"/>
                  </a:lnTo>
                  <a:lnTo>
                    <a:pt x="624" y="1322"/>
                  </a:lnTo>
                  <a:lnTo>
                    <a:pt x="626" y="1316"/>
                  </a:lnTo>
                  <a:lnTo>
                    <a:pt x="626" y="1316"/>
                  </a:lnTo>
                  <a:lnTo>
                    <a:pt x="628" y="1312"/>
                  </a:lnTo>
                  <a:lnTo>
                    <a:pt x="632" y="1308"/>
                  </a:lnTo>
                  <a:lnTo>
                    <a:pt x="638" y="1306"/>
                  </a:lnTo>
                  <a:lnTo>
                    <a:pt x="638" y="1306"/>
                  </a:lnTo>
                  <a:lnTo>
                    <a:pt x="640" y="1304"/>
                  </a:lnTo>
                  <a:lnTo>
                    <a:pt x="642" y="1302"/>
                  </a:lnTo>
                  <a:lnTo>
                    <a:pt x="640" y="1300"/>
                  </a:lnTo>
                  <a:lnTo>
                    <a:pt x="640" y="1296"/>
                  </a:lnTo>
                  <a:lnTo>
                    <a:pt x="632" y="1288"/>
                  </a:lnTo>
                  <a:lnTo>
                    <a:pt x="632" y="1288"/>
                  </a:lnTo>
                  <a:lnTo>
                    <a:pt x="628" y="1282"/>
                  </a:lnTo>
                  <a:lnTo>
                    <a:pt x="626" y="1278"/>
                  </a:lnTo>
                  <a:lnTo>
                    <a:pt x="626" y="1278"/>
                  </a:lnTo>
                  <a:lnTo>
                    <a:pt x="624" y="1272"/>
                  </a:lnTo>
                  <a:lnTo>
                    <a:pt x="620" y="1268"/>
                  </a:lnTo>
                  <a:lnTo>
                    <a:pt x="620" y="1268"/>
                  </a:lnTo>
                  <a:lnTo>
                    <a:pt x="620" y="1266"/>
                  </a:lnTo>
                  <a:lnTo>
                    <a:pt x="620" y="1264"/>
                  </a:lnTo>
                  <a:lnTo>
                    <a:pt x="624" y="1260"/>
                  </a:lnTo>
                  <a:lnTo>
                    <a:pt x="638" y="1256"/>
                  </a:lnTo>
                  <a:lnTo>
                    <a:pt x="638" y="1256"/>
                  </a:lnTo>
                  <a:lnTo>
                    <a:pt x="652" y="1254"/>
                  </a:lnTo>
                  <a:lnTo>
                    <a:pt x="656" y="1254"/>
                  </a:lnTo>
                  <a:lnTo>
                    <a:pt x="656" y="1254"/>
                  </a:lnTo>
                  <a:lnTo>
                    <a:pt x="664" y="1254"/>
                  </a:lnTo>
                  <a:lnTo>
                    <a:pt x="664" y="1254"/>
                  </a:lnTo>
                  <a:lnTo>
                    <a:pt x="668" y="1260"/>
                  </a:lnTo>
                  <a:lnTo>
                    <a:pt x="670" y="1266"/>
                  </a:lnTo>
                  <a:lnTo>
                    <a:pt x="670" y="1266"/>
                  </a:lnTo>
                  <a:lnTo>
                    <a:pt x="674" y="1272"/>
                  </a:lnTo>
                  <a:lnTo>
                    <a:pt x="674" y="1272"/>
                  </a:lnTo>
                  <a:lnTo>
                    <a:pt x="678" y="1280"/>
                  </a:lnTo>
                  <a:lnTo>
                    <a:pt x="680" y="1284"/>
                  </a:lnTo>
                  <a:lnTo>
                    <a:pt x="680" y="1284"/>
                  </a:lnTo>
                  <a:lnTo>
                    <a:pt x="688" y="1300"/>
                  </a:lnTo>
                  <a:lnTo>
                    <a:pt x="690" y="1304"/>
                  </a:lnTo>
                  <a:lnTo>
                    <a:pt x="690" y="1304"/>
                  </a:lnTo>
                  <a:lnTo>
                    <a:pt x="698" y="1318"/>
                  </a:lnTo>
                  <a:lnTo>
                    <a:pt x="700" y="1324"/>
                  </a:lnTo>
                  <a:lnTo>
                    <a:pt x="700" y="1324"/>
                  </a:lnTo>
                  <a:lnTo>
                    <a:pt x="704" y="1328"/>
                  </a:lnTo>
                  <a:lnTo>
                    <a:pt x="712" y="1330"/>
                  </a:lnTo>
                  <a:lnTo>
                    <a:pt x="734" y="1330"/>
                  </a:lnTo>
                  <a:lnTo>
                    <a:pt x="734" y="1330"/>
                  </a:lnTo>
                  <a:lnTo>
                    <a:pt x="748" y="1330"/>
                  </a:lnTo>
                  <a:lnTo>
                    <a:pt x="748" y="1330"/>
                  </a:lnTo>
                  <a:lnTo>
                    <a:pt x="760" y="1334"/>
                  </a:lnTo>
                  <a:lnTo>
                    <a:pt x="774" y="1338"/>
                  </a:lnTo>
                  <a:lnTo>
                    <a:pt x="774" y="1338"/>
                  </a:lnTo>
                  <a:lnTo>
                    <a:pt x="782" y="1338"/>
                  </a:lnTo>
                  <a:lnTo>
                    <a:pt x="788" y="1338"/>
                  </a:lnTo>
                  <a:lnTo>
                    <a:pt x="794" y="1334"/>
                  </a:lnTo>
                  <a:lnTo>
                    <a:pt x="794" y="1334"/>
                  </a:lnTo>
                  <a:lnTo>
                    <a:pt x="802" y="1332"/>
                  </a:lnTo>
                  <a:lnTo>
                    <a:pt x="808" y="1334"/>
                  </a:lnTo>
                  <a:lnTo>
                    <a:pt x="814" y="1338"/>
                  </a:lnTo>
                  <a:lnTo>
                    <a:pt x="814" y="1338"/>
                  </a:lnTo>
                  <a:lnTo>
                    <a:pt x="820" y="1340"/>
                  </a:lnTo>
                  <a:lnTo>
                    <a:pt x="820" y="1340"/>
                  </a:lnTo>
                  <a:lnTo>
                    <a:pt x="824" y="1348"/>
                  </a:lnTo>
                  <a:lnTo>
                    <a:pt x="826" y="1354"/>
                  </a:lnTo>
                  <a:lnTo>
                    <a:pt x="826" y="1354"/>
                  </a:lnTo>
                  <a:lnTo>
                    <a:pt x="828" y="1360"/>
                  </a:lnTo>
                  <a:lnTo>
                    <a:pt x="828" y="1368"/>
                  </a:lnTo>
                  <a:lnTo>
                    <a:pt x="814" y="1402"/>
                  </a:lnTo>
                  <a:lnTo>
                    <a:pt x="814" y="1402"/>
                  </a:lnTo>
                  <a:lnTo>
                    <a:pt x="810" y="1408"/>
                  </a:lnTo>
                  <a:lnTo>
                    <a:pt x="806" y="1410"/>
                  </a:lnTo>
                  <a:lnTo>
                    <a:pt x="806" y="1410"/>
                  </a:lnTo>
                  <a:lnTo>
                    <a:pt x="802" y="1412"/>
                  </a:lnTo>
                  <a:lnTo>
                    <a:pt x="798" y="1416"/>
                  </a:lnTo>
                  <a:lnTo>
                    <a:pt x="796" y="1422"/>
                  </a:lnTo>
                  <a:lnTo>
                    <a:pt x="796" y="1422"/>
                  </a:lnTo>
                  <a:lnTo>
                    <a:pt x="792" y="1428"/>
                  </a:lnTo>
                  <a:lnTo>
                    <a:pt x="792" y="1428"/>
                  </a:lnTo>
                  <a:lnTo>
                    <a:pt x="786" y="1434"/>
                  </a:lnTo>
                  <a:lnTo>
                    <a:pt x="786" y="1434"/>
                  </a:lnTo>
                  <a:lnTo>
                    <a:pt x="780" y="1438"/>
                  </a:lnTo>
                  <a:lnTo>
                    <a:pt x="774" y="1438"/>
                  </a:lnTo>
                  <a:lnTo>
                    <a:pt x="760" y="1438"/>
                  </a:lnTo>
                  <a:lnTo>
                    <a:pt x="760" y="1438"/>
                  </a:lnTo>
                  <a:lnTo>
                    <a:pt x="754" y="1438"/>
                  </a:lnTo>
                  <a:lnTo>
                    <a:pt x="748" y="1434"/>
                  </a:lnTo>
                  <a:lnTo>
                    <a:pt x="748" y="1434"/>
                  </a:lnTo>
                  <a:lnTo>
                    <a:pt x="742" y="1430"/>
                  </a:lnTo>
                  <a:lnTo>
                    <a:pt x="734" y="1430"/>
                  </a:lnTo>
                  <a:lnTo>
                    <a:pt x="712" y="1436"/>
                  </a:lnTo>
                  <a:lnTo>
                    <a:pt x="712" y="1436"/>
                  </a:lnTo>
                  <a:lnTo>
                    <a:pt x="704" y="1438"/>
                  </a:lnTo>
                  <a:lnTo>
                    <a:pt x="696" y="1436"/>
                  </a:lnTo>
                  <a:lnTo>
                    <a:pt x="682" y="1432"/>
                  </a:lnTo>
                  <a:lnTo>
                    <a:pt x="682" y="1432"/>
                  </a:lnTo>
                  <a:lnTo>
                    <a:pt x="666" y="1428"/>
                  </a:lnTo>
                  <a:lnTo>
                    <a:pt x="662" y="1428"/>
                  </a:lnTo>
                  <a:lnTo>
                    <a:pt x="662" y="1428"/>
                  </a:lnTo>
                  <a:lnTo>
                    <a:pt x="656" y="1428"/>
                  </a:lnTo>
                  <a:lnTo>
                    <a:pt x="650" y="1424"/>
                  </a:lnTo>
                  <a:lnTo>
                    <a:pt x="650" y="1424"/>
                  </a:lnTo>
                  <a:lnTo>
                    <a:pt x="638" y="1416"/>
                  </a:lnTo>
                  <a:lnTo>
                    <a:pt x="632" y="1412"/>
                  </a:lnTo>
                  <a:lnTo>
                    <a:pt x="632" y="1412"/>
                  </a:lnTo>
                  <a:lnTo>
                    <a:pt x="626" y="1410"/>
                  </a:lnTo>
                  <a:lnTo>
                    <a:pt x="618" y="1410"/>
                  </a:lnTo>
                  <a:lnTo>
                    <a:pt x="614" y="1410"/>
                  </a:lnTo>
                  <a:lnTo>
                    <a:pt x="614" y="1410"/>
                  </a:lnTo>
                  <a:lnTo>
                    <a:pt x="598" y="1412"/>
                  </a:lnTo>
                  <a:lnTo>
                    <a:pt x="584" y="1416"/>
                  </a:lnTo>
                  <a:lnTo>
                    <a:pt x="584" y="1416"/>
                  </a:lnTo>
                  <a:lnTo>
                    <a:pt x="578" y="1420"/>
                  </a:lnTo>
                  <a:lnTo>
                    <a:pt x="576" y="1428"/>
                  </a:lnTo>
                  <a:lnTo>
                    <a:pt x="576" y="1430"/>
                  </a:lnTo>
                  <a:lnTo>
                    <a:pt x="576" y="1430"/>
                  </a:lnTo>
                  <a:lnTo>
                    <a:pt x="574" y="1438"/>
                  </a:lnTo>
                  <a:lnTo>
                    <a:pt x="570" y="1442"/>
                  </a:lnTo>
                  <a:lnTo>
                    <a:pt x="554" y="1446"/>
                  </a:lnTo>
                  <a:lnTo>
                    <a:pt x="554" y="1446"/>
                  </a:lnTo>
                  <a:lnTo>
                    <a:pt x="548" y="1446"/>
                  </a:lnTo>
                  <a:lnTo>
                    <a:pt x="542" y="1442"/>
                  </a:lnTo>
                  <a:lnTo>
                    <a:pt x="534" y="1434"/>
                  </a:lnTo>
                  <a:lnTo>
                    <a:pt x="534" y="1434"/>
                  </a:lnTo>
                  <a:lnTo>
                    <a:pt x="522" y="1424"/>
                  </a:lnTo>
                  <a:lnTo>
                    <a:pt x="522" y="1424"/>
                  </a:lnTo>
                  <a:lnTo>
                    <a:pt x="512" y="1414"/>
                  </a:lnTo>
                  <a:lnTo>
                    <a:pt x="512" y="1414"/>
                  </a:lnTo>
                  <a:lnTo>
                    <a:pt x="508" y="1410"/>
                  </a:lnTo>
                  <a:lnTo>
                    <a:pt x="500" y="1410"/>
                  </a:lnTo>
                  <a:lnTo>
                    <a:pt x="476" y="1410"/>
                  </a:lnTo>
                  <a:lnTo>
                    <a:pt x="476" y="1410"/>
                  </a:lnTo>
                  <a:lnTo>
                    <a:pt x="470" y="1408"/>
                  </a:lnTo>
                  <a:lnTo>
                    <a:pt x="462" y="1406"/>
                  </a:lnTo>
                  <a:lnTo>
                    <a:pt x="456" y="1404"/>
                  </a:lnTo>
                  <a:lnTo>
                    <a:pt x="456" y="1404"/>
                  </a:lnTo>
                  <a:lnTo>
                    <a:pt x="442" y="1396"/>
                  </a:lnTo>
                  <a:lnTo>
                    <a:pt x="436" y="1394"/>
                  </a:lnTo>
                  <a:lnTo>
                    <a:pt x="436" y="1394"/>
                  </a:lnTo>
                  <a:lnTo>
                    <a:pt x="424" y="1386"/>
                  </a:lnTo>
                  <a:lnTo>
                    <a:pt x="424" y="1386"/>
                  </a:lnTo>
                  <a:lnTo>
                    <a:pt x="422" y="1380"/>
                  </a:lnTo>
                  <a:lnTo>
                    <a:pt x="424" y="1374"/>
                  </a:lnTo>
                  <a:lnTo>
                    <a:pt x="434" y="1358"/>
                  </a:lnTo>
                  <a:lnTo>
                    <a:pt x="434" y="1358"/>
                  </a:lnTo>
                  <a:lnTo>
                    <a:pt x="436" y="1350"/>
                  </a:lnTo>
                  <a:lnTo>
                    <a:pt x="436" y="1344"/>
                  </a:lnTo>
                  <a:lnTo>
                    <a:pt x="434" y="1338"/>
                  </a:lnTo>
                  <a:lnTo>
                    <a:pt x="434" y="1338"/>
                  </a:lnTo>
                  <a:lnTo>
                    <a:pt x="428" y="1332"/>
                  </a:lnTo>
                  <a:lnTo>
                    <a:pt x="422" y="1328"/>
                  </a:lnTo>
                  <a:lnTo>
                    <a:pt x="418" y="1326"/>
                  </a:lnTo>
                  <a:lnTo>
                    <a:pt x="418" y="1326"/>
                  </a:lnTo>
                  <a:lnTo>
                    <a:pt x="406" y="1322"/>
                  </a:lnTo>
                  <a:lnTo>
                    <a:pt x="406" y="1322"/>
                  </a:lnTo>
                  <a:lnTo>
                    <a:pt x="402" y="1322"/>
                  </a:lnTo>
                  <a:lnTo>
                    <a:pt x="400" y="1324"/>
                  </a:lnTo>
                  <a:lnTo>
                    <a:pt x="400" y="1324"/>
                  </a:lnTo>
                  <a:lnTo>
                    <a:pt x="400" y="1328"/>
                  </a:lnTo>
                  <a:lnTo>
                    <a:pt x="400" y="1328"/>
                  </a:lnTo>
                  <a:lnTo>
                    <a:pt x="400" y="1324"/>
                  </a:lnTo>
                  <a:lnTo>
                    <a:pt x="400" y="1324"/>
                  </a:lnTo>
                  <a:lnTo>
                    <a:pt x="398" y="1324"/>
                  </a:lnTo>
                  <a:lnTo>
                    <a:pt x="396" y="1326"/>
                  </a:lnTo>
                  <a:lnTo>
                    <a:pt x="396" y="1326"/>
                  </a:lnTo>
                  <a:lnTo>
                    <a:pt x="390" y="1330"/>
                  </a:lnTo>
                  <a:lnTo>
                    <a:pt x="382" y="1332"/>
                  </a:lnTo>
                  <a:lnTo>
                    <a:pt x="378" y="1332"/>
                  </a:lnTo>
                  <a:lnTo>
                    <a:pt x="378" y="1332"/>
                  </a:lnTo>
                  <a:lnTo>
                    <a:pt x="362" y="1332"/>
                  </a:lnTo>
                  <a:lnTo>
                    <a:pt x="320" y="1332"/>
                  </a:lnTo>
                  <a:lnTo>
                    <a:pt x="320" y="1332"/>
                  </a:lnTo>
                  <a:lnTo>
                    <a:pt x="312" y="1332"/>
                  </a:lnTo>
                  <a:lnTo>
                    <a:pt x="304" y="1334"/>
                  </a:lnTo>
                  <a:lnTo>
                    <a:pt x="270" y="1348"/>
                  </a:lnTo>
                  <a:lnTo>
                    <a:pt x="270" y="1348"/>
                  </a:lnTo>
                  <a:lnTo>
                    <a:pt x="254" y="1354"/>
                  </a:lnTo>
                  <a:lnTo>
                    <a:pt x="250" y="1358"/>
                  </a:lnTo>
                  <a:lnTo>
                    <a:pt x="250" y="1358"/>
                  </a:lnTo>
                  <a:lnTo>
                    <a:pt x="244" y="1360"/>
                  </a:lnTo>
                  <a:lnTo>
                    <a:pt x="242" y="1362"/>
                  </a:lnTo>
                  <a:lnTo>
                    <a:pt x="242" y="1362"/>
                  </a:lnTo>
                  <a:lnTo>
                    <a:pt x="242" y="1364"/>
                  </a:lnTo>
                  <a:lnTo>
                    <a:pt x="242" y="1364"/>
                  </a:lnTo>
                  <a:lnTo>
                    <a:pt x="242" y="1362"/>
                  </a:lnTo>
                  <a:lnTo>
                    <a:pt x="242" y="1362"/>
                  </a:lnTo>
                  <a:lnTo>
                    <a:pt x="240" y="1362"/>
                  </a:lnTo>
                  <a:lnTo>
                    <a:pt x="238" y="1360"/>
                  </a:lnTo>
                  <a:lnTo>
                    <a:pt x="238" y="1360"/>
                  </a:lnTo>
                  <a:lnTo>
                    <a:pt x="224" y="1360"/>
                  </a:lnTo>
                  <a:lnTo>
                    <a:pt x="220" y="1360"/>
                  </a:lnTo>
                  <a:lnTo>
                    <a:pt x="220" y="1360"/>
                  </a:lnTo>
                  <a:lnTo>
                    <a:pt x="208" y="1360"/>
                  </a:lnTo>
                  <a:lnTo>
                    <a:pt x="208" y="1360"/>
                  </a:lnTo>
                  <a:lnTo>
                    <a:pt x="196" y="1356"/>
                  </a:lnTo>
                  <a:lnTo>
                    <a:pt x="190" y="1354"/>
                  </a:lnTo>
                  <a:lnTo>
                    <a:pt x="190" y="1354"/>
                  </a:lnTo>
                  <a:lnTo>
                    <a:pt x="188" y="1354"/>
                  </a:lnTo>
                  <a:lnTo>
                    <a:pt x="184" y="1354"/>
                  </a:lnTo>
                  <a:lnTo>
                    <a:pt x="182" y="1356"/>
                  </a:lnTo>
                  <a:lnTo>
                    <a:pt x="180" y="1358"/>
                  </a:lnTo>
                  <a:lnTo>
                    <a:pt x="168" y="1374"/>
                  </a:lnTo>
                  <a:lnTo>
                    <a:pt x="168" y="1374"/>
                  </a:lnTo>
                  <a:lnTo>
                    <a:pt x="158" y="1386"/>
                  </a:lnTo>
                  <a:lnTo>
                    <a:pt x="150" y="1394"/>
                  </a:lnTo>
                  <a:lnTo>
                    <a:pt x="150" y="1394"/>
                  </a:lnTo>
                  <a:lnTo>
                    <a:pt x="140" y="1406"/>
                  </a:lnTo>
                  <a:lnTo>
                    <a:pt x="130" y="1422"/>
                  </a:lnTo>
                  <a:lnTo>
                    <a:pt x="130" y="1422"/>
                  </a:lnTo>
                  <a:lnTo>
                    <a:pt x="122" y="1436"/>
                  </a:lnTo>
                  <a:lnTo>
                    <a:pt x="116" y="1460"/>
                  </a:lnTo>
                  <a:lnTo>
                    <a:pt x="116" y="1460"/>
                  </a:lnTo>
                  <a:lnTo>
                    <a:pt x="114" y="1466"/>
                  </a:lnTo>
                  <a:lnTo>
                    <a:pt x="108" y="1472"/>
                  </a:lnTo>
                  <a:lnTo>
                    <a:pt x="82" y="1484"/>
                  </a:lnTo>
                  <a:lnTo>
                    <a:pt x="82" y="1484"/>
                  </a:lnTo>
                  <a:lnTo>
                    <a:pt x="70" y="1492"/>
                  </a:lnTo>
                  <a:lnTo>
                    <a:pt x="70" y="1492"/>
                  </a:lnTo>
                  <a:lnTo>
                    <a:pt x="66" y="1498"/>
                  </a:lnTo>
                  <a:lnTo>
                    <a:pt x="66" y="1498"/>
                  </a:lnTo>
                  <a:lnTo>
                    <a:pt x="62" y="1502"/>
                  </a:lnTo>
                  <a:lnTo>
                    <a:pt x="62" y="1502"/>
                  </a:lnTo>
                  <a:lnTo>
                    <a:pt x="52" y="1514"/>
                  </a:lnTo>
                  <a:lnTo>
                    <a:pt x="32" y="1550"/>
                  </a:lnTo>
                  <a:lnTo>
                    <a:pt x="32" y="1550"/>
                  </a:lnTo>
                  <a:lnTo>
                    <a:pt x="24" y="1564"/>
                  </a:lnTo>
                  <a:lnTo>
                    <a:pt x="12" y="1598"/>
                  </a:lnTo>
                  <a:lnTo>
                    <a:pt x="12" y="1598"/>
                  </a:lnTo>
                  <a:lnTo>
                    <a:pt x="8" y="1606"/>
                  </a:lnTo>
                  <a:lnTo>
                    <a:pt x="8" y="1606"/>
                  </a:lnTo>
                  <a:lnTo>
                    <a:pt x="10" y="1614"/>
                  </a:lnTo>
                  <a:lnTo>
                    <a:pt x="16" y="1626"/>
                  </a:lnTo>
                  <a:lnTo>
                    <a:pt x="16" y="1626"/>
                  </a:lnTo>
                  <a:lnTo>
                    <a:pt x="18" y="1642"/>
                  </a:lnTo>
                  <a:lnTo>
                    <a:pt x="18" y="1666"/>
                  </a:lnTo>
                  <a:lnTo>
                    <a:pt x="18" y="1666"/>
                  </a:lnTo>
                  <a:lnTo>
                    <a:pt x="16" y="1672"/>
                  </a:lnTo>
                  <a:lnTo>
                    <a:pt x="12" y="1678"/>
                  </a:lnTo>
                  <a:lnTo>
                    <a:pt x="12" y="1678"/>
                  </a:lnTo>
                  <a:lnTo>
                    <a:pt x="8" y="1684"/>
                  </a:lnTo>
                  <a:lnTo>
                    <a:pt x="8" y="1684"/>
                  </a:lnTo>
                  <a:lnTo>
                    <a:pt x="8" y="1684"/>
                  </a:lnTo>
                  <a:lnTo>
                    <a:pt x="8" y="1684"/>
                  </a:lnTo>
                  <a:lnTo>
                    <a:pt x="6" y="1692"/>
                  </a:lnTo>
                  <a:lnTo>
                    <a:pt x="0" y="1706"/>
                  </a:lnTo>
                  <a:lnTo>
                    <a:pt x="0" y="1706"/>
                  </a:lnTo>
                  <a:lnTo>
                    <a:pt x="0" y="1712"/>
                  </a:lnTo>
                  <a:lnTo>
                    <a:pt x="0" y="1720"/>
                  </a:lnTo>
                  <a:lnTo>
                    <a:pt x="6" y="1744"/>
                  </a:lnTo>
                  <a:lnTo>
                    <a:pt x="6" y="1744"/>
                  </a:lnTo>
                  <a:lnTo>
                    <a:pt x="8" y="1750"/>
                  </a:lnTo>
                  <a:lnTo>
                    <a:pt x="12" y="1752"/>
                  </a:lnTo>
                  <a:lnTo>
                    <a:pt x="12" y="1752"/>
                  </a:lnTo>
                  <a:lnTo>
                    <a:pt x="18" y="1752"/>
                  </a:lnTo>
                  <a:lnTo>
                    <a:pt x="18" y="1752"/>
                  </a:lnTo>
                  <a:lnTo>
                    <a:pt x="20" y="1752"/>
                  </a:lnTo>
                  <a:lnTo>
                    <a:pt x="20" y="1752"/>
                  </a:lnTo>
                  <a:lnTo>
                    <a:pt x="18" y="1752"/>
                  </a:lnTo>
                  <a:lnTo>
                    <a:pt x="18" y="1752"/>
                  </a:lnTo>
                  <a:lnTo>
                    <a:pt x="20" y="1760"/>
                  </a:lnTo>
                  <a:lnTo>
                    <a:pt x="24" y="1764"/>
                  </a:lnTo>
                  <a:lnTo>
                    <a:pt x="24" y="1764"/>
                  </a:lnTo>
                  <a:lnTo>
                    <a:pt x="26" y="1768"/>
                  </a:lnTo>
                  <a:lnTo>
                    <a:pt x="30" y="1770"/>
                  </a:lnTo>
                  <a:lnTo>
                    <a:pt x="30" y="1770"/>
                  </a:lnTo>
                  <a:lnTo>
                    <a:pt x="32" y="1768"/>
                  </a:lnTo>
                  <a:lnTo>
                    <a:pt x="32" y="1768"/>
                  </a:lnTo>
                  <a:lnTo>
                    <a:pt x="30" y="1770"/>
                  </a:lnTo>
                  <a:lnTo>
                    <a:pt x="30" y="1770"/>
                  </a:lnTo>
                  <a:lnTo>
                    <a:pt x="30" y="1772"/>
                  </a:lnTo>
                  <a:lnTo>
                    <a:pt x="32" y="1772"/>
                  </a:lnTo>
                  <a:lnTo>
                    <a:pt x="32" y="1772"/>
                  </a:lnTo>
                  <a:lnTo>
                    <a:pt x="36" y="1774"/>
                  </a:lnTo>
                  <a:lnTo>
                    <a:pt x="40" y="1778"/>
                  </a:lnTo>
                  <a:lnTo>
                    <a:pt x="52" y="1804"/>
                  </a:lnTo>
                  <a:lnTo>
                    <a:pt x="52" y="1804"/>
                  </a:lnTo>
                  <a:lnTo>
                    <a:pt x="56" y="1810"/>
                  </a:lnTo>
                  <a:lnTo>
                    <a:pt x="56" y="1810"/>
                  </a:lnTo>
                  <a:lnTo>
                    <a:pt x="60" y="1816"/>
                  </a:lnTo>
                  <a:lnTo>
                    <a:pt x="60" y="1816"/>
                  </a:lnTo>
                  <a:lnTo>
                    <a:pt x="72" y="1824"/>
                  </a:lnTo>
                  <a:lnTo>
                    <a:pt x="84" y="1832"/>
                  </a:lnTo>
                  <a:lnTo>
                    <a:pt x="84" y="1832"/>
                  </a:lnTo>
                  <a:lnTo>
                    <a:pt x="94" y="1838"/>
                  </a:lnTo>
                  <a:lnTo>
                    <a:pt x="94" y="1838"/>
                  </a:lnTo>
                  <a:lnTo>
                    <a:pt x="102" y="1844"/>
                  </a:lnTo>
                  <a:lnTo>
                    <a:pt x="128" y="1864"/>
                  </a:lnTo>
                  <a:lnTo>
                    <a:pt x="128" y="1864"/>
                  </a:lnTo>
                  <a:lnTo>
                    <a:pt x="136" y="1868"/>
                  </a:lnTo>
                  <a:lnTo>
                    <a:pt x="142" y="1870"/>
                  </a:lnTo>
                  <a:lnTo>
                    <a:pt x="146" y="1870"/>
                  </a:lnTo>
                  <a:lnTo>
                    <a:pt x="146" y="1870"/>
                  </a:lnTo>
                  <a:lnTo>
                    <a:pt x="152" y="1868"/>
                  </a:lnTo>
                  <a:lnTo>
                    <a:pt x="154" y="1868"/>
                  </a:lnTo>
                  <a:lnTo>
                    <a:pt x="154" y="1868"/>
                  </a:lnTo>
                  <a:lnTo>
                    <a:pt x="154" y="1866"/>
                  </a:lnTo>
                  <a:lnTo>
                    <a:pt x="154" y="1866"/>
                  </a:lnTo>
                  <a:lnTo>
                    <a:pt x="154" y="1868"/>
                  </a:lnTo>
                  <a:lnTo>
                    <a:pt x="154" y="1868"/>
                  </a:lnTo>
                  <a:lnTo>
                    <a:pt x="158" y="1868"/>
                  </a:lnTo>
                  <a:lnTo>
                    <a:pt x="162" y="1870"/>
                  </a:lnTo>
                  <a:lnTo>
                    <a:pt x="166" y="1870"/>
                  </a:lnTo>
                  <a:lnTo>
                    <a:pt x="166" y="1870"/>
                  </a:lnTo>
                  <a:lnTo>
                    <a:pt x="182" y="1868"/>
                  </a:lnTo>
                  <a:lnTo>
                    <a:pt x="206" y="1862"/>
                  </a:lnTo>
                  <a:lnTo>
                    <a:pt x="206" y="1862"/>
                  </a:lnTo>
                  <a:lnTo>
                    <a:pt x="218" y="1860"/>
                  </a:lnTo>
                  <a:lnTo>
                    <a:pt x="218" y="1860"/>
                  </a:lnTo>
                  <a:lnTo>
                    <a:pt x="224" y="1860"/>
                  </a:lnTo>
                  <a:lnTo>
                    <a:pt x="224" y="1860"/>
                  </a:lnTo>
                  <a:lnTo>
                    <a:pt x="232" y="1860"/>
                  </a:lnTo>
                  <a:lnTo>
                    <a:pt x="244" y="1860"/>
                  </a:lnTo>
                  <a:lnTo>
                    <a:pt x="244" y="1860"/>
                  </a:lnTo>
                  <a:lnTo>
                    <a:pt x="260" y="1856"/>
                  </a:lnTo>
                  <a:lnTo>
                    <a:pt x="274" y="1852"/>
                  </a:lnTo>
                  <a:lnTo>
                    <a:pt x="274" y="1852"/>
                  </a:lnTo>
                  <a:lnTo>
                    <a:pt x="282" y="1850"/>
                  </a:lnTo>
                  <a:lnTo>
                    <a:pt x="282" y="1850"/>
                  </a:lnTo>
                  <a:lnTo>
                    <a:pt x="288" y="1844"/>
                  </a:lnTo>
                  <a:lnTo>
                    <a:pt x="294" y="1842"/>
                  </a:lnTo>
                  <a:lnTo>
                    <a:pt x="294" y="1842"/>
                  </a:lnTo>
                  <a:lnTo>
                    <a:pt x="300" y="1838"/>
                  </a:lnTo>
                  <a:lnTo>
                    <a:pt x="300" y="1838"/>
                  </a:lnTo>
                  <a:lnTo>
                    <a:pt x="306" y="1838"/>
                  </a:lnTo>
                  <a:lnTo>
                    <a:pt x="306" y="1838"/>
                  </a:lnTo>
                  <a:lnTo>
                    <a:pt x="312" y="1840"/>
                  </a:lnTo>
                  <a:lnTo>
                    <a:pt x="312" y="1840"/>
                  </a:lnTo>
                  <a:lnTo>
                    <a:pt x="320" y="1840"/>
                  </a:lnTo>
                  <a:lnTo>
                    <a:pt x="322" y="1840"/>
                  </a:lnTo>
                  <a:lnTo>
                    <a:pt x="322" y="1840"/>
                  </a:lnTo>
                  <a:lnTo>
                    <a:pt x="330" y="1842"/>
                  </a:lnTo>
                  <a:lnTo>
                    <a:pt x="334" y="1846"/>
                  </a:lnTo>
                  <a:lnTo>
                    <a:pt x="346" y="1862"/>
                  </a:lnTo>
                  <a:lnTo>
                    <a:pt x="346" y="1862"/>
                  </a:lnTo>
                  <a:lnTo>
                    <a:pt x="352" y="1868"/>
                  </a:lnTo>
                  <a:lnTo>
                    <a:pt x="358" y="1870"/>
                  </a:lnTo>
                  <a:lnTo>
                    <a:pt x="362" y="1870"/>
                  </a:lnTo>
                  <a:lnTo>
                    <a:pt x="362" y="1870"/>
                  </a:lnTo>
                  <a:lnTo>
                    <a:pt x="370" y="1870"/>
                  </a:lnTo>
                  <a:lnTo>
                    <a:pt x="378" y="1874"/>
                  </a:lnTo>
                  <a:lnTo>
                    <a:pt x="384" y="1876"/>
                  </a:lnTo>
                  <a:lnTo>
                    <a:pt x="384" y="1876"/>
                  </a:lnTo>
                  <a:lnTo>
                    <a:pt x="388" y="1878"/>
                  </a:lnTo>
                  <a:lnTo>
                    <a:pt x="392" y="1878"/>
                  </a:lnTo>
                  <a:lnTo>
                    <a:pt x="392" y="1878"/>
                  </a:lnTo>
                  <a:lnTo>
                    <a:pt x="392" y="1876"/>
                  </a:lnTo>
                  <a:lnTo>
                    <a:pt x="392" y="1876"/>
                  </a:lnTo>
                  <a:lnTo>
                    <a:pt x="392" y="1878"/>
                  </a:lnTo>
                  <a:lnTo>
                    <a:pt x="392" y="1878"/>
                  </a:lnTo>
                  <a:lnTo>
                    <a:pt x="394" y="1878"/>
                  </a:lnTo>
                  <a:lnTo>
                    <a:pt x="398" y="1878"/>
                  </a:lnTo>
                  <a:lnTo>
                    <a:pt x="398" y="1878"/>
                  </a:lnTo>
                  <a:lnTo>
                    <a:pt x="404" y="1880"/>
                  </a:lnTo>
                  <a:lnTo>
                    <a:pt x="408" y="1884"/>
                  </a:lnTo>
                  <a:lnTo>
                    <a:pt x="408" y="1884"/>
                  </a:lnTo>
                  <a:lnTo>
                    <a:pt x="410" y="1890"/>
                  </a:lnTo>
                  <a:lnTo>
                    <a:pt x="410" y="1896"/>
                  </a:lnTo>
                  <a:lnTo>
                    <a:pt x="410" y="1900"/>
                  </a:lnTo>
                  <a:lnTo>
                    <a:pt x="410" y="1900"/>
                  </a:lnTo>
                  <a:lnTo>
                    <a:pt x="410" y="1908"/>
                  </a:lnTo>
                  <a:lnTo>
                    <a:pt x="410" y="1908"/>
                  </a:lnTo>
                  <a:lnTo>
                    <a:pt x="410" y="1916"/>
                  </a:lnTo>
                  <a:lnTo>
                    <a:pt x="410" y="1920"/>
                  </a:lnTo>
                  <a:lnTo>
                    <a:pt x="410" y="1920"/>
                  </a:lnTo>
                  <a:lnTo>
                    <a:pt x="410" y="1936"/>
                  </a:lnTo>
                  <a:lnTo>
                    <a:pt x="410" y="1950"/>
                  </a:lnTo>
                  <a:lnTo>
                    <a:pt x="410" y="1950"/>
                  </a:lnTo>
                  <a:lnTo>
                    <a:pt x="412" y="1956"/>
                  </a:lnTo>
                  <a:lnTo>
                    <a:pt x="414" y="1964"/>
                  </a:lnTo>
                  <a:lnTo>
                    <a:pt x="434" y="1990"/>
                  </a:lnTo>
                  <a:lnTo>
                    <a:pt x="434" y="1990"/>
                  </a:lnTo>
                  <a:lnTo>
                    <a:pt x="438" y="1994"/>
                  </a:lnTo>
                  <a:lnTo>
                    <a:pt x="440" y="1994"/>
                  </a:lnTo>
                  <a:lnTo>
                    <a:pt x="440" y="1994"/>
                  </a:lnTo>
                  <a:lnTo>
                    <a:pt x="442" y="1994"/>
                  </a:lnTo>
                  <a:lnTo>
                    <a:pt x="442" y="1994"/>
                  </a:lnTo>
                  <a:lnTo>
                    <a:pt x="440" y="1996"/>
                  </a:lnTo>
                  <a:lnTo>
                    <a:pt x="440" y="1996"/>
                  </a:lnTo>
                  <a:lnTo>
                    <a:pt x="440" y="1998"/>
                  </a:lnTo>
                  <a:lnTo>
                    <a:pt x="444" y="2002"/>
                  </a:lnTo>
                  <a:lnTo>
                    <a:pt x="444" y="2002"/>
                  </a:lnTo>
                  <a:lnTo>
                    <a:pt x="452" y="2014"/>
                  </a:lnTo>
                  <a:lnTo>
                    <a:pt x="456" y="2020"/>
                  </a:lnTo>
                  <a:lnTo>
                    <a:pt x="456" y="2020"/>
                  </a:lnTo>
                  <a:lnTo>
                    <a:pt x="458" y="2026"/>
                  </a:lnTo>
                  <a:lnTo>
                    <a:pt x="458" y="2026"/>
                  </a:lnTo>
                  <a:lnTo>
                    <a:pt x="458" y="2034"/>
                  </a:lnTo>
                  <a:lnTo>
                    <a:pt x="458" y="2038"/>
                  </a:lnTo>
                  <a:lnTo>
                    <a:pt x="458" y="2038"/>
                  </a:lnTo>
                  <a:lnTo>
                    <a:pt x="458" y="2046"/>
                  </a:lnTo>
                  <a:lnTo>
                    <a:pt x="458" y="2046"/>
                  </a:lnTo>
                  <a:lnTo>
                    <a:pt x="460" y="2054"/>
                  </a:lnTo>
                  <a:lnTo>
                    <a:pt x="468" y="2096"/>
                  </a:lnTo>
                  <a:lnTo>
                    <a:pt x="468" y="2096"/>
                  </a:lnTo>
                  <a:lnTo>
                    <a:pt x="472" y="2112"/>
                  </a:lnTo>
                  <a:lnTo>
                    <a:pt x="476" y="2124"/>
                  </a:lnTo>
                  <a:lnTo>
                    <a:pt x="476" y="2124"/>
                  </a:lnTo>
                  <a:lnTo>
                    <a:pt x="478" y="2134"/>
                  </a:lnTo>
                  <a:lnTo>
                    <a:pt x="478" y="2134"/>
                  </a:lnTo>
                  <a:lnTo>
                    <a:pt x="472" y="2144"/>
                  </a:lnTo>
                  <a:lnTo>
                    <a:pt x="462" y="2166"/>
                  </a:lnTo>
                  <a:lnTo>
                    <a:pt x="462" y="2166"/>
                  </a:lnTo>
                  <a:lnTo>
                    <a:pt x="460" y="2172"/>
                  </a:lnTo>
                  <a:lnTo>
                    <a:pt x="458" y="2180"/>
                  </a:lnTo>
                  <a:lnTo>
                    <a:pt x="458" y="2204"/>
                  </a:lnTo>
                  <a:lnTo>
                    <a:pt x="458" y="2204"/>
                  </a:lnTo>
                  <a:lnTo>
                    <a:pt x="460" y="2212"/>
                  </a:lnTo>
                  <a:lnTo>
                    <a:pt x="460" y="2212"/>
                  </a:lnTo>
                  <a:lnTo>
                    <a:pt x="460" y="2210"/>
                  </a:lnTo>
                  <a:lnTo>
                    <a:pt x="460" y="2210"/>
                  </a:lnTo>
                  <a:lnTo>
                    <a:pt x="460" y="2212"/>
                  </a:lnTo>
                  <a:lnTo>
                    <a:pt x="460" y="2212"/>
                  </a:lnTo>
                  <a:lnTo>
                    <a:pt x="456" y="2220"/>
                  </a:lnTo>
                  <a:lnTo>
                    <a:pt x="452" y="2234"/>
                  </a:lnTo>
                  <a:lnTo>
                    <a:pt x="452" y="2234"/>
                  </a:lnTo>
                  <a:lnTo>
                    <a:pt x="450" y="2242"/>
                  </a:lnTo>
                  <a:lnTo>
                    <a:pt x="452" y="2248"/>
                  </a:lnTo>
                  <a:lnTo>
                    <a:pt x="484" y="2302"/>
                  </a:lnTo>
                  <a:lnTo>
                    <a:pt x="484" y="2302"/>
                  </a:lnTo>
                  <a:lnTo>
                    <a:pt x="488" y="2308"/>
                  </a:lnTo>
                  <a:lnTo>
                    <a:pt x="488" y="2314"/>
                  </a:lnTo>
                  <a:lnTo>
                    <a:pt x="488" y="2314"/>
                  </a:lnTo>
                  <a:lnTo>
                    <a:pt x="490" y="2328"/>
                  </a:lnTo>
                  <a:lnTo>
                    <a:pt x="496" y="2380"/>
                  </a:lnTo>
                  <a:lnTo>
                    <a:pt x="496" y="2380"/>
                  </a:lnTo>
                  <a:lnTo>
                    <a:pt x="500" y="2386"/>
                  </a:lnTo>
                  <a:lnTo>
                    <a:pt x="504" y="2392"/>
                  </a:lnTo>
                  <a:lnTo>
                    <a:pt x="520" y="2402"/>
                  </a:lnTo>
                  <a:lnTo>
                    <a:pt x="520" y="2402"/>
                  </a:lnTo>
                  <a:lnTo>
                    <a:pt x="528" y="2406"/>
                  </a:lnTo>
                  <a:lnTo>
                    <a:pt x="528" y="2406"/>
                  </a:lnTo>
                  <a:lnTo>
                    <a:pt x="528" y="2404"/>
                  </a:lnTo>
                  <a:lnTo>
                    <a:pt x="528" y="2404"/>
                  </a:lnTo>
                  <a:lnTo>
                    <a:pt x="528" y="2406"/>
                  </a:lnTo>
                  <a:lnTo>
                    <a:pt x="528" y="2406"/>
                  </a:lnTo>
                  <a:lnTo>
                    <a:pt x="532" y="2414"/>
                  </a:lnTo>
                  <a:lnTo>
                    <a:pt x="534" y="2420"/>
                  </a:lnTo>
                  <a:lnTo>
                    <a:pt x="534" y="2420"/>
                  </a:lnTo>
                  <a:lnTo>
                    <a:pt x="540" y="2434"/>
                  </a:lnTo>
                  <a:lnTo>
                    <a:pt x="546" y="2458"/>
                  </a:lnTo>
                  <a:lnTo>
                    <a:pt x="546" y="2458"/>
                  </a:lnTo>
                  <a:lnTo>
                    <a:pt x="548" y="2474"/>
                  </a:lnTo>
                  <a:lnTo>
                    <a:pt x="548" y="2478"/>
                  </a:lnTo>
                  <a:lnTo>
                    <a:pt x="548" y="2478"/>
                  </a:lnTo>
                  <a:lnTo>
                    <a:pt x="548" y="2486"/>
                  </a:lnTo>
                  <a:lnTo>
                    <a:pt x="552" y="2492"/>
                  </a:lnTo>
                  <a:lnTo>
                    <a:pt x="562" y="2508"/>
                  </a:lnTo>
                  <a:lnTo>
                    <a:pt x="562" y="2508"/>
                  </a:lnTo>
                  <a:lnTo>
                    <a:pt x="568" y="2512"/>
                  </a:lnTo>
                  <a:lnTo>
                    <a:pt x="574" y="2514"/>
                  </a:lnTo>
                  <a:lnTo>
                    <a:pt x="598" y="2508"/>
                  </a:lnTo>
                  <a:lnTo>
                    <a:pt x="598" y="2508"/>
                  </a:lnTo>
                  <a:lnTo>
                    <a:pt x="614" y="2504"/>
                  </a:lnTo>
                  <a:lnTo>
                    <a:pt x="638" y="2498"/>
                  </a:lnTo>
                  <a:lnTo>
                    <a:pt x="638" y="2498"/>
                  </a:lnTo>
                  <a:lnTo>
                    <a:pt x="654" y="2496"/>
                  </a:lnTo>
                  <a:lnTo>
                    <a:pt x="676" y="2496"/>
                  </a:lnTo>
                  <a:lnTo>
                    <a:pt x="676" y="2496"/>
                  </a:lnTo>
                  <a:lnTo>
                    <a:pt x="684" y="2494"/>
                  </a:lnTo>
                  <a:lnTo>
                    <a:pt x="690" y="2490"/>
                  </a:lnTo>
                  <a:lnTo>
                    <a:pt x="748" y="2424"/>
                  </a:lnTo>
                  <a:lnTo>
                    <a:pt x="748" y="2424"/>
                  </a:lnTo>
                  <a:lnTo>
                    <a:pt x="756" y="2410"/>
                  </a:lnTo>
                  <a:lnTo>
                    <a:pt x="770" y="2376"/>
                  </a:lnTo>
                  <a:lnTo>
                    <a:pt x="770" y="2376"/>
                  </a:lnTo>
                  <a:lnTo>
                    <a:pt x="770" y="2370"/>
                  </a:lnTo>
                  <a:lnTo>
                    <a:pt x="770" y="2368"/>
                  </a:lnTo>
                  <a:lnTo>
                    <a:pt x="770" y="2368"/>
                  </a:lnTo>
                  <a:lnTo>
                    <a:pt x="768" y="2368"/>
                  </a:lnTo>
                  <a:lnTo>
                    <a:pt x="768" y="2368"/>
                  </a:lnTo>
                  <a:lnTo>
                    <a:pt x="770" y="2368"/>
                  </a:lnTo>
                  <a:lnTo>
                    <a:pt x="770" y="2368"/>
                  </a:lnTo>
                  <a:lnTo>
                    <a:pt x="772" y="2366"/>
                  </a:lnTo>
                  <a:lnTo>
                    <a:pt x="772" y="2364"/>
                  </a:lnTo>
                  <a:lnTo>
                    <a:pt x="772" y="2364"/>
                  </a:lnTo>
                  <a:lnTo>
                    <a:pt x="774" y="2358"/>
                  </a:lnTo>
                  <a:lnTo>
                    <a:pt x="778" y="2354"/>
                  </a:lnTo>
                  <a:lnTo>
                    <a:pt x="806" y="2334"/>
                  </a:lnTo>
                  <a:lnTo>
                    <a:pt x="806" y="2334"/>
                  </a:lnTo>
                  <a:lnTo>
                    <a:pt x="810" y="2328"/>
                  </a:lnTo>
                  <a:lnTo>
                    <a:pt x="814" y="2322"/>
                  </a:lnTo>
                  <a:lnTo>
                    <a:pt x="818" y="2308"/>
                  </a:lnTo>
                  <a:lnTo>
                    <a:pt x="818" y="2308"/>
                  </a:lnTo>
                  <a:lnTo>
                    <a:pt x="820" y="2300"/>
                  </a:lnTo>
                  <a:lnTo>
                    <a:pt x="820" y="2292"/>
                  </a:lnTo>
                  <a:lnTo>
                    <a:pt x="814" y="2268"/>
                  </a:lnTo>
                  <a:lnTo>
                    <a:pt x="814" y="2268"/>
                  </a:lnTo>
                  <a:lnTo>
                    <a:pt x="814" y="2260"/>
                  </a:lnTo>
                  <a:lnTo>
                    <a:pt x="816" y="2254"/>
                  </a:lnTo>
                  <a:lnTo>
                    <a:pt x="826" y="2238"/>
                  </a:lnTo>
                  <a:lnTo>
                    <a:pt x="826" y="2238"/>
                  </a:lnTo>
                  <a:lnTo>
                    <a:pt x="832" y="2232"/>
                  </a:lnTo>
                  <a:lnTo>
                    <a:pt x="838" y="2228"/>
                  </a:lnTo>
                  <a:lnTo>
                    <a:pt x="874" y="2206"/>
                  </a:lnTo>
                  <a:lnTo>
                    <a:pt x="874" y="2206"/>
                  </a:lnTo>
                  <a:lnTo>
                    <a:pt x="880" y="2202"/>
                  </a:lnTo>
                  <a:lnTo>
                    <a:pt x="884" y="2194"/>
                  </a:lnTo>
                  <a:lnTo>
                    <a:pt x="886" y="2190"/>
                  </a:lnTo>
                  <a:lnTo>
                    <a:pt x="886" y="2190"/>
                  </a:lnTo>
                  <a:lnTo>
                    <a:pt x="894" y="2176"/>
                  </a:lnTo>
                  <a:lnTo>
                    <a:pt x="896" y="2170"/>
                  </a:lnTo>
                  <a:lnTo>
                    <a:pt x="896" y="2170"/>
                  </a:lnTo>
                  <a:lnTo>
                    <a:pt x="898" y="2162"/>
                  </a:lnTo>
                  <a:lnTo>
                    <a:pt x="898" y="2156"/>
                  </a:lnTo>
                  <a:lnTo>
                    <a:pt x="892" y="2132"/>
                  </a:lnTo>
                  <a:lnTo>
                    <a:pt x="892" y="2132"/>
                  </a:lnTo>
                  <a:lnTo>
                    <a:pt x="890" y="2116"/>
                  </a:lnTo>
                  <a:lnTo>
                    <a:pt x="890" y="2112"/>
                  </a:lnTo>
                  <a:lnTo>
                    <a:pt x="890" y="2112"/>
                  </a:lnTo>
                  <a:lnTo>
                    <a:pt x="890" y="2108"/>
                  </a:lnTo>
                  <a:lnTo>
                    <a:pt x="888" y="2106"/>
                  </a:lnTo>
                  <a:lnTo>
                    <a:pt x="888" y="2106"/>
                  </a:lnTo>
                  <a:lnTo>
                    <a:pt x="886" y="2108"/>
                  </a:lnTo>
                  <a:lnTo>
                    <a:pt x="886" y="2108"/>
                  </a:lnTo>
                  <a:lnTo>
                    <a:pt x="888" y="2106"/>
                  </a:lnTo>
                  <a:lnTo>
                    <a:pt x="888" y="2106"/>
                  </a:lnTo>
                  <a:lnTo>
                    <a:pt x="888" y="2102"/>
                  </a:lnTo>
                  <a:lnTo>
                    <a:pt x="886" y="2098"/>
                  </a:lnTo>
                  <a:lnTo>
                    <a:pt x="886" y="2098"/>
                  </a:lnTo>
                  <a:lnTo>
                    <a:pt x="882" y="2094"/>
                  </a:lnTo>
                  <a:lnTo>
                    <a:pt x="880" y="2086"/>
                  </a:lnTo>
                  <a:lnTo>
                    <a:pt x="880" y="2054"/>
                  </a:lnTo>
                  <a:lnTo>
                    <a:pt x="880" y="2054"/>
                  </a:lnTo>
                  <a:lnTo>
                    <a:pt x="880" y="2046"/>
                  </a:lnTo>
                  <a:lnTo>
                    <a:pt x="876" y="2038"/>
                  </a:lnTo>
                  <a:lnTo>
                    <a:pt x="874" y="2032"/>
                  </a:lnTo>
                  <a:lnTo>
                    <a:pt x="874" y="2032"/>
                  </a:lnTo>
                  <a:lnTo>
                    <a:pt x="872" y="2026"/>
                  </a:lnTo>
                  <a:lnTo>
                    <a:pt x="876" y="2020"/>
                  </a:lnTo>
                  <a:lnTo>
                    <a:pt x="876" y="2020"/>
                  </a:lnTo>
                  <a:lnTo>
                    <a:pt x="880" y="2016"/>
                  </a:lnTo>
                  <a:lnTo>
                    <a:pt x="880" y="2016"/>
                  </a:lnTo>
                  <a:lnTo>
                    <a:pt x="880" y="2016"/>
                  </a:lnTo>
                  <a:lnTo>
                    <a:pt x="880" y="2016"/>
                  </a:lnTo>
                  <a:lnTo>
                    <a:pt x="880" y="2016"/>
                  </a:lnTo>
                  <a:lnTo>
                    <a:pt x="880" y="2016"/>
                  </a:lnTo>
                  <a:lnTo>
                    <a:pt x="880" y="2016"/>
                  </a:lnTo>
                  <a:lnTo>
                    <a:pt x="880" y="2016"/>
                  </a:lnTo>
                  <a:lnTo>
                    <a:pt x="880" y="2012"/>
                  </a:lnTo>
                  <a:lnTo>
                    <a:pt x="880" y="2012"/>
                  </a:lnTo>
                  <a:lnTo>
                    <a:pt x="882" y="2006"/>
                  </a:lnTo>
                  <a:lnTo>
                    <a:pt x="884" y="2000"/>
                  </a:lnTo>
                  <a:lnTo>
                    <a:pt x="894" y="1984"/>
                  </a:lnTo>
                  <a:lnTo>
                    <a:pt x="894" y="1984"/>
                  </a:lnTo>
                  <a:lnTo>
                    <a:pt x="900" y="1978"/>
                  </a:lnTo>
                  <a:lnTo>
                    <a:pt x="906" y="1974"/>
                  </a:lnTo>
                  <a:lnTo>
                    <a:pt x="912" y="1970"/>
                  </a:lnTo>
                  <a:lnTo>
                    <a:pt x="912" y="1970"/>
                  </a:lnTo>
                  <a:lnTo>
                    <a:pt x="918" y="1968"/>
                  </a:lnTo>
                  <a:lnTo>
                    <a:pt x="918" y="1968"/>
                  </a:lnTo>
                  <a:lnTo>
                    <a:pt x="922" y="1960"/>
                  </a:lnTo>
                  <a:lnTo>
                    <a:pt x="934" y="1936"/>
                  </a:lnTo>
                  <a:lnTo>
                    <a:pt x="934" y="1936"/>
                  </a:lnTo>
                  <a:lnTo>
                    <a:pt x="940" y="1930"/>
                  </a:lnTo>
                  <a:lnTo>
                    <a:pt x="946" y="1924"/>
                  </a:lnTo>
                  <a:lnTo>
                    <a:pt x="970" y="1912"/>
                  </a:lnTo>
                  <a:lnTo>
                    <a:pt x="970" y="1912"/>
                  </a:lnTo>
                  <a:lnTo>
                    <a:pt x="984" y="1902"/>
                  </a:lnTo>
                  <a:lnTo>
                    <a:pt x="1012" y="1874"/>
                  </a:lnTo>
                  <a:lnTo>
                    <a:pt x="1012" y="1874"/>
                  </a:lnTo>
                  <a:lnTo>
                    <a:pt x="1016" y="1868"/>
                  </a:lnTo>
                  <a:lnTo>
                    <a:pt x="1020" y="1862"/>
                  </a:lnTo>
                  <a:lnTo>
                    <a:pt x="1044" y="1808"/>
                  </a:lnTo>
                  <a:lnTo>
                    <a:pt x="1044" y="1808"/>
                  </a:lnTo>
                  <a:lnTo>
                    <a:pt x="1048" y="1792"/>
                  </a:lnTo>
                  <a:lnTo>
                    <a:pt x="1054" y="1770"/>
                  </a:lnTo>
                  <a:lnTo>
                    <a:pt x="1054" y="1770"/>
                  </a:lnTo>
                  <a:lnTo>
                    <a:pt x="1054" y="1766"/>
                  </a:lnTo>
                  <a:lnTo>
                    <a:pt x="1054" y="1764"/>
                  </a:lnTo>
                  <a:lnTo>
                    <a:pt x="1050" y="1764"/>
                  </a:lnTo>
                  <a:lnTo>
                    <a:pt x="1048" y="1764"/>
                  </a:lnTo>
                  <a:lnTo>
                    <a:pt x="976" y="1780"/>
                  </a:lnTo>
                  <a:lnTo>
                    <a:pt x="976" y="1780"/>
                  </a:lnTo>
                  <a:lnTo>
                    <a:pt x="968" y="1780"/>
                  </a:lnTo>
                  <a:lnTo>
                    <a:pt x="960" y="1778"/>
                  </a:lnTo>
                  <a:lnTo>
                    <a:pt x="956" y="1774"/>
                  </a:lnTo>
                  <a:lnTo>
                    <a:pt x="956" y="1774"/>
                  </a:lnTo>
                  <a:lnTo>
                    <a:pt x="944" y="1766"/>
                  </a:lnTo>
                  <a:lnTo>
                    <a:pt x="944" y="1766"/>
                  </a:lnTo>
                  <a:lnTo>
                    <a:pt x="934" y="1754"/>
                  </a:lnTo>
                  <a:lnTo>
                    <a:pt x="904" y="1710"/>
                  </a:lnTo>
                  <a:lnTo>
                    <a:pt x="904" y="1710"/>
                  </a:lnTo>
                  <a:lnTo>
                    <a:pt x="898" y="1704"/>
                  </a:lnTo>
                  <a:lnTo>
                    <a:pt x="892" y="1700"/>
                  </a:lnTo>
                  <a:lnTo>
                    <a:pt x="886" y="1696"/>
                  </a:lnTo>
                  <a:lnTo>
                    <a:pt x="886" y="1696"/>
                  </a:lnTo>
                  <a:lnTo>
                    <a:pt x="880" y="1692"/>
                  </a:lnTo>
                  <a:lnTo>
                    <a:pt x="876" y="1686"/>
                  </a:lnTo>
                  <a:lnTo>
                    <a:pt x="864" y="1670"/>
                  </a:lnTo>
                  <a:lnTo>
                    <a:pt x="864" y="1670"/>
                  </a:lnTo>
                  <a:lnTo>
                    <a:pt x="860" y="1664"/>
                  </a:lnTo>
                  <a:lnTo>
                    <a:pt x="860" y="1664"/>
                  </a:lnTo>
                  <a:lnTo>
                    <a:pt x="858" y="1656"/>
                  </a:lnTo>
                  <a:lnTo>
                    <a:pt x="852" y="1642"/>
                  </a:lnTo>
                  <a:lnTo>
                    <a:pt x="852" y="1642"/>
                  </a:lnTo>
                  <a:lnTo>
                    <a:pt x="848" y="1626"/>
                  </a:lnTo>
                  <a:lnTo>
                    <a:pt x="842" y="1602"/>
                  </a:lnTo>
                  <a:lnTo>
                    <a:pt x="842" y="1602"/>
                  </a:lnTo>
                  <a:lnTo>
                    <a:pt x="840" y="1596"/>
                  </a:lnTo>
                  <a:lnTo>
                    <a:pt x="834" y="1590"/>
                  </a:lnTo>
                  <a:lnTo>
                    <a:pt x="826" y="1582"/>
                  </a:lnTo>
                  <a:lnTo>
                    <a:pt x="826" y="1582"/>
                  </a:lnTo>
                  <a:lnTo>
                    <a:pt x="822" y="1574"/>
                  </a:lnTo>
                  <a:lnTo>
                    <a:pt x="818" y="1568"/>
                  </a:lnTo>
                  <a:lnTo>
                    <a:pt x="814" y="1544"/>
                  </a:lnTo>
                  <a:lnTo>
                    <a:pt x="814" y="1544"/>
                  </a:lnTo>
                  <a:lnTo>
                    <a:pt x="808" y="1530"/>
                  </a:lnTo>
                  <a:lnTo>
                    <a:pt x="796" y="1504"/>
                  </a:lnTo>
                  <a:lnTo>
                    <a:pt x="796" y="1504"/>
                  </a:lnTo>
                  <a:lnTo>
                    <a:pt x="786" y="1492"/>
                  </a:lnTo>
                  <a:lnTo>
                    <a:pt x="768" y="1474"/>
                  </a:lnTo>
                  <a:lnTo>
                    <a:pt x="768" y="1474"/>
                  </a:lnTo>
                  <a:lnTo>
                    <a:pt x="766" y="1470"/>
                  </a:lnTo>
                  <a:lnTo>
                    <a:pt x="770" y="1472"/>
                  </a:lnTo>
                  <a:lnTo>
                    <a:pt x="794" y="1484"/>
                  </a:lnTo>
                  <a:lnTo>
                    <a:pt x="794" y="1484"/>
                  </a:lnTo>
                  <a:lnTo>
                    <a:pt x="798" y="1484"/>
                  </a:lnTo>
                  <a:lnTo>
                    <a:pt x="800" y="1484"/>
                  </a:lnTo>
                  <a:lnTo>
                    <a:pt x="804" y="1482"/>
                  </a:lnTo>
                  <a:lnTo>
                    <a:pt x="804" y="1480"/>
                  </a:lnTo>
                  <a:lnTo>
                    <a:pt x="808" y="1476"/>
                  </a:lnTo>
                  <a:lnTo>
                    <a:pt x="808" y="1476"/>
                  </a:lnTo>
                  <a:lnTo>
                    <a:pt x="810" y="1474"/>
                  </a:lnTo>
                  <a:lnTo>
                    <a:pt x="810" y="1472"/>
                  </a:lnTo>
                  <a:lnTo>
                    <a:pt x="812" y="1474"/>
                  </a:lnTo>
                  <a:lnTo>
                    <a:pt x="814" y="1476"/>
                  </a:lnTo>
                  <a:lnTo>
                    <a:pt x="818" y="1480"/>
                  </a:lnTo>
                  <a:lnTo>
                    <a:pt x="818" y="1480"/>
                  </a:lnTo>
                  <a:lnTo>
                    <a:pt x="824" y="1494"/>
                  </a:lnTo>
                  <a:lnTo>
                    <a:pt x="856" y="1550"/>
                  </a:lnTo>
                  <a:lnTo>
                    <a:pt x="856" y="1550"/>
                  </a:lnTo>
                  <a:lnTo>
                    <a:pt x="866" y="1562"/>
                  </a:lnTo>
                  <a:lnTo>
                    <a:pt x="874" y="1570"/>
                  </a:lnTo>
                  <a:lnTo>
                    <a:pt x="874" y="1570"/>
                  </a:lnTo>
                  <a:lnTo>
                    <a:pt x="878" y="1576"/>
                  </a:lnTo>
                  <a:lnTo>
                    <a:pt x="882" y="1584"/>
                  </a:lnTo>
                  <a:lnTo>
                    <a:pt x="886" y="1598"/>
                  </a:lnTo>
                  <a:lnTo>
                    <a:pt x="886" y="1598"/>
                  </a:lnTo>
                  <a:lnTo>
                    <a:pt x="892" y="1614"/>
                  </a:lnTo>
                  <a:lnTo>
                    <a:pt x="898" y="1636"/>
                  </a:lnTo>
                  <a:lnTo>
                    <a:pt x="898" y="1636"/>
                  </a:lnTo>
                  <a:lnTo>
                    <a:pt x="900" y="1644"/>
                  </a:lnTo>
                  <a:lnTo>
                    <a:pt x="904" y="1650"/>
                  </a:lnTo>
                  <a:lnTo>
                    <a:pt x="924" y="1668"/>
                  </a:lnTo>
                  <a:lnTo>
                    <a:pt x="924" y="1668"/>
                  </a:lnTo>
                  <a:lnTo>
                    <a:pt x="928" y="1674"/>
                  </a:lnTo>
                  <a:lnTo>
                    <a:pt x="928" y="1678"/>
                  </a:lnTo>
                  <a:lnTo>
                    <a:pt x="928" y="1678"/>
                  </a:lnTo>
                  <a:lnTo>
                    <a:pt x="928" y="1684"/>
                  </a:lnTo>
                  <a:lnTo>
                    <a:pt x="928" y="1684"/>
                  </a:lnTo>
                  <a:lnTo>
                    <a:pt x="932" y="1690"/>
                  </a:lnTo>
                  <a:lnTo>
                    <a:pt x="936" y="1696"/>
                  </a:lnTo>
                  <a:lnTo>
                    <a:pt x="936" y="1696"/>
                  </a:lnTo>
                  <a:lnTo>
                    <a:pt x="942" y="1710"/>
                  </a:lnTo>
                  <a:lnTo>
                    <a:pt x="954" y="1736"/>
                  </a:lnTo>
                  <a:lnTo>
                    <a:pt x="954" y="1736"/>
                  </a:lnTo>
                  <a:lnTo>
                    <a:pt x="960" y="1740"/>
                  </a:lnTo>
                  <a:lnTo>
                    <a:pt x="966" y="1740"/>
                  </a:lnTo>
                  <a:lnTo>
                    <a:pt x="980" y="1736"/>
                  </a:lnTo>
                  <a:lnTo>
                    <a:pt x="980" y="1736"/>
                  </a:lnTo>
                  <a:lnTo>
                    <a:pt x="996" y="1732"/>
                  </a:lnTo>
                  <a:lnTo>
                    <a:pt x="1000" y="1732"/>
                  </a:lnTo>
                  <a:lnTo>
                    <a:pt x="1000" y="1732"/>
                  </a:lnTo>
                  <a:lnTo>
                    <a:pt x="1006" y="1732"/>
                  </a:lnTo>
                  <a:lnTo>
                    <a:pt x="1012" y="1728"/>
                  </a:lnTo>
                  <a:lnTo>
                    <a:pt x="1020" y="1718"/>
                  </a:lnTo>
                  <a:lnTo>
                    <a:pt x="1020" y="1718"/>
                  </a:lnTo>
                  <a:lnTo>
                    <a:pt x="1028" y="1714"/>
                  </a:lnTo>
                  <a:lnTo>
                    <a:pt x="1034" y="1710"/>
                  </a:lnTo>
                  <a:lnTo>
                    <a:pt x="1048" y="1706"/>
                  </a:lnTo>
                  <a:lnTo>
                    <a:pt x="1048" y="1706"/>
                  </a:lnTo>
                  <a:lnTo>
                    <a:pt x="1064" y="1700"/>
                  </a:lnTo>
                  <a:lnTo>
                    <a:pt x="1088" y="1688"/>
                  </a:lnTo>
                  <a:lnTo>
                    <a:pt x="1088" y="1688"/>
                  </a:lnTo>
                  <a:lnTo>
                    <a:pt x="1096" y="1684"/>
                  </a:lnTo>
                  <a:lnTo>
                    <a:pt x="1096" y="1684"/>
                  </a:lnTo>
                  <a:lnTo>
                    <a:pt x="1102" y="1680"/>
                  </a:lnTo>
                  <a:lnTo>
                    <a:pt x="1128" y="1668"/>
                  </a:lnTo>
                  <a:lnTo>
                    <a:pt x="1128" y="1668"/>
                  </a:lnTo>
                  <a:lnTo>
                    <a:pt x="1134" y="1664"/>
                  </a:lnTo>
                  <a:lnTo>
                    <a:pt x="1140" y="1658"/>
                  </a:lnTo>
                  <a:lnTo>
                    <a:pt x="1158" y="1632"/>
                  </a:lnTo>
                  <a:lnTo>
                    <a:pt x="1158" y="1632"/>
                  </a:lnTo>
                  <a:lnTo>
                    <a:pt x="1168" y="1618"/>
                  </a:lnTo>
                  <a:lnTo>
                    <a:pt x="1170" y="1612"/>
                  </a:lnTo>
                  <a:lnTo>
                    <a:pt x="1170" y="1612"/>
                  </a:lnTo>
                  <a:lnTo>
                    <a:pt x="1180" y="1600"/>
                  </a:lnTo>
                  <a:lnTo>
                    <a:pt x="1188" y="1592"/>
                  </a:lnTo>
                  <a:lnTo>
                    <a:pt x="1188" y="1592"/>
                  </a:lnTo>
                  <a:lnTo>
                    <a:pt x="1188" y="1588"/>
                  </a:lnTo>
                  <a:lnTo>
                    <a:pt x="1190" y="1586"/>
                  </a:lnTo>
                  <a:lnTo>
                    <a:pt x="1188" y="1584"/>
                  </a:lnTo>
                  <a:lnTo>
                    <a:pt x="1186" y="1582"/>
                  </a:lnTo>
                  <a:lnTo>
                    <a:pt x="1160" y="1562"/>
                  </a:lnTo>
                  <a:lnTo>
                    <a:pt x="1160" y="1562"/>
                  </a:lnTo>
                  <a:lnTo>
                    <a:pt x="1154" y="1558"/>
                  </a:lnTo>
                  <a:lnTo>
                    <a:pt x="1148" y="1556"/>
                  </a:lnTo>
                  <a:lnTo>
                    <a:pt x="1148" y="1556"/>
                  </a:lnTo>
                  <a:lnTo>
                    <a:pt x="1144" y="1554"/>
                  </a:lnTo>
                  <a:lnTo>
                    <a:pt x="1140" y="1548"/>
                  </a:lnTo>
                  <a:lnTo>
                    <a:pt x="1138" y="1544"/>
                  </a:lnTo>
                  <a:lnTo>
                    <a:pt x="1138" y="1544"/>
                  </a:lnTo>
                  <a:lnTo>
                    <a:pt x="1132" y="1540"/>
                  </a:lnTo>
                  <a:lnTo>
                    <a:pt x="1126" y="1538"/>
                  </a:lnTo>
                  <a:lnTo>
                    <a:pt x="1102" y="1544"/>
                  </a:lnTo>
                  <a:lnTo>
                    <a:pt x="1102" y="1544"/>
                  </a:lnTo>
                  <a:lnTo>
                    <a:pt x="1096" y="1544"/>
                  </a:lnTo>
                  <a:lnTo>
                    <a:pt x="1088" y="1542"/>
                  </a:lnTo>
                  <a:lnTo>
                    <a:pt x="1082" y="1540"/>
                  </a:lnTo>
                  <a:lnTo>
                    <a:pt x="1082" y="1540"/>
                  </a:lnTo>
                  <a:lnTo>
                    <a:pt x="1076" y="1536"/>
                  </a:lnTo>
                  <a:lnTo>
                    <a:pt x="1076" y="1536"/>
                  </a:lnTo>
                  <a:lnTo>
                    <a:pt x="1070" y="1536"/>
                  </a:lnTo>
                  <a:lnTo>
                    <a:pt x="1070" y="1536"/>
                  </a:lnTo>
                  <a:lnTo>
                    <a:pt x="1058" y="1534"/>
                  </a:lnTo>
                  <a:lnTo>
                    <a:pt x="1054" y="1530"/>
                  </a:lnTo>
                  <a:lnTo>
                    <a:pt x="1054" y="1530"/>
                  </a:lnTo>
                  <a:lnTo>
                    <a:pt x="1048" y="1526"/>
                  </a:lnTo>
                  <a:lnTo>
                    <a:pt x="1044" y="1520"/>
                  </a:lnTo>
                  <a:lnTo>
                    <a:pt x="1040" y="1506"/>
                  </a:lnTo>
                  <a:lnTo>
                    <a:pt x="1040" y="1506"/>
                  </a:lnTo>
                  <a:lnTo>
                    <a:pt x="1036" y="1498"/>
                  </a:lnTo>
                  <a:lnTo>
                    <a:pt x="1032" y="1492"/>
                  </a:lnTo>
                  <a:lnTo>
                    <a:pt x="1022" y="1484"/>
                  </a:lnTo>
                  <a:lnTo>
                    <a:pt x="1022" y="1484"/>
                  </a:lnTo>
                  <a:lnTo>
                    <a:pt x="1018" y="1478"/>
                  </a:lnTo>
                  <a:lnTo>
                    <a:pt x="1018" y="1478"/>
                  </a:lnTo>
                  <a:lnTo>
                    <a:pt x="1018" y="1472"/>
                  </a:lnTo>
                  <a:lnTo>
                    <a:pt x="1018" y="1472"/>
                  </a:lnTo>
                  <a:lnTo>
                    <a:pt x="1018" y="1468"/>
                  </a:lnTo>
                  <a:lnTo>
                    <a:pt x="1022" y="1462"/>
                  </a:lnTo>
                  <a:lnTo>
                    <a:pt x="1022" y="1462"/>
                  </a:lnTo>
                  <a:lnTo>
                    <a:pt x="1026" y="1458"/>
                  </a:lnTo>
                  <a:lnTo>
                    <a:pt x="1026" y="1458"/>
                  </a:lnTo>
                  <a:lnTo>
                    <a:pt x="1026" y="1452"/>
                  </a:lnTo>
                  <a:lnTo>
                    <a:pt x="1026" y="1452"/>
                  </a:lnTo>
                  <a:lnTo>
                    <a:pt x="1026" y="1452"/>
                  </a:lnTo>
                  <a:lnTo>
                    <a:pt x="1028" y="1452"/>
                  </a:lnTo>
                  <a:lnTo>
                    <a:pt x="1032" y="1454"/>
                  </a:lnTo>
                  <a:lnTo>
                    <a:pt x="1040" y="1462"/>
                  </a:lnTo>
                  <a:lnTo>
                    <a:pt x="1040" y="1462"/>
                  </a:lnTo>
                  <a:lnTo>
                    <a:pt x="1052" y="1474"/>
                  </a:lnTo>
                  <a:lnTo>
                    <a:pt x="1060" y="1482"/>
                  </a:lnTo>
                  <a:lnTo>
                    <a:pt x="1060" y="1482"/>
                  </a:lnTo>
                  <a:lnTo>
                    <a:pt x="1072" y="1492"/>
                  </a:lnTo>
                  <a:lnTo>
                    <a:pt x="1088" y="1504"/>
                  </a:lnTo>
                  <a:lnTo>
                    <a:pt x="1088" y="1504"/>
                  </a:lnTo>
                  <a:lnTo>
                    <a:pt x="1102" y="1510"/>
                  </a:lnTo>
                  <a:lnTo>
                    <a:pt x="1116" y="1514"/>
                  </a:lnTo>
                  <a:lnTo>
                    <a:pt x="1116" y="1514"/>
                  </a:lnTo>
                  <a:lnTo>
                    <a:pt x="1124" y="1516"/>
                  </a:lnTo>
                  <a:lnTo>
                    <a:pt x="1132" y="1514"/>
                  </a:lnTo>
                  <a:lnTo>
                    <a:pt x="1136" y="1510"/>
                  </a:lnTo>
                  <a:lnTo>
                    <a:pt x="1136" y="1510"/>
                  </a:lnTo>
                  <a:lnTo>
                    <a:pt x="1144" y="1510"/>
                  </a:lnTo>
                  <a:lnTo>
                    <a:pt x="1150" y="1514"/>
                  </a:lnTo>
                  <a:lnTo>
                    <a:pt x="1158" y="1522"/>
                  </a:lnTo>
                  <a:lnTo>
                    <a:pt x="1158" y="1522"/>
                  </a:lnTo>
                  <a:lnTo>
                    <a:pt x="1164" y="1526"/>
                  </a:lnTo>
                  <a:lnTo>
                    <a:pt x="1172" y="1530"/>
                  </a:lnTo>
                  <a:lnTo>
                    <a:pt x="1206" y="1544"/>
                  </a:lnTo>
                  <a:lnTo>
                    <a:pt x="1206" y="1544"/>
                  </a:lnTo>
                  <a:lnTo>
                    <a:pt x="1218" y="1546"/>
                  </a:lnTo>
                  <a:lnTo>
                    <a:pt x="1218" y="1546"/>
                  </a:lnTo>
                  <a:lnTo>
                    <a:pt x="1222" y="1546"/>
                  </a:lnTo>
                  <a:lnTo>
                    <a:pt x="1222" y="1546"/>
                  </a:lnTo>
                  <a:lnTo>
                    <a:pt x="1230" y="1544"/>
                  </a:lnTo>
                  <a:lnTo>
                    <a:pt x="1244" y="1538"/>
                  </a:lnTo>
                  <a:lnTo>
                    <a:pt x="1244" y="1538"/>
                  </a:lnTo>
                  <a:lnTo>
                    <a:pt x="1260" y="1536"/>
                  </a:lnTo>
                  <a:lnTo>
                    <a:pt x="1292" y="1536"/>
                  </a:lnTo>
                  <a:lnTo>
                    <a:pt x="1292" y="1536"/>
                  </a:lnTo>
                  <a:lnTo>
                    <a:pt x="1300" y="1538"/>
                  </a:lnTo>
                  <a:lnTo>
                    <a:pt x="1306" y="1544"/>
                  </a:lnTo>
                  <a:lnTo>
                    <a:pt x="1316" y="1558"/>
                  </a:lnTo>
                  <a:lnTo>
                    <a:pt x="1316" y="1558"/>
                  </a:lnTo>
                  <a:lnTo>
                    <a:pt x="1320" y="1566"/>
                  </a:lnTo>
                  <a:lnTo>
                    <a:pt x="1320" y="1566"/>
                  </a:lnTo>
                  <a:lnTo>
                    <a:pt x="1326" y="1572"/>
                  </a:lnTo>
                  <a:lnTo>
                    <a:pt x="1336" y="1588"/>
                  </a:lnTo>
                  <a:lnTo>
                    <a:pt x="1336" y="1588"/>
                  </a:lnTo>
                  <a:lnTo>
                    <a:pt x="1346" y="1602"/>
                  </a:lnTo>
                  <a:lnTo>
                    <a:pt x="1354" y="1610"/>
                  </a:lnTo>
                  <a:lnTo>
                    <a:pt x="1354" y="1610"/>
                  </a:lnTo>
                  <a:lnTo>
                    <a:pt x="1360" y="1612"/>
                  </a:lnTo>
                  <a:lnTo>
                    <a:pt x="1366" y="1610"/>
                  </a:lnTo>
                  <a:lnTo>
                    <a:pt x="1382" y="1600"/>
                  </a:lnTo>
                  <a:lnTo>
                    <a:pt x="1382" y="1600"/>
                  </a:lnTo>
                  <a:lnTo>
                    <a:pt x="1386" y="1598"/>
                  </a:lnTo>
                  <a:lnTo>
                    <a:pt x="1388" y="1600"/>
                  </a:lnTo>
                  <a:lnTo>
                    <a:pt x="1390" y="1600"/>
                  </a:lnTo>
                  <a:lnTo>
                    <a:pt x="1390" y="1604"/>
                  </a:lnTo>
                  <a:lnTo>
                    <a:pt x="1398" y="1676"/>
                  </a:lnTo>
                  <a:lnTo>
                    <a:pt x="1398" y="1676"/>
                  </a:lnTo>
                  <a:lnTo>
                    <a:pt x="1402" y="1692"/>
                  </a:lnTo>
                  <a:lnTo>
                    <a:pt x="1408" y="1714"/>
                  </a:lnTo>
                  <a:lnTo>
                    <a:pt x="1408" y="1714"/>
                  </a:lnTo>
                  <a:lnTo>
                    <a:pt x="1414" y="1730"/>
                  </a:lnTo>
                  <a:lnTo>
                    <a:pt x="1434" y="1764"/>
                  </a:lnTo>
                  <a:lnTo>
                    <a:pt x="1434" y="1764"/>
                  </a:lnTo>
                  <a:lnTo>
                    <a:pt x="1442" y="1778"/>
                  </a:lnTo>
                  <a:lnTo>
                    <a:pt x="1444" y="1784"/>
                  </a:lnTo>
                  <a:lnTo>
                    <a:pt x="1444" y="1784"/>
                  </a:lnTo>
                  <a:lnTo>
                    <a:pt x="1452" y="1798"/>
                  </a:lnTo>
                  <a:lnTo>
                    <a:pt x="1464" y="1814"/>
                  </a:lnTo>
                  <a:lnTo>
                    <a:pt x="1464" y="1814"/>
                  </a:lnTo>
                  <a:lnTo>
                    <a:pt x="1466" y="1816"/>
                  </a:lnTo>
                  <a:lnTo>
                    <a:pt x="1468" y="1816"/>
                  </a:lnTo>
                  <a:lnTo>
                    <a:pt x="1470" y="1816"/>
                  </a:lnTo>
                  <a:lnTo>
                    <a:pt x="1472" y="1814"/>
                  </a:lnTo>
                  <a:lnTo>
                    <a:pt x="1474" y="1808"/>
                  </a:lnTo>
                  <a:lnTo>
                    <a:pt x="1474" y="1808"/>
                  </a:lnTo>
                  <a:lnTo>
                    <a:pt x="1484" y="1796"/>
                  </a:lnTo>
                  <a:lnTo>
                    <a:pt x="1492" y="1786"/>
                  </a:lnTo>
                  <a:lnTo>
                    <a:pt x="1492" y="1786"/>
                  </a:lnTo>
                  <a:lnTo>
                    <a:pt x="1500" y="1774"/>
                  </a:lnTo>
                  <a:lnTo>
                    <a:pt x="1504" y="1768"/>
                  </a:lnTo>
                  <a:lnTo>
                    <a:pt x="1504" y="1768"/>
                  </a:lnTo>
                  <a:lnTo>
                    <a:pt x="1506" y="1762"/>
                  </a:lnTo>
                  <a:lnTo>
                    <a:pt x="1506" y="1754"/>
                  </a:lnTo>
                  <a:lnTo>
                    <a:pt x="1506" y="1730"/>
                  </a:lnTo>
                  <a:lnTo>
                    <a:pt x="1506" y="1730"/>
                  </a:lnTo>
                  <a:lnTo>
                    <a:pt x="1510" y="1716"/>
                  </a:lnTo>
                  <a:lnTo>
                    <a:pt x="1514" y="1700"/>
                  </a:lnTo>
                  <a:lnTo>
                    <a:pt x="1514" y="1700"/>
                  </a:lnTo>
                  <a:lnTo>
                    <a:pt x="1518" y="1694"/>
                  </a:lnTo>
                  <a:lnTo>
                    <a:pt x="1522" y="1688"/>
                  </a:lnTo>
                  <a:lnTo>
                    <a:pt x="1540" y="1670"/>
                  </a:lnTo>
                  <a:lnTo>
                    <a:pt x="1540" y="1670"/>
                  </a:lnTo>
                  <a:lnTo>
                    <a:pt x="1554" y="1660"/>
                  </a:lnTo>
                  <a:lnTo>
                    <a:pt x="1578" y="1648"/>
                  </a:lnTo>
                  <a:lnTo>
                    <a:pt x="1578" y="1648"/>
                  </a:lnTo>
                  <a:lnTo>
                    <a:pt x="1590" y="1638"/>
                  </a:lnTo>
                  <a:lnTo>
                    <a:pt x="1598" y="1630"/>
                  </a:lnTo>
                  <a:lnTo>
                    <a:pt x="1598" y="1630"/>
                  </a:lnTo>
                  <a:lnTo>
                    <a:pt x="1604" y="1624"/>
                  </a:lnTo>
                  <a:lnTo>
                    <a:pt x="1608" y="1618"/>
                  </a:lnTo>
                  <a:lnTo>
                    <a:pt x="1612" y="1604"/>
                  </a:lnTo>
                  <a:lnTo>
                    <a:pt x="1612" y="1604"/>
                  </a:lnTo>
                  <a:lnTo>
                    <a:pt x="1616" y="1598"/>
                  </a:lnTo>
                  <a:lnTo>
                    <a:pt x="1622" y="1596"/>
                  </a:lnTo>
                  <a:lnTo>
                    <a:pt x="1636" y="1596"/>
                  </a:lnTo>
                  <a:lnTo>
                    <a:pt x="1636" y="1596"/>
                  </a:lnTo>
                  <a:lnTo>
                    <a:pt x="1644" y="1596"/>
                  </a:lnTo>
                  <a:lnTo>
                    <a:pt x="1644" y="1596"/>
                  </a:lnTo>
                  <a:lnTo>
                    <a:pt x="1652" y="1592"/>
                  </a:lnTo>
                  <a:lnTo>
                    <a:pt x="1666" y="1588"/>
                  </a:lnTo>
                  <a:lnTo>
                    <a:pt x="1666" y="1588"/>
                  </a:lnTo>
                  <a:lnTo>
                    <a:pt x="1676" y="1586"/>
                  </a:lnTo>
                  <a:lnTo>
                    <a:pt x="1676" y="1586"/>
                  </a:lnTo>
                  <a:lnTo>
                    <a:pt x="1686" y="1588"/>
                  </a:lnTo>
                  <a:lnTo>
                    <a:pt x="1688" y="1590"/>
                  </a:lnTo>
                  <a:lnTo>
                    <a:pt x="1688" y="1590"/>
                  </a:lnTo>
                  <a:lnTo>
                    <a:pt x="1694" y="1594"/>
                  </a:lnTo>
                  <a:lnTo>
                    <a:pt x="1700" y="1598"/>
                  </a:lnTo>
                  <a:lnTo>
                    <a:pt x="1700" y="1598"/>
                  </a:lnTo>
                  <a:lnTo>
                    <a:pt x="1702" y="1604"/>
                  </a:lnTo>
                  <a:lnTo>
                    <a:pt x="1702" y="1604"/>
                  </a:lnTo>
                  <a:lnTo>
                    <a:pt x="1706" y="1612"/>
                  </a:lnTo>
                  <a:lnTo>
                    <a:pt x="1708" y="1618"/>
                  </a:lnTo>
                  <a:lnTo>
                    <a:pt x="1708" y="1618"/>
                  </a:lnTo>
                  <a:lnTo>
                    <a:pt x="1714" y="1632"/>
                  </a:lnTo>
                  <a:lnTo>
                    <a:pt x="1728" y="1676"/>
                  </a:lnTo>
                  <a:lnTo>
                    <a:pt x="1728" y="1676"/>
                  </a:lnTo>
                  <a:lnTo>
                    <a:pt x="1732" y="1682"/>
                  </a:lnTo>
                  <a:lnTo>
                    <a:pt x="1738" y="1688"/>
                  </a:lnTo>
                  <a:lnTo>
                    <a:pt x="1744" y="1690"/>
                  </a:lnTo>
                  <a:lnTo>
                    <a:pt x="1744" y="1690"/>
                  </a:lnTo>
                  <a:lnTo>
                    <a:pt x="1750" y="1692"/>
                  </a:lnTo>
                  <a:lnTo>
                    <a:pt x="1758" y="1690"/>
                  </a:lnTo>
                  <a:lnTo>
                    <a:pt x="1764" y="1688"/>
                  </a:lnTo>
                  <a:lnTo>
                    <a:pt x="1764" y="1688"/>
                  </a:lnTo>
                  <a:lnTo>
                    <a:pt x="1770" y="1686"/>
                  </a:lnTo>
                  <a:lnTo>
                    <a:pt x="1776" y="1688"/>
                  </a:lnTo>
                  <a:lnTo>
                    <a:pt x="1776" y="1688"/>
                  </a:lnTo>
                  <a:lnTo>
                    <a:pt x="1780" y="1694"/>
                  </a:lnTo>
                  <a:lnTo>
                    <a:pt x="1782" y="1700"/>
                  </a:lnTo>
                  <a:lnTo>
                    <a:pt x="1788" y="1716"/>
                  </a:lnTo>
                  <a:lnTo>
                    <a:pt x="1788" y="1716"/>
                  </a:lnTo>
                  <a:lnTo>
                    <a:pt x="1790" y="1730"/>
                  </a:lnTo>
                  <a:lnTo>
                    <a:pt x="1790" y="1754"/>
                  </a:lnTo>
                  <a:lnTo>
                    <a:pt x="1790" y="1754"/>
                  </a:lnTo>
                  <a:lnTo>
                    <a:pt x="1790" y="1770"/>
                  </a:lnTo>
                  <a:lnTo>
                    <a:pt x="1790" y="1802"/>
                  </a:lnTo>
                  <a:lnTo>
                    <a:pt x="1790" y="1802"/>
                  </a:lnTo>
                  <a:lnTo>
                    <a:pt x="1792" y="1810"/>
                  </a:lnTo>
                  <a:lnTo>
                    <a:pt x="1796" y="1816"/>
                  </a:lnTo>
                  <a:lnTo>
                    <a:pt x="1804" y="1824"/>
                  </a:lnTo>
                  <a:lnTo>
                    <a:pt x="1804" y="1824"/>
                  </a:lnTo>
                  <a:lnTo>
                    <a:pt x="1814" y="1838"/>
                  </a:lnTo>
                  <a:lnTo>
                    <a:pt x="1816" y="1842"/>
                  </a:lnTo>
                  <a:lnTo>
                    <a:pt x="1816" y="1842"/>
                  </a:lnTo>
                  <a:lnTo>
                    <a:pt x="1822" y="1858"/>
                  </a:lnTo>
                  <a:lnTo>
                    <a:pt x="1826" y="1862"/>
                  </a:lnTo>
                  <a:lnTo>
                    <a:pt x="1826" y="1862"/>
                  </a:lnTo>
                  <a:lnTo>
                    <a:pt x="1834" y="1876"/>
                  </a:lnTo>
                  <a:lnTo>
                    <a:pt x="1842" y="1884"/>
                  </a:lnTo>
                  <a:lnTo>
                    <a:pt x="1842" y="1884"/>
                  </a:lnTo>
                  <a:lnTo>
                    <a:pt x="1854" y="1894"/>
                  </a:lnTo>
                  <a:lnTo>
                    <a:pt x="1872" y="1912"/>
                  </a:lnTo>
                  <a:lnTo>
                    <a:pt x="1872" y="1912"/>
                  </a:lnTo>
                  <a:lnTo>
                    <a:pt x="1878" y="1916"/>
                  </a:lnTo>
                  <a:lnTo>
                    <a:pt x="1880" y="1914"/>
                  </a:lnTo>
                  <a:lnTo>
                    <a:pt x="1884" y="1914"/>
                  </a:lnTo>
                  <a:lnTo>
                    <a:pt x="1884" y="1914"/>
                  </a:lnTo>
                  <a:lnTo>
                    <a:pt x="1886" y="1908"/>
                  </a:lnTo>
                  <a:lnTo>
                    <a:pt x="1886" y="1900"/>
                  </a:lnTo>
                  <a:lnTo>
                    <a:pt x="1880" y="1886"/>
                  </a:lnTo>
                  <a:lnTo>
                    <a:pt x="1880" y="1886"/>
                  </a:lnTo>
                  <a:lnTo>
                    <a:pt x="1874" y="1872"/>
                  </a:lnTo>
                  <a:lnTo>
                    <a:pt x="1872" y="1866"/>
                  </a:lnTo>
                  <a:lnTo>
                    <a:pt x="1872" y="1866"/>
                  </a:lnTo>
                  <a:lnTo>
                    <a:pt x="1862" y="1854"/>
                  </a:lnTo>
                  <a:lnTo>
                    <a:pt x="1854" y="1846"/>
                  </a:lnTo>
                  <a:lnTo>
                    <a:pt x="1854" y="1846"/>
                  </a:lnTo>
                  <a:lnTo>
                    <a:pt x="1842" y="1836"/>
                  </a:lnTo>
                  <a:lnTo>
                    <a:pt x="1836" y="1834"/>
                  </a:lnTo>
                  <a:lnTo>
                    <a:pt x="1836" y="1834"/>
                  </a:lnTo>
                  <a:lnTo>
                    <a:pt x="1824" y="1826"/>
                  </a:lnTo>
                  <a:lnTo>
                    <a:pt x="1824" y="1826"/>
                  </a:lnTo>
                  <a:lnTo>
                    <a:pt x="1820" y="1820"/>
                  </a:lnTo>
                  <a:lnTo>
                    <a:pt x="1818" y="1812"/>
                  </a:lnTo>
                  <a:lnTo>
                    <a:pt x="1812" y="1790"/>
                  </a:lnTo>
                  <a:lnTo>
                    <a:pt x="1812" y="1790"/>
                  </a:lnTo>
                  <a:lnTo>
                    <a:pt x="1810" y="1774"/>
                  </a:lnTo>
                  <a:lnTo>
                    <a:pt x="1810" y="1770"/>
                  </a:lnTo>
                  <a:lnTo>
                    <a:pt x="1810" y="1770"/>
                  </a:lnTo>
                  <a:lnTo>
                    <a:pt x="1812" y="1754"/>
                  </a:lnTo>
                  <a:lnTo>
                    <a:pt x="1816" y="1740"/>
                  </a:lnTo>
                  <a:lnTo>
                    <a:pt x="1816" y="1740"/>
                  </a:lnTo>
                  <a:lnTo>
                    <a:pt x="1818" y="1736"/>
                  </a:lnTo>
                  <a:lnTo>
                    <a:pt x="1820" y="1734"/>
                  </a:lnTo>
                  <a:lnTo>
                    <a:pt x="1824" y="1734"/>
                  </a:lnTo>
                  <a:lnTo>
                    <a:pt x="1826" y="1734"/>
                  </a:lnTo>
                  <a:lnTo>
                    <a:pt x="1842" y="1740"/>
                  </a:lnTo>
                  <a:lnTo>
                    <a:pt x="1842" y="1740"/>
                  </a:lnTo>
                  <a:lnTo>
                    <a:pt x="1848" y="1742"/>
                  </a:lnTo>
                  <a:lnTo>
                    <a:pt x="1854" y="1746"/>
                  </a:lnTo>
                  <a:lnTo>
                    <a:pt x="1854" y="1746"/>
                  </a:lnTo>
                  <a:lnTo>
                    <a:pt x="1858" y="1752"/>
                  </a:lnTo>
                  <a:lnTo>
                    <a:pt x="1858" y="1752"/>
                  </a:lnTo>
                  <a:lnTo>
                    <a:pt x="1864" y="1758"/>
                  </a:lnTo>
                  <a:lnTo>
                    <a:pt x="1872" y="1766"/>
                  </a:lnTo>
                  <a:lnTo>
                    <a:pt x="1872" y="1766"/>
                  </a:lnTo>
                  <a:lnTo>
                    <a:pt x="1884" y="1776"/>
                  </a:lnTo>
                  <a:lnTo>
                    <a:pt x="1884" y="1776"/>
                  </a:lnTo>
                  <a:lnTo>
                    <a:pt x="1888" y="1782"/>
                  </a:lnTo>
                  <a:lnTo>
                    <a:pt x="1888" y="1782"/>
                  </a:lnTo>
                  <a:lnTo>
                    <a:pt x="1894" y="1780"/>
                  </a:lnTo>
                  <a:lnTo>
                    <a:pt x="1894" y="1780"/>
                  </a:lnTo>
                  <a:lnTo>
                    <a:pt x="1898" y="1782"/>
                  </a:lnTo>
                  <a:lnTo>
                    <a:pt x="1902" y="1788"/>
                  </a:lnTo>
                  <a:lnTo>
                    <a:pt x="1904" y="1794"/>
                  </a:lnTo>
                  <a:lnTo>
                    <a:pt x="1904" y="1794"/>
                  </a:lnTo>
                  <a:lnTo>
                    <a:pt x="1906" y="1796"/>
                  </a:lnTo>
                  <a:lnTo>
                    <a:pt x="1908" y="1798"/>
                  </a:lnTo>
                  <a:lnTo>
                    <a:pt x="1912" y="1798"/>
                  </a:lnTo>
                  <a:lnTo>
                    <a:pt x="1914" y="1796"/>
                  </a:lnTo>
                  <a:lnTo>
                    <a:pt x="1940" y="1776"/>
                  </a:lnTo>
                  <a:lnTo>
                    <a:pt x="1940" y="1776"/>
                  </a:lnTo>
                  <a:lnTo>
                    <a:pt x="1952" y="1766"/>
                  </a:lnTo>
                  <a:lnTo>
                    <a:pt x="1962" y="1758"/>
                  </a:lnTo>
                  <a:lnTo>
                    <a:pt x="1962" y="1758"/>
                  </a:lnTo>
                  <a:lnTo>
                    <a:pt x="1964" y="1752"/>
                  </a:lnTo>
                  <a:lnTo>
                    <a:pt x="1964" y="1744"/>
                  </a:lnTo>
                  <a:lnTo>
                    <a:pt x="1950" y="1690"/>
                  </a:lnTo>
                  <a:lnTo>
                    <a:pt x="1950" y="1690"/>
                  </a:lnTo>
                  <a:lnTo>
                    <a:pt x="1946" y="1684"/>
                  </a:lnTo>
                  <a:lnTo>
                    <a:pt x="1942" y="1678"/>
                  </a:lnTo>
                  <a:lnTo>
                    <a:pt x="1942" y="1678"/>
                  </a:lnTo>
                  <a:lnTo>
                    <a:pt x="1932" y="1666"/>
                  </a:lnTo>
                  <a:lnTo>
                    <a:pt x="1922" y="1650"/>
                  </a:lnTo>
                  <a:lnTo>
                    <a:pt x="1922" y="1650"/>
                  </a:lnTo>
                  <a:lnTo>
                    <a:pt x="1914" y="1636"/>
                  </a:lnTo>
                  <a:lnTo>
                    <a:pt x="1912" y="1632"/>
                  </a:lnTo>
                  <a:lnTo>
                    <a:pt x="1912" y="1632"/>
                  </a:lnTo>
                  <a:lnTo>
                    <a:pt x="1910" y="1626"/>
                  </a:lnTo>
                  <a:lnTo>
                    <a:pt x="1912" y="1620"/>
                  </a:lnTo>
                  <a:lnTo>
                    <a:pt x="1912" y="1620"/>
                  </a:lnTo>
                  <a:lnTo>
                    <a:pt x="1924" y="1612"/>
                  </a:lnTo>
                  <a:lnTo>
                    <a:pt x="1930" y="1608"/>
                  </a:lnTo>
                  <a:lnTo>
                    <a:pt x="1930" y="1608"/>
                  </a:lnTo>
                  <a:lnTo>
                    <a:pt x="1942" y="1606"/>
                  </a:lnTo>
                  <a:lnTo>
                    <a:pt x="1942" y="1606"/>
                  </a:lnTo>
                  <a:lnTo>
                    <a:pt x="1948" y="1606"/>
                  </a:lnTo>
                  <a:lnTo>
                    <a:pt x="1954" y="1610"/>
                  </a:lnTo>
                  <a:lnTo>
                    <a:pt x="1970" y="1620"/>
                  </a:lnTo>
                  <a:lnTo>
                    <a:pt x="1970" y="1620"/>
                  </a:lnTo>
                  <a:lnTo>
                    <a:pt x="1972" y="1622"/>
                  </a:lnTo>
                  <a:lnTo>
                    <a:pt x="1974" y="1620"/>
                  </a:lnTo>
                  <a:lnTo>
                    <a:pt x="1976" y="1620"/>
                  </a:lnTo>
                  <a:lnTo>
                    <a:pt x="1976" y="1616"/>
                  </a:lnTo>
                  <a:lnTo>
                    <a:pt x="1976" y="1614"/>
                  </a:lnTo>
                  <a:lnTo>
                    <a:pt x="1976" y="1614"/>
                  </a:lnTo>
                  <a:lnTo>
                    <a:pt x="1978" y="1606"/>
                  </a:lnTo>
                  <a:lnTo>
                    <a:pt x="1984" y="1604"/>
                  </a:lnTo>
                  <a:lnTo>
                    <a:pt x="2008" y="1598"/>
                  </a:lnTo>
                  <a:lnTo>
                    <a:pt x="2008" y="1598"/>
                  </a:lnTo>
                  <a:lnTo>
                    <a:pt x="2014" y="1594"/>
                  </a:lnTo>
                  <a:lnTo>
                    <a:pt x="2020" y="1590"/>
                  </a:lnTo>
                  <a:lnTo>
                    <a:pt x="2020" y="1590"/>
                  </a:lnTo>
                  <a:lnTo>
                    <a:pt x="2024" y="1586"/>
                  </a:lnTo>
                  <a:lnTo>
                    <a:pt x="2030" y="1586"/>
                  </a:lnTo>
                  <a:lnTo>
                    <a:pt x="2030" y="1586"/>
                  </a:lnTo>
                  <a:lnTo>
                    <a:pt x="2040" y="1586"/>
                  </a:lnTo>
                  <a:lnTo>
                    <a:pt x="2040" y="1586"/>
                  </a:lnTo>
                  <a:lnTo>
                    <a:pt x="2052" y="1582"/>
                  </a:lnTo>
                  <a:lnTo>
                    <a:pt x="2056" y="1580"/>
                  </a:lnTo>
                  <a:lnTo>
                    <a:pt x="2056" y="1580"/>
                  </a:lnTo>
                  <a:lnTo>
                    <a:pt x="2072" y="1572"/>
                  </a:lnTo>
                  <a:lnTo>
                    <a:pt x="2076" y="1570"/>
                  </a:lnTo>
                  <a:lnTo>
                    <a:pt x="2076" y="1570"/>
                  </a:lnTo>
                  <a:lnTo>
                    <a:pt x="2090" y="1562"/>
                  </a:lnTo>
                  <a:lnTo>
                    <a:pt x="2106" y="1550"/>
                  </a:lnTo>
                  <a:lnTo>
                    <a:pt x="2106" y="1550"/>
                  </a:lnTo>
                  <a:lnTo>
                    <a:pt x="2112" y="1546"/>
                  </a:lnTo>
                  <a:lnTo>
                    <a:pt x="2116" y="1540"/>
                  </a:lnTo>
                  <a:lnTo>
                    <a:pt x="2120" y="1534"/>
                  </a:lnTo>
                  <a:lnTo>
                    <a:pt x="2120" y="1534"/>
                  </a:lnTo>
                  <a:lnTo>
                    <a:pt x="2126" y="1520"/>
                  </a:lnTo>
                  <a:lnTo>
                    <a:pt x="2130" y="1514"/>
                  </a:lnTo>
                  <a:lnTo>
                    <a:pt x="2130" y="1514"/>
                  </a:lnTo>
                  <a:lnTo>
                    <a:pt x="2138" y="1500"/>
                  </a:lnTo>
                  <a:lnTo>
                    <a:pt x="2148" y="1484"/>
                  </a:lnTo>
                  <a:lnTo>
                    <a:pt x="2148" y="1484"/>
                  </a:lnTo>
                  <a:lnTo>
                    <a:pt x="2150" y="1478"/>
                  </a:lnTo>
                  <a:lnTo>
                    <a:pt x="2152" y="1470"/>
                  </a:lnTo>
                  <a:lnTo>
                    <a:pt x="2152" y="1466"/>
                  </a:lnTo>
                  <a:lnTo>
                    <a:pt x="2152" y="1466"/>
                  </a:lnTo>
                  <a:lnTo>
                    <a:pt x="2150" y="1460"/>
                  </a:lnTo>
                  <a:lnTo>
                    <a:pt x="2148" y="1454"/>
                  </a:lnTo>
                  <a:lnTo>
                    <a:pt x="2148" y="1454"/>
                  </a:lnTo>
                  <a:lnTo>
                    <a:pt x="2146" y="1448"/>
                  </a:lnTo>
                  <a:lnTo>
                    <a:pt x="2148" y="1444"/>
                  </a:lnTo>
                  <a:lnTo>
                    <a:pt x="2148" y="1444"/>
                  </a:lnTo>
                  <a:lnTo>
                    <a:pt x="2150" y="1438"/>
                  </a:lnTo>
                  <a:lnTo>
                    <a:pt x="2148" y="1432"/>
                  </a:lnTo>
                  <a:lnTo>
                    <a:pt x="2146" y="1426"/>
                  </a:lnTo>
                  <a:lnTo>
                    <a:pt x="2146" y="1426"/>
                  </a:lnTo>
                  <a:lnTo>
                    <a:pt x="2140" y="1412"/>
                  </a:lnTo>
                  <a:lnTo>
                    <a:pt x="2126" y="1378"/>
                  </a:lnTo>
                  <a:lnTo>
                    <a:pt x="2126" y="1378"/>
                  </a:lnTo>
                  <a:lnTo>
                    <a:pt x="2122" y="1366"/>
                  </a:lnTo>
                  <a:lnTo>
                    <a:pt x="2122" y="1366"/>
                  </a:lnTo>
                  <a:lnTo>
                    <a:pt x="2124" y="1360"/>
                  </a:lnTo>
                  <a:lnTo>
                    <a:pt x="2128" y="1354"/>
                  </a:lnTo>
                  <a:lnTo>
                    <a:pt x="2136" y="1346"/>
                  </a:lnTo>
                  <a:lnTo>
                    <a:pt x="2136" y="1346"/>
                  </a:lnTo>
                  <a:lnTo>
                    <a:pt x="2150" y="1338"/>
                  </a:lnTo>
                  <a:lnTo>
                    <a:pt x="2154" y="1334"/>
                  </a:lnTo>
                  <a:lnTo>
                    <a:pt x="2154" y="1334"/>
                  </a:lnTo>
                  <a:lnTo>
                    <a:pt x="2160" y="1330"/>
                  </a:lnTo>
                  <a:lnTo>
                    <a:pt x="2162" y="1326"/>
                  </a:lnTo>
                  <a:lnTo>
                    <a:pt x="2162" y="1326"/>
                  </a:lnTo>
                  <a:lnTo>
                    <a:pt x="2160" y="1322"/>
                  </a:lnTo>
                  <a:lnTo>
                    <a:pt x="2154" y="1322"/>
                  </a:lnTo>
                  <a:lnTo>
                    <a:pt x="2140" y="1322"/>
                  </a:lnTo>
                  <a:lnTo>
                    <a:pt x="2140" y="1322"/>
                  </a:lnTo>
                  <a:lnTo>
                    <a:pt x="2128" y="1322"/>
                  </a:lnTo>
                  <a:lnTo>
                    <a:pt x="2128" y="1322"/>
                  </a:lnTo>
                  <a:lnTo>
                    <a:pt x="2118" y="1322"/>
                  </a:lnTo>
                  <a:lnTo>
                    <a:pt x="2118" y="1322"/>
                  </a:lnTo>
                  <a:lnTo>
                    <a:pt x="2114" y="1320"/>
                  </a:lnTo>
                  <a:lnTo>
                    <a:pt x="2110" y="1314"/>
                  </a:lnTo>
                  <a:lnTo>
                    <a:pt x="2106" y="1308"/>
                  </a:lnTo>
                  <a:lnTo>
                    <a:pt x="2106" y="1308"/>
                  </a:lnTo>
                  <a:lnTo>
                    <a:pt x="2098" y="1296"/>
                  </a:lnTo>
                  <a:lnTo>
                    <a:pt x="2098" y="1296"/>
                  </a:lnTo>
                  <a:lnTo>
                    <a:pt x="2096" y="1294"/>
                  </a:lnTo>
                  <a:lnTo>
                    <a:pt x="2096" y="1292"/>
                  </a:lnTo>
                  <a:lnTo>
                    <a:pt x="2100" y="1288"/>
                  </a:lnTo>
                  <a:lnTo>
                    <a:pt x="2106" y="1286"/>
                  </a:lnTo>
                  <a:lnTo>
                    <a:pt x="2106" y="1286"/>
                  </a:lnTo>
                  <a:lnTo>
                    <a:pt x="2120" y="1278"/>
                  </a:lnTo>
                  <a:lnTo>
                    <a:pt x="2126" y="1276"/>
                  </a:lnTo>
                  <a:lnTo>
                    <a:pt x="2126" y="1276"/>
                  </a:lnTo>
                  <a:lnTo>
                    <a:pt x="2138" y="1266"/>
                  </a:lnTo>
                  <a:lnTo>
                    <a:pt x="2146" y="1258"/>
                  </a:lnTo>
                  <a:lnTo>
                    <a:pt x="2146" y="1258"/>
                  </a:lnTo>
                  <a:lnTo>
                    <a:pt x="2152" y="1254"/>
                  </a:lnTo>
                  <a:lnTo>
                    <a:pt x="2158" y="1252"/>
                  </a:lnTo>
                  <a:lnTo>
                    <a:pt x="2158" y="1252"/>
                  </a:lnTo>
                  <a:lnTo>
                    <a:pt x="2158" y="1254"/>
                  </a:lnTo>
                  <a:lnTo>
                    <a:pt x="2160" y="1254"/>
                  </a:lnTo>
                  <a:lnTo>
                    <a:pt x="2158" y="1260"/>
                  </a:lnTo>
                  <a:lnTo>
                    <a:pt x="2156" y="1266"/>
                  </a:lnTo>
                  <a:lnTo>
                    <a:pt x="2156" y="1266"/>
                  </a:lnTo>
                  <a:lnTo>
                    <a:pt x="2154" y="1272"/>
                  </a:lnTo>
                  <a:lnTo>
                    <a:pt x="2158" y="1278"/>
                  </a:lnTo>
                  <a:lnTo>
                    <a:pt x="2158" y="1278"/>
                  </a:lnTo>
                  <a:lnTo>
                    <a:pt x="2162" y="1280"/>
                  </a:lnTo>
                  <a:lnTo>
                    <a:pt x="2166" y="1282"/>
                  </a:lnTo>
                  <a:lnTo>
                    <a:pt x="2166" y="1282"/>
                  </a:lnTo>
                  <a:lnTo>
                    <a:pt x="2180" y="1280"/>
                  </a:lnTo>
                  <a:lnTo>
                    <a:pt x="2194" y="1274"/>
                  </a:lnTo>
                  <a:lnTo>
                    <a:pt x="2194" y="1274"/>
                  </a:lnTo>
                  <a:lnTo>
                    <a:pt x="2202" y="1274"/>
                  </a:lnTo>
                  <a:lnTo>
                    <a:pt x="2208" y="1276"/>
                  </a:lnTo>
                  <a:lnTo>
                    <a:pt x="2214" y="1278"/>
                  </a:lnTo>
                  <a:lnTo>
                    <a:pt x="2214" y="1278"/>
                  </a:lnTo>
                  <a:lnTo>
                    <a:pt x="2220" y="1284"/>
                  </a:lnTo>
                  <a:lnTo>
                    <a:pt x="2224" y="1290"/>
                  </a:lnTo>
                  <a:lnTo>
                    <a:pt x="2228" y="1294"/>
                  </a:lnTo>
                  <a:lnTo>
                    <a:pt x="2228" y="1294"/>
                  </a:lnTo>
                  <a:lnTo>
                    <a:pt x="2230" y="1306"/>
                  </a:lnTo>
                  <a:lnTo>
                    <a:pt x="2230" y="1306"/>
                  </a:lnTo>
                  <a:lnTo>
                    <a:pt x="2230" y="1320"/>
                  </a:lnTo>
                  <a:lnTo>
                    <a:pt x="2230" y="1332"/>
                  </a:lnTo>
                  <a:lnTo>
                    <a:pt x="2230" y="1332"/>
                  </a:lnTo>
                  <a:lnTo>
                    <a:pt x="2228" y="1348"/>
                  </a:lnTo>
                  <a:lnTo>
                    <a:pt x="2224" y="1362"/>
                  </a:lnTo>
                  <a:lnTo>
                    <a:pt x="2224" y="1362"/>
                  </a:lnTo>
                  <a:lnTo>
                    <a:pt x="2222" y="1366"/>
                  </a:lnTo>
                  <a:lnTo>
                    <a:pt x="2224" y="1368"/>
                  </a:lnTo>
                  <a:lnTo>
                    <a:pt x="2226" y="1370"/>
                  </a:lnTo>
                  <a:lnTo>
                    <a:pt x="2228" y="1370"/>
                  </a:lnTo>
                  <a:lnTo>
                    <a:pt x="2232" y="1370"/>
                  </a:lnTo>
                  <a:lnTo>
                    <a:pt x="2232" y="1370"/>
                  </a:lnTo>
                  <a:lnTo>
                    <a:pt x="2240" y="1370"/>
                  </a:lnTo>
                  <a:lnTo>
                    <a:pt x="2248" y="1366"/>
                  </a:lnTo>
                  <a:lnTo>
                    <a:pt x="2252" y="1364"/>
                  </a:lnTo>
                  <a:lnTo>
                    <a:pt x="2252" y="1364"/>
                  </a:lnTo>
                  <a:lnTo>
                    <a:pt x="2264" y="1356"/>
                  </a:lnTo>
                  <a:lnTo>
                    <a:pt x="2264" y="1356"/>
                  </a:lnTo>
                  <a:lnTo>
                    <a:pt x="2274" y="1346"/>
                  </a:lnTo>
                  <a:lnTo>
                    <a:pt x="2274" y="1346"/>
                  </a:lnTo>
                  <a:lnTo>
                    <a:pt x="2278" y="1340"/>
                  </a:lnTo>
                  <a:lnTo>
                    <a:pt x="2276" y="1334"/>
                  </a:lnTo>
                  <a:lnTo>
                    <a:pt x="2264" y="1308"/>
                  </a:lnTo>
                  <a:lnTo>
                    <a:pt x="2264" y="1308"/>
                  </a:lnTo>
                  <a:lnTo>
                    <a:pt x="2260" y="1296"/>
                  </a:lnTo>
                  <a:lnTo>
                    <a:pt x="2260" y="1296"/>
                  </a:lnTo>
                  <a:lnTo>
                    <a:pt x="2260" y="1284"/>
                  </a:lnTo>
                  <a:lnTo>
                    <a:pt x="2260" y="1280"/>
                  </a:lnTo>
                  <a:lnTo>
                    <a:pt x="2260" y="1280"/>
                  </a:lnTo>
                  <a:lnTo>
                    <a:pt x="2260" y="1268"/>
                  </a:lnTo>
                  <a:lnTo>
                    <a:pt x="2260" y="1268"/>
                  </a:lnTo>
                  <a:lnTo>
                    <a:pt x="2256" y="1256"/>
                  </a:lnTo>
                  <a:lnTo>
                    <a:pt x="2254" y="1250"/>
                  </a:lnTo>
                  <a:lnTo>
                    <a:pt x="2254" y="1250"/>
                  </a:lnTo>
                  <a:lnTo>
                    <a:pt x="2252" y="1244"/>
                  </a:lnTo>
                  <a:lnTo>
                    <a:pt x="2256" y="1238"/>
                  </a:lnTo>
                  <a:lnTo>
                    <a:pt x="2256" y="1238"/>
                  </a:lnTo>
                  <a:lnTo>
                    <a:pt x="2266" y="1228"/>
                  </a:lnTo>
                  <a:lnTo>
                    <a:pt x="2274" y="1220"/>
                  </a:lnTo>
                  <a:lnTo>
                    <a:pt x="2274" y="1220"/>
                  </a:lnTo>
                  <a:lnTo>
                    <a:pt x="2280" y="1216"/>
                  </a:lnTo>
                  <a:lnTo>
                    <a:pt x="2286" y="1214"/>
                  </a:lnTo>
                  <a:lnTo>
                    <a:pt x="2286" y="1214"/>
                  </a:lnTo>
                  <a:lnTo>
                    <a:pt x="2290" y="1216"/>
                  </a:lnTo>
                  <a:lnTo>
                    <a:pt x="2292" y="1218"/>
                  </a:lnTo>
                  <a:lnTo>
                    <a:pt x="2292" y="1218"/>
                  </a:lnTo>
                  <a:lnTo>
                    <a:pt x="2292" y="1222"/>
                  </a:lnTo>
                  <a:lnTo>
                    <a:pt x="2294" y="1224"/>
                  </a:lnTo>
                  <a:lnTo>
                    <a:pt x="2294" y="1224"/>
                  </a:lnTo>
                  <a:lnTo>
                    <a:pt x="2304" y="1224"/>
                  </a:lnTo>
                  <a:lnTo>
                    <a:pt x="2304" y="1224"/>
                  </a:lnTo>
                  <a:lnTo>
                    <a:pt x="2310" y="1222"/>
                  </a:lnTo>
                  <a:lnTo>
                    <a:pt x="2314" y="1218"/>
                  </a:lnTo>
                  <a:lnTo>
                    <a:pt x="2314" y="1218"/>
                  </a:lnTo>
                  <a:lnTo>
                    <a:pt x="2320" y="1216"/>
                  </a:lnTo>
                  <a:lnTo>
                    <a:pt x="2326" y="1218"/>
                  </a:lnTo>
                  <a:lnTo>
                    <a:pt x="2332" y="1220"/>
                  </a:lnTo>
                  <a:lnTo>
                    <a:pt x="2332" y="1220"/>
                  </a:lnTo>
                  <a:lnTo>
                    <a:pt x="2338" y="1222"/>
                  </a:lnTo>
                  <a:lnTo>
                    <a:pt x="2344" y="1218"/>
                  </a:lnTo>
                  <a:lnTo>
                    <a:pt x="2362" y="1200"/>
                  </a:lnTo>
                  <a:lnTo>
                    <a:pt x="2362" y="1200"/>
                  </a:lnTo>
                  <a:lnTo>
                    <a:pt x="2374" y="1188"/>
                  </a:lnTo>
                  <a:lnTo>
                    <a:pt x="2382" y="1180"/>
                  </a:lnTo>
                  <a:lnTo>
                    <a:pt x="2382" y="1180"/>
                  </a:lnTo>
                  <a:lnTo>
                    <a:pt x="2392" y="1168"/>
                  </a:lnTo>
                  <a:lnTo>
                    <a:pt x="2422" y="1132"/>
                  </a:lnTo>
                  <a:lnTo>
                    <a:pt x="2422" y="1132"/>
                  </a:lnTo>
                  <a:lnTo>
                    <a:pt x="2430" y="1118"/>
                  </a:lnTo>
                  <a:lnTo>
                    <a:pt x="2442" y="1094"/>
                  </a:lnTo>
                  <a:lnTo>
                    <a:pt x="2442" y="1094"/>
                  </a:lnTo>
                  <a:lnTo>
                    <a:pt x="2446" y="1086"/>
                  </a:lnTo>
                  <a:lnTo>
                    <a:pt x="2446" y="1078"/>
                  </a:lnTo>
                  <a:lnTo>
                    <a:pt x="2446" y="1056"/>
                  </a:lnTo>
                  <a:lnTo>
                    <a:pt x="2446" y="1056"/>
                  </a:lnTo>
                  <a:lnTo>
                    <a:pt x="2448" y="1040"/>
                  </a:lnTo>
                  <a:lnTo>
                    <a:pt x="2454" y="996"/>
                  </a:lnTo>
                  <a:lnTo>
                    <a:pt x="2454" y="996"/>
                  </a:lnTo>
                  <a:lnTo>
                    <a:pt x="2456" y="980"/>
                  </a:lnTo>
                  <a:lnTo>
                    <a:pt x="2456" y="978"/>
                  </a:lnTo>
                  <a:lnTo>
                    <a:pt x="2456" y="978"/>
                  </a:lnTo>
                  <a:lnTo>
                    <a:pt x="2454" y="970"/>
                  </a:lnTo>
                  <a:lnTo>
                    <a:pt x="2450" y="964"/>
                  </a:lnTo>
                  <a:lnTo>
                    <a:pt x="2442" y="956"/>
                  </a:lnTo>
                  <a:lnTo>
                    <a:pt x="2442" y="956"/>
                  </a:lnTo>
                  <a:lnTo>
                    <a:pt x="2436" y="952"/>
                  </a:lnTo>
                  <a:lnTo>
                    <a:pt x="2430" y="954"/>
                  </a:lnTo>
                  <a:lnTo>
                    <a:pt x="2414" y="964"/>
                  </a:lnTo>
                  <a:lnTo>
                    <a:pt x="2414" y="964"/>
                  </a:lnTo>
                  <a:lnTo>
                    <a:pt x="2406" y="968"/>
                  </a:lnTo>
                  <a:lnTo>
                    <a:pt x="2400" y="966"/>
                  </a:lnTo>
                  <a:lnTo>
                    <a:pt x="2394" y="964"/>
                  </a:lnTo>
                  <a:lnTo>
                    <a:pt x="2394" y="964"/>
                  </a:lnTo>
                  <a:lnTo>
                    <a:pt x="2388" y="958"/>
                  </a:lnTo>
                  <a:lnTo>
                    <a:pt x="2384" y="952"/>
                  </a:lnTo>
                  <a:lnTo>
                    <a:pt x="2382" y="948"/>
                  </a:lnTo>
                  <a:lnTo>
                    <a:pt x="2382" y="948"/>
                  </a:lnTo>
                  <a:lnTo>
                    <a:pt x="2378" y="942"/>
                  </a:lnTo>
                  <a:lnTo>
                    <a:pt x="2372" y="940"/>
                  </a:lnTo>
                  <a:lnTo>
                    <a:pt x="2372" y="940"/>
                  </a:lnTo>
                  <a:lnTo>
                    <a:pt x="2370" y="938"/>
                  </a:lnTo>
                  <a:lnTo>
                    <a:pt x="2372" y="936"/>
                  </a:lnTo>
                  <a:lnTo>
                    <a:pt x="2372" y="936"/>
                  </a:lnTo>
                  <a:lnTo>
                    <a:pt x="2384" y="924"/>
                  </a:lnTo>
                  <a:lnTo>
                    <a:pt x="2402" y="906"/>
                  </a:lnTo>
                  <a:lnTo>
                    <a:pt x="2402" y="906"/>
                  </a:lnTo>
                  <a:lnTo>
                    <a:pt x="2412" y="896"/>
                  </a:lnTo>
                  <a:lnTo>
                    <a:pt x="2420" y="888"/>
                  </a:lnTo>
                  <a:lnTo>
                    <a:pt x="2420" y="888"/>
                  </a:lnTo>
                  <a:lnTo>
                    <a:pt x="2424" y="882"/>
                  </a:lnTo>
                  <a:lnTo>
                    <a:pt x="2426" y="876"/>
                  </a:lnTo>
                  <a:lnTo>
                    <a:pt x="2426" y="876"/>
                  </a:lnTo>
                  <a:lnTo>
                    <a:pt x="2428" y="872"/>
                  </a:lnTo>
                  <a:lnTo>
                    <a:pt x="2432" y="866"/>
                  </a:lnTo>
                  <a:lnTo>
                    <a:pt x="2490" y="808"/>
                  </a:lnTo>
                  <a:lnTo>
                    <a:pt x="2490" y="808"/>
                  </a:lnTo>
                  <a:lnTo>
                    <a:pt x="2496" y="804"/>
                  </a:lnTo>
                  <a:lnTo>
                    <a:pt x="2504" y="802"/>
                  </a:lnTo>
                  <a:lnTo>
                    <a:pt x="2506" y="802"/>
                  </a:lnTo>
                  <a:lnTo>
                    <a:pt x="2506" y="802"/>
                  </a:lnTo>
                  <a:lnTo>
                    <a:pt x="2522" y="802"/>
                  </a:lnTo>
                  <a:lnTo>
                    <a:pt x="2556" y="802"/>
                  </a:lnTo>
                  <a:lnTo>
                    <a:pt x="2556" y="802"/>
                  </a:lnTo>
                  <a:lnTo>
                    <a:pt x="2564" y="802"/>
                  </a:lnTo>
                  <a:lnTo>
                    <a:pt x="2570" y="800"/>
                  </a:lnTo>
                  <a:lnTo>
                    <a:pt x="2576" y="796"/>
                  </a:lnTo>
                  <a:lnTo>
                    <a:pt x="2576" y="796"/>
                  </a:lnTo>
                  <a:lnTo>
                    <a:pt x="2584" y="794"/>
                  </a:lnTo>
                  <a:lnTo>
                    <a:pt x="2590" y="796"/>
                  </a:lnTo>
                  <a:lnTo>
                    <a:pt x="2604" y="800"/>
                  </a:lnTo>
                  <a:lnTo>
                    <a:pt x="2604" y="800"/>
                  </a:lnTo>
                  <a:lnTo>
                    <a:pt x="2610" y="804"/>
                  </a:lnTo>
                  <a:lnTo>
                    <a:pt x="2612" y="810"/>
                  </a:lnTo>
                  <a:lnTo>
                    <a:pt x="2612" y="814"/>
                  </a:lnTo>
                  <a:lnTo>
                    <a:pt x="2612" y="814"/>
                  </a:lnTo>
                  <a:lnTo>
                    <a:pt x="2614" y="818"/>
                  </a:lnTo>
                  <a:lnTo>
                    <a:pt x="2614" y="820"/>
                  </a:lnTo>
                  <a:lnTo>
                    <a:pt x="2618" y="820"/>
                  </a:lnTo>
                  <a:lnTo>
                    <a:pt x="2620" y="822"/>
                  </a:lnTo>
                  <a:lnTo>
                    <a:pt x="2654" y="814"/>
                  </a:lnTo>
                  <a:lnTo>
                    <a:pt x="2654" y="814"/>
                  </a:lnTo>
                  <a:lnTo>
                    <a:pt x="2666" y="812"/>
                  </a:lnTo>
                  <a:lnTo>
                    <a:pt x="2666" y="812"/>
                  </a:lnTo>
                  <a:lnTo>
                    <a:pt x="2668" y="812"/>
                  </a:lnTo>
                  <a:lnTo>
                    <a:pt x="2666" y="808"/>
                  </a:lnTo>
                  <a:lnTo>
                    <a:pt x="2666" y="808"/>
                  </a:lnTo>
                  <a:lnTo>
                    <a:pt x="2664" y="802"/>
                  </a:lnTo>
                  <a:lnTo>
                    <a:pt x="2664" y="796"/>
                  </a:lnTo>
                  <a:lnTo>
                    <a:pt x="2668" y="782"/>
                  </a:lnTo>
                  <a:lnTo>
                    <a:pt x="2668" y="782"/>
                  </a:lnTo>
                  <a:lnTo>
                    <a:pt x="2674" y="766"/>
                  </a:lnTo>
                  <a:lnTo>
                    <a:pt x="2678" y="752"/>
                  </a:lnTo>
                  <a:lnTo>
                    <a:pt x="2678" y="752"/>
                  </a:lnTo>
                  <a:lnTo>
                    <a:pt x="2682" y="746"/>
                  </a:lnTo>
                  <a:lnTo>
                    <a:pt x="2688" y="740"/>
                  </a:lnTo>
                  <a:lnTo>
                    <a:pt x="2704" y="730"/>
                  </a:lnTo>
                  <a:lnTo>
                    <a:pt x="2704" y="730"/>
                  </a:lnTo>
                  <a:lnTo>
                    <a:pt x="2710" y="726"/>
                  </a:lnTo>
                  <a:lnTo>
                    <a:pt x="2718" y="726"/>
                  </a:lnTo>
                  <a:lnTo>
                    <a:pt x="2742" y="732"/>
                  </a:lnTo>
                  <a:lnTo>
                    <a:pt x="2742" y="732"/>
                  </a:lnTo>
                  <a:lnTo>
                    <a:pt x="2748" y="736"/>
                  </a:lnTo>
                  <a:lnTo>
                    <a:pt x="2754" y="742"/>
                  </a:lnTo>
                  <a:lnTo>
                    <a:pt x="2756" y="746"/>
                  </a:lnTo>
                  <a:lnTo>
                    <a:pt x="2756" y="746"/>
                  </a:lnTo>
                  <a:lnTo>
                    <a:pt x="2758" y="750"/>
                  </a:lnTo>
                  <a:lnTo>
                    <a:pt x="2760" y="750"/>
                  </a:lnTo>
                  <a:lnTo>
                    <a:pt x="2762" y="750"/>
                  </a:lnTo>
                  <a:lnTo>
                    <a:pt x="2764" y="748"/>
                  </a:lnTo>
                  <a:lnTo>
                    <a:pt x="2774" y="740"/>
                  </a:lnTo>
                  <a:lnTo>
                    <a:pt x="2774" y="740"/>
                  </a:lnTo>
                  <a:lnTo>
                    <a:pt x="2786" y="730"/>
                  </a:lnTo>
                  <a:lnTo>
                    <a:pt x="2812" y="710"/>
                  </a:lnTo>
                  <a:lnTo>
                    <a:pt x="2812" y="710"/>
                  </a:lnTo>
                  <a:lnTo>
                    <a:pt x="2814" y="708"/>
                  </a:lnTo>
                  <a:lnTo>
                    <a:pt x="2816" y="708"/>
                  </a:lnTo>
                  <a:lnTo>
                    <a:pt x="2818" y="710"/>
                  </a:lnTo>
                  <a:lnTo>
                    <a:pt x="2818" y="714"/>
                  </a:lnTo>
                  <a:lnTo>
                    <a:pt x="2818" y="736"/>
                  </a:lnTo>
                  <a:lnTo>
                    <a:pt x="2818" y="736"/>
                  </a:lnTo>
                  <a:lnTo>
                    <a:pt x="2816" y="744"/>
                  </a:lnTo>
                  <a:lnTo>
                    <a:pt x="2812" y="750"/>
                  </a:lnTo>
                  <a:lnTo>
                    <a:pt x="2794" y="768"/>
                  </a:lnTo>
                  <a:lnTo>
                    <a:pt x="2794" y="768"/>
                  </a:lnTo>
                  <a:lnTo>
                    <a:pt x="2782" y="778"/>
                  </a:lnTo>
                  <a:lnTo>
                    <a:pt x="2776" y="780"/>
                  </a:lnTo>
                  <a:lnTo>
                    <a:pt x="2776" y="780"/>
                  </a:lnTo>
                  <a:lnTo>
                    <a:pt x="2770" y="784"/>
                  </a:lnTo>
                  <a:lnTo>
                    <a:pt x="2764" y="790"/>
                  </a:lnTo>
                  <a:lnTo>
                    <a:pt x="2754" y="806"/>
                  </a:lnTo>
                  <a:lnTo>
                    <a:pt x="2754" y="806"/>
                  </a:lnTo>
                  <a:lnTo>
                    <a:pt x="2744" y="818"/>
                  </a:lnTo>
                  <a:lnTo>
                    <a:pt x="2736" y="826"/>
                  </a:lnTo>
                  <a:lnTo>
                    <a:pt x="2736" y="826"/>
                  </a:lnTo>
                  <a:lnTo>
                    <a:pt x="2724" y="838"/>
                  </a:lnTo>
                  <a:lnTo>
                    <a:pt x="2716" y="846"/>
                  </a:lnTo>
                  <a:lnTo>
                    <a:pt x="2716" y="846"/>
                  </a:lnTo>
                  <a:lnTo>
                    <a:pt x="2710" y="850"/>
                  </a:lnTo>
                  <a:lnTo>
                    <a:pt x="2706" y="852"/>
                  </a:lnTo>
                  <a:lnTo>
                    <a:pt x="2706" y="852"/>
                  </a:lnTo>
                  <a:lnTo>
                    <a:pt x="2702" y="854"/>
                  </a:lnTo>
                  <a:lnTo>
                    <a:pt x="2698" y="860"/>
                  </a:lnTo>
                  <a:lnTo>
                    <a:pt x="2684" y="904"/>
                  </a:lnTo>
                  <a:lnTo>
                    <a:pt x="2684" y="904"/>
                  </a:lnTo>
                  <a:lnTo>
                    <a:pt x="2682" y="910"/>
                  </a:lnTo>
                  <a:lnTo>
                    <a:pt x="2682" y="918"/>
                  </a:lnTo>
                  <a:lnTo>
                    <a:pt x="2700" y="1020"/>
                  </a:lnTo>
                  <a:lnTo>
                    <a:pt x="2700" y="1020"/>
                  </a:lnTo>
                  <a:lnTo>
                    <a:pt x="2700" y="1022"/>
                  </a:lnTo>
                  <a:lnTo>
                    <a:pt x="2702" y="1024"/>
                  </a:lnTo>
                  <a:lnTo>
                    <a:pt x="2704" y="1024"/>
                  </a:lnTo>
                  <a:lnTo>
                    <a:pt x="2706" y="1022"/>
                  </a:lnTo>
                  <a:lnTo>
                    <a:pt x="2726" y="996"/>
                  </a:lnTo>
                  <a:lnTo>
                    <a:pt x="2726" y="996"/>
                  </a:lnTo>
                  <a:lnTo>
                    <a:pt x="2734" y="984"/>
                  </a:lnTo>
                  <a:lnTo>
                    <a:pt x="2734" y="984"/>
                  </a:lnTo>
                  <a:lnTo>
                    <a:pt x="2744" y="972"/>
                  </a:lnTo>
                  <a:lnTo>
                    <a:pt x="2746" y="966"/>
                  </a:lnTo>
                  <a:lnTo>
                    <a:pt x="2746" y="966"/>
                  </a:lnTo>
                  <a:lnTo>
                    <a:pt x="2754" y="952"/>
                  </a:lnTo>
                  <a:lnTo>
                    <a:pt x="2756" y="948"/>
                  </a:lnTo>
                  <a:lnTo>
                    <a:pt x="2756" y="948"/>
                  </a:lnTo>
                  <a:lnTo>
                    <a:pt x="2760" y="940"/>
                  </a:lnTo>
                  <a:lnTo>
                    <a:pt x="2766" y="936"/>
                  </a:lnTo>
                  <a:lnTo>
                    <a:pt x="2772" y="934"/>
                  </a:lnTo>
                  <a:lnTo>
                    <a:pt x="2772" y="934"/>
                  </a:lnTo>
                  <a:lnTo>
                    <a:pt x="2776" y="928"/>
                  </a:lnTo>
                  <a:lnTo>
                    <a:pt x="2778" y="922"/>
                  </a:lnTo>
                  <a:lnTo>
                    <a:pt x="2778" y="918"/>
                  </a:lnTo>
                  <a:lnTo>
                    <a:pt x="2778" y="918"/>
                  </a:lnTo>
                  <a:lnTo>
                    <a:pt x="2780" y="912"/>
                  </a:lnTo>
                  <a:lnTo>
                    <a:pt x="2784" y="906"/>
                  </a:lnTo>
                  <a:lnTo>
                    <a:pt x="2784" y="906"/>
                  </a:lnTo>
                  <a:lnTo>
                    <a:pt x="2788" y="900"/>
                  </a:lnTo>
                  <a:lnTo>
                    <a:pt x="2790" y="894"/>
                  </a:lnTo>
                  <a:lnTo>
                    <a:pt x="2796" y="870"/>
                  </a:lnTo>
                  <a:lnTo>
                    <a:pt x="2796" y="870"/>
                  </a:lnTo>
                  <a:lnTo>
                    <a:pt x="2798" y="856"/>
                  </a:lnTo>
                  <a:lnTo>
                    <a:pt x="2798" y="856"/>
                  </a:lnTo>
                  <a:lnTo>
                    <a:pt x="2796" y="854"/>
                  </a:lnTo>
                  <a:lnTo>
                    <a:pt x="2790" y="852"/>
                  </a:lnTo>
                  <a:lnTo>
                    <a:pt x="2786" y="852"/>
                  </a:lnTo>
                  <a:lnTo>
                    <a:pt x="2786" y="852"/>
                  </a:lnTo>
                  <a:lnTo>
                    <a:pt x="2784" y="852"/>
                  </a:lnTo>
                  <a:lnTo>
                    <a:pt x="2782" y="850"/>
                  </a:lnTo>
                  <a:lnTo>
                    <a:pt x="2782" y="848"/>
                  </a:lnTo>
                  <a:lnTo>
                    <a:pt x="2782" y="844"/>
                  </a:lnTo>
                  <a:lnTo>
                    <a:pt x="2796" y="810"/>
                  </a:lnTo>
                  <a:lnTo>
                    <a:pt x="2796" y="810"/>
                  </a:lnTo>
                  <a:lnTo>
                    <a:pt x="2798" y="804"/>
                  </a:lnTo>
                  <a:lnTo>
                    <a:pt x="2804" y="798"/>
                  </a:lnTo>
                  <a:lnTo>
                    <a:pt x="2804" y="798"/>
                  </a:lnTo>
                  <a:lnTo>
                    <a:pt x="2816" y="790"/>
                  </a:lnTo>
                  <a:lnTo>
                    <a:pt x="2820" y="786"/>
                  </a:lnTo>
                  <a:lnTo>
                    <a:pt x="2820" y="786"/>
                  </a:lnTo>
                  <a:lnTo>
                    <a:pt x="2832" y="784"/>
                  </a:lnTo>
                  <a:lnTo>
                    <a:pt x="2832" y="784"/>
                  </a:lnTo>
                  <a:lnTo>
                    <a:pt x="2838" y="784"/>
                  </a:lnTo>
                  <a:lnTo>
                    <a:pt x="2842" y="788"/>
                  </a:lnTo>
                  <a:lnTo>
                    <a:pt x="2842" y="788"/>
                  </a:lnTo>
                  <a:lnTo>
                    <a:pt x="2844" y="790"/>
                  </a:lnTo>
                  <a:lnTo>
                    <a:pt x="2848" y="790"/>
                  </a:lnTo>
                  <a:lnTo>
                    <a:pt x="2854" y="788"/>
                  </a:lnTo>
                  <a:lnTo>
                    <a:pt x="2870" y="770"/>
                  </a:lnTo>
                  <a:lnTo>
                    <a:pt x="2870" y="770"/>
                  </a:lnTo>
                  <a:lnTo>
                    <a:pt x="2874" y="768"/>
                  </a:lnTo>
                  <a:lnTo>
                    <a:pt x="2876" y="768"/>
                  </a:lnTo>
                  <a:lnTo>
                    <a:pt x="2880" y="768"/>
                  </a:lnTo>
                  <a:lnTo>
                    <a:pt x="2882" y="770"/>
                  </a:lnTo>
                  <a:lnTo>
                    <a:pt x="2900" y="788"/>
                  </a:lnTo>
                  <a:lnTo>
                    <a:pt x="2900" y="788"/>
                  </a:lnTo>
                  <a:lnTo>
                    <a:pt x="2902" y="790"/>
                  </a:lnTo>
                  <a:lnTo>
                    <a:pt x="2906" y="790"/>
                  </a:lnTo>
                  <a:lnTo>
                    <a:pt x="2908" y="788"/>
                  </a:lnTo>
                  <a:lnTo>
                    <a:pt x="2908" y="786"/>
                  </a:lnTo>
                  <a:lnTo>
                    <a:pt x="2914" y="772"/>
                  </a:lnTo>
                  <a:lnTo>
                    <a:pt x="2914" y="772"/>
                  </a:lnTo>
                  <a:lnTo>
                    <a:pt x="2918" y="766"/>
                  </a:lnTo>
                  <a:lnTo>
                    <a:pt x="2924" y="764"/>
                  </a:lnTo>
                  <a:lnTo>
                    <a:pt x="2928" y="764"/>
                  </a:lnTo>
                  <a:lnTo>
                    <a:pt x="2928" y="764"/>
                  </a:lnTo>
                  <a:lnTo>
                    <a:pt x="2934" y="762"/>
                  </a:lnTo>
                  <a:lnTo>
                    <a:pt x="2940" y="758"/>
                  </a:lnTo>
                  <a:lnTo>
                    <a:pt x="2960" y="732"/>
                  </a:lnTo>
                  <a:lnTo>
                    <a:pt x="2960" y="732"/>
                  </a:lnTo>
                  <a:lnTo>
                    <a:pt x="2966" y="726"/>
                  </a:lnTo>
                  <a:lnTo>
                    <a:pt x="2972" y="722"/>
                  </a:lnTo>
                  <a:lnTo>
                    <a:pt x="2996" y="708"/>
                  </a:lnTo>
                  <a:lnTo>
                    <a:pt x="2996" y="708"/>
                  </a:lnTo>
                  <a:lnTo>
                    <a:pt x="3004" y="706"/>
                  </a:lnTo>
                  <a:lnTo>
                    <a:pt x="3012" y="706"/>
                  </a:lnTo>
                  <a:lnTo>
                    <a:pt x="3016" y="706"/>
                  </a:lnTo>
                  <a:lnTo>
                    <a:pt x="3016" y="706"/>
                  </a:lnTo>
                  <a:lnTo>
                    <a:pt x="3024" y="706"/>
                  </a:lnTo>
                  <a:lnTo>
                    <a:pt x="3030" y="708"/>
                  </a:lnTo>
                  <a:lnTo>
                    <a:pt x="3036" y="712"/>
                  </a:lnTo>
                  <a:lnTo>
                    <a:pt x="3036" y="712"/>
                  </a:lnTo>
                  <a:lnTo>
                    <a:pt x="3042" y="712"/>
                  </a:lnTo>
                  <a:lnTo>
                    <a:pt x="3042" y="712"/>
                  </a:lnTo>
                  <a:lnTo>
                    <a:pt x="3044" y="710"/>
                  </a:lnTo>
                  <a:lnTo>
                    <a:pt x="3044" y="710"/>
                  </a:lnTo>
                  <a:lnTo>
                    <a:pt x="3044" y="698"/>
                  </a:lnTo>
                  <a:lnTo>
                    <a:pt x="3044" y="694"/>
                  </a:lnTo>
                  <a:lnTo>
                    <a:pt x="3044" y="694"/>
                  </a:lnTo>
                  <a:lnTo>
                    <a:pt x="3040" y="678"/>
                  </a:lnTo>
                  <a:lnTo>
                    <a:pt x="3036" y="664"/>
                  </a:lnTo>
                  <a:lnTo>
                    <a:pt x="3036" y="664"/>
                  </a:lnTo>
                  <a:lnTo>
                    <a:pt x="3032" y="656"/>
                  </a:lnTo>
                  <a:lnTo>
                    <a:pt x="3028" y="650"/>
                  </a:lnTo>
                  <a:lnTo>
                    <a:pt x="3020" y="642"/>
                  </a:lnTo>
                  <a:lnTo>
                    <a:pt x="3020" y="642"/>
                  </a:lnTo>
                  <a:lnTo>
                    <a:pt x="3018" y="640"/>
                  </a:lnTo>
                  <a:lnTo>
                    <a:pt x="3018" y="638"/>
                  </a:lnTo>
                  <a:lnTo>
                    <a:pt x="3018" y="634"/>
                  </a:lnTo>
                  <a:lnTo>
                    <a:pt x="3022" y="634"/>
                  </a:lnTo>
                  <a:lnTo>
                    <a:pt x="3026" y="630"/>
                  </a:lnTo>
                  <a:lnTo>
                    <a:pt x="3026" y="630"/>
                  </a:lnTo>
                  <a:lnTo>
                    <a:pt x="3040" y="624"/>
                  </a:lnTo>
                  <a:lnTo>
                    <a:pt x="3046" y="620"/>
                  </a:lnTo>
                  <a:close/>
                  <a:moveTo>
                    <a:pt x="420" y="930"/>
                  </a:moveTo>
                  <a:lnTo>
                    <a:pt x="420" y="930"/>
                  </a:lnTo>
                  <a:lnTo>
                    <a:pt x="414" y="924"/>
                  </a:lnTo>
                  <a:lnTo>
                    <a:pt x="414" y="924"/>
                  </a:lnTo>
                  <a:lnTo>
                    <a:pt x="410" y="920"/>
                  </a:lnTo>
                  <a:lnTo>
                    <a:pt x="410" y="920"/>
                  </a:lnTo>
                  <a:lnTo>
                    <a:pt x="414" y="924"/>
                  </a:lnTo>
                  <a:lnTo>
                    <a:pt x="414" y="924"/>
                  </a:lnTo>
                  <a:lnTo>
                    <a:pt x="420" y="930"/>
                  </a:lnTo>
                  <a:lnTo>
                    <a:pt x="420" y="930"/>
                  </a:lnTo>
                  <a:close/>
                  <a:moveTo>
                    <a:pt x="938" y="1244"/>
                  </a:moveTo>
                  <a:lnTo>
                    <a:pt x="938" y="1244"/>
                  </a:lnTo>
                  <a:lnTo>
                    <a:pt x="938" y="1244"/>
                  </a:lnTo>
                  <a:lnTo>
                    <a:pt x="938" y="1244"/>
                  </a:lnTo>
                  <a:lnTo>
                    <a:pt x="934" y="1238"/>
                  </a:lnTo>
                  <a:lnTo>
                    <a:pt x="934" y="1238"/>
                  </a:lnTo>
                  <a:lnTo>
                    <a:pt x="928" y="1236"/>
                  </a:lnTo>
                  <a:lnTo>
                    <a:pt x="924" y="1234"/>
                  </a:lnTo>
                  <a:lnTo>
                    <a:pt x="924" y="1234"/>
                  </a:lnTo>
                  <a:lnTo>
                    <a:pt x="914" y="1234"/>
                  </a:lnTo>
                  <a:lnTo>
                    <a:pt x="914" y="1234"/>
                  </a:lnTo>
                  <a:lnTo>
                    <a:pt x="902" y="1238"/>
                  </a:lnTo>
                  <a:lnTo>
                    <a:pt x="896" y="1240"/>
                  </a:lnTo>
                  <a:lnTo>
                    <a:pt x="896" y="1240"/>
                  </a:lnTo>
                  <a:lnTo>
                    <a:pt x="890" y="1242"/>
                  </a:lnTo>
                  <a:lnTo>
                    <a:pt x="882" y="1244"/>
                  </a:lnTo>
                  <a:lnTo>
                    <a:pt x="878" y="1244"/>
                  </a:lnTo>
                  <a:lnTo>
                    <a:pt x="878" y="1244"/>
                  </a:lnTo>
                  <a:lnTo>
                    <a:pt x="864" y="1244"/>
                  </a:lnTo>
                  <a:lnTo>
                    <a:pt x="864" y="1244"/>
                  </a:lnTo>
                  <a:lnTo>
                    <a:pt x="852" y="1240"/>
                  </a:lnTo>
                  <a:lnTo>
                    <a:pt x="848" y="1238"/>
                  </a:lnTo>
                  <a:lnTo>
                    <a:pt x="848" y="1238"/>
                  </a:lnTo>
                  <a:lnTo>
                    <a:pt x="836" y="1234"/>
                  </a:lnTo>
                  <a:lnTo>
                    <a:pt x="836" y="1234"/>
                  </a:lnTo>
                  <a:lnTo>
                    <a:pt x="822" y="1234"/>
                  </a:lnTo>
                  <a:lnTo>
                    <a:pt x="800" y="1234"/>
                  </a:lnTo>
                  <a:lnTo>
                    <a:pt x="800" y="1234"/>
                  </a:lnTo>
                  <a:lnTo>
                    <a:pt x="786" y="1234"/>
                  </a:lnTo>
                  <a:lnTo>
                    <a:pt x="786" y="1234"/>
                  </a:lnTo>
                  <a:lnTo>
                    <a:pt x="774" y="1234"/>
                  </a:lnTo>
                  <a:lnTo>
                    <a:pt x="770" y="1234"/>
                  </a:lnTo>
                  <a:lnTo>
                    <a:pt x="770" y="1234"/>
                  </a:lnTo>
                  <a:lnTo>
                    <a:pt x="764" y="1236"/>
                  </a:lnTo>
                  <a:lnTo>
                    <a:pt x="758" y="1238"/>
                  </a:lnTo>
                  <a:lnTo>
                    <a:pt x="758" y="1238"/>
                  </a:lnTo>
                  <a:lnTo>
                    <a:pt x="746" y="1248"/>
                  </a:lnTo>
                  <a:lnTo>
                    <a:pt x="740" y="1250"/>
                  </a:lnTo>
                  <a:lnTo>
                    <a:pt x="740" y="1250"/>
                  </a:lnTo>
                  <a:lnTo>
                    <a:pt x="734" y="1250"/>
                  </a:lnTo>
                  <a:lnTo>
                    <a:pt x="728" y="1248"/>
                  </a:lnTo>
                  <a:lnTo>
                    <a:pt x="728" y="1248"/>
                  </a:lnTo>
                  <a:lnTo>
                    <a:pt x="722" y="1244"/>
                  </a:lnTo>
                  <a:lnTo>
                    <a:pt x="722" y="1244"/>
                  </a:lnTo>
                  <a:lnTo>
                    <a:pt x="716" y="1240"/>
                  </a:lnTo>
                  <a:lnTo>
                    <a:pt x="702" y="1236"/>
                  </a:lnTo>
                  <a:lnTo>
                    <a:pt x="702" y="1236"/>
                  </a:lnTo>
                  <a:lnTo>
                    <a:pt x="696" y="1232"/>
                  </a:lnTo>
                  <a:lnTo>
                    <a:pt x="694" y="1226"/>
                  </a:lnTo>
                  <a:lnTo>
                    <a:pt x="694" y="1222"/>
                  </a:lnTo>
                  <a:lnTo>
                    <a:pt x="694" y="1222"/>
                  </a:lnTo>
                  <a:lnTo>
                    <a:pt x="696" y="1214"/>
                  </a:lnTo>
                  <a:lnTo>
                    <a:pt x="700" y="1208"/>
                  </a:lnTo>
                  <a:lnTo>
                    <a:pt x="708" y="1200"/>
                  </a:lnTo>
                  <a:lnTo>
                    <a:pt x="708" y="1200"/>
                  </a:lnTo>
                  <a:lnTo>
                    <a:pt x="714" y="1194"/>
                  </a:lnTo>
                  <a:lnTo>
                    <a:pt x="714" y="1194"/>
                  </a:lnTo>
                  <a:lnTo>
                    <a:pt x="714" y="1186"/>
                  </a:lnTo>
                  <a:lnTo>
                    <a:pt x="714" y="1172"/>
                  </a:lnTo>
                  <a:lnTo>
                    <a:pt x="714" y="1172"/>
                  </a:lnTo>
                  <a:lnTo>
                    <a:pt x="714" y="1166"/>
                  </a:lnTo>
                  <a:lnTo>
                    <a:pt x="718" y="1160"/>
                  </a:lnTo>
                  <a:lnTo>
                    <a:pt x="718" y="1160"/>
                  </a:lnTo>
                  <a:lnTo>
                    <a:pt x="724" y="1156"/>
                  </a:lnTo>
                  <a:lnTo>
                    <a:pt x="724" y="1156"/>
                  </a:lnTo>
                  <a:lnTo>
                    <a:pt x="728" y="1150"/>
                  </a:lnTo>
                  <a:lnTo>
                    <a:pt x="728" y="1150"/>
                  </a:lnTo>
                  <a:lnTo>
                    <a:pt x="740" y="1142"/>
                  </a:lnTo>
                  <a:lnTo>
                    <a:pt x="746" y="1140"/>
                  </a:lnTo>
                  <a:lnTo>
                    <a:pt x="746" y="1140"/>
                  </a:lnTo>
                  <a:lnTo>
                    <a:pt x="754" y="1136"/>
                  </a:lnTo>
                  <a:lnTo>
                    <a:pt x="760" y="1136"/>
                  </a:lnTo>
                  <a:lnTo>
                    <a:pt x="764" y="1136"/>
                  </a:lnTo>
                  <a:lnTo>
                    <a:pt x="764" y="1136"/>
                  </a:lnTo>
                  <a:lnTo>
                    <a:pt x="772" y="1138"/>
                  </a:lnTo>
                  <a:lnTo>
                    <a:pt x="778" y="1140"/>
                  </a:lnTo>
                  <a:lnTo>
                    <a:pt x="778" y="1140"/>
                  </a:lnTo>
                  <a:lnTo>
                    <a:pt x="780" y="1146"/>
                  </a:lnTo>
                  <a:lnTo>
                    <a:pt x="778" y="1150"/>
                  </a:lnTo>
                  <a:lnTo>
                    <a:pt x="778" y="1150"/>
                  </a:lnTo>
                  <a:lnTo>
                    <a:pt x="776" y="1152"/>
                  </a:lnTo>
                  <a:lnTo>
                    <a:pt x="776" y="1156"/>
                  </a:lnTo>
                  <a:lnTo>
                    <a:pt x="778" y="1160"/>
                  </a:lnTo>
                  <a:lnTo>
                    <a:pt x="786" y="1170"/>
                  </a:lnTo>
                  <a:lnTo>
                    <a:pt x="786" y="1170"/>
                  </a:lnTo>
                  <a:lnTo>
                    <a:pt x="792" y="1172"/>
                  </a:lnTo>
                  <a:lnTo>
                    <a:pt x="800" y="1172"/>
                  </a:lnTo>
                  <a:lnTo>
                    <a:pt x="824" y="1158"/>
                  </a:lnTo>
                  <a:lnTo>
                    <a:pt x="824" y="1158"/>
                  </a:lnTo>
                  <a:lnTo>
                    <a:pt x="832" y="1156"/>
                  </a:lnTo>
                  <a:lnTo>
                    <a:pt x="838" y="1158"/>
                  </a:lnTo>
                  <a:lnTo>
                    <a:pt x="862" y="1164"/>
                  </a:lnTo>
                  <a:lnTo>
                    <a:pt x="862" y="1164"/>
                  </a:lnTo>
                  <a:lnTo>
                    <a:pt x="870" y="1166"/>
                  </a:lnTo>
                  <a:lnTo>
                    <a:pt x="874" y="1172"/>
                  </a:lnTo>
                  <a:lnTo>
                    <a:pt x="886" y="1188"/>
                  </a:lnTo>
                  <a:lnTo>
                    <a:pt x="886" y="1188"/>
                  </a:lnTo>
                  <a:lnTo>
                    <a:pt x="888" y="1194"/>
                  </a:lnTo>
                  <a:lnTo>
                    <a:pt x="890" y="1200"/>
                  </a:lnTo>
                  <a:lnTo>
                    <a:pt x="890" y="1200"/>
                  </a:lnTo>
                  <a:lnTo>
                    <a:pt x="892" y="1204"/>
                  </a:lnTo>
                  <a:lnTo>
                    <a:pt x="894" y="1210"/>
                  </a:lnTo>
                  <a:lnTo>
                    <a:pt x="894" y="1210"/>
                  </a:lnTo>
                  <a:lnTo>
                    <a:pt x="900" y="1212"/>
                  </a:lnTo>
                  <a:lnTo>
                    <a:pt x="908" y="1214"/>
                  </a:lnTo>
                  <a:lnTo>
                    <a:pt x="912" y="1214"/>
                  </a:lnTo>
                  <a:lnTo>
                    <a:pt x="912" y="1214"/>
                  </a:lnTo>
                  <a:lnTo>
                    <a:pt x="918" y="1216"/>
                  </a:lnTo>
                  <a:lnTo>
                    <a:pt x="924" y="1218"/>
                  </a:lnTo>
                  <a:lnTo>
                    <a:pt x="924" y="1218"/>
                  </a:lnTo>
                  <a:lnTo>
                    <a:pt x="932" y="1232"/>
                  </a:lnTo>
                  <a:lnTo>
                    <a:pt x="936" y="1236"/>
                  </a:lnTo>
                  <a:lnTo>
                    <a:pt x="936" y="1236"/>
                  </a:lnTo>
                  <a:lnTo>
                    <a:pt x="938" y="1244"/>
                  </a:lnTo>
                  <a:lnTo>
                    <a:pt x="938" y="1244"/>
                  </a:lnTo>
                  <a:close/>
                  <a:moveTo>
                    <a:pt x="1094" y="1156"/>
                  </a:moveTo>
                  <a:lnTo>
                    <a:pt x="1094" y="1156"/>
                  </a:lnTo>
                  <a:lnTo>
                    <a:pt x="1078" y="1156"/>
                  </a:lnTo>
                  <a:lnTo>
                    <a:pt x="1074" y="1156"/>
                  </a:lnTo>
                  <a:lnTo>
                    <a:pt x="1074" y="1156"/>
                  </a:lnTo>
                  <a:lnTo>
                    <a:pt x="1068" y="1156"/>
                  </a:lnTo>
                  <a:lnTo>
                    <a:pt x="1062" y="1160"/>
                  </a:lnTo>
                  <a:lnTo>
                    <a:pt x="1062" y="1160"/>
                  </a:lnTo>
                  <a:lnTo>
                    <a:pt x="1058" y="1166"/>
                  </a:lnTo>
                  <a:lnTo>
                    <a:pt x="1058" y="1172"/>
                  </a:lnTo>
                  <a:lnTo>
                    <a:pt x="1064" y="1196"/>
                  </a:lnTo>
                  <a:lnTo>
                    <a:pt x="1064" y="1196"/>
                  </a:lnTo>
                  <a:lnTo>
                    <a:pt x="1068" y="1204"/>
                  </a:lnTo>
                  <a:lnTo>
                    <a:pt x="1072" y="1210"/>
                  </a:lnTo>
                  <a:lnTo>
                    <a:pt x="1080" y="1218"/>
                  </a:lnTo>
                  <a:lnTo>
                    <a:pt x="1080" y="1218"/>
                  </a:lnTo>
                  <a:lnTo>
                    <a:pt x="1084" y="1224"/>
                  </a:lnTo>
                  <a:lnTo>
                    <a:pt x="1086" y="1232"/>
                  </a:lnTo>
                  <a:lnTo>
                    <a:pt x="1086" y="1256"/>
                  </a:lnTo>
                  <a:lnTo>
                    <a:pt x="1086" y="1256"/>
                  </a:lnTo>
                  <a:lnTo>
                    <a:pt x="1086" y="1264"/>
                  </a:lnTo>
                  <a:lnTo>
                    <a:pt x="1086" y="1264"/>
                  </a:lnTo>
                  <a:lnTo>
                    <a:pt x="1080" y="1266"/>
                  </a:lnTo>
                  <a:lnTo>
                    <a:pt x="1020" y="1278"/>
                  </a:lnTo>
                  <a:lnTo>
                    <a:pt x="1020" y="1278"/>
                  </a:lnTo>
                  <a:lnTo>
                    <a:pt x="1014" y="1278"/>
                  </a:lnTo>
                  <a:lnTo>
                    <a:pt x="1010" y="1276"/>
                  </a:lnTo>
                  <a:lnTo>
                    <a:pt x="1010" y="1276"/>
                  </a:lnTo>
                  <a:lnTo>
                    <a:pt x="1006" y="1274"/>
                  </a:lnTo>
                  <a:lnTo>
                    <a:pt x="1002" y="1278"/>
                  </a:lnTo>
                  <a:lnTo>
                    <a:pt x="1002" y="1278"/>
                  </a:lnTo>
                  <a:lnTo>
                    <a:pt x="998" y="1280"/>
                  </a:lnTo>
                  <a:lnTo>
                    <a:pt x="990" y="1282"/>
                  </a:lnTo>
                  <a:lnTo>
                    <a:pt x="982" y="1284"/>
                  </a:lnTo>
                  <a:lnTo>
                    <a:pt x="982" y="1284"/>
                  </a:lnTo>
                  <a:lnTo>
                    <a:pt x="976" y="1284"/>
                  </a:lnTo>
                  <a:lnTo>
                    <a:pt x="972" y="1284"/>
                  </a:lnTo>
                  <a:lnTo>
                    <a:pt x="972" y="1284"/>
                  </a:lnTo>
                  <a:lnTo>
                    <a:pt x="962" y="1278"/>
                  </a:lnTo>
                  <a:lnTo>
                    <a:pt x="962" y="1278"/>
                  </a:lnTo>
                  <a:lnTo>
                    <a:pt x="958" y="1272"/>
                  </a:lnTo>
                  <a:lnTo>
                    <a:pt x="958" y="1272"/>
                  </a:lnTo>
                  <a:lnTo>
                    <a:pt x="954" y="1268"/>
                  </a:lnTo>
                  <a:lnTo>
                    <a:pt x="954" y="1268"/>
                  </a:lnTo>
                  <a:lnTo>
                    <a:pt x="954" y="1266"/>
                  </a:lnTo>
                  <a:lnTo>
                    <a:pt x="954" y="1264"/>
                  </a:lnTo>
                  <a:lnTo>
                    <a:pt x="960" y="1264"/>
                  </a:lnTo>
                  <a:lnTo>
                    <a:pt x="960" y="1264"/>
                  </a:lnTo>
                  <a:lnTo>
                    <a:pt x="960" y="1264"/>
                  </a:lnTo>
                  <a:lnTo>
                    <a:pt x="968" y="1262"/>
                  </a:lnTo>
                  <a:lnTo>
                    <a:pt x="976" y="1260"/>
                  </a:lnTo>
                  <a:lnTo>
                    <a:pt x="980" y="1256"/>
                  </a:lnTo>
                  <a:lnTo>
                    <a:pt x="980" y="1256"/>
                  </a:lnTo>
                  <a:lnTo>
                    <a:pt x="986" y="1256"/>
                  </a:lnTo>
                  <a:lnTo>
                    <a:pt x="992" y="1258"/>
                  </a:lnTo>
                  <a:lnTo>
                    <a:pt x="992" y="1258"/>
                  </a:lnTo>
                  <a:lnTo>
                    <a:pt x="996" y="1264"/>
                  </a:lnTo>
                  <a:lnTo>
                    <a:pt x="998" y="1268"/>
                  </a:lnTo>
                  <a:lnTo>
                    <a:pt x="998" y="1268"/>
                  </a:lnTo>
                  <a:lnTo>
                    <a:pt x="998" y="1270"/>
                  </a:lnTo>
                  <a:lnTo>
                    <a:pt x="998" y="1270"/>
                  </a:lnTo>
                  <a:lnTo>
                    <a:pt x="1002" y="1266"/>
                  </a:lnTo>
                  <a:lnTo>
                    <a:pt x="1004" y="1260"/>
                  </a:lnTo>
                  <a:lnTo>
                    <a:pt x="1004" y="1260"/>
                  </a:lnTo>
                  <a:lnTo>
                    <a:pt x="1012" y="1248"/>
                  </a:lnTo>
                  <a:lnTo>
                    <a:pt x="1022" y="1240"/>
                  </a:lnTo>
                  <a:lnTo>
                    <a:pt x="1022" y="1240"/>
                  </a:lnTo>
                  <a:lnTo>
                    <a:pt x="1024" y="1234"/>
                  </a:lnTo>
                  <a:lnTo>
                    <a:pt x="1024" y="1226"/>
                  </a:lnTo>
                  <a:lnTo>
                    <a:pt x="1010" y="1202"/>
                  </a:lnTo>
                  <a:lnTo>
                    <a:pt x="1010" y="1202"/>
                  </a:lnTo>
                  <a:lnTo>
                    <a:pt x="1002" y="1188"/>
                  </a:lnTo>
                  <a:lnTo>
                    <a:pt x="974" y="1152"/>
                  </a:lnTo>
                  <a:lnTo>
                    <a:pt x="974" y="1152"/>
                  </a:lnTo>
                  <a:lnTo>
                    <a:pt x="970" y="1146"/>
                  </a:lnTo>
                  <a:lnTo>
                    <a:pt x="972" y="1138"/>
                  </a:lnTo>
                  <a:lnTo>
                    <a:pt x="984" y="1122"/>
                  </a:lnTo>
                  <a:lnTo>
                    <a:pt x="984" y="1122"/>
                  </a:lnTo>
                  <a:lnTo>
                    <a:pt x="988" y="1118"/>
                  </a:lnTo>
                  <a:lnTo>
                    <a:pt x="994" y="1112"/>
                  </a:lnTo>
                  <a:lnTo>
                    <a:pt x="1000" y="1110"/>
                  </a:lnTo>
                  <a:lnTo>
                    <a:pt x="1000" y="1110"/>
                  </a:lnTo>
                  <a:lnTo>
                    <a:pt x="1006" y="1108"/>
                  </a:lnTo>
                  <a:lnTo>
                    <a:pt x="1012" y="1112"/>
                  </a:lnTo>
                  <a:lnTo>
                    <a:pt x="1012" y="1112"/>
                  </a:lnTo>
                  <a:lnTo>
                    <a:pt x="1018" y="1114"/>
                  </a:lnTo>
                  <a:lnTo>
                    <a:pt x="1026" y="1116"/>
                  </a:lnTo>
                  <a:lnTo>
                    <a:pt x="1048" y="1116"/>
                  </a:lnTo>
                  <a:lnTo>
                    <a:pt x="1048" y="1116"/>
                  </a:lnTo>
                  <a:lnTo>
                    <a:pt x="1064" y="1116"/>
                  </a:lnTo>
                  <a:lnTo>
                    <a:pt x="1078" y="1116"/>
                  </a:lnTo>
                  <a:lnTo>
                    <a:pt x="1078" y="1116"/>
                  </a:lnTo>
                  <a:lnTo>
                    <a:pt x="1084" y="1118"/>
                  </a:lnTo>
                  <a:lnTo>
                    <a:pt x="1090" y="1122"/>
                  </a:lnTo>
                  <a:lnTo>
                    <a:pt x="1110" y="1148"/>
                  </a:lnTo>
                  <a:lnTo>
                    <a:pt x="1110" y="1148"/>
                  </a:lnTo>
                  <a:lnTo>
                    <a:pt x="1112" y="1152"/>
                  </a:lnTo>
                  <a:lnTo>
                    <a:pt x="1112" y="1154"/>
                  </a:lnTo>
                  <a:lnTo>
                    <a:pt x="1110" y="1154"/>
                  </a:lnTo>
                  <a:lnTo>
                    <a:pt x="1108" y="1156"/>
                  </a:lnTo>
                  <a:lnTo>
                    <a:pt x="1094" y="1156"/>
                  </a:lnTo>
                  <a:close/>
                  <a:moveTo>
                    <a:pt x="1098" y="350"/>
                  </a:moveTo>
                  <a:lnTo>
                    <a:pt x="1098" y="350"/>
                  </a:lnTo>
                  <a:lnTo>
                    <a:pt x="1102" y="354"/>
                  </a:lnTo>
                  <a:lnTo>
                    <a:pt x="1106" y="358"/>
                  </a:lnTo>
                  <a:lnTo>
                    <a:pt x="1106" y="358"/>
                  </a:lnTo>
                  <a:lnTo>
                    <a:pt x="1108" y="362"/>
                  </a:lnTo>
                  <a:lnTo>
                    <a:pt x="1112" y="366"/>
                  </a:lnTo>
                  <a:lnTo>
                    <a:pt x="1118" y="368"/>
                  </a:lnTo>
                  <a:lnTo>
                    <a:pt x="1118" y="368"/>
                  </a:lnTo>
                  <a:lnTo>
                    <a:pt x="1124" y="372"/>
                  </a:lnTo>
                  <a:lnTo>
                    <a:pt x="1132" y="372"/>
                  </a:lnTo>
                  <a:lnTo>
                    <a:pt x="1156" y="372"/>
                  </a:lnTo>
                  <a:lnTo>
                    <a:pt x="1156" y="372"/>
                  </a:lnTo>
                  <a:lnTo>
                    <a:pt x="1158" y="372"/>
                  </a:lnTo>
                  <a:lnTo>
                    <a:pt x="1160" y="370"/>
                  </a:lnTo>
                  <a:lnTo>
                    <a:pt x="1160" y="368"/>
                  </a:lnTo>
                  <a:lnTo>
                    <a:pt x="1158" y="366"/>
                  </a:lnTo>
                  <a:lnTo>
                    <a:pt x="1150" y="358"/>
                  </a:lnTo>
                  <a:lnTo>
                    <a:pt x="1150" y="358"/>
                  </a:lnTo>
                  <a:lnTo>
                    <a:pt x="1146" y="352"/>
                  </a:lnTo>
                  <a:lnTo>
                    <a:pt x="1142" y="346"/>
                  </a:lnTo>
                  <a:lnTo>
                    <a:pt x="1128" y="302"/>
                  </a:lnTo>
                  <a:lnTo>
                    <a:pt x="1128" y="302"/>
                  </a:lnTo>
                  <a:lnTo>
                    <a:pt x="1126" y="294"/>
                  </a:lnTo>
                  <a:lnTo>
                    <a:pt x="1128" y="286"/>
                  </a:lnTo>
                  <a:lnTo>
                    <a:pt x="1140" y="262"/>
                  </a:lnTo>
                  <a:lnTo>
                    <a:pt x="1140" y="262"/>
                  </a:lnTo>
                  <a:lnTo>
                    <a:pt x="1148" y="248"/>
                  </a:lnTo>
                  <a:lnTo>
                    <a:pt x="1180" y="184"/>
                  </a:lnTo>
                  <a:lnTo>
                    <a:pt x="1180" y="184"/>
                  </a:lnTo>
                  <a:lnTo>
                    <a:pt x="1184" y="178"/>
                  </a:lnTo>
                  <a:lnTo>
                    <a:pt x="1190" y="172"/>
                  </a:lnTo>
                  <a:lnTo>
                    <a:pt x="1216" y="152"/>
                  </a:lnTo>
                  <a:lnTo>
                    <a:pt x="1216" y="152"/>
                  </a:lnTo>
                  <a:lnTo>
                    <a:pt x="1226" y="140"/>
                  </a:lnTo>
                  <a:lnTo>
                    <a:pt x="1238" y="124"/>
                  </a:lnTo>
                  <a:lnTo>
                    <a:pt x="1238" y="124"/>
                  </a:lnTo>
                  <a:lnTo>
                    <a:pt x="1244" y="120"/>
                  </a:lnTo>
                  <a:lnTo>
                    <a:pt x="1250" y="116"/>
                  </a:lnTo>
                  <a:lnTo>
                    <a:pt x="1264" y="110"/>
                  </a:lnTo>
                  <a:lnTo>
                    <a:pt x="1264" y="110"/>
                  </a:lnTo>
                  <a:lnTo>
                    <a:pt x="1278" y="104"/>
                  </a:lnTo>
                  <a:lnTo>
                    <a:pt x="1294" y="94"/>
                  </a:lnTo>
                  <a:lnTo>
                    <a:pt x="1294" y="94"/>
                  </a:lnTo>
                  <a:lnTo>
                    <a:pt x="1306" y="84"/>
                  </a:lnTo>
                  <a:lnTo>
                    <a:pt x="1334" y="56"/>
                  </a:lnTo>
                  <a:lnTo>
                    <a:pt x="1334" y="56"/>
                  </a:lnTo>
                  <a:lnTo>
                    <a:pt x="1338" y="50"/>
                  </a:lnTo>
                  <a:lnTo>
                    <a:pt x="1336" y="42"/>
                  </a:lnTo>
                  <a:lnTo>
                    <a:pt x="1334" y="38"/>
                  </a:lnTo>
                  <a:lnTo>
                    <a:pt x="1334" y="38"/>
                  </a:lnTo>
                  <a:lnTo>
                    <a:pt x="1328" y="32"/>
                  </a:lnTo>
                  <a:lnTo>
                    <a:pt x="1322" y="30"/>
                  </a:lnTo>
                  <a:lnTo>
                    <a:pt x="1308" y="30"/>
                  </a:lnTo>
                  <a:lnTo>
                    <a:pt x="1308" y="30"/>
                  </a:lnTo>
                  <a:lnTo>
                    <a:pt x="1302" y="32"/>
                  </a:lnTo>
                  <a:lnTo>
                    <a:pt x="1296" y="36"/>
                  </a:lnTo>
                  <a:lnTo>
                    <a:pt x="1286" y="44"/>
                  </a:lnTo>
                  <a:lnTo>
                    <a:pt x="1286" y="44"/>
                  </a:lnTo>
                  <a:lnTo>
                    <a:pt x="1276" y="54"/>
                  </a:lnTo>
                  <a:lnTo>
                    <a:pt x="1276" y="54"/>
                  </a:lnTo>
                  <a:lnTo>
                    <a:pt x="1270" y="58"/>
                  </a:lnTo>
                  <a:lnTo>
                    <a:pt x="1264" y="62"/>
                  </a:lnTo>
                  <a:lnTo>
                    <a:pt x="1250" y="66"/>
                  </a:lnTo>
                  <a:lnTo>
                    <a:pt x="1250" y="66"/>
                  </a:lnTo>
                  <a:lnTo>
                    <a:pt x="1234" y="70"/>
                  </a:lnTo>
                  <a:lnTo>
                    <a:pt x="1220" y="70"/>
                  </a:lnTo>
                  <a:lnTo>
                    <a:pt x="1220" y="70"/>
                  </a:lnTo>
                  <a:lnTo>
                    <a:pt x="1214" y="70"/>
                  </a:lnTo>
                  <a:lnTo>
                    <a:pt x="1208" y="74"/>
                  </a:lnTo>
                  <a:lnTo>
                    <a:pt x="1208" y="74"/>
                  </a:lnTo>
                  <a:lnTo>
                    <a:pt x="1198" y="84"/>
                  </a:lnTo>
                  <a:lnTo>
                    <a:pt x="1198" y="84"/>
                  </a:lnTo>
                  <a:lnTo>
                    <a:pt x="1188" y="94"/>
                  </a:lnTo>
                  <a:lnTo>
                    <a:pt x="1160" y="122"/>
                  </a:lnTo>
                  <a:lnTo>
                    <a:pt x="1160" y="122"/>
                  </a:lnTo>
                  <a:lnTo>
                    <a:pt x="1146" y="132"/>
                  </a:lnTo>
                  <a:lnTo>
                    <a:pt x="1142" y="134"/>
                  </a:lnTo>
                  <a:lnTo>
                    <a:pt x="1142" y="134"/>
                  </a:lnTo>
                  <a:lnTo>
                    <a:pt x="1136" y="140"/>
                  </a:lnTo>
                  <a:lnTo>
                    <a:pt x="1134" y="146"/>
                  </a:lnTo>
                  <a:lnTo>
                    <a:pt x="1134" y="160"/>
                  </a:lnTo>
                  <a:lnTo>
                    <a:pt x="1134" y="160"/>
                  </a:lnTo>
                  <a:lnTo>
                    <a:pt x="1132" y="166"/>
                  </a:lnTo>
                  <a:lnTo>
                    <a:pt x="1128" y="170"/>
                  </a:lnTo>
                  <a:lnTo>
                    <a:pt x="1122" y="174"/>
                  </a:lnTo>
                  <a:lnTo>
                    <a:pt x="1122" y="174"/>
                  </a:lnTo>
                  <a:lnTo>
                    <a:pt x="1116" y="178"/>
                  </a:lnTo>
                  <a:lnTo>
                    <a:pt x="1110" y="184"/>
                  </a:lnTo>
                  <a:lnTo>
                    <a:pt x="1100" y="200"/>
                  </a:lnTo>
                  <a:lnTo>
                    <a:pt x="1100" y="200"/>
                  </a:lnTo>
                  <a:lnTo>
                    <a:pt x="1096" y="206"/>
                  </a:lnTo>
                  <a:lnTo>
                    <a:pt x="1096" y="214"/>
                  </a:lnTo>
                  <a:lnTo>
                    <a:pt x="1096" y="218"/>
                  </a:lnTo>
                  <a:lnTo>
                    <a:pt x="1096" y="218"/>
                  </a:lnTo>
                  <a:lnTo>
                    <a:pt x="1094" y="226"/>
                  </a:lnTo>
                  <a:lnTo>
                    <a:pt x="1092" y="232"/>
                  </a:lnTo>
                  <a:lnTo>
                    <a:pt x="1090" y="238"/>
                  </a:lnTo>
                  <a:lnTo>
                    <a:pt x="1090" y="238"/>
                  </a:lnTo>
                  <a:lnTo>
                    <a:pt x="1082" y="252"/>
                  </a:lnTo>
                  <a:lnTo>
                    <a:pt x="1080" y="258"/>
                  </a:lnTo>
                  <a:lnTo>
                    <a:pt x="1080" y="258"/>
                  </a:lnTo>
                  <a:lnTo>
                    <a:pt x="1076" y="266"/>
                  </a:lnTo>
                  <a:lnTo>
                    <a:pt x="1076" y="272"/>
                  </a:lnTo>
                  <a:lnTo>
                    <a:pt x="1076" y="286"/>
                  </a:lnTo>
                  <a:lnTo>
                    <a:pt x="1076" y="286"/>
                  </a:lnTo>
                  <a:lnTo>
                    <a:pt x="1074" y="294"/>
                  </a:lnTo>
                  <a:lnTo>
                    <a:pt x="1072" y="302"/>
                  </a:lnTo>
                  <a:lnTo>
                    <a:pt x="1070" y="306"/>
                  </a:lnTo>
                  <a:lnTo>
                    <a:pt x="1070" y="306"/>
                  </a:lnTo>
                  <a:lnTo>
                    <a:pt x="1068" y="314"/>
                  </a:lnTo>
                  <a:lnTo>
                    <a:pt x="1068" y="322"/>
                  </a:lnTo>
                  <a:lnTo>
                    <a:pt x="1074" y="336"/>
                  </a:lnTo>
                  <a:lnTo>
                    <a:pt x="1074" y="336"/>
                  </a:lnTo>
                  <a:lnTo>
                    <a:pt x="1078" y="342"/>
                  </a:lnTo>
                  <a:lnTo>
                    <a:pt x="1084" y="346"/>
                  </a:lnTo>
                  <a:lnTo>
                    <a:pt x="1098" y="350"/>
                  </a:lnTo>
                  <a:close/>
                  <a:moveTo>
                    <a:pt x="148" y="1002"/>
                  </a:moveTo>
                  <a:lnTo>
                    <a:pt x="148" y="1002"/>
                  </a:lnTo>
                  <a:lnTo>
                    <a:pt x="162" y="994"/>
                  </a:lnTo>
                  <a:lnTo>
                    <a:pt x="168" y="992"/>
                  </a:lnTo>
                  <a:lnTo>
                    <a:pt x="168" y="992"/>
                  </a:lnTo>
                  <a:lnTo>
                    <a:pt x="172" y="988"/>
                  </a:lnTo>
                  <a:lnTo>
                    <a:pt x="174" y="980"/>
                  </a:lnTo>
                  <a:lnTo>
                    <a:pt x="174" y="978"/>
                  </a:lnTo>
                  <a:lnTo>
                    <a:pt x="174" y="978"/>
                  </a:lnTo>
                  <a:lnTo>
                    <a:pt x="174" y="962"/>
                  </a:lnTo>
                  <a:lnTo>
                    <a:pt x="174" y="958"/>
                  </a:lnTo>
                  <a:lnTo>
                    <a:pt x="174" y="958"/>
                  </a:lnTo>
                  <a:lnTo>
                    <a:pt x="176" y="950"/>
                  </a:lnTo>
                  <a:lnTo>
                    <a:pt x="180" y="944"/>
                  </a:lnTo>
                  <a:lnTo>
                    <a:pt x="180" y="944"/>
                  </a:lnTo>
                  <a:lnTo>
                    <a:pt x="182" y="940"/>
                  </a:lnTo>
                  <a:lnTo>
                    <a:pt x="180" y="936"/>
                  </a:lnTo>
                  <a:lnTo>
                    <a:pt x="180" y="936"/>
                  </a:lnTo>
                  <a:lnTo>
                    <a:pt x="176" y="930"/>
                  </a:lnTo>
                  <a:lnTo>
                    <a:pt x="174" y="926"/>
                  </a:lnTo>
                  <a:lnTo>
                    <a:pt x="174" y="926"/>
                  </a:lnTo>
                  <a:lnTo>
                    <a:pt x="172" y="922"/>
                  </a:lnTo>
                  <a:lnTo>
                    <a:pt x="170" y="920"/>
                  </a:lnTo>
                  <a:lnTo>
                    <a:pt x="170" y="920"/>
                  </a:lnTo>
                  <a:lnTo>
                    <a:pt x="164" y="920"/>
                  </a:lnTo>
                  <a:lnTo>
                    <a:pt x="160" y="916"/>
                  </a:lnTo>
                  <a:lnTo>
                    <a:pt x="160" y="916"/>
                  </a:lnTo>
                  <a:lnTo>
                    <a:pt x="158" y="914"/>
                  </a:lnTo>
                  <a:lnTo>
                    <a:pt x="154" y="914"/>
                  </a:lnTo>
                  <a:lnTo>
                    <a:pt x="148" y="916"/>
                  </a:lnTo>
                  <a:lnTo>
                    <a:pt x="140" y="924"/>
                  </a:lnTo>
                  <a:lnTo>
                    <a:pt x="140" y="924"/>
                  </a:lnTo>
                  <a:lnTo>
                    <a:pt x="136" y="930"/>
                  </a:lnTo>
                  <a:lnTo>
                    <a:pt x="134" y="936"/>
                  </a:lnTo>
                  <a:lnTo>
                    <a:pt x="134" y="936"/>
                  </a:lnTo>
                  <a:lnTo>
                    <a:pt x="132" y="938"/>
                  </a:lnTo>
                  <a:lnTo>
                    <a:pt x="126" y="940"/>
                  </a:lnTo>
                  <a:lnTo>
                    <a:pt x="124" y="940"/>
                  </a:lnTo>
                  <a:lnTo>
                    <a:pt x="124" y="940"/>
                  </a:lnTo>
                  <a:lnTo>
                    <a:pt x="120" y="940"/>
                  </a:lnTo>
                  <a:lnTo>
                    <a:pt x="118" y="942"/>
                  </a:lnTo>
                  <a:lnTo>
                    <a:pt x="118" y="944"/>
                  </a:lnTo>
                  <a:lnTo>
                    <a:pt x="118" y="948"/>
                  </a:lnTo>
                  <a:lnTo>
                    <a:pt x="122" y="952"/>
                  </a:lnTo>
                  <a:lnTo>
                    <a:pt x="122" y="952"/>
                  </a:lnTo>
                  <a:lnTo>
                    <a:pt x="122" y="958"/>
                  </a:lnTo>
                  <a:lnTo>
                    <a:pt x="122" y="958"/>
                  </a:lnTo>
                  <a:lnTo>
                    <a:pt x="120" y="960"/>
                  </a:lnTo>
                  <a:lnTo>
                    <a:pt x="120" y="960"/>
                  </a:lnTo>
                  <a:lnTo>
                    <a:pt x="118" y="960"/>
                  </a:lnTo>
                  <a:lnTo>
                    <a:pt x="120" y="964"/>
                  </a:lnTo>
                  <a:lnTo>
                    <a:pt x="120" y="964"/>
                  </a:lnTo>
                  <a:lnTo>
                    <a:pt x="124" y="970"/>
                  </a:lnTo>
                  <a:lnTo>
                    <a:pt x="124" y="974"/>
                  </a:lnTo>
                  <a:lnTo>
                    <a:pt x="124" y="974"/>
                  </a:lnTo>
                  <a:lnTo>
                    <a:pt x="124" y="978"/>
                  </a:lnTo>
                  <a:lnTo>
                    <a:pt x="120" y="984"/>
                  </a:lnTo>
                  <a:lnTo>
                    <a:pt x="120" y="984"/>
                  </a:lnTo>
                  <a:lnTo>
                    <a:pt x="116" y="988"/>
                  </a:lnTo>
                  <a:lnTo>
                    <a:pt x="116" y="994"/>
                  </a:lnTo>
                  <a:lnTo>
                    <a:pt x="116" y="994"/>
                  </a:lnTo>
                  <a:lnTo>
                    <a:pt x="116" y="1004"/>
                  </a:lnTo>
                  <a:lnTo>
                    <a:pt x="116" y="1004"/>
                  </a:lnTo>
                  <a:lnTo>
                    <a:pt x="116" y="1008"/>
                  </a:lnTo>
                  <a:lnTo>
                    <a:pt x="120" y="1012"/>
                  </a:lnTo>
                  <a:lnTo>
                    <a:pt x="120" y="1012"/>
                  </a:lnTo>
                  <a:lnTo>
                    <a:pt x="126" y="1016"/>
                  </a:lnTo>
                  <a:lnTo>
                    <a:pt x="132" y="1014"/>
                  </a:lnTo>
                  <a:lnTo>
                    <a:pt x="148" y="1002"/>
                  </a:lnTo>
                  <a:close/>
                  <a:moveTo>
                    <a:pt x="1506" y="1812"/>
                  </a:moveTo>
                  <a:lnTo>
                    <a:pt x="1506" y="1812"/>
                  </a:lnTo>
                  <a:lnTo>
                    <a:pt x="1506" y="1828"/>
                  </a:lnTo>
                  <a:lnTo>
                    <a:pt x="1506" y="1832"/>
                  </a:lnTo>
                  <a:lnTo>
                    <a:pt x="1506" y="1832"/>
                  </a:lnTo>
                  <a:lnTo>
                    <a:pt x="1508" y="1836"/>
                  </a:lnTo>
                  <a:lnTo>
                    <a:pt x="1510" y="1838"/>
                  </a:lnTo>
                  <a:lnTo>
                    <a:pt x="1512" y="1840"/>
                  </a:lnTo>
                  <a:lnTo>
                    <a:pt x="1514" y="1840"/>
                  </a:lnTo>
                  <a:lnTo>
                    <a:pt x="1518" y="1840"/>
                  </a:lnTo>
                  <a:lnTo>
                    <a:pt x="1518" y="1840"/>
                  </a:lnTo>
                  <a:lnTo>
                    <a:pt x="1524" y="1838"/>
                  </a:lnTo>
                  <a:lnTo>
                    <a:pt x="1530" y="1834"/>
                  </a:lnTo>
                  <a:lnTo>
                    <a:pt x="1532" y="1828"/>
                  </a:lnTo>
                  <a:lnTo>
                    <a:pt x="1532" y="1828"/>
                  </a:lnTo>
                  <a:lnTo>
                    <a:pt x="1532" y="1822"/>
                  </a:lnTo>
                  <a:lnTo>
                    <a:pt x="1530" y="1816"/>
                  </a:lnTo>
                  <a:lnTo>
                    <a:pt x="1514" y="1806"/>
                  </a:lnTo>
                  <a:lnTo>
                    <a:pt x="1514" y="1806"/>
                  </a:lnTo>
                  <a:lnTo>
                    <a:pt x="1510" y="1804"/>
                  </a:lnTo>
                  <a:lnTo>
                    <a:pt x="1508" y="1804"/>
                  </a:lnTo>
                  <a:lnTo>
                    <a:pt x="1508" y="1806"/>
                  </a:lnTo>
                  <a:lnTo>
                    <a:pt x="1506" y="1808"/>
                  </a:lnTo>
                  <a:lnTo>
                    <a:pt x="1506" y="1812"/>
                  </a:lnTo>
                  <a:close/>
                  <a:moveTo>
                    <a:pt x="1910" y="1994"/>
                  </a:moveTo>
                  <a:lnTo>
                    <a:pt x="1910" y="1994"/>
                  </a:lnTo>
                  <a:lnTo>
                    <a:pt x="1904" y="1980"/>
                  </a:lnTo>
                  <a:lnTo>
                    <a:pt x="1892" y="1964"/>
                  </a:lnTo>
                  <a:lnTo>
                    <a:pt x="1892" y="1964"/>
                  </a:lnTo>
                  <a:lnTo>
                    <a:pt x="1884" y="1952"/>
                  </a:lnTo>
                  <a:lnTo>
                    <a:pt x="1884" y="1952"/>
                  </a:lnTo>
                  <a:lnTo>
                    <a:pt x="1872" y="1942"/>
                  </a:lnTo>
                  <a:lnTo>
                    <a:pt x="1846" y="1914"/>
                  </a:lnTo>
                  <a:lnTo>
                    <a:pt x="1846" y="1914"/>
                  </a:lnTo>
                  <a:lnTo>
                    <a:pt x="1832" y="1904"/>
                  </a:lnTo>
                  <a:lnTo>
                    <a:pt x="1826" y="1902"/>
                  </a:lnTo>
                  <a:lnTo>
                    <a:pt x="1826" y="1902"/>
                  </a:lnTo>
                  <a:lnTo>
                    <a:pt x="1812" y="1896"/>
                  </a:lnTo>
                  <a:lnTo>
                    <a:pt x="1808" y="1892"/>
                  </a:lnTo>
                  <a:lnTo>
                    <a:pt x="1808" y="1892"/>
                  </a:lnTo>
                  <a:lnTo>
                    <a:pt x="1800" y="1888"/>
                  </a:lnTo>
                  <a:lnTo>
                    <a:pt x="1796" y="1882"/>
                  </a:lnTo>
                  <a:lnTo>
                    <a:pt x="1784" y="1866"/>
                  </a:lnTo>
                  <a:lnTo>
                    <a:pt x="1784" y="1866"/>
                  </a:lnTo>
                  <a:lnTo>
                    <a:pt x="1780" y="1862"/>
                  </a:lnTo>
                  <a:lnTo>
                    <a:pt x="1772" y="1860"/>
                  </a:lnTo>
                  <a:lnTo>
                    <a:pt x="1768" y="1860"/>
                  </a:lnTo>
                  <a:lnTo>
                    <a:pt x="1768" y="1860"/>
                  </a:lnTo>
                  <a:lnTo>
                    <a:pt x="1766" y="1860"/>
                  </a:lnTo>
                  <a:lnTo>
                    <a:pt x="1764" y="1862"/>
                  </a:lnTo>
                  <a:lnTo>
                    <a:pt x="1762" y="1864"/>
                  </a:lnTo>
                  <a:lnTo>
                    <a:pt x="1762" y="1868"/>
                  </a:lnTo>
                  <a:lnTo>
                    <a:pt x="1768" y="1890"/>
                  </a:lnTo>
                  <a:lnTo>
                    <a:pt x="1768" y="1890"/>
                  </a:lnTo>
                  <a:lnTo>
                    <a:pt x="1772" y="1898"/>
                  </a:lnTo>
                  <a:lnTo>
                    <a:pt x="1776" y="1904"/>
                  </a:lnTo>
                  <a:lnTo>
                    <a:pt x="1784" y="1912"/>
                  </a:lnTo>
                  <a:lnTo>
                    <a:pt x="1784" y="1912"/>
                  </a:lnTo>
                  <a:lnTo>
                    <a:pt x="1796" y="1924"/>
                  </a:lnTo>
                  <a:lnTo>
                    <a:pt x="1804" y="1932"/>
                  </a:lnTo>
                  <a:lnTo>
                    <a:pt x="1804" y="1932"/>
                  </a:lnTo>
                  <a:lnTo>
                    <a:pt x="1814" y="1942"/>
                  </a:lnTo>
                  <a:lnTo>
                    <a:pt x="1814" y="1942"/>
                  </a:lnTo>
                  <a:lnTo>
                    <a:pt x="1824" y="1956"/>
                  </a:lnTo>
                  <a:lnTo>
                    <a:pt x="1836" y="1980"/>
                  </a:lnTo>
                  <a:lnTo>
                    <a:pt x="1836" y="1980"/>
                  </a:lnTo>
                  <a:lnTo>
                    <a:pt x="1840" y="1986"/>
                  </a:lnTo>
                  <a:lnTo>
                    <a:pt x="1846" y="1992"/>
                  </a:lnTo>
                  <a:lnTo>
                    <a:pt x="1862" y="2002"/>
                  </a:lnTo>
                  <a:lnTo>
                    <a:pt x="1862" y="2002"/>
                  </a:lnTo>
                  <a:lnTo>
                    <a:pt x="1876" y="2012"/>
                  </a:lnTo>
                  <a:lnTo>
                    <a:pt x="1892" y="2022"/>
                  </a:lnTo>
                  <a:lnTo>
                    <a:pt x="1892" y="2022"/>
                  </a:lnTo>
                  <a:lnTo>
                    <a:pt x="1898" y="2024"/>
                  </a:lnTo>
                  <a:lnTo>
                    <a:pt x="1906" y="2022"/>
                  </a:lnTo>
                  <a:lnTo>
                    <a:pt x="1910" y="2020"/>
                  </a:lnTo>
                  <a:lnTo>
                    <a:pt x="1910" y="2020"/>
                  </a:lnTo>
                  <a:lnTo>
                    <a:pt x="1916" y="2016"/>
                  </a:lnTo>
                  <a:lnTo>
                    <a:pt x="1916" y="2008"/>
                  </a:lnTo>
                  <a:lnTo>
                    <a:pt x="1910" y="1994"/>
                  </a:lnTo>
                  <a:close/>
                  <a:moveTo>
                    <a:pt x="1004" y="2148"/>
                  </a:moveTo>
                  <a:lnTo>
                    <a:pt x="1004" y="2148"/>
                  </a:lnTo>
                  <a:lnTo>
                    <a:pt x="998" y="2154"/>
                  </a:lnTo>
                  <a:lnTo>
                    <a:pt x="994" y="2160"/>
                  </a:lnTo>
                  <a:lnTo>
                    <a:pt x="982" y="2176"/>
                  </a:lnTo>
                  <a:lnTo>
                    <a:pt x="982" y="2176"/>
                  </a:lnTo>
                  <a:lnTo>
                    <a:pt x="978" y="2182"/>
                  </a:lnTo>
                  <a:lnTo>
                    <a:pt x="970" y="2186"/>
                  </a:lnTo>
                  <a:lnTo>
                    <a:pt x="966" y="2188"/>
                  </a:lnTo>
                  <a:lnTo>
                    <a:pt x="966" y="2188"/>
                  </a:lnTo>
                  <a:lnTo>
                    <a:pt x="954" y="2198"/>
                  </a:lnTo>
                  <a:lnTo>
                    <a:pt x="954" y="2198"/>
                  </a:lnTo>
                  <a:lnTo>
                    <a:pt x="950" y="2202"/>
                  </a:lnTo>
                  <a:lnTo>
                    <a:pt x="950" y="2210"/>
                  </a:lnTo>
                  <a:lnTo>
                    <a:pt x="956" y="2234"/>
                  </a:lnTo>
                  <a:lnTo>
                    <a:pt x="956" y="2234"/>
                  </a:lnTo>
                  <a:lnTo>
                    <a:pt x="958" y="2242"/>
                  </a:lnTo>
                  <a:lnTo>
                    <a:pt x="956" y="2248"/>
                  </a:lnTo>
                  <a:lnTo>
                    <a:pt x="952" y="2264"/>
                  </a:lnTo>
                  <a:lnTo>
                    <a:pt x="952" y="2264"/>
                  </a:lnTo>
                  <a:lnTo>
                    <a:pt x="946" y="2278"/>
                  </a:lnTo>
                  <a:lnTo>
                    <a:pt x="942" y="2284"/>
                  </a:lnTo>
                  <a:lnTo>
                    <a:pt x="942" y="2284"/>
                  </a:lnTo>
                  <a:lnTo>
                    <a:pt x="940" y="2290"/>
                  </a:lnTo>
                  <a:lnTo>
                    <a:pt x="938" y="2298"/>
                  </a:lnTo>
                  <a:lnTo>
                    <a:pt x="938" y="2302"/>
                  </a:lnTo>
                  <a:lnTo>
                    <a:pt x="938" y="2302"/>
                  </a:lnTo>
                  <a:lnTo>
                    <a:pt x="938" y="2318"/>
                  </a:lnTo>
                  <a:lnTo>
                    <a:pt x="938" y="2322"/>
                  </a:lnTo>
                  <a:lnTo>
                    <a:pt x="938" y="2322"/>
                  </a:lnTo>
                  <a:lnTo>
                    <a:pt x="940" y="2328"/>
                  </a:lnTo>
                  <a:lnTo>
                    <a:pt x="944" y="2336"/>
                  </a:lnTo>
                  <a:lnTo>
                    <a:pt x="952" y="2344"/>
                  </a:lnTo>
                  <a:lnTo>
                    <a:pt x="952" y="2344"/>
                  </a:lnTo>
                  <a:lnTo>
                    <a:pt x="958" y="2346"/>
                  </a:lnTo>
                  <a:lnTo>
                    <a:pt x="966" y="2346"/>
                  </a:lnTo>
                  <a:lnTo>
                    <a:pt x="970" y="2342"/>
                  </a:lnTo>
                  <a:lnTo>
                    <a:pt x="970" y="2342"/>
                  </a:lnTo>
                  <a:lnTo>
                    <a:pt x="978" y="2340"/>
                  </a:lnTo>
                  <a:lnTo>
                    <a:pt x="986" y="2340"/>
                  </a:lnTo>
                  <a:lnTo>
                    <a:pt x="990" y="2340"/>
                  </a:lnTo>
                  <a:lnTo>
                    <a:pt x="990" y="2340"/>
                  </a:lnTo>
                  <a:lnTo>
                    <a:pt x="996" y="2338"/>
                  </a:lnTo>
                  <a:lnTo>
                    <a:pt x="1000" y="2332"/>
                  </a:lnTo>
                  <a:lnTo>
                    <a:pt x="1034" y="2210"/>
                  </a:lnTo>
                  <a:lnTo>
                    <a:pt x="1034" y="2210"/>
                  </a:lnTo>
                  <a:lnTo>
                    <a:pt x="1036" y="2194"/>
                  </a:lnTo>
                  <a:lnTo>
                    <a:pt x="1036" y="2190"/>
                  </a:lnTo>
                  <a:lnTo>
                    <a:pt x="1036" y="2190"/>
                  </a:lnTo>
                  <a:lnTo>
                    <a:pt x="1036" y="2174"/>
                  </a:lnTo>
                  <a:lnTo>
                    <a:pt x="1036" y="2160"/>
                  </a:lnTo>
                  <a:lnTo>
                    <a:pt x="1036" y="2160"/>
                  </a:lnTo>
                  <a:lnTo>
                    <a:pt x="1036" y="2154"/>
                  </a:lnTo>
                  <a:lnTo>
                    <a:pt x="1034" y="2146"/>
                  </a:lnTo>
                  <a:lnTo>
                    <a:pt x="1030" y="2140"/>
                  </a:lnTo>
                  <a:lnTo>
                    <a:pt x="1030" y="2140"/>
                  </a:lnTo>
                  <a:lnTo>
                    <a:pt x="1028" y="2138"/>
                  </a:lnTo>
                  <a:lnTo>
                    <a:pt x="1026" y="2136"/>
                  </a:lnTo>
                  <a:lnTo>
                    <a:pt x="1024" y="2136"/>
                  </a:lnTo>
                  <a:lnTo>
                    <a:pt x="1020" y="2138"/>
                  </a:lnTo>
                  <a:lnTo>
                    <a:pt x="1004" y="2148"/>
                  </a:lnTo>
                  <a:close/>
                  <a:moveTo>
                    <a:pt x="184" y="906"/>
                  </a:moveTo>
                  <a:lnTo>
                    <a:pt x="184" y="906"/>
                  </a:lnTo>
                  <a:lnTo>
                    <a:pt x="186" y="902"/>
                  </a:lnTo>
                  <a:lnTo>
                    <a:pt x="188" y="900"/>
                  </a:lnTo>
                  <a:lnTo>
                    <a:pt x="188" y="900"/>
                  </a:lnTo>
                  <a:lnTo>
                    <a:pt x="192" y="902"/>
                  </a:lnTo>
                  <a:lnTo>
                    <a:pt x="194" y="908"/>
                  </a:lnTo>
                  <a:lnTo>
                    <a:pt x="194" y="912"/>
                  </a:lnTo>
                  <a:lnTo>
                    <a:pt x="194" y="912"/>
                  </a:lnTo>
                  <a:lnTo>
                    <a:pt x="194" y="926"/>
                  </a:lnTo>
                  <a:lnTo>
                    <a:pt x="194" y="926"/>
                  </a:lnTo>
                  <a:lnTo>
                    <a:pt x="194" y="928"/>
                  </a:lnTo>
                  <a:lnTo>
                    <a:pt x="198" y="930"/>
                  </a:lnTo>
                  <a:lnTo>
                    <a:pt x="198" y="930"/>
                  </a:lnTo>
                  <a:lnTo>
                    <a:pt x="208" y="930"/>
                  </a:lnTo>
                  <a:lnTo>
                    <a:pt x="208" y="930"/>
                  </a:lnTo>
                  <a:lnTo>
                    <a:pt x="212" y="932"/>
                  </a:lnTo>
                  <a:lnTo>
                    <a:pt x="218" y="934"/>
                  </a:lnTo>
                  <a:lnTo>
                    <a:pt x="218" y="934"/>
                  </a:lnTo>
                  <a:lnTo>
                    <a:pt x="222" y="940"/>
                  </a:lnTo>
                  <a:lnTo>
                    <a:pt x="222" y="944"/>
                  </a:lnTo>
                  <a:lnTo>
                    <a:pt x="222" y="944"/>
                  </a:lnTo>
                  <a:lnTo>
                    <a:pt x="222" y="954"/>
                  </a:lnTo>
                  <a:lnTo>
                    <a:pt x="222" y="954"/>
                  </a:lnTo>
                  <a:lnTo>
                    <a:pt x="220" y="960"/>
                  </a:lnTo>
                  <a:lnTo>
                    <a:pt x="216" y="964"/>
                  </a:lnTo>
                  <a:lnTo>
                    <a:pt x="210" y="966"/>
                  </a:lnTo>
                  <a:lnTo>
                    <a:pt x="210" y="966"/>
                  </a:lnTo>
                  <a:lnTo>
                    <a:pt x="198" y="974"/>
                  </a:lnTo>
                  <a:lnTo>
                    <a:pt x="198" y="974"/>
                  </a:lnTo>
                  <a:lnTo>
                    <a:pt x="196" y="978"/>
                  </a:lnTo>
                  <a:lnTo>
                    <a:pt x="198" y="980"/>
                  </a:lnTo>
                  <a:lnTo>
                    <a:pt x="198" y="980"/>
                  </a:lnTo>
                  <a:lnTo>
                    <a:pt x="202" y="980"/>
                  </a:lnTo>
                  <a:lnTo>
                    <a:pt x="204" y="984"/>
                  </a:lnTo>
                  <a:lnTo>
                    <a:pt x="204" y="984"/>
                  </a:lnTo>
                  <a:lnTo>
                    <a:pt x="202" y="988"/>
                  </a:lnTo>
                  <a:lnTo>
                    <a:pt x="198" y="994"/>
                  </a:lnTo>
                  <a:lnTo>
                    <a:pt x="198" y="994"/>
                  </a:lnTo>
                  <a:lnTo>
                    <a:pt x="194" y="998"/>
                  </a:lnTo>
                  <a:lnTo>
                    <a:pt x="194" y="1004"/>
                  </a:lnTo>
                  <a:lnTo>
                    <a:pt x="194" y="1004"/>
                  </a:lnTo>
                  <a:lnTo>
                    <a:pt x="194" y="1008"/>
                  </a:lnTo>
                  <a:lnTo>
                    <a:pt x="198" y="1008"/>
                  </a:lnTo>
                  <a:lnTo>
                    <a:pt x="198" y="1008"/>
                  </a:lnTo>
                  <a:lnTo>
                    <a:pt x="208" y="1008"/>
                  </a:lnTo>
                  <a:lnTo>
                    <a:pt x="208" y="1008"/>
                  </a:lnTo>
                  <a:lnTo>
                    <a:pt x="210" y="1010"/>
                  </a:lnTo>
                  <a:lnTo>
                    <a:pt x="210" y="1010"/>
                  </a:lnTo>
                  <a:lnTo>
                    <a:pt x="210" y="1016"/>
                  </a:lnTo>
                  <a:lnTo>
                    <a:pt x="206" y="1020"/>
                  </a:lnTo>
                  <a:lnTo>
                    <a:pt x="206" y="1020"/>
                  </a:lnTo>
                  <a:lnTo>
                    <a:pt x="202" y="1028"/>
                  </a:lnTo>
                  <a:lnTo>
                    <a:pt x="196" y="1032"/>
                  </a:lnTo>
                  <a:lnTo>
                    <a:pt x="190" y="1034"/>
                  </a:lnTo>
                  <a:lnTo>
                    <a:pt x="190" y="1034"/>
                  </a:lnTo>
                  <a:lnTo>
                    <a:pt x="186" y="1038"/>
                  </a:lnTo>
                  <a:lnTo>
                    <a:pt x="184" y="1042"/>
                  </a:lnTo>
                  <a:lnTo>
                    <a:pt x="184" y="1042"/>
                  </a:lnTo>
                  <a:lnTo>
                    <a:pt x="186" y="1046"/>
                  </a:lnTo>
                  <a:lnTo>
                    <a:pt x="188" y="1048"/>
                  </a:lnTo>
                  <a:lnTo>
                    <a:pt x="188" y="1048"/>
                  </a:lnTo>
                  <a:lnTo>
                    <a:pt x="192" y="1046"/>
                  </a:lnTo>
                  <a:lnTo>
                    <a:pt x="194" y="1042"/>
                  </a:lnTo>
                  <a:lnTo>
                    <a:pt x="194" y="1042"/>
                  </a:lnTo>
                  <a:lnTo>
                    <a:pt x="194" y="1040"/>
                  </a:lnTo>
                  <a:lnTo>
                    <a:pt x="198" y="1038"/>
                  </a:lnTo>
                  <a:lnTo>
                    <a:pt x="198" y="1038"/>
                  </a:lnTo>
                  <a:lnTo>
                    <a:pt x="208" y="1038"/>
                  </a:lnTo>
                  <a:lnTo>
                    <a:pt x="208" y="1038"/>
                  </a:lnTo>
                  <a:lnTo>
                    <a:pt x="212" y="1036"/>
                  </a:lnTo>
                  <a:lnTo>
                    <a:pt x="218" y="1034"/>
                  </a:lnTo>
                  <a:lnTo>
                    <a:pt x="218" y="1034"/>
                  </a:lnTo>
                  <a:lnTo>
                    <a:pt x="222" y="1032"/>
                  </a:lnTo>
                  <a:lnTo>
                    <a:pt x="228" y="1034"/>
                  </a:lnTo>
                  <a:lnTo>
                    <a:pt x="228" y="1034"/>
                  </a:lnTo>
                  <a:lnTo>
                    <a:pt x="232" y="1036"/>
                  </a:lnTo>
                  <a:lnTo>
                    <a:pt x="238" y="1034"/>
                  </a:lnTo>
                  <a:lnTo>
                    <a:pt x="238" y="1034"/>
                  </a:lnTo>
                  <a:lnTo>
                    <a:pt x="244" y="1030"/>
                  </a:lnTo>
                  <a:lnTo>
                    <a:pt x="250" y="1028"/>
                  </a:lnTo>
                  <a:lnTo>
                    <a:pt x="254" y="1028"/>
                  </a:lnTo>
                  <a:lnTo>
                    <a:pt x="254" y="1028"/>
                  </a:lnTo>
                  <a:lnTo>
                    <a:pt x="262" y="1028"/>
                  </a:lnTo>
                  <a:lnTo>
                    <a:pt x="268" y="1024"/>
                  </a:lnTo>
                  <a:lnTo>
                    <a:pt x="274" y="1022"/>
                  </a:lnTo>
                  <a:lnTo>
                    <a:pt x="274" y="1022"/>
                  </a:lnTo>
                  <a:lnTo>
                    <a:pt x="280" y="1018"/>
                  </a:lnTo>
                  <a:lnTo>
                    <a:pt x="282" y="1014"/>
                  </a:lnTo>
                  <a:lnTo>
                    <a:pt x="282" y="1014"/>
                  </a:lnTo>
                  <a:lnTo>
                    <a:pt x="282" y="1008"/>
                  </a:lnTo>
                  <a:lnTo>
                    <a:pt x="286" y="1004"/>
                  </a:lnTo>
                  <a:lnTo>
                    <a:pt x="286" y="1004"/>
                  </a:lnTo>
                  <a:lnTo>
                    <a:pt x="290" y="998"/>
                  </a:lnTo>
                  <a:lnTo>
                    <a:pt x="290" y="990"/>
                  </a:lnTo>
                  <a:lnTo>
                    <a:pt x="290" y="988"/>
                  </a:lnTo>
                  <a:lnTo>
                    <a:pt x="290" y="988"/>
                  </a:lnTo>
                  <a:lnTo>
                    <a:pt x="290" y="982"/>
                  </a:lnTo>
                  <a:lnTo>
                    <a:pt x="286" y="980"/>
                  </a:lnTo>
                  <a:lnTo>
                    <a:pt x="286" y="980"/>
                  </a:lnTo>
                  <a:lnTo>
                    <a:pt x="276" y="980"/>
                  </a:lnTo>
                  <a:lnTo>
                    <a:pt x="276" y="980"/>
                  </a:lnTo>
                  <a:lnTo>
                    <a:pt x="272" y="978"/>
                  </a:lnTo>
                  <a:lnTo>
                    <a:pt x="272" y="974"/>
                  </a:lnTo>
                  <a:lnTo>
                    <a:pt x="272" y="974"/>
                  </a:lnTo>
                  <a:lnTo>
                    <a:pt x="272" y="964"/>
                  </a:lnTo>
                  <a:lnTo>
                    <a:pt x="272" y="964"/>
                  </a:lnTo>
                  <a:lnTo>
                    <a:pt x="268" y="952"/>
                  </a:lnTo>
                  <a:lnTo>
                    <a:pt x="266" y="946"/>
                  </a:lnTo>
                  <a:lnTo>
                    <a:pt x="266" y="946"/>
                  </a:lnTo>
                  <a:lnTo>
                    <a:pt x="256" y="934"/>
                  </a:lnTo>
                  <a:lnTo>
                    <a:pt x="256" y="934"/>
                  </a:lnTo>
                  <a:lnTo>
                    <a:pt x="252" y="930"/>
                  </a:lnTo>
                  <a:lnTo>
                    <a:pt x="250" y="922"/>
                  </a:lnTo>
                  <a:lnTo>
                    <a:pt x="244" y="908"/>
                  </a:lnTo>
                  <a:lnTo>
                    <a:pt x="244" y="908"/>
                  </a:lnTo>
                  <a:lnTo>
                    <a:pt x="242" y="902"/>
                  </a:lnTo>
                  <a:lnTo>
                    <a:pt x="238" y="900"/>
                  </a:lnTo>
                  <a:lnTo>
                    <a:pt x="238" y="900"/>
                  </a:lnTo>
                  <a:lnTo>
                    <a:pt x="232" y="900"/>
                  </a:lnTo>
                  <a:lnTo>
                    <a:pt x="228" y="896"/>
                  </a:lnTo>
                  <a:lnTo>
                    <a:pt x="228" y="896"/>
                  </a:lnTo>
                  <a:lnTo>
                    <a:pt x="226" y="890"/>
                  </a:lnTo>
                  <a:lnTo>
                    <a:pt x="226" y="884"/>
                  </a:lnTo>
                  <a:lnTo>
                    <a:pt x="228" y="878"/>
                  </a:lnTo>
                  <a:lnTo>
                    <a:pt x="228" y="878"/>
                  </a:lnTo>
                  <a:lnTo>
                    <a:pt x="232" y="866"/>
                  </a:lnTo>
                  <a:lnTo>
                    <a:pt x="232" y="866"/>
                  </a:lnTo>
                  <a:lnTo>
                    <a:pt x="234" y="862"/>
                  </a:lnTo>
                  <a:lnTo>
                    <a:pt x="238" y="856"/>
                  </a:lnTo>
                  <a:lnTo>
                    <a:pt x="238" y="856"/>
                  </a:lnTo>
                  <a:lnTo>
                    <a:pt x="238" y="854"/>
                  </a:lnTo>
                  <a:lnTo>
                    <a:pt x="238" y="852"/>
                  </a:lnTo>
                  <a:lnTo>
                    <a:pt x="236" y="848"/>
                  </a:lnTo>
                  <a:lnTo>
                    <a:pt x="230" y="846"/>
                  </a:lnTo>
                  <a:lnTo>
                    <a:pt x="230" y="846"/>
                  </a:lnTo>
                  <a:lnTo>
                    <a:pt x="224" y="844"/>
                  </a:lnTo>
                  <a:lnTo>
                    <a:pt x="218" y="846"/>
                  </a:lnTo>
                  <a:lnTo>
                    <a:pt x="218" y="846"/>
                  </a:lnTo>
                  <a:lnTo>
                    <a:pt x="212" y="848"/>
                  </a:lnTo>
                  <a:lnTo>
                    <a:pt x="208" y="846"/>
                  </a:lnTo>
                  <a:lnTo>
                    <a:pt x="208" y="846"/>
                  </a:lnTo>
                  <a:lnTo>
                    <a:pt x="206" y="840"/>
                  </a:lnTo>
                  <a:lnTo>
                    <a:pt x="206" y="834"/>
                  </a:lnTo>
                  <a:lnTo>
                    <a:pt x="210" y="830"/>
                  </a:lnTo>
                  <a:lnTo>
                    <a:pt x="210" y="830"/>
                  </a:lnTo>
                  <a:lnTo>
                    <a:pt x="210" y="824"/>
                  </a:lnTo>
                  <a:lnTo>
                    <a:pt x="210" y="822"/>
                  </a:lnTo>
                  <a:lnTo>
                    <a:pt x="208" y="822"/>
                  </a:lnTo>
                  <a:lnTo>
                    <a:pt x="208" y="822"/>
                  </a:lnTo>
                  <a:lnTo>
                    <a:pt x="198" y="822"/>
                  </a:lnTo>
                  <a:lnTo>
                    <a:pt x="198" y="822"/>
                  </a:lnTo>
                  <a:lnTo>
                    <a:pt x="194" y="824"/>
                  </a:lnTo>
                  <a:lnTo>
                    <a:pt x="190" y="830"/>
                  </a:lnTo>
                  <a:lnTo>
                    <a:pt x="188" y="834"/>
                  </a:lnTo>
                  <a:lnTo>
                    <a:pt x="188" y="834"/>
                  </a:lnTo>
                  <a:lnTo>
                    <a:pt x="178" y="846"/>
                  </a:lnTo>
                  <a:lnTo>
                    <a:pt x="178" y="846"/>
                  </a:lnTo>
                  <a:lnTo>
                    <a:pt x="176" y="852"/>
                  </a:lnTo>
                  <a:lnTo>
                    <a:pt x="174" y="856"/>
                  </a:lnTo>
                  <a:lnTo>
                    <a:pt x="174" y="856"/>
                  </a:lnTo>
                  <a:lnTo>
                    <a:pt x="174" y="866"/>
                  </a:lnTo>
                  <a:lnTo>
                    <a:pt x="174" y="866"/>
                  </a:lnTo>
                  <a:lnTo>
                    <a:pt x="174" y="876"/>
                  </a:lnTo>
                  <a:lnTo>
                    <a:pt x="174" y="876"/>
                  </a:lnTo>
                  <a:lnTo>
                    <a:pt x="174" y="888"/>
                  </a:lnTo>
                  <a:lnTo>
                    <a:pt x="174" y="892"/>
                  </a:lnTo>
                  <a:lnTo>
                    <a:pt x="174" y="892"/>
                  </a:lnTo>
                  <a:lnTo>
                    <a:pt x="176" y="900"/>
                  </a:lnTo>
                  <a:lnTo>
                    <a:pt x="178" y="906"/>
                  </a:lnTo>
                  <a:lnTo>
                    <a:pt x="178" y="906"/>
                  </a:lnTo>
                  <a:lnTo>
                    <a:pt x="182" y="908"/>
                  </a:lnTo>
                  <a:lnTo>
                    <a:pt x="184" y="906"/>
                  </a:lnTo>
                  <a:lnTo>
                    <a:pt x="184" y="906"/>
                  </a:lnTo>
                  <a:close/>
                  <a:moveTo>
                    <a:pt x="3012" y="2570"/>
                  </a:moveTo>
                  <a:lnTo>
                    <a:pt x="3012" y="2570"/>
                  </a:lnTo>
                  <a:lnTo>
                    <a:pt x="3004" y="2572"/>
                  </a:lnTo>
                  <a:lnTo>
                    <a:pt x="2996" y="2570"/>
                  </a:lnTo>
                  <a:lnTo>
                    <a:pt x="2992" y="2568"/>
                  </a:lnTo>
                  <a:lnTo>
                    <a:pt x="2992" y="2568"/>
                  </a:lnTo>
                  <a:lnTo>
                    <a:pt x="2986" y="2562"/>
                  </a:lnTo>
                  <a:lnTo>
                    <a:pt x="2980" y="2556"/>
                  </a:lnTo>
                  <a:lnTo>
                    <a:pt x="2978" y="2552"/>
                  </a:lnTo>
                  <a:lnTo>
                    <a:pt x="2978" y="2552"/>
                  </a:lnTo>
                  <a:lnTo>
                    <a:pt x="2976" y="2544"/>
                  </a:lnTo>
                  <a:lnTo>
                    <a:pt x="2974" y="2536"/>
                  </a:lnTo>
                  <a:lnTo>
                    <a:pt x="2974" y="2532"/>
                  </a:lnTo>
                  <a:lnTo>
                    <a:pt x="2974" y="2532"/>
                  </a:lnTo>
                  <a:lnTo>
                    <a:pt x="2972" y="2526"/>
                  </a:lnTo>
                  <a:lnTo>
                    <a:pt x="2968" y="2522"/>
                  </a:lnTo>
                  <a:lnTo>
                    <a:pt x="2962" y="2518"/>
                  </a:lnTo>
                  <a:lnTo>
                    <a:pt x="2962" y="2518"/>
                  </a:lnTo>
                  <a:lnTo>
                    <a:pt x="2958" y="2518"/>
                  </a:lnTo>
                  <a:lnTo>
                    <a:pt x="2958" y="2522"/>
                  </a:lnTo>
                  <a:lnTo>
                    <a:pt x="2970" y="2548"/>
                  </a:lnTo>
                  <a:lnTo>
                    <a:pt x="2970" y="2548"/>
                  </a:lnTo>
                  <a:lnTo>
                    <a:pt x="2974" y="2554"/>
                  </a:lnTo>
                  <a:lnTo>
                    <a:pt x="2974" y="2562"/>
                  </a:lnTo>
                  <a:lnTo>
                    <a:pt x="2974" y="2566"/>
                  </a:lnTo>
                  <a:lnTo>
                    <a:pt x="2974" y="2566"/>
                  </a:lnTo>
                  <a:lnTo>
                    <a:pt x="2974" y="2574"/>
                  </a:lnTo>
                  <a:lnTo>
                    <a:pt x="2970" y="2580"/>
                  </a:lnTo>
                  <a:lnTo>
                    <a:pt x="2960" y="2596"/>
                  </a:lnTo>
                  <a:lnTo>
                    <a:pt x="2960" y="2596"/>
                  </a:lnTo>
                  <a:lnTo>
                    <a:pt x="2958" y="2600"/>
                  </a:lnTo>
                  <a:lnTo>
                    <a:pt x="2958" y="2602"/>
                  </a:lnTo>
                  <a:lnTo>
                    <a:pt x="2960" y="2604"/>
                  </a:lnTo>
                  <a:lnTo>
                    <a:pt x="2962" y="2606"/>
                  </a:lnTo>
                  <a:lnTo>
                    <a:pt x="2968" y="2610"/>
                  </a:lnTo>
                  <a:lnTo>
                    <a:pt x="2968" y="2610"/>
                  </a:lnTo>
                  <a:lnTo>
                    <a:pt x="2972" y="2614"/>
                  </a:lnTo>
                  <a:lnTo>
                    <a:pt x="2974" y="2620"/>
                  </a:lnTo>
                  <a:lnTo>
                    <a:pt x="2974" y="2624"/>
                  </a:lnTo>
                  <a:lnTo>
                    <a:pt x="2974" y="2624"/>
                  </a:lnTo>
                  <a:lnTo>
                    <a:pt x="2976" y="2632"/>
                  </a:lnTo>
                  <a:lnTo>
                    <a:pt x="2980" y="2638"/>
                  </a:lnTo>
                  <a:lnTo>
                    <a:pt x="2980" y="2638"/>
                  </a:lnTo>
                  <a:lnTo>
                    <a:pt x="2982" y="2638"/>
                  </a:lnTo>
                  <a:lnTo>
                    <a:pt x="2984" y="2638"/>
                  </a:lnTo>
                  <a:lnTo>
                    <a:pt x="2990" y="2636"/>
                  </a:lnTo>
                  <a:lnTo>
                    <a:pt x="2998" y="2628"/>
                  </a:lnTo>
                  <a:lnTo>
                    <a:pt x="2998" y="2628"/>
                  </a:lnTo>
                  <a:lnTo>
                    <a:pt x="3002" y="2622"/>
                  </a:lnTo>
                  <a:lnTo>
                    <a:pt x="3004" y="2614"/>
                  </a:lnTo>
                  <a:lnTo>
                    <a:pt x="3004" y="2610"/>
                  </a:lnTo>
                  <a:lnTo>
                    <a:pt x="3004" y="2610"/>
                  </a:lnTo>
                  <a:lnTo>
                    <a:pt x="3006" y="2604"/>
                  </a:lnTo>
                  <a:lnTo>
                    <a:pt x="3008" y="2598"/>
                  </a:lnTo>
                  <a:lnTo>
                    <a:pt x="3008" y="2598"/>
                  </a:lnTo>
                  <a:lnTo>
                    <a:pt x="3018" y="2588"/>
                  </a:lnTo>
                  <a:lnTo>
                    <a:pt x="3018" y="2588"/>
                  </a:lnTo>
                  <a:lnTo>
                    <a:pt x="3028" y="2578"/>
                  </a:lnTo>
                  <a:lnTo>
                    <a:pt x="3028" y="2578"/>
                  </a:lnTo>
                  <a:lnTo>
                    <a:pt x="3030" y="2574"/>
                  </a:lnTo>
                  <a:lnTo>
                    <a:pt x="3028" y="2568"/>
                  </a:lnTo>
                  <a:lnTo>
                    <a:pt x="3028" y="2568"/>
                  </a:lnTo>
                  <a:lnTo>
                    <a:pt x="3024" y="2566"/>
                  </a:lnTo>
                  <a:lnTo>
                    <a:pt x="3016" y="2568"/>
                  </a:lnTo>
                  <a:lnTo>
                    <a:pt x="3012" y="2570"/>
                  </a:lnTo>
                  <a:close/>
                  <a:moveTo>
                    <a:pt x="490" y="1328"/>
                  </a:moveTo>
                  <a:lnTo>
                    <a:pt x="490" y="1328"/>
                  </a:lnTo>
                  <a:lnTo>
                    <a:pt x="494" y="1328"/>
                  </a:lnTo>
                  <a:lnTo>
                    <a:pt x="496" y="1328"/>
                  </a:lnTo>
                  <a:lnTo>
                    <a:pt x="498" y="1326"/>
                  </a:lnTo>
                  <a:lnTo>
                    <a:pt x="498" y="1324"/>
                  </a:lnTo>
                  <a:lnTo>
                    <a:pt x="498" y="1320"/>
                  </a:lnTo>
                  <a:lnTo>
                    <a:pt x="498" y="1320"/>
                  </a:lnTo>
                  <a:lnTo>
                    <a:pt x="498" y="1306"/>
                  </a:lnTo>
                  <a:lnTo>
                    <a:pt x="498" y="1306"/>
                  </a:lnTo>
                  <a:lnTo>
                    <a:pt x="496" y="1304"/>
                  </a:lnTo>
                  <a:lnTo>
                    <a:pt x="490" y="1302"/>
                  </a:lnTo>
                  <a:lnTo>
                    <a:pt x="486" y="1302"/>
                  </a:lnTo>
                  <a:lnTo>
                    <a:pt x="486" y="1302"/>
                  </a:lnTo>
                  <a:lnTo>
                    <a:pt x="470" y="1304"/>
                  </a:lnTo>
                  <a:lnTo>
                    <a:pt x="456" y="1310"/>
                  </a:lnTo>
                  <a:lnTo>
                    <a:pt x="456" y="1310"/>
                  </a:lnTo>
                  <a:lnTo>
                    <a:pt x="454" y="1312"/>
                  </a:lnTo>
                  <a:lnTo>
                    <a:pt x="456" y="1314"/>
                  </a:lnTo>
                  <a:lnTo>
                    <a:pt x="470" y="1320"/>
                  </a:lnTo>
                  <a:lnTo>
                    <a:pt x="470" y="1320"/>
                  </a:lnTo>
                  <a:lnTo>
                    <a:pt x="486" y="1326"/>
                  </a:lnTo>
                  <a:lnTo>
                    <a:pt x="490" y="1328"/>
                  </a:lnTo>
                  <a:close/>
                  <a:moveTo>
                    <a:pt x="2940" y="2636"/>
                  </a:moveTo>
                  <a:lnTo>
                    <a:pt x="2940" y="2636"/>
                  </a:lnTo>
                  <a:lnTo>
                    <a:pt x="2938" y="2636"/>
                  </a:lnTo>
                  <a:lnTo>
                    <a:pt x="2936" y="2636"/>
                  </a:lnTo>
                  <a:lnTo>
                    <a:pt x="2932" y="2640"/>
                  </a:lnTo>
                  <a:lnTo>
                    <a:pt x="2928" y="2644"/>
                  </a:lnTo>
                  <a:lnTo>
                    <a:pt x="2928" y="2644"/>
                  </a:lnTo>
                  <a:lnTo>
                    <a:pt x="2922" y="2658"/>
                  </a:lnTo>
                  <a:lnTo>
                    <a:pt x="2920" y="2664"/>
                  </a:lnTo>
                  <a:lnTo>
                    <a:pt x="2920" y="2664"/>
                  </a:lnTo>
                  <a:lnTo>
                    <a:pt x="2910" y="2676"/>
                  </a:lnTo>
                  <a:lnTo>
                    <a:pt x="2910" y="2676"/>
                  </a:lnTo>
                  <a:lnTo>
                    <a:pt x="2906" y="2680"/>
                  </a:lnTo>
                  <a:lnTo>
                    <a:pt x="2898" y="2684"/>
                  </a:lnTo>
                  <a:lnTo>
                    <a:pt x="2884" y="2688"/>
                  </a:lnTo>
                  <a:lnTo>
                    <a:pt x="2884" y="2688"/>
                  </a:lnTo>
                  <a:lnTo>
                    <a:pt x="2878" y="2692"/>
                  </a:lnTo>
                  <a:lnTo>
                    <a:pt x="2872" y="2698"/>
                  </a:lnTo>
                  <a:lnTo>
                    <a:pt x="2870" y="2704"/>
                  </a:lnTo>
                  <a:lnTo>
                    <a:pt x="2870" y="2704"/>
                  </a:lnTo>
                  <a:lnTo>
                    <a:pt x="2864" y="2718"/>
                  </a:lnTo>
                  <a:lnTo>
                    <a:pt x="2860" y="2732"/>
                  </a:lnTo>
                  <a:lnTo>
                    <a:pt x="2860" y="2732"/>
                  </a:lnTo>
                  <a:lnTo>
                    <a:pt x="2858" y="2740"/>
                  </a:lnTo>
                  <a:lnTo>
                    <a:pt x="2862" y="2746"/>
                  </a:lnTo>
                  <a:lnTo>
                    <a:pt x="2862" y="2746"/>
                  </a:lnTo>
                  <a:lnTo>
                    <a:pt x="2874" y="2754"/>
                  </a:lnTo>
                  <a:lnTo>
                    <a:pt x="2880" y="2756"/>
                  </a:lnTo>
                  <a:lnTo>
                    <a:pt x="2880" y="2756"/>
                  </a:lnTo>
                  <a:lnTo>
                    <a:pt x="2886" y="2758"/>
                  </a:lnTo>
                  <a:lnTo>
                    <a:pt x="2894" y="2756"/>
                  </a:lnTo>
                  <a:lnTo>
                    <a:pt x="2898" y="2754"/>
                  </a:lnTo>
                  <a:lnTo>
                    <a:pt x="2898" y="2754"/>
                  </a:lnTo>
                  <a:lnTo>
                    <a:pt x="2904" y="2750"/>
                  </a:lnTo>
                  <a:lnTo>
                    <a:pt x="2908" y="2742"/>
                  </a:lnTo>
                  <a:lnTo>
                    <a:pt x="2914" y="2728"/>
                  </a:lnTo>
                  <a:lnTo>
                    <a:pt x="2914" y="2728"/>
                  </a:lnTo>
                  <a:lnTo>
                    <a:pt x="2916" y="2712"/>
                  </a:lnTo>
                  <a:lnTo>
                    <a:pt x="2916" y="2708"/>
                  </a:lnTo>
                  <a:lnTo>
                    <a:pt x="2916" y="2708"/>
                  </a:lnTo>
                  <a:lnTo>
                    <a:pt x="2918" y="2702"/>
                  </a:lnTo>
                  <a:lnTo>
                    <a:pt x="2922" y="2696"/>
                  </a:lnTo>
                  <a:lnTo>
                    <a:pt x="2930" y="2686"/>
                  </a:lnTo>
                  <a:lnTo>
                    <a:pt x="2930" y="2686"/>
                  </a:lnTo>
                  <a:lnTo>
                    <a:pt x="2940" y="2676"/>
                  </a:lnTo>
                  <a:lnTo>
                    <a:pt x="2940" y="2676"/>
                  </a:lnTo>
                  <a:lnTo>
                    <a:pt x="2952" y="2668"/>
                  </a:lnTo>
                  <a:lnTo>
                    <a:pt x="2958" y="2666"/>
                  </a:lnTo>
                  <a:lnTo>
                    <a:pt x="2958" y="2666"/>
                  </a:lnTo>
                  <a:lnTo>
                    <a:pt x="2962" y="2660"/>
                  </a:lnTo>
                  <a:lnTo>
                    <a:pt x="2964" y="2654"/>
                  </a:lnTo>
                  <a:lnTo>
                    <a:pt x="2964" y="2650"/>
                  </a:lnTo>
                  <a:lnTo>
                    <a:pt x="2964" y="2650"/>
                  </a:lnTo>
                  <a:lnTo>
                    <a:pt x="2964" y="2646"/>
                  </a:lnTo>
                  <a:lnTo>
                    <a:pt x="2962" y="2644"/>
                  </a:lnTo>
                  <a:lnTo>
                    <a:pt x="2960" y="2642"/>
                  </a:lnTo>
                  <a:lnTo>
                    <a:pt x="2956" y="2642"/>
                  </a:lnTo>
                  <a:lnTo>
                    <a:pt x="2954" y="2642"/>
                  </a:lnTo>
                  <a:lnTo>
                    <a:pt x="2954" y="2642"/>
                  </a:lnTo>
                  <a:lnTo>
                    <a:pt x="2946" y="2640"/>
                  </a:lnTo>
                  <a:lnTo>
                    <a:pt x="2940" y="2636"/>
                  </a:lnTo>
                  <a:lnTo>
                    <a:pt x="2940" y="2636"/>
                  </a:lnTo>
                  <a:close/>
                  <a:moveTo>
                    <a:pt x="406" y="1248"/>
                  </a:moveTo>
                  <a:lnTo>
                    <a:pt x="406" y="1248"/>
                  </a:lnTo>
                  <a:lnTo>
                    <a:pt x="402" y="1254"/>
                  </a:lnTo>
                  <a:lnTo>
                    <a:pt x="400" y="1260"/>
                  </a:lnTo>
                  <a:lnTo>
                    <a:pt x="400" y="1274"/>
                  </a:lnTo>
                  <a:lnTo>
                    <a:pt x="400" y="1274"/>
                  </a:lnTo>
                  <a:lnTo>
                    <a:pt x="400" y="1278"/>
                  </a:lnTo>
                  <a:lnTo>
                    <a:pt x="402" y="1280"/>
                  </a:lnTo>
                  <a:lnTo>
                    <a:pt x="404" y="1282"/>
                  </a:lnTo>
                  <a:lnTo>
                    <a:pt x="408" y="1282"/>
                  </a:lnTo>
                  <a:lnTo>
                    <a:pt x="412" y="1282"/>
                  </a:lnTo>
                  <a:lnTo>
                    <a:pt x="412" y="1282"/>
                  </a:lnTo>
                  <a:lnTo>
                    <a:pt x="416" y="1282"/>
                  </a:lnTo>
                  <a:lnTo>
                    <a:pt x="418" y="1280"/>
                  </a:lnTo>
                  <a:lnTo>
                    <a:pt x="420" y="1278"/>
                  </a:lnTo>
                  <a:lnTo>
                    <a:pt x="420" y="1274"/>
                  </a:lnTo>
                  <a:lnTo>
                    <a:pt x="420" y="1270"/>
                  </a:lnTo>
                  <a:lnTo>
                    <a:pt x="420" y="1270"/>
                  </a:lnTo>
                  <a:lnTo>
                    <a:pt x="418" y="1262"/>
                  </a:lnTo>
                  <a:lnTo>
                    <a:pt x="416" y="1256"/>
                  </a:lnTo>
                  <a:lnTo>
                    <a:pt x="414" y="1250"/>
                  </a:lnTo>
                  <a:lnTo>
                    <a:pt x="414" y="1250"/>
                  </a:lnTo>
                  <a:lnTo>
                    <a:pt x="412" y="1248"/>
                  </a:lnTo>
                  <a:lnTo>
                    <a:pt x="410" y="1246"/>
                  </a:lnTo>
                  <a:lnTo>
                    <a:pt x="408" y="1246"/>
                  </a:lnTo>
                  <a:lnTo>
                    <a:pt x="406" y="1248"/>
                  </a:lnTo>
                  <a:lnTo>
                    <a:pt x="406" y="1248"/>
                  </a:lnTo>
                  <a:close/>
                  <a:moveTo>
                    <a:pt x="2286" y="1412"/>
                  </a:moveTo>
                  <a:lnTo>
                    <a:pt x="2286" y="1412"/>
                  </a:lnTo>
                  <a:lnTo>
                    <a:pt x="2290" y="1424"/>
                  </a:lnTo>
                  <a:lnTo>
                    <a:pt x="2290" y="1424"/>
                  </a:lnTo>
                  <a:lnTo>
                    <a:pt x="2290" y="1426"/>
                  </a:lnTo>
                  <a:lnTo>
                    <a:pt x="2292" y="1426"/>
                  </a:lnTo>
                  <a:lnTo>
                    <a:pt x="2296" y="1426"/>
                  </a:lnTo>
                  <a:lnTo>
                    <a:pt x="2302" y="1422"/>
                  </a:lnTo>
                  <a:lnTo>
                    <a:pt x="2302" y="1422"/>
                  </a:lnTo>
                  <a:lnTo>
                    <a:pt x="2306" y="1418"/>
                  </a:lnTo>
                  <a:lnTo>
                    <a:pt x="2308" y="1410"/>
                  </a:lnTo>
                  <a:lnTo>
                    <a:pt x="2308" y="1408"/>
                  </a:lnTo>
                  <a:lnTo>
                    <a:pt x="2308" y="1408"/>
                  </a:lnTo>
                  <a:lnTo>
                    <a:pt x="2308" y="1394"/>
                  </a:lnTo>
                  <a:lnTo>
                    <a:pt x="2308" y="1394"/>
                  </a:lnTo>
                  <a:lnTo>
                    <a:pt x="2308" y="1392"/>
                  </a:lnTo>
                  <a:lnTo>
                    <a:pt x="2306" y="1392"/>
                  </a:lnTo>
                  <a:lnTo>
                    <a:pt x="2302" y="1392"/>
                  </a:lnTo>
                  <a:lnTo>
                    <a:pt x="2288" y="1396"/>
                  </a:lnTo>
                  <a:lnTo>
                    <a:pt x="2288" y="1396"/>
                  </a:lnTo>
                  <a:lnTo>
                    <a:pt x="2284" y="1398"/>
                  </a:lnTo>
                  <a:lnTo>
                    <a:pt x="2284" y="1400"/>
                  </a:lnTo>
                  <a:lnTo>
                    <a:pt x="2282" y="1404"/>
                  </a:lnTo>
                  <a:lnTo>
                    <a:pt x="2284" y="1406"/>
                  </a:lnTo>
                  <a:lnTo>
                    <a:pt x="2286" y="1412"/>
                  </a:lnTo>
                  <a:close/>
                  <a:moveTo>
                    <a:pt x="414" y="1210"/>
                  </a:moveTo>
                  <a:lnTo>
                    <a:pt x="414" y="1210"/>
                  </a:lnTo>
                  <a:lnTo>
                    <a:pt x="412" y="1208"/>
                  </a:lnTo>
                  <a:lnTo>
                    <a:pt x="410" y="1206"/>
                  </a:lnTo>
                  <a:lnTo>
                    <a:pt x="406" y="1206"/>
                  </a:lnTo>
                  <a:lnTo>
                    <a:pt x="404" y="1208"/>
                  </a:lnTo>
                  <a:lnTo>
                    <a:pt x="398" y="1210"/>
                  </a:lnTo>
                  <a:lnTo>
                    <a:pt x="398" y="1210"/>
                  </a:lnTo>
                  <a:lnTo>
                    <a:pt x="396" y="1212"/>
                  </a:lnTo>
                  <a:lnTo>
                    <a:pt x="394" y="1214"/>
                  </a:lnTo>
                  <a:lnTo>
                    <a:pt x="394" y="1216"/>
                  </a:lnTo>
                  <a:lnTo>
                    <a:pt x="396" y="1220"/>
                  </a:lnTo>
                  <a:lnTo>
                    <a:pt x="404" y="1228"/>
                  </a:lnTo>
                  <a:lnTo>
                    <a:pt x="404" y="1228"/>
                  </a:lnTo>
                  <a:lnTo>
                    <a:pt x="410" y="1230"/>
                  </a:lnTo>
                  <a:lnTo>
                    <a:pt x="412" y="1230"/>
                  </a:lnTo>
                  <a:lnTo>
                    <a:pt x="416" y="1228"/>
                  </a:lnTo>
                  <a:lnTo>
                    <a:pt x="416" y="1228"/>
                  </a:lnTo>
                  <a:lnTo>
                    <a:pt x="418" y="1224"/>
                  </a:lnTo>
                  <a:lnTo>
                    <a:pt x="416" y="1216"/>
                  </a:lnTo>
                  <a:lnTo>
                    <a:pt x="414" y="1210"/>
                  </a:lnTo>
                  <a:close/>
                  <a:moveTo>
                    <a:pt x="2302" y="1960"/>
                  </a:moveTo>
                  <a:lnTo>
                    <a:pt x="2302" y="1960"/>
                  </a:lnTo>
                  <a:lnTo>
                    <a:pt x="2302" y="1962"/>
                  </a:lnTo>
                  <a:lnTo>
                    <a:pt x="2302" y="1966"/>
                  </a:lnTo>
                  <a:lnTo>
                    <a:pt x="2304" y="1968"/>
                  </a:lnTo>
                  <a:lnTo>
                    <a:pt x="2306" y="1970"/>
                  </a:lnTo>
                  <a:lnTo>
                    <a:pt x="2312" y="1974"/>
                  </a:lnTo>
                  <a:lnTo>
                    <a:pt x="2312" y="1974"/>
                  </a:lnTo>
                  <a:lnTo>
                    <a:pt x="2324" y="1982"/>
                  </a:lnTo>
                  <a:lnTo>
                    <a:pt x="2324" y="1982"/>
                  </a:lnTo>
                  <a:lnTo>
                    <a:pt x="2326" y="1988"/>
                  </a:lnTo>
                  <a:lnTo>
                    <a:pt x="2328" y="1994"/>
                  </a:lnTo>
                  <a:lnTo>
                    <a:pt x="2328" y="1998"/>
                  </a:lnTo>
                  <a:lnTo>
                    <a:pt x="2328" y="1998"/>
                  </a:lnTo>
                  <a:lnTo>
                    <a:pt x="2328" y="2002"/>
                  </a:lnTo>
                  <a:lnTo>
                    <a:pt x="2330" y="2004"/>
                  </a:lnTo>
                  <a:lnTo>
                    <a:pt x="2334" y="2006"/>
                  </a:lnTo>
                  <a:lnTo>
                    <a:pt x="2336" y="2006"/>
                  </a:lnTo>
                  <a:lnTo>
                    <a:pt x="2340" y="2006"/>
                  </a:lnTo>
                  <a:lnTo>
                    <a:pt x="2340" y="2006"/>
                  </a:lnTo>
                  <a:lnTo>
                    <a:pt x="2352" y="2006"/>
                  </a:lnTo>
                  <a:lnTo>
                    <a:pt x="2352" y="2006"/>
                  </a:lnTo>
                  <a:lnTo>
                    <a:pt x="2358" y="2008"/>
                  </a:lnTo>
                  <a:lnTo>
                    <a:pt x="2364" y="2010"/>
                  </a:lnTo>
                  <a:lnTo>
                    <a:pt x="2380" y="2022"/>
                  </a:lnTo>
                  <a:lnTo>
                    <a:pt x="2380" y="2022"/>
                  </a:lnTo>
                  <a:lnTo>
                    <a:pt x="2394" y="2030"/>
                  </a:lnTo>
                  <a:lnTo>
                    <a:pt x="2420" y="2042"/>
                  </a:lnTo>
                  <a:lnTo>
                    <a:pt x="2420" y="2042"/>
                  </a:lnTo>
                  <a:lnTo>
                    <a:pt x="2424" y="2046"/>
                  </a:lnTo>
                  <a:lnTo>
                    <a:pt x="2426" y="2050"/>
                  </a:lnTo>
                  <a:lnTo>
                    <a:pt x="2426" y="2050"/>
                  </a:lnTo>
                  <a:lnTo>
                    <a:pt x="2424" y="2054"/>
                  </a:lnTo>
                  <a:lnTo>
                    <a:pt x="2420" y="2058"/>
                  </a:lnTo>
                  <a:lnTo>
                    <a:pt x="2414" y="2062"/>
                  </a:lnTo>
                  <a:lnTo>
                    <a:pt x="2414" y="2062"/>
                  </a:lnTo>
                  <a:lnTo>
                    <a:pt x="2410" y="2064"/>
                  </a:lnTo>
                  <a:lnTo>
                    <a:pt x="2414" y="2066"/>
                  </a:lnTo>
                  <a:lnTo>
                    <a:pt x="2418" y="2066"/>
                  </a:lnTo>
                  <a:lnTo>
                    <a:pt x="2418" y="2066"/>
                  </a:lnTo>
                  <a:lnTo>
                    <a:pt x="2426" y="2066"/>
                  </a:lnTo>
                  <a:lnTo>
                    <a:pt x="2434" y="2068"/>
                  </a:lnTo>
                  <a:lnTo>
                    <a:pt x="2438" y="2072"/>
                  </a:lnTo>
                  <a:lnTo>
                    <a:pt x="2438" y="2072"/>
                  </a:lnTo>
                  <a:lnTo>
                    <a:pt x="2452" y="2078"/>
                  </a:lnTo>
                  <a:lnTo>
                    <a:pt x="2458" y="2082"/>
                  </a:lnTo>
                  <a:lnTo>
                    <a:pt x="2458" y="2082"/>
                  </a:lnTo>
                  <a:lnTo>
                    <a:pt x="2470" y="2084"/>
                  </a:lnTo>
                  <a:lnTo>
                    <a:pt x="2470" y="2084"/>
                  </a:lnTo>
                  <a:lnTo>
                    <a:pt x="2476" y="2084"/>
                  </a:lnTo>
                  <a:lnTo>
                    <a:pt x="2480" y="2080"/>
                  </a:lnTo>
                  <a:lnTo>
                    <a:pt x="2488" y="2070"/>
                  </a:lnTo>
                  <a:lnTo>
                    <a:pt x="2488" y="2070"/>
                  </a:lnTo>
                  <a:lnTo>
                    <a:pt x="2502" y="2062"/>
                  </a:lnTo>
                  <a:lnTo>
                    <a:pt x="2508" y="2058"/>
                  </a:lnTo>
                  <a:lnTo>
                    <a:pt x="2508" y="2058"/>
                  </a:lnTo>
                  <a:lnTo>
                    <a:pt x="2514" y="2058"/>
                  </a:lnTo>
                  <a:lnTo>
                    <a:pt x="2522" y="2058"/>
                  </a:lnTo>
                  <a:lnTo>
                    <a:pt x="2526" y="2062"/>
                  </a:lnTo>
                  <a:lnTo>
                    <a:pt x="2526" y="2062"/>
                  </a:lnTo>
                  <a:lnTo>
                    <a:pt x="2540" y="2070"/>
                  </a:lnTo>
                  <a:lnTo>
                    <a:pt x="2558" y="2088"/>
                  </a:lnTo>
                  <a:lnTo>
                    <a:pt x="2558" y="2088"/>
                  </a:lnTo>
                  <a:lnTo>
                    <a:pt x="2570" y="2098"/>
                  </a:lnTo>
                  <a:lnTo>
                    <a:pt x="2576" y="2100"/>
                  </a:lnTo>
                  <a:lnTo>
                    <a:pt x="2576" y="2100"/>
                  </a:lnTo>
                  <a:lnTo>
                    <a:pt x="2578" y="2102"/>
                  </a:lnTo>
                  <a:lnTo>
                    <a:pt x="2580" y="2100"/>
                  </a:lnTo>
                  <a:lnTo>
                    <a:pt x="2582" y="2100"/>
                  </a:lnTo>
                  <a:lnTo>
                    <a:pt x="2582" y="2096"/>
                  </a:lnTo>
                  <a:lnTo>
                    <a:pt x="2582" y="2082"/>
                  </a:lnTo>
                  <a:lnTo>
                    <a:pt x="2582" y="2082"/>
                  </a:lnTo>
                  <a:lnTo>
                    <a:pt x="2580" y="2076"/>
                  </a:lnTo>
                  <a:lnTo>
                    <a:pt x="2576" y="2072"/>
                  </a:lnTo>
                  <a:lnTo>
                    <a:pt x="2560" y="2068"/>
                  </a:lnTo>
                  <a:lnTo>
                    <a:pt x="2560" y="2068"/>
                  </a:lnTo>
                  <a:lnTo>
                    <a:pt x="2556" y="2064"/>
                  </a:lnTo>
                  <a:lnTo>
                    <a:pt x="2554" y="2058"/>
                  </a:lnTo>
                  <a:lnTo>
                    <a:pt x="2554" y="2054"/>
                  </a:lnTo>
                  <a:lnTo>
                    <a:pt x="2554" y="2054"/>
                  </a:lnTo>
                  <a:lnTo>
                    <a:pt x="2554" y="2046"/>
                  </a:lnTo>
                  <a:lnTo>
                    <a:pt x="2558" y="2040"/>
                  </a:lnTo>
                  <a:lnTo>
                    <a:pt x="2558" y="2040"/>
                  </a:lnTo>
                  <a:lnTo>
                    <a:pt x="2560" y="2038"/>
                  </a:lnTo>
                  <a:lnTo>
                    <a:pt x="2560" y="2036"/>
                  </a:lnTo>
                  <a:lnTo>
                    <a:pt x="2556" y="2034"/>
                  </a:lnTo>
                  <a:lnTo>
                    <a:pt x="2542" y="2028"/>
                  </a:lnTo>
                  <a:lnTo>
                    <a:pt x="2542" y="2028"/>
                  </a:lnTo>
                  <a:lnTo>
                    <a:pt x="2534" y="2024"/>
                  </a:lnTo>
                  <a:lnTo>
                    <a:pt x="2530" y="2018"/>
                  </a:lnTo>
                  <a:lnTo>
                    <a:pt x="2528" y="2014"/>
                  </a:lnTo>
                  <a:lnTo>
                    <a:pt x="2528" y="2014"/>
                  </a:lnTo>
                  <a:lnTo>
                    <a:pt x="2524" y="2006"/>
                  </a:lnTo>
                  <a:lnTo>
                    <a:pt x="2518" y="2002"/>
                  </a:lnTo>
                  <a:lnTo>
                    <a:pt x="2502" y="1992"/>
                  </a:lnTo>
                  <a:lnTo>
                    <a:pt x="2502" y="1992"/>
                  </a:lnTo>
                  <a:lnTo>
                    <a:pt x="2486" y="1984"/>
                  </a:lnTo>
                  <a:lnTo>
                    <a:pt x="2424" y="1968"/>
                  </a:lnTo>
                  <a:lnTo>
                    <a:pt x="2424" y="1968"/>
                  </a:lnTo>
                  <a:lnTo>
                    <a:pt x="2416" y="1968"/>
                  </a:lnTo>
                  <a:lnTo>
                    <a:pt x="2410" y="1972"/>
                  </a:lnTo>
                  <a:lnTo>
                    <a:pt x="2394" y="1982"/>
                  </a:lnTo>
                  <a:lnTo>
                    <a:pt x="2394" y="1982"/>
                  </a:lnTo>
                  <a:lnTo>
                    <a:pt x="2386" y="1986"/>
                  </a:lnTo>
                  <a:lnTo>
                    <a:pt x="2378" y="1986"/>
                  </a:lnTo>
                  <a:lnTo>
                    <a:pt x="2376" y="1986"/>
                  </a:lnTo>
                  <a:lnTo>
                    <a:pt x="2376" y="1986"/>
                  </a:lnTo>
                  <a:lnTo>
                    <a:pt x="2368" y="1986"/>
                  </a:lnTo>
                  <a:lnTo>
                    <a:pt x="2362" y="1982"/>
                  </a:lnTo>
                  <a:lnTo>
                    <a:pt x="2354" y="1972"/>
                  </a:lnTo>
                  <a:lnTo>
                    <a:pt x="2354" y="1972"/>
                  </a:lnTo>
                  <a:lnTo>
                    <a:pt x="2342" y="1962"/>
                  </a:lnTo>
                  <a:lnTo>
                    <a:pt x="2334" y="1954"/>
                  </a:lnTo>
                  <a:lnTo>
                    <a:pt x="2334" y="1954"/>
                  </a:lnTo>
                  <a:lnTo>
                    <a:pt x="2328" y="1950"/>
                  </a:lnTo>
                  <a:lnTo>
                    <a:pt x="2320" y="1948"/>
                  </a:lnTo>
                  <a:lnTo>
                    <a:pt x="2316" y="1948"/>
                  </a:lnTo>
                  <a:lnTo>
                    <a:pt x="2316" y="1948"/>
                  </a:lnTo>
                  <a:lnTo>
                    <a:pt x="2310" y="1950"/>
                  </a:lnTo>
                  <a:lnTo>
                    <a:pt x="2306" y="1954"/>
                  </a:lnTo>
                  <a:lnTo>
                    <a:pt x="2302" y="1960"/>
                  </a:lnTo>
                  <a:close/>
                  <a:moveTo>
                    <a:pt x="2606" y="2298"/>
                  </a:moveTo>
                  <a:lnTo>
                    <a:pt x="2606" y="2298"/>
                  </a:lnTo>
                  <a:lnTo>
                    <a:pt x="2602" y="2290"/>
                  </a:lnTo>
                  <a:lnTo>
                    <a:pt x="2598" y="2284"/>
                  </a:lnTo>
                  <a:lnTo>
                    <a:pt x="2598" y="2284"/>
                  </a:lnTo>
                  <a:lnTo>
                    <a:pt x="2594" y="2280"/>
                  </a:lnTo>
                  <a:lnTo>
                    <a:pt x="2590" y="2272"/>
                  </a:lnTo>
                  <a:lnTo>
                    <a:pt x="2586" y="2258"/>
                  </a:lnTo>
                  <a:lnTo>
                    <a:pt x="2586" y="2258"/>
                  </a:lnTo>
                  <a:lnTo>
                    <a:pt x="2582" y="2252"/>
                  </a:lnTo>
                  <a:lnTo>
                    <a:pt x="2576" y="2248"/>
                  </a:lnTo>
                  <a:lnTo>
                    <a:pt x="2562" y="2244"/>
                  </a:lnTo>
                  <a:lnTo>
                    <a:pt x="2562" y="2244"/>
                  </a:lnTo>
                  <a:lnTo>
                    <a:pt x="2548" y="2236"/>
                  </a:lnTo>
                  <a:lnTo>
                    <a:pt x="2532" y="2226"/>
                  </a:lnTo>
                  <a:lnTo>
                    <a:pt x="2532" y="2226"/>
                  </a:lnTo>
                  <a:lnTo>
                    <a:pt x="2526" y="2220"/>
                  </a:lnTo>
                  <a:lnTo>
                    <a:pt x="2522" y="2214"/>
                  </a:lnTo>
                  <a:lnTo>
                    <a:pt x="2516" y="2180"/>
                  </a:lnTo>
                  <a:lnTo>
                    <a:pt x="2516" y="2180"/>
                  </a:lnTo>
                  <a:lnTo>
                    <a:pt x="2514" y="2174"/>
                  </a:lnTo>
                  <a:lnTo>
                    <a:pt x="2510" y="2168"/>
                  </a:lnTo>
                  <a:lnTo>
                    <a:pt x="2510" y="2168"/>
                  </a:lnTo>
                  <a:lnTo>
                    <a:pt x="2500" y="2158"/>
                  </a:lnTo>
                  <a:lnTo>
                    <a:pt x="2500" y="2158"/>
                  </a:lnTo>
                  <a:lnTo>
                    <a:pt x="2496" y="2152"/>
                  </a:lnTo>
                  <a:lnTo>
                    <a:pt x="2492" y="2146"/>
                  </a:lnTo>
                  <a:lnTo>
                    <a:pt x="2488" y="2130"/>
                  </a:lnTo>
                  <a:lnTo>
                    <a:pt x="2488" y="2130"/>
                  </a:lnTo>
                  <a:lnTo>
                    <a:pt x="2486" y="2128"/>
                  </a:lnTo>
                  <a:lnTo>
                    <a:pt x="2484" y="2128"/>
                  </a:lnTo>
                  <a:lnTo>
                    <a:pt x="2482" y="2128"/>
                  </a:lnTo>
                  <a:lnTo>
                    <a:pt x="2480" y="2128"/>
                  </a:lnTo>
                  <a:lnTo>
                    <a:pt x="2472" y="2138"/>
                  </a:lnTo>
                  <a:lnTo>
                    <a:pt x="2472" y="2138"/>
                  </a:lnTo>
                  <a:lnTo>
                    <a:pt x="2468" y="2144"/>
                  </a:lnTo>
                  <a:lnTo>
                    <a:pt x="2466" y="2150"/>
                  </a:lnTo>
                  <a:lnTo>
                    <a:pt x="2466" y="2184"/>
                  </a:lnTo>
                  <a:lnTo>
                    <a:pt x="2466" y="2184"/>
                  </a:lnTo>
                  <a:lnTo>
                    <a:pt x="2464" y="2192"/>
                  </a:lnTo>
                  <a:lnTo>
                    <a:pt x="2460" y="2198"/>
                  </a:lnTo>
                  <a:lnTo>
                    <a:pt x="2452" y="2206"/>
                  </a:lnTo>
                  <a:lnTo>
                    <a:pt x="2452" y="2206"/>
                  </a:lnTo>
                  <a:lnTo>
                    <a:pt x="2446" y="2210"/>
                  </a:lnTo>
                  <a:lnTo>
                    <a:pt x="2438" y="2212"/>
                  </a:lnTo>
                  <a:lnTo>
                    <a:pt x="2434" y="2212"/>
                  </a:lnTo>
                  <a:lnTo>
                    <a:pt x="2434" y="2212"/>
                  </a:lnTo>
                  <a:lnTo>
                    <a:pt x="2428" y="2210"/>
                  </a:lnTo>
                  <a:lnTo>
                    <a:pt x="2422" y="2204"/>
                  </a:lnTo>
                  <a:lnTo>
                    <a:pt x="2412" y="2188"/>
                  </a:lnTo>
                  <a:lnTo>
                    <a:pt x="2412" y="2188"/>
                  </a:lnTo>
                  <a:lnTo>
                    <a:pt x="2406" y="2184"/>
                  </a:lnTo>
                  <a:lnTo>
                    <a:pt x="2398" y="2182"/>
                  </a:lnTo>
                  <a:lnTo>
                    <a:pt x="2396" y="2182"/>
                  </a:lnTo>
                  <a:lnTo>
                    <a:pt x="2396" y="2182"/>
                  </a:lnTo>
                  <a:lnTo>
                    <a:pt x="2388" y="2180"/>
                  </a:lnTo>
                  <a:lnTo>
                    <a:pt x="2380" y="2178"/>
                  </a:lnTo>
                  <a:lnTo>
                    <a:pt x="2374" y="2176"/>
                  </a:lnTo>
                  <a:lnTo>
                    <a:pt x="2374" y="2176"/>
                  </a:lnTo>
                  <a:lnTo>
                    <a:pt x="2372" y="2174"/>
                  </a:lnTo>
                  <a:lnTo>
                    <a:pt x="2370" y="2172"/>
                  </a:lnTo>
                  <a:lnTo>
                    <a:pt x="2370" y="2168"/>
                  </a:lnTo>
                  <a:lnTo>
                    <a:pt x="2372" y="2164"/>
                  </a:lnTo>
                  <a:lnTo>
                    <a:pt x="2374" y="2160"/>
                  </a:lnTo>
                  <a:lnTo>
                    <a:pt x="2374" y="2160"/>
                  </a:lnTo>
                  <a:lnTo>
                    <a:pt x="2382" y="2146"/>
                  </a:lnTo>
                  <a:lnTo>
                    <a:pt x="2384" y="2140"/>
                  </a:lnTo>
                  <a:lnTo>
                    <a:pt x="2384" y="2140"/>
                  </a:lnTo>
                  <a:lnTo>
                    <a:pt x="2384" y="2138"/>
                  </a:lnTo>
                  <a:lnTo>
                    <a:pt x="2384" y="2134"/>
                  </a:lnTo>
                  <a:lnTo>
                    <a:pt x="2382" y="2132"/>
                  </a:lnTo>
                  <a:lnTo>
                    <a:pt x="2380" y="2132"/>
                  </a:lnTo>
                  <a:lnTo>
                    <a:pt x="2356" y="2126"/>
                  </a:lnTo>
                  <a:lnTo>
                    <a:pt x="2356" y="2126"/>
                  </a:lnTo>
                  <a:lnTo>
                    <a:pt x="2340" y="2124"/>
                  </a:lnTo>
                  <a:lnTo>
                    <a:pt x="2336" y="2124"/>
                  </a:lnTo>
                  <a:lnTo>
                    <a:pt x="2336" y="2124"/>
                  </a:lnTo>
                  <a:lnTo>
                    <a:pt x="2330" y="2124"/>
                  </a:lnTo>
                  <a:lnTo>
                    <a:pt x="2324" y="2128"/>
                  </a:lnTo>
                  <a:lnTo>
                    <a:pt x="2324" y="2128"/>
                  </a:lnTo>
                  <a:lnTo>
                    <a:pt x="2312" y="2136"/>
                  </a:lnTo>
                  <a:lnTo>
                    <a:pt x="2306" y="2140"/>
                  </a:lnTo>
                  <a:lnTo>
                    <a:pt x="2306" y="2140"/>
                  </a:lnTo>
                  <a:lnTo>
                    <a:pt x="2292" y="2146"/>
                  </a:lnTo>
                  <a:lnTo>
                    <a:pt x="2286" y="2150"/>
                  </a:lnTo>
                  <a:lnTo>
                    <a:pt x="2286" y="2150"/>
                  </a:lnTo>
                  <a:lnTo>
                    <a:pt x="2280" y="2154"/>
                  </a:lnTo>
                  <a:lnTo>
                    <a:pt x="2276" y="2160"/>
                  </a:lnTo>
                  <a:lnTo>
                    <a:pt x="2274" y="2164"/>
                  </a:lnTo>
                  <a:lnTo>
                    <a:pt x="2274" y="2164"/>
                  </a:lnTo>
                  <a:lnTo>
                    <a:pt x="2270" y="2170"/>
                  </a:lnTo>
                  <a:lnTo>
                    <a:pt x="2264" y="2172"/>
                  </a:lnTo>
                  <a:lnTo>
                    <a:pt x="2264" y="2172"/>
                  </a:lnTo>
                  <a:lnTo>
                    <a:pt x="2252" y="2168"/>
                  </a:lnTo>
                  <a:lnTo>
                    <a:pt x="2248" y="2166"/>
                  </a:lnTo>
                  <a:lnTo>
                    <a:pt x="2248" y="2166"/>
                  </a:lnTo>
                  <a:lnTo>
                    <a:pt x="2240" y="2164"/>
                  </a:lnTo>
                  <a:lnTo>
                    <a:pt x="2234" y="2166"/>
                  </a:lnTo>
                  <a:lnTo>
                    <a:pt x="2228" y="2168"/>
                  </a:lnTo>
                  <a:lnTo>
                    <a:pt x="2228" y="2168"/>
                  </a:lnTo>
                  <a:lnTo>
                    <a:pt x="2214" y="2176"/>
                  </a:lnTo>
                  <a:lnTo>
                    <a:pt x="2198" y="2188"/>
                  </a:lnTo>
                  <a:lnTo>
                    <a:pt x="2198" y="2188"/>
                  </a:lnTo>
                  <a:lnTo>
                    <a:pt x="2184" y="2196"/>
                  </a:lnTo>
                  <a:lnTo>
                    <a:pt x="2178" y="2198"/>
                  </a:lnTo>
                  <a:lnTo>
                    <a:pt x="2178" y="2198"/>
                  </a:lnTo>
                  <a:lnTo>
                    <a:pt x="2164" y="2206"/>
                  </a:lnTo>
                  <a:lnTo>
                    <a:pt x="2160" y="2208"/>
                  </a:lnTo>
                  <a:lnTo>
                    <a:pt x="2160" y="2208"/>
                  </a:lnTo>
                  <a:lnTo>
                    <a:pt x="2154" y="2212"/>
                  </a:lnTo>
                  <a:lnTo>
                    <a:pt x="2150" y="2220"/>
                  </a:lnTo>
                  <a:lnTo>
                    <a:pt x="2144" y="2234"/>
                  </a:lnTo>
                  <a:lnTo>
                    <a:pt x="2144" y="2234"/>
                  </a:lnTo>
                  <a:lnTo>
                    <a:pt x="2140" y="2238"/>
                  </a:lnTo>
                  <a:lnTo>
                    <a:pt x="2134" y="2240"/>
                  </a:lnTo>
                  <a:lnTo>
                    <a:pt x="2130" y="2240"/>
                  </a:lnTo>
                  <a:lnTo>
                    <a:pt x="2130" y="2240"/>
                  </a:lnTo>
                  <a:lnTo>
                    <a:pt x="2124" y="2242"/>
                  </a:lnTo>
                  <a:lnTo>
                    <a:pt x="2116" y="2246"/>
                  </a:lnTo>
                  <a:lnTo>
                    <a:pt x="2100" y="2256"/>
                  </a:lnTo>
                  <a:lnTo>
                    <a:pt x="2100" y="2256"/>
                  </a:lnTo>
                  <a:lnTo>
                    <a:pt x="2086" y="2264"/>
                  </a:lnTo>
                  <a:lnTo>
                    <a:pt x="2062" y="2276"/>
                  </a:lnTo>
                  <a:lnTo>
                    <a:pt x="2062" y="2276"/>
                  </a:lnTo>
                  <a:lnTo>
                    <a:pt x="2048" y="2286"/>
                  </a:lnTo>
                  <a:lnTo>
                    <a:pt x="2040" y="2294"/>
                  </a:lnTo>
                  <a:lnTo>
                    <a:pt x="2040" y="2294"/>
                  </a:lnTo>
                  <a:lnTo>
                    <a:pt x="2030" y="2306"/>
                  </a:lnTo>
                  <a:lnTo>
                    <a:pt x="2028" y="2312"/>
                  </a:lnTo>
                  <a:lnTo>
                    <a:pt x="2028" y="2312"/>
                  </a:lnTo>
                  <a:lnTo>
                    <a:pt x="2026" y="2320"/>
                  </a:lnTo>
                  <a:lnTo>
                    <a:pt x="2028" y="2326"/>
                  </a:lnTo>
                  <a:lnTo>
                    <a:pt x="2032" y="2340"/>
                  </a:lnTo>
                  <a:lnTo>
                    <a:pt x="2032" y="2340"/>
                  </a:lnTo>
                  <a:lnTo>
                    <a:pt x="2034" y="2356"/>
                  </a:lnTo>
                  <a:lnTo>
                    <a:pt x="2034" y="2360"/>
                  </a:lnTo>
                  <a:lnTo>
                    <a:pt x="2034" y="2360"/>
                  </a:lnTo>
                  <a:lnTo>
                    <a:pt x="2036" y="2376"/>
                  </a:lnTo>
                  <a:lnTo>
                    <a:pt x="2052" y="2428"/>
                  </a:lnTo>
                  <a:lnTo>
                    <a:pt x="2052" y="2428"/>
                  </a:lnTo>
                  <a:lnTo>
                    <a:pt x="2054" y="2444"/>
                  </a:lnTo>
                  <a:lnTo>
                    <a:pt x="2054" y="2448"/>
                  </a:lnTo>
                  <a:lnTo>
                    <a:pt x="2054" y="2448"/>
                  </a:lnTo>
                  <a:lnTo>
                    <a:pt x="2054" y="2464"/>
                  </a:lnTo>
                  <a:lnTo>
                    <a:pt x="2054" y="2488"/>
                  </a:lnTo>
                  <a:lnTo>
                    <a:pt x="2054" y="2488"/>
                  </a:lnTo>
                  <a:lnTo>
                    <a:pt x="2056" y="2494"/>
                  </a:lnTo>
                  <a:lnTo>
                    <a:pt x="2060" y="2500"/>
                  </a:lnTo>
                  <a:lnTo>
                    <a:pt x="2068" y="2510"/>
                  </a:lnTo>
                  <a:lnTo>
                    <a:pt x="2068" y="2510"/>
                  </a:lnTo>
                  <a:lnTo>
                    <a:pt x="2074" y="2514"/>
                  </a:lnTo>
                  <a:lnTo>
                    <a:pt x="2082" y="2514"/>
                  </a:lnTo>
                  <a:lnTo>
                    <a:pt x="2086" y="2514"/>
                  </a:lnTo>
                  <a:lnTo>
                    <a:pt x="2086" y="2514"/>
                  </a:lnTo>
                  <a:lnTo>
                    <a:pt x="2100" y="2512"/>
                  </a:lnTo>
                  <a:lnTo>
                    <a:pt x="2116" y="2508"/>
                  </a:lnTo>
                  <a:lnTo>
                    <a:pt x="2116" y="2508"/>
                  </a:lnTo>
                  <a:lnTo>
                    <a:pt x="2130" y="2502"/>
                  </a:lnTo>
                  <a:lnTo>
                    <a:pt x="2136" y="2498"/>
                  </a:lnTo>
                  <a:lnTo>
                    <a:pt x="2136" y="2498"/>
                  </a:lnTo>
                  <a:lnTo>
                    <a:pt x="2142" y="2496"/>
                  </a:lnTo>
                  <a:lnTo>
                    <a:pt x="2150" y="2496"/>
                  </a:lnTo>
                  <a:lnTo>
                    <a:pt x="2154" y="2496"/>
                  </a:lnTo>
                  <a:lnTo>
                    <a:pt x="2154" y="2496"/>
                  </a:lnTo>
                  <a:lnTo>
                    <a:pt x="2170" y="2492"/>
                  </a:lnTo>
                  <a:lnTo>
                    <a:pt x="2184" y="2488"/>
                  </a:lnTo>
                  <a:lnTo>
                    <a:pt x="2184" y="2488"/>
                  </a:lnTo>
                  <a:lnTo>
                    <a:pt x="2190" y="2484"/>
                  </a:lnTo>
                  <a:lnTo>
                    <a:pt x="2192" y="2480"/>
                  </a:lnTo>
                  <a:lnTo>
                    <a:pt x="2192" y="2480"/>
                  </a:lnTo>
                  <a:lnTo>
                    <a:pt x="2194" y="2476"/>
                  </a:lnTo>
                  <a:lnTo>
                    <a:pt x="2198" y="2472"/>
                  </a:lnTo>
                  <a:lnTo>
                    <a:pt x="2232" y="2460"/>
                  </a:lnTo>
                  <a:lnTo>
                    <a:pt x="2232" y="2460"/>
                  </a:lnTo>
                  <a:lnTo>
                    <a:pt x="2240" y="2458"/>
                  </a:lnTo>
                  <a:lnTo>
                    <a:pt x="2248" y="2456"/>
                  </a:lnTo>
                  <a:lnTo>
                    <a:pt x="2272" y="2456"/>
                  </a:lnTo>
                  <a:lnTo>
                    <a:pt x="2272" y="2456"/>
                  </a:lnTo>
                  <a:lnTo>
                    <a:pt x="2288" y="2458"/>
                  </a:lnTo>
                  <a:lnTo>
                    <a:pt x="2330" y="2464"/>
                  </a:lnTo>
                  <a:lnTo>
                    <a:pt x="2330" y="2464"/>
                  </a:lnTo>
                  <a:lnTo>
                    <a:pt x="2338" y="2468"/>
                  </a:lnTo>
                  <a:lnTo>
                    <a:pt x="2344" y="2472"/>
                  </a:lnTo>
                  <a:lnTo>
                    <a:pt x="2362" y="2490"/>
                  </a:lnTo>
                  <a:lnTo>
                    <a:pt x="2362" y="2490"/>
                  </a:lnTo>
                  <a:lnTo>
                    <a:pt x="2374" y="2500"/>
                  </a:lnTo>
                  <a:lnTo>
                    <a:pt x="2382" y="2510"/>
                  </a:lnTo>
                  <a:lnTo>
                    <a:pt x="2382" y="2510"/>
                  </a:lnTo>
                  <a:lnTo>
                    <a:pt x="2388" y="2514"/>
                  </a:lnTo>
                  <a:lnTo>
                    <a:pt x="2396" y="2514"/>
                  </a:lnTo>
                  <a:lnTo>
                    <a:pt x="2398" y="2514"/>
                  </a:lnTo>
                  <a:lnTo>
                    <a:pt x="2398" y="2514"/>
                  </a:lnTo>
                  <a:lnTo>
                    <a:pt x="2406" y="2516"/>
                  </a:lnTo>
                  <a:lnTo>
                    <a:pt x="2410" y="2522"/>
                  </a:lnTo>
                  <a:lnTo>
                    <a:pt x="2414" y="2528"/>
                  </a:lnTo>
                  <a:lnTo>
                    <a:pt x="2414" y="2528"/>
                  </a:lnTo>
                  <a:lnTo>
                    <a:pt x="2422" y="2540"/>
                  </a:lnTo>
                  <a:lnTo>
                    <a:pt x="2430" y="2548"/>
                  </a:lnTo>
                  <a:lnTo>
                    <a:pt x="2430" y="2548"/>
                  </a:lnTo>
                  <a:lnTo>
                    <a:pt x="2442" y="2558"/>
                  </a:lnTo>
                  <a:lnTo>
                    <a:pt x="2458" y="2570"/>
                  </a:lnTo>
                  <a:lnTo>
                    <a:pt x="2458" y="2570"/>
                  </a:lnTo>
                  <a:lnTo>
                    <a:pt x="2474" y="2576"/>
                  </a:lnTo>
                  <a:lnTo>
                    <a:pt x="2488" y="2580"/>
                  </a:lnTo>
                  <a:lnTo>
                    <a:pt x="2488" y="2580"/>
                  </a:lnTo>
                  <a:lnTo>
                    <a:pt x="2494" y="2582"/>
                  </a:lnTo>
                  <a:lnTo>
                    <a:pt x="2502" y="2580"/>
                  </a:lnTo>
                  <a:lnTo>
                    <a:pt x="2508" y="2578"/>
                  </a:lnTo>
                  <a:lnTo>
                    <a:pt x="2508" y="2578"/>
                  </a:lnTo>
                  <a:lnTo>
                    <a:pt x="2514" y="2576"/>
                  </a:lnTo>
                  <a:lnTo>
                    <a:pt x="2520" y="2580"/>
                  </a:lnTo>
                  <a:lnTo>
                    <a:pt x="2528" y="2588"/>
                  </a:lnTo>
                  <a:lnTo>
                    <a:pt x="2528" y="2588"/>
                  </a:lnTo>
                  <a:lnTo>
                    <a:pt x="2534" y="2592"/>
                  </a:lnTo>
                  <a:lnTo>
                    <a:pt x="2538" y="2594"/>
                  </a:lnTo>
                  <a:lnTo>
                    <a:pt x="2538" y="2594"/>
                  </a:lnTo>
                  <a:lnTo>
                    <a:pt x="2544" y="2592"/>
                  </a:lnTo>
                  <a:lnTo>
                    <a:pt x="2550" y="2588"/>
                  </a:lnTo>
                  <a:lnTo>
                    <a:pt x="2558" y="2580"/>
                  </a:lnTo>
                  <a:lnTo>
                    <a:pt x="2558" y="2580"/>
                  </a:lnTo>
                  <a:lnTo>
                    <a:pt x="2570" y="2570"/>
                  </a:lnTo>
                  <a:lnTo>
                    <a:pt x="2576" y="2568"/>
                  </a:lnTo>
                  <a:lnTo>
                    <a:pt x="2576" y="2568"/>
                  </a:lnTo>
                  <a:lnTo>
                    <a:pt x="2588" y="2564"/>
                  </a:lnTo>
                  <a:lnTo>
                    <a:pt x="2588" y="2564"/>
                  </a:lnTo>
                  <a:lnTo>
                    <a:pt x="2592" y="2562"/>
                  </a:lnTo>
                  <a:lnTo>
                    <a:pt x="2592" y="2556"/>
                  </a:lnTo>
                  <a:lnTo>
                    <a:pt x="2592" y="2552"/>
                  </a:lnTo>
                  <a:lnTo>
                    <a:pt x="2592" y="2552"/>
                  </a:lnTo>
                  <a:lnTo>
                    <a:pt x="2594" y="2544"/>
                  </a:lnTo>
                  <a:lnTo>
                    <a:pt x="2596" y="2538"/>
                  </a:lnTo>
                  <a:lnTo>
                    <a:pt x="2608" y="2512"/>
                  </a:lnTo>
                  <a:lnTo>
                    <a:pt x="2608" y="2512"/>
                  </a:lnTo>
                  <a:lnTo>
                    <a:pt x="2616" y="2498"/>
                  </a:lnTo>
                  <a:lnTo>
                    <a:pt x="2638" y="2434"/>
                  </a:lnTo>
                  <a:lnTo>
                    <a:pt x="2638" y="2434"/>
                  </a:lnTo>
                  <a:lnTo>
                    <a:pt x="2642" y="2418"/>
                  </a:lnTo>
                  <a:lnTo>
                    <a:pt x="2642" y="2396"/>
                  </a:lnTo>
                  <a:lnTo>
                    <a:pt x="2642" y="2396"/>
                  </a:lnTo>
                  <a:lnTo>
                    <a:pt x="2642" y="2380"/>
                  </a:lnTo>
                  <a:lnTo>
                    <a:pt x="2642" y="2366"/>
                  </a:lnTo>
                  <a:lnTo>
                    <a:pt x="2642" y="2366"/>
                  </a:lnTo>
                  <a:lnTo>
                    <a:pt x="2642" y="2350"/>
                  </a:lnTo>
                  <a:lnTo>
                    <a:pt x="2642" y="2346"/>
                  </a:lnTo>
                  <a:lnTo>
                    <a:pt x="2642" y="2346"/>
                  </a:lnTo>
                  <a:lnTo>
                    <a:pt x="2640" y="2340"/>
                  </a:lnTo>
                  <a:lnTo>
                    <a:pt x="2636" y="2334"/>
                  </a:lnTo>
                  <a:lnTo>
                    <a:pt x="2620" y="2324"/>
                  </a:lnTo>
                  <a:lnTo>
                    <a:pt x="2620" y="2324"/>
                  </a:lnTo>
                  <a:lnTo>
                    <a:pt x="2614" y="2318"/>
                  </a:lnTo>
                  <a:lnTo>
                    <a:pt x="2610" y="2312"/>
                  </a:lnTo>
                  <a:lnTo>
                    <a:pt x="2606" y="2298"/>
                  </a:lnTo>
                  <a:close/>
                  <a:moveTo>
                    <a:pt x="2522" y="2632"/>
                  </a:moveTo>
                  <a:lnTo>
                    <a:pt x="2522" y="2632"/>
                  </a:lnTo>
                  <a:lnTo>
                    <a:pt x="2520" y="2634"/>
                  </a:lnTo>
                  <a:lnTo>
                    <a:pt x="2518" y="2634"/>
                  </a:lnTo>
                  <a:lnTo>
                    <a:pt x="2516" y="2638"/>
                  </a:lnTo>
                  <a:lnTo>
                    <a:pt x="2518" y="2640"/>
                  </a:lnTo>
                  <a:lnTo>
                    <a:pt x="2522" y="2654"/>
                  </a:lnTo>
                  <a:lnTo>
                    <a:pt x="2522" y="2654"/>
                  </a:lnTo>
                  <a:lnTo>
                    <a:pt x="2524" y="2670"/>
                  </a:lnTo>
                  <a:lnTo>
                    <a:pt x="2524" y="2674"/>
                  </a:lnTo>
                  <a:lnTo>
                    <a:pt x="2524" y="2674"/>
                  </a:lnTo>
                  <a:lnTo>
                    <a:pt x="2526" y="2680"/>
                  </a:lnTo>
                  <a:lnTo>
                    <a:pt x="2532" y="2684"/>
                  </a:lnTo>
                  <a:lnTo>
                    <a:pt x="2538" y="2688"/>
                  </a:lnTo>
                  <a:lnTo>
                    <a:pt x="2538" y="2688"/>
                  </a:lnTo>
                  <a:lnTo>
                    <a:pt x="2540" y="2688"/>
                  </a:lnTo>
                  <a:lnTo>
                    <a:pt x="2544" y="2688"/>
                  </a:lnTo>
                  <a:lnTo>
                    <a:pt x="2546" y="2686"/>
                  </a:lnTo>
                  <a:lnTo>
                    <a:pt x="2548" y="2684"/>
                  </a:lnTo>
                  <a:lnTo>
                    <a:pt x="2550" y="2678"/>
                  </a:lnTo>
                  <a:lnTo>
                    <a:pt x="2550" y="2678"/>
                  </a:lnTo>
                  <a:lnTo>
                    <a:pt x="2556" y="2664"/>
                  </a:lnTo>
                  <a:lnTo>
                    <a:pt x="2562" y="2650"/>
                  </a:lnTo>
                  <a:lnTo>
                    <a:pt x="2562" y="2650"/>
                  </a:lnTo>
                  <a:lnTo>
                    <a:pt x="2564" y="2634"/>
                  </a:lnTo>
                  <a:lnTo>
                    <a:pt x="2564" y="2632"/>
                  </a:lnTo>
                  <a:lnTo>
                    <a:pt x="2564" y="2632"/>
                  </a:lnTo>
                  <a:lnTo>
                    <a:pt x="2564" y="2628"/>
                  </a:lnTo>
                  <a:lnTo>
                    <a:pt x="2562" y="2626"/>
                  </a:lnTo>
                  <a:lnTo>
                    <a:pt x="2560" y="2626"/>
                  </a:lnTo>
                  <a:lnTo>
                    <a:pt x="2556" y="2626"/>
                  </a:lnTo>
                  <a:lnTo>
                    <a:pt x="2552" y="2630"/>
                  </a:lnTo>
                  <a:lnTo>
                    <a:pt x="2552" y="2630"/>
                  </a:lnTo>
                  <a:lnTo>
                    <a:pt x="2544" y="2632"/>
                  </a:lnTo>
                  <a:lnTo>
                    <a:pt x="2536" y="2632"/>
                  </a:lnTo>
                  <a:lnTo>
                    <a:pt x="2522" y="2632"/>
                  </a:lnTo>
                  <a:close/>
                  <a:moveTo>
                    <a:pt x="2478" y="958"/>
                  </a:moveTo>
                  <a:lnTo>
                    <a:pt x="2478" y="958"/>
                  </a:lnTo>
                  <a:lnTo>
                    <a:pt x="2476" y="954"/>
                  </a:lnTo>
                  <a:lnTo>
                    <a:pt x="2476" y="958"/>
                  </a:lnTo>
                  <a:lnTo>
                    <a:pt x="2476" y="962"/>
                  </a:lnTo>
                  <a:lnTo>
                    <a:pt x="2476" y="962"/>
                  </a:lnTo>
                  <a:lnTo>
                    <a:pt x="2474" y="976"/>
                  </a:lnTo>
                  <a:lnTo>
                    <a:pt x="2468" y="992"/>
                  </a:lnTo>
                  <a:lnTo>
                    <a:pt x="2468" y="992"/>
                  </a:lnTo>
                  <a:lnTo>
                    <a:pt x="2468" y="998"/>
                  </a:lnTo>
                  <a:lnTo>
                    <a:pt x="2470" y="1006"/>
                  </a:lnTo>
                  <a:lnTo>
                    <a:pt x="2472" y="1012"/>
                  </a:lnTo>
                  <a:lnTo>
                    <a:pt x="2472" y="1012"/>
                  </a:lnTo>
                  <a:lnTo>
                    <a:pt x="2474" y="1018"/>
                  </a:lnTo>
                  <a:lnTo>
                    <a:pt x="2476" y="1026"/>
                  </a:lnTo>
                  <a:lnTo>
                    <a:pt x="2476" y="1088"/>
                  </a:lnTo>
                  <a:lnTo>
                    <a:pt x="2476" y="1088"/>
                  </a:lnTo>
                  <a:lnTo>
                    <a:pt x="2476" y="1104"/>
                  </a:lnTo>
                  <a:lnTo>
                    <a:pt x="2476" y="1118"/>
                  </a:lnTo>
                  <a:lnTo>
                    <a:pt x="2476" y="1118"/>
                  </a:lnTo>
                  <a:lnTo>
                    <a:pt x="2478" y="1124"/>
                  </a:lnTo>
                  <a:lnTo>
                    <a:pt x="2484" y="1128"/>
                  </a:lnTo>
                  <a:lnTo>
                    <a:pt x="2498" y="1134"/>
                  </a:lnTo>
                  <a:lnTo>
                    <a:pt x="2498" y="1134"/>
                  </a:lnTo>
                  <a:lnTo>
                    <a:pt x="2502" y="1134"/>
                  </a:lnTo>
                  <a:lnTo>
                    <a:pt x="2500" y="1130"/>
                  </a:lnTo>
                  <a:lnTo>
                    <a:pt x="2490" y="1114"/>
                  </a:lnTo>
                  <a:lnTo>
                    <a:pt x="2490" y="1114"/>
                  </a:lnTo>
                  <a:lnTo>
                    <a:pt x="2486" y="1106"/>
                  </a:lnTo>
                  <a:lnTo>
                    <a:pt x="2486" y="1098"/>
                  </a:lnTo>
                  <a:lnTo>
                    <a:pt x="2486" y="1094"/>
                  </a:lnTo>
                  <a:lnTo>
                    <a:pt x="2486" y="1094"/>
                  </a:lnTo>
                  <a:lnTo>
                    <a:pt x="2486" y="1088"/>
                  </a:lnTo>
                  <a:lnTo>
                    <a:pt x="2488" y="1080"/>
                  </a:lnTo>
                  <a:lnTo>
                    <a:pt x="2492" y="1074"/>
                  </a:lnTo>
                  <a:lnTo>
                    <a:pt x="2492" y="1074"/>
                  </a:lnTo>
                  <a:lnTo>
                    <a:pt x="2496" y="1070"/>
                  </a:lnTo>
                  <a:lnTo>
                    <a:pt x="2498" y="1070"/>
                  </a:lnTo>
                  <a:lnTo>
                    <a:pt x="2500" y="1072"/>
                  </a:lnTo>
                  <a:lnTo>
                    <a:pt x="2500" y="1072"/>
                  </a:lnTo>
                  <a:lnTo>
                    <a:pt x="2502" y="1074"/>
                  </a:lnTo>
                  <a:lnTo>
                    <a:pt x="2502" y="1070"/>
                  </a:lnTo>
                  <a:lnTo>
                    <a:pt x="2488" y="1006"/>
                  </a:lnTo>
                  <a:lnTo>
                    <a:pt x="2488" y="1006"/>
                  </a:lnTo>
                  <a:lnTo>
                    <a:pt x="2486" y="990"/>
                  </a:lnTo>
                  <a:lnTo>
                    <a:pt x="2486" y="988"/>
                  </a:lnTo>
                  <a:lnTo>
                    <a:pt x="2486" y="988"/>
                  </a:lnTo>
                  <a:lnTo>
                    <a:pt x="2482" y="972"/>
                  </a:lnTo>
                  <a:lnTo>
                    <a:pt x="2478" y="958"/>
                  </a:lnTo>
                  <a:close/>
                  <a:moveTo>
                    <a:pt x="2460" y="1170"/>
                  </a:moveTo>
                  <a:lnTo>
                    <a:pt x="2460" y="1170"/>
                  </a:lnTo>
                  <a:lnTo>
                    <a:pt x="2458" y="1176"/>
                  </a:lnTo>
                  <a:lnTo>
                    <a:pt x="2456" y="1182"/>
                  </a:lnTo>
                  <a:lnTo>
                    <a:pt x="2456" y="1196"/>
                  </a:lnTo>
                  <a:lnTo>
                    <a:pt x="2456" y="1196"/>
                  </a:lnTo>
                  <a:lnTo>
                    <a:pt x="2454" y="1204"/>
                  </a:lnTo>
                  <a:lnTo>
                    <a:pt x="2452" y="1212"/>
                  </a:lnTo>
                  <a:lnTo>
                    <a:pt x="2450" y="1216"/>
                  </a:lnTo>
                  <a:lnTo>
                    <a:pt x="2450" y="1216"/>
                  </a:lnTo>
                  <a:lnTo>
                    <a:pt x="2446" y="1224"/>
                  </a:lnTo>
                  <a:lnTo>
                    <a:pt x="2446" y="1232"/>
                  </a:lnTo>
                  <a:lnTo>
                    <a:pt x="2446" y="1236"/>
                  </a:lnTo>
                  <a:lnTo>
                    <a:pt x="2446" y="1236"/>
                  </a:lnTo>
                  <a:lnTo>
                    <a:pt x="2448" y="1238"/>
                  </a:lnTo>
                  <a:lnTo>
                    <a:pt x="2450" y="1236"/>
                  </a:lnTo>
                  <a:lnTo>
                    <a:pt x="2460" y="1220"/>
                  </a:lnTo>
                  <a:lnTo>
                    <a:pt x="2460" y="1220"/>
                  </a:lnTo>
                  <a:lnTo>
                    <a:pt x="2464" y="1218"/>
                  </a:lnTo>
                  <a:lnTo>
                    <a:pt x="2466" y="1218"/>
                  </a:lnTo>
                  <a:lnTo>
                    <a:pt x="2468" y="1218"/>
                  </a:lnTo>
                  <a:lnTo>
                    <a:pt x="2472" y="1220"/>
                  </a:lnTo>
                  <a:lnTo>
                    <a:pt x="2480" y="1228"/>
                  </a:lnTo>
                  <a:lnTo>
                    <a:pt x="2480" y="1228"/>
                  </a:lnTo>
                  <a:lnTo>
                    <a:pt x="2482" y="1230"/>
                  </a:lnTo>
                  <a:lnTo>
                    <a:pt x="2484" y="1230"/>
                  </a:lnTo>
                  <a:lnTo>
                    <a:pt x="2486" y="1228"/>
                  </a:lnTo>
                  <a:lnTo>
                    <a:pt x="2488" y="1226"/>
                  </a:lnTo>
                  <a:lnTo>
                    <a:pt x="2492" y="1220"/>
                  </a:lnTo>
                  <a:lnTo>
                    <a:pt x="2492" y="1220"/>
                  </a:lnTo>
                  <a:lnTo>
                    <a:pt x="2496" y="1214"/>
                  </a:lnTo>
                  <a:lnTo>
                    <a:pt x="2502" y="1210"/>
                  </a:lnTo>
                  <a:lnTo>
                    <a:pt x="2508" y="1208"/>
                  </a:lnTo>
                  <a:lnTo>
                    <a:pt x="2508" y="1208"/>
                  </a:lnTo>
                  <a:lnTo>
                    <a:pt x="2520" y="1198"/>
                  </a:lnTo>
                  <a:lnTo>
                    <a:pt x="2528" y="1190"/>
                  </a:lnTo>
                  <a:lnTo>
                    <a:pt x="2528" y="1190"/>
                  </a:lnTo>
                  <a:lnTo>
                    <a:pt x="2530" y="1188"/>
                  </a:lnTo>
                  <a:lnTo>
                    <a:pt x="2530" y="1186"/>
                  </a:lnTo>
                  <a:lnTo>
                    <a:pt x="2528" y="1184"/>
                  </a:lnTo>
                  <a:lnTo>
                    <a:pt x="2526" y="1184"/>
                  </a:lnTo>
                  <a:lnTo>
                    <a:pt x="2522" y="1184"/>
                  </a:lnTo>
                  <a:lnTo>
                    <a:pt x="2522" y="1184"/>
                  </a:lnTo>
                  <a:lnTo>
                    <a:pt x="2506" y="1182"/>
                  </a:lnTo>
                  <a:lnTo>
                    <a:pt x="2492" y="1178"/>
                  </a:lnTo>
                  <a:lnTo>
                    <a:pt x="2492" y="1178"/>
                  </a:lnTo>
                  <a:lnTo>
                    <a:pt x="2478" y="1170"/>
                  </a:lnTo>
                  <a:lnTo>
                    <a:pt x="2472" y="1168"/>
                  </a:lnTo>
                  <a:lnTo>
                    <a:pt x="2472" y="1168"/>
                  </a:lnTo>
                  <a:lnTo>
                    <a:pt x="2466" y="1168"/>
                  </a:lnTo>
                  <a:lnTo>
                    <a:pt x="2460" y="1170"/>
                  </a:lnTo>
                  <a:lnTo>
                    <a:pt x="2460" y="1170"/>
                  </a:lnTo>
                  <a:close/>
                  <a:moveTo>
                    <a:pt x="2438" y="1284"/>
                  </a:moveTo>
                  <a:lnTo>
                    <a:pt x="2438" y="1284"/>
                  </a:lnTo>
                  <a:lnTo>
                    <a:pt x="2432" y="1300"/>
                  </a:lnTo>
                  <a:lnTo>
                    <a:pt x="2430" y="1304"/>
                  </a:lnTo>
                  <a:lnTo>
                    <a:pt x="2430" y="1304"/>
                  </a:lnTo>
                  <a:lnTo>
                    <a:pt x="2426" y="1310"/>
                  </a:lnTo>
                  <a:lnTo>
                    <a:pt x="2420" y="1316"/>
                  </a:lnTo>
                  <a:lnTo>
                    <a:pt x="2414" y="1318"/>
                  </a:lnTo>
                  <a:lnTo>
                    <a:pt x="2414" y="1318"/>
                  </a:lnTo>
                  <a:lnTo>
                    <a:pt x="2400" y="1326"/>
                  </a:lnTo>
                  <a:lnTo>
                    <a:pt x="2374" y="1346"/>
                  </a:lnTo>
                  <a:lnTo>
                    <a:pt x="2374" y="1346"/>
                  </a:lnTo>
                  <a:lnTo>
                    <a:pt x="2368" y="1350"/>
                  </a:lnTo>
                  <a:lnTo>
                    <a:pt x="2360" y="1350"/>
                  </a:lnTo>
                  <a:lnTo>
                    <a:pt x="2356" y="1350"/>
                  </a:lnTo>
                  <a:lnTo>
                    <a:pt x="2356" y="1350"/>
                  </a:lnTo>
                  <a:lnTo>
                    <a:pt x="2340" y="1354"/>
                  </a:lnTo>
                  <a:lnTo>
                    <a:pt x="2326" y="1358"/>
                  </a:lnTo>
                  <a:lnTo>
                    <a:pt x="2326" y="1358"/>
                  </a:lnTo>
                  <a:lnTo>
                    <a:pt x="2320" y="1362"/>
                  </a:lnTo>
                  <a:lnTo>
                    <a:pt x="2318" y="1366"/>
                  </a:lnTo>
                  <a:lnTo>
                    <a:pt x="2318" y="1366"/>
                  </a:lnTo>
                  <a:lnTo>
                    <a:pt x="2322" y="1378"/>
                  </a:lnTo>
                  <a:lnTo>
                    <a:pt x="2326" y="1392"/>
                  </a:lnTo>
                  <a:lnTo>
                    <a:pt x="2326" y="1392"/>
                  </a:lnTo>
                  <a:lnTo>
                    <a:pt x="2328" y="1394"/>
                  </a:lnTo>
                  <a:lnTo>
                    <a:pt x="2330" y="1396"/>
                  </a:lnTo>
                  <a:lnTo>
                    <a:pt x="2332" y="1396"/>
                  </a:lnTo>
                  <a:lnTo>
                    <a:pt x="2334" y="1394"/>
                  </a:lnTo>
                  <a:lnTo>
                    <a:pt x="2342" y="1386"/>
                  </a:lnTo>
                  <a:lnTo>
                    <a:pt x="2342" y="1386"/>
                  </a:lnTo>
                  <a:lnTo>
                    <a:pt x="2348" y="1382"/>
                  </a:lnTo>
                  <a:lnTo>
                    <a:pt x="2354" y="1380"/>
                  </a:lnTo>
                  <a:lnTo>
                    <a:pt x="2354" y="1380"/>
                  </a:lnTo>
                  <a:lnTo>
                    <a:pt x="2358" y="1378"/>
                  </a:lnTo>
                  <a:lnTo>
                    <a:pt x="2362" y="1376"/>
                  </a:lnTo>
                  <a:lnTo>
                    <a:pt x="2362" y="1376"/>
                  </a:lnTo>
                  <a:lnTo>
                    <a:pt x="2366" y="1374"/>
                  </a:lnTo>
                  <a:lnTo>
                    <a:pt x="2368" y="1376"/>
                  </a:lnTo>
                  <a:lnTo>
                    <a:pt x="2368" y="1376"/>
                  </a:lnTo>
                  <a:lnTo>
                    <a:pt x="2368" y="1376"/>
                  </a:lnTo>
                  <a:lnTo>
                    <a:pt x="2370" y="1376"/>
                  </a:lnTo>
                  <a:lnTo>
                    <a:pt x="2374" y="1374"/>
                  </a:lnTo>
                  <a:lnTo>
                    <a:pt x="2382" y="1366"/>
                  </a:lnTo>
                  <a:lnTo>
                    <a:pt x="2382" y="1366"/>
                  </a:lnTo>
                  <a:lnTo>
                    <a:pt x="2388" y="1362"/>
                  </a:lnTo>
                  <a:lnTo>
                    <a:pt x="2392" y="1360"/>
                  </a:lnTo>
                  <a:lnTo>
                    <a:pt x="2392" y="1360"/>
                  </a:lnTo>
                  <a:lnTo>
                    <a:pt x="2404" y="1360"/>
                  </a:lnTo>
                  <a:lnTo>
                    <a:pt x="2408" y="1360"/>
                  </a:lnTo>
                  <a:lnTo>
                    <a:pt x="2408" y="1360"/>
                  </a:lnTo>
                  <a:lnTo>
                    <a:pt x="2422" y="1360"/>
                  </a:lnTo>
                  <a:lnTo>
                    <a:pt x="2422" y="1360"/>
                  </a:lnTo>
                  <a:lnTo>
                    <a:pt x="2432" y="1360"/>
                  </a:lnTo>
                  <a:lnTo>
                    <a:pt x="2432" y="1360"/>
                  </a:lnTo>
                  <a:lnTo>
                    <a:pt x="2436" y="1360"/>
                  </a:lnTo>
                  <a:lnTo>
                    <a:pt x="2440" y="1356"/>
                  </a:lnTo>
                  <a:lnTo>
                    <a:pt x="2440" y="1356"/>
                  </a:lnTo>
                  <a:lnTo>
                    <a:pt x="2444" y="1350"/>
                  </a:lnTo>
                  <a:lnTo>
                    <a:pt x="2446" y="1342"/>
                  </a:lnTo>
                  <a:lnTo>
                    <a:pt x="2446" y="1330"/>
                  </a:lnTo>
                  <a:lnTo>
                    <a:pt x="2446" y="1330"/>
                  </a:lnTo>
                  <a:lnTo>
                    <a:pt x="2446" y="1322"/>
                  </a:lnTo>
                  <a:lnTo>
                    <a:pt x="2450" y="1314"/>
                  </a:lnTo>
                  <a:lnTo>
                    <a:pt x="2452" y="1308"/>
                  </a:lnTo>
                  <a:lnTo>
                    <a:pt x="2452" y="1308"/>
                  </a:lnTo>
                  <a:lnTo>
                    <a:pt x="2458" y="1294"/>
                  </a:lnTo>
                  <a:lnTo>
                    <a:pt x="2462" y="1280"/>
                  </a:lnTo>
                  <a:lnTo>
                    <a:pt x="2462" y="1280"/>
                  </a:lnTo>
                  <a:lnTo>
                    <a:pt x="2464" y="1272"/>
                  </a:lnTo>
                  <a:lnTo>
                    <a:pt x="2460" y="1266"/>
                  </a:lnTo>
                  <a:lnTo>
                    <a:pt x="2450" y="1250"/>
                  </a:lnTo>
                  <a:lnTo>
                    <a:pt x="2450" y="1250"/>
                  </a:lnTo>
                  <a:lnTo>
                    <a:pt x="2448" y="1246"/>
                  </a:lnTo>
                  <a:lnTo>
                    <a:pt x="2446" y="1246"/>
                  </a:lnTo>
                  <a:lnTo>
                    <a:pt x="2446" y="1248"/>
                  </a:lnTo>
                  <a:lnTo>
                    <a:pt x="2446" y="1248"/>
                  </a:lnTo>
                  <a:lnTo>
                    <a:pt x="2444" y="1260"/>
                  </a:lnTo>
                  <a:lnTo>
                    <a:pt x="2438" y="1284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PE" kern="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9" name="Freeform 15"/>
            <p:cNvSpPr>
              <a:spLocks noEditPoints="1"/>
            </p:cNvSpPr>
            <p:nvPr/>
          </p:nvSpPr>
          <p:spPr bwMode="auto">
            <a:xfrm>
              <a:off x="56" y="1036"/>
              <a:ext cx="2211" cy="3018"/>
            </a:xfrm>
            <a:custGeom>
              <a:avLst/>
              <a:gdLst/>
              <a:ahLst/>
              <a:cxnLst>
                <a:cxn ang="0">
                  <a:pos x="1757" y="431"/>
                </a:cxn>
                <a:cxn ang="0">
                  <a:pos x="1780" y="502"/>
                </a:cxn>
                <a:cxn ang="0">
                  <a:pos x="1792" y="608"/>
                </a:cxn>
                <a:cxn ang="0">
                  <a:pos x="1954" y="711"/>
                </a:cxn>
                <a:cxn ang="0">
                  <a:pos x="2035" y="540"/>
                </a:cxn>
                <a:cxn ang="0">
                  <a:pos x="2203" y="366"/>
                </a:cxn>
                <a:cxn ang="0">
                  <a:pos x="2188" y="325"/>
                </a:cxn>
                <a:cxn ang="0">
                  <a:pos x="2153" y="272"/>
                </a:cxn>
                <a:cxn ang="0">
                  <a:pos x="2085" y="202"/>
                </a:cxn>
                <a:cxn ang="0">
                  <a:pos x="2002" y="129"/>
                </a:cxn>
                <a:cxn ang="0">
                  <a:pos x="1934" y="108"/>
                </a:cxn>
                <a:cxn ang="0">
                  <a:pos x="1737" y="207"/>
                </a:cxn>
                <a:cxn ang="0">
                  <a:pos x="1288" y="159"/>
                </a:cxn>
                <a:cxn ang="0">
                  <a:pos x="1303" y="194"/>
                </a:cxn>
                <a:cxn ang="0">
                  <a:pos x="1356" y="207"/>
                </a:cxn>
                <a:cxn ang="0">
                  <a:pos x="1364" y="156"/>
                </a:cxn>
                <a:cxn ang="0">
                  <a:pos x="1374" y="66"/>
                </a:cxn>
                <a:cxn ang="0">
                  <a:pos x="1361" y="3"/>
                </a:cxn>
                <a:cxn ang="0">
                  <a:pos x="1319" y="13"/>
                </a:cxn>
                <a:cxn ang="0">
                  <a:pos x="1266" y="58"/>
                </a:cxn>
                <a:cxn ang="0">
                  <a:pos x="1248" y="81"/>
                </a:cxn>
                <a:cxn ang="0">
                  <a:pos x="1253" y="144"/>
                </a:cxn>
                <a:cxn ang="0">
                  <a:pos x="1268" y="227"/>
                </a:cxn>
                <a:cxn ang="0">
                  <a:pos x="1379" y="252"/>
                </a:cxn>
                <a:cxn ang="0">
                  <a:pos x="1271" y="217"/>
                </a:cxn>
                <a:cxn ang="0">
                  <a:pos x="1172" y="1629"/>
                </a:cxn>
                <a:cxn ang="0">
                  <a:pos x="1677" y="1170"/>
                </a:cxn>
                <a:cxn ang="0">
                  <a:pos x="1500" y="703"/>
                </a:cxn>
                <a:cxn ang="0">
                  <a:pos x="1437" y="376"/>
                </a:cxn>
                <a:cxn ang="0">
                  <a:pos x="1520" y="509"/>
                </a:cxn>
                <a:cxn ang="0">
                  <a:pos x="1606" y="540"/>
                </a:cxn>
                <a:cxn ang="0">
                  <a:pos x="1674" y="527"/>
                </a:cxn>
                <a:cxn ang="0">
                  <a:pos x="1694" y="502"/>
                </a:cxn>
                <a:cxn ang="0">
                  <a:pos x="1659" y="446"/>
                </a:cxn>
                <a:cxn ang="0">
                  <a:pos x="1634" y="388"/>
                </a:cxn>
                <a:cxn ang="0">
                  <a:pos x="1553" y="345"/>
                </a:cxn>
                <a:cxn ang="0">
                  <a:pos x="1442" y="300"/>
                </a:cxn>
                <a:cxn ang="0">
                  <a:pos x="1341" y="330"/>
                </a:cxn>
                <a:cxn ang="0">
                  <a:pos x="1319" y="386"/>
                </a:cxn>
                <a:cxn ang="0">
                  <a:pos x="1182" y="424"/>
                </a:cxn>
                <a:cxn ang="0">
                  <a:pos x="1172" y="308"/>
                </a:cxn>
                <a:cxn ang="0">
                  <a:pos x="1112" y="315"/>
                </a:cxn>
                <a:cxn ang="0">
                  <a:pos x="1024" y="333"/>
                </a:cxn>
                <a:cxn ang="0">
                  <a:pos x="1034" y="383"/>
                </a:cxn>
                <a:cxn ang="0">
                  <a:pos x="1129" y="429"/>
                </a:cxn>
                <a:cxn ang="0">
                  <a:pos x="451" y="378"/>
                </a:cxn>
                <a:cxn ang="0">
                  <a:pos x="156" y="840"/>
                </a:cxn>
                <a:cxn ang="0">
                  <a:pos x="837" y="1417"/>
                </a:cxn>
                <a:cxn ang="0">
                  <a:pos x="1256" y="1755"/>
                </a:cxn>
                <a:cxn ang="0">
                  <a:pos x="1629" y="1679"/>
                </a:cxn>
                <a:cxn ang="0">
                  <a:pos x="1553" y="1654"/>
                </a:cxn>
                <a:cxn ang="0">
                  <a:pos x="1414" y="1851"/>
                </a:cxn>
                <a:cxn ang="0">
                  <a:pos x="1891" y="1893"/>
                </a:cxn>
                <a:cxn ang="0">
                  <a:pos x="1591" y="1795"/>
                </a:cxn>
                <a:cxn ang="0">
                  <a:pos x="1435" y="2057"/>
                </a:cxn>
                <a:cxn ang="0">
                  <a:pos x="1629" y="2524"/>
                </a:cxn>
                <a:cxn ang="0">
                  <a:pos x="1740" y="2741"/>
                </a:cxn>
                <a:cxn ang="0">
                  <a:pos x="2110" y="2342"/>
                </a:cxn>
                <a:cxn ang="0">
                  <a:pos x="1472" y="562"/>
                </a:cxn>
                <a:cxn ang="0">
                  <a:pos x="1394" y="577"/>
                </a:cxn>
                <a:cxn ang="0">
                  <a:pos x="978" y="338"/>
                </a:cxn>
                <a:cxn ang="0">
                  <a:pos x="1039" y="250"/>
                </a:cxn>
              </a:cxnLst>
              <a:rect l="0" t="0" r="r" b="b"/>
              <a:pathLst>
                <a:path w="2211" h="3018">
                  <a:moveTo>
                    <a:pt x="1636" y="295"/>
                  </a:moveTo>
                  <a:lnTo>
                    <a:pt x="1639" y="300"/>
                  </a:lnTo>
                  <a:lnTo>
                    <a:pt x="1639" y="303"/>
                  </a:lnTo>
                  <a:lnTo>
                    <a:pt x="1639" y="308"/>
                  </a:lnTo>
                  <a:lnTo>
                    <a:pt x="1636" y="310"/>
                  </a:lnTo>
                  <a:lnTo>
                    <a:pt x="1636" y="313"/>
                  </a:lnTo>
                  <a:lnTo>
                    <a:pt x="1634" y="315"/>
                  </a:lnTo>
                  <a:lnTo>
                    <a:pt x="1636" y="320"/>
                  </a:lnTo>
                  <a:lnTo>
                    <a:pt x="1636" y="323"/>
                  </a:lnTo>
                  <a:lnTo>
                    <a:pt x="1641" y="328"/>
                  </a:lnTo>
                  <a:lnTo>
                    <a:pt x="1644" y="333"/>
                  </a:lnTo>
                  <a:lnTo>
                    <a:pt x="1649" y="335"/>
                  </a:lnTo>
                  <a:lnTo>
                    <a:pt x="1651" y="338"/>
                  </a:lnTo>
                  <a:lnTo>
                    <a:pt x="1656" y="340"/>
                  </a:lnTo>
                  <a:lnTo>
                    <a:pt x="1664" y="340"/>
                  </a:lnTo>
                  <a:lnTo>
                    <a:pt x="1669" y="340"/>
                  </a:lnTo>
                  <a:lnTo>
                    <a:pt x="1679" y="340"/>
                  </a:lnTo>
                  <a:lnTo>
                    <a:pt x="1687" y="338"/>
                  </a:lnTo>
                  <a:lnTo>
                    <a:pt x="1697" y="338"/>
                  </a:lnTo>
                  <a:lnTo>
                    <a:pt x="1704" y="338"/>
                  </a:lnTo>
                  <a:lnTo>
                    <a:pt x="1712" y="338"/>
                  </a:lnTo>
                  <a:lnTo>
                    <a:pt x="1719" y="340"/>
                  </a:lnTo>
                  <a:lnTo>
                    <a:pt x="1724" y="343"/>
                  </a:lnTo>
                  <a:lnTo>
                    <a:pt x="1729" y="348"/>
                  </a:lnTo>
                  <a:lnTo>
                    <a:pt x="1732" y="356"/>
                  </a:lnTo>
                  <a:lnTo>
                    <a:pt x="1737" y="363"/>
                  </a:lnTo>
                  <a:lnTo>
                    <a:pt x="1740" y="368"/>
                  </a:lnTo>
                  <a:lnTo>
                    <a:pt x="1745" y="373"/>
                  </a:lnTo>
                  <a:lnTo>
                    <a:pt x="1750" y="378"/>
                  </a:lnTo>
                  <a:lnTo>
                    <a:pt x="1752" y="386"/>
                  </a:lnTo>
                  <a:lnTo>
                    <a:pt x="1757" y="391"/>
                  </a:lnTo>
                  <a:lnTo>
                    <a:pt x="1760" y="401"/>
                  </a:lnTo>
                  <a:lnTo>
                    <a:pt x="1760" y="411"/>
                  </a:lnTo>
                  <a:lnTo>
                    <a:pt x="1760" y="424"/>
                  </a:lnTo>
                  <a:lnTo>
                    <a:pt x="1757" y="431"/>
                  </a:lnTo>
                  <a:lnTo>
                    <a:pt x="1757" y="439"/>
                  </a:lnTo>
                  <a:lnTo>
                    <a:pt x="1757" y="444"/>
                  </a:lnTo>
                  <a:lnTo>
                    <a:pt x="1757" y="449"/>
                  </a:lnTo>
                  <a:lnTo>
                    <a:pt x="1757" y="451"/>
                  </a:lnTo>
                  <a:lnTo>
                    <a:pt x="1760" y="451"/>
                  </a:lnTo>
                  <a:lnTo>
                    <a:pt x="1765" y="454"/>
                  </a:lnTo>
                  <a:lnTo>
                    <a:pt x="1770" y="454"/>
                  </a:lnTo>
                  <a:lnTo>
                    <a:pt x="1775" y="454"/>
                  </a:lnTo>
                  <a:lnTo>
                    <a:pt x="1777" y="456"/>
                  </a:lnTo>
                  <a:lnTo>
                    <a:pt x="1782" y="456"/>
                  </a:lnTo>
                  <a:lnTo>
                    <a:pt x="1782" y="459"/>
                  </a:lnTo>
                  <a:lnTo>
                    <a:pt x="1782" y="461"/>
                  </a:lnTo>
                  <a:lnTo>
                    <a:pt x="1780" y="464"/>
                  </a:lnTo>
                  <a:lnTo>
                    <a:pt x="1772" y="464"/>
                  </a:lnTo>
                  <a:lnTo>
                    <a:pt x="1767" y="466"/>
                  </a:lnTo>
                  <a:lnTo>
                    <a:pt x="1765" y="469"/>
                  </a:lnTo>
                  <a:lnTo>
                    <a:pt x="1765" y="471"/>
                  </a:lnTo>
                  <a:lnTo>
                    <a:pt x="1767" y="471"/>
                  </a:lnTo>
                  <a:lnTo>
                    <a:pt x="1770" y="474"/>
                  </a:lnTo>
                  <a:lnTo>
                    <a:pt x="1775" y="477"/>
                  </a:lnTo>
                  <a:lnTo>
                    <a:pt x="1777" y="477"/>
                  </a:lnTo>
                  <a:lnTo>
                    <a:pt x="1777" y="477"/>
                  </a:lnTo>
                  <a:lnTo>
                    <a:pt x="1777" y="477"/>
                  </a:lnTo>
                  <a:lnTo>
                    <a:pt x="1775" y="477"/>
                  </a:lnTo>
                  <a:lnTo>
                    <a:pt x="1770" y="477"/>
                  </a:lnTo>
                  <a:lnTo>
                    <a:pt x="1765" y="479"/>
                  </a:lnTo>
                  <a:lnTo>
                    <a:pt x="1762" y="482"/>
                  </a:lnTo>
                  <a:lnTo>
                    <a:pt x="1757" y="484"/>
                  </a:lnTo>
                  <a:lnTo>
                    <a:pt x="1755" y="487"/>
                  </a:lnTo>
                  <a:lnTo>
                    <a:pt x="1755" y="489"/>
                  </a:lnTo>
                  <a:lnTo>
                    <a:pt x="1757" y="494"/>
                  </a:lnTo>
                  <a:lnTo>
                    <a:pt x="1762" y="497"/>
                  </a:lnTo>
                  <a:lnTo>
                    <a:pt x="1767" y="499"/>
                  </a:lnTo>
                  <a:lnTo>
                    <a:pt x="1772" y="502"/>
                  </a:lnTo>
                  <a:lnTo>
                    <a:pt x="1780" y="502"/>
                  </a:lnTo>
                  <a:lnTo>
                    <a:pt x="1785" y="502"/>
                  </a:lnTo>
                  <a:lnTo>
                    <a:pt x="1790" y="499"/>
                  </a:lnTo>
                  <a:lnTo>
                    <a:pt x="1792" y="497"/>
                  </a:lnTo>
                  <a:lnTo>
                    <a:pt x="1795" y="494"/>
                  </a:lnTo>
                  <a:lnTo>
                    <a:pt x="1798" y="492"/>
                  </a:lnTo>
                  <a:lnTo>
                    <a:pt x="1800" y="489"/>
                  </a:lnTo>
                  <a:lnTo>
                    <a:pt x="1800" y="487"/>
                  </a:lnTo>
                  <a:lnTo>
                    <a:pt x="1803" y="484"/>
                  </a:lnTo>
                  <a:lnTo>
                    <a:pt x="1805" y="484"/>
                  </a:lnTo>
                  <a:lnTo>
                    <a:pt x="1808" y="484"/>
                  </a:lnTo>
                  <a:lnTo>
                    <a:pt x="1810" y="482"/>
                  </a:lnTo>
                  <a:lnTo>
                    <a:pt x="1815" y="487"/>
                  </a:lnTo>
                  <a:lnTo>
                    <a:pt x="1815" y="494"/>
                  </a:lnTo>
                  <a:lnTo>
                    <a:pt x="1815" y="504"/>
                  </a:lnTo>
                  <a:lnTo>
                    <a:pt x="1813" y="512"/>
                  </a:lnTo>
                  <a:lnTo>
                    <a:pt x="1810" y="514"/>
                  </a:lnTo>
                  <a:lnTo>
                    <a:pt x="1805" y="514"/>
                  </a:lnTo>
                  <a:lnTo>
                    <a:pt x="1803" y="517"/>
                  </a:lnTo>
                  <a:lnTo>
                    <a:pt x="1798" y="519"/>
                  </a:lnTo>
                  <a:lnTo>
                    <a:pt x="1792" y="522"/>
                  </a:lnTo>
                  <a:lnTo>
                    <a:pt x="1787" y="527"/>
                  </a:lnTo>
                  <a:lnTo>
                    <a:pt x="1785" y="529"/>
                  </a:lnTo>
                  <a:lnTo>
                    <a:pt x="1780" y="532"/>
                  </a:lnTo>
                  <a:lnTo>
                    <a:pt x="1777" y="537"/>
                  </a:lnTo>
                  <a:lnTo>
                    <a:pt x="1777" y="545"/>
                  </a:lnTo>
                  <a:lnTo>
                    <a:pt x="1775" y="555"/>
                  </a:lnTo>
                  <a:lnTo>
                    <a:pt x="1772" y="565"/>
                  </a:lnTo>
                  <a:lnTo>
                    <a:pt x="1772" y="572"/>
                  </a:lnTo>
                  <a:lnTo>
                    <a:pt x="1772" y="582"/>
                  </a:lnTo>
                  <a:lnTo>
                    <a:pt x="1775" y="587"/>
                  </a:lnTo>
                  <a:lnTo>
                    <a:pt x="1775" y="593"/>
                  </a:lnTo>
                  <a:lnTo>
                    <a:pt x="1777" y="598"/>
                  </a:lnTo>
                  <a:lnTo>
                    <a:pt x="1782" y="600"/>
                  </a:lnTo>
                  <a:lnTo>
                    <a:pt x="1787" y="605"/>
                  </a:lnTo>
                  <a:lnTo>
                    <a:pt x="1792" y="608"/>
                  </a:lnTo>
                  <a:lnTo>
                    <a:pt x="1795" y="613"/>
                  </a:lnTo>
                  <a:lnTo>
                    <a:pt x="1800" y="618"/>
                  </a:lnTo>
                  <a:lnTo>
                    <a:pt x="1803" y="625"/>
                  </a:lnTo>
                  <a:lnTo>
                    <a:pt x="1803" y="630"/>
                  </a:lnTo>
                  <a:lnTo>
                    <a:pt x="1803" y="638"/>
                  </a:lnTo>
                  <a:lnTo>
                    <a:pt x="1805" y="643"/>
                  </a:lnTo>
                  <a:lnTo>
                    <a:pt x="1810" y="648"/>
                  </a:lnTo>
                  <a:lnTo>
                    <a:pt x="1815" y="653"/>
                  </a:lnTo>
                  <a:lnTo>
                    <a:pt x="1820" y="658"/>
                  </a:lnTo>
                  <a:lnTo>
                    <a:pt x="1825" y="661"/>
                  </a:lnTo>
                  <a:lnTo>
                    <a:pt x="1833" y="666"/>
                  </a:lnTo>
                  <a:lnTo>
                    <a:pt x="1838" y="671"/>
                  </a:lnTo>
                  <a:lnTo>
                    <a:pt x="1843" y="673"/>
                  </a:lnTo>
                  <a:lnTo>
                    <a:pt x="1848" y="678"/>
                  </a:lnTo>
                  <a:lnTo>
                    <a:pt x="1856" y="683"/>
                  </a:lnTo>
                  <a:lnTo>
                    <a:pt x="1863" y="691"/>
                  </a:lnTo>
                  <a:lnTo>
                    <a:pt x="1871" y="693"/>
                  </a:lnTo>
                  <a:lnTo>
                    <a:pt x="1881" y="698"/>
                  </a:lnTo>
                  <a:lnTo>
                    <a:pt x="1888" y="698"/>
                  </a:lnTo>
                  <a:lnTo>
                    <a:pt x="1896" y="698"/>
                  </a:lnTo>
                  <a:lnTo>
                    <a:pt x="1903" y="696"/>
                  </a:lnTo>
                  <a:lnTo>
                    <a:pt x="1908" y="696"/>
                  </a:lnTo>
                  <a:lnTo>
                    <a:pt x="1914" y="696"/>
                  </a:lnTo>
                  <a:lnTo>
                    <a:pt x="1919" y="696"/>
                  </a:lnTo>
                  <a:lnTo>
                    <a:pt x="1924" y="698"/>
                  </a:lnTo>
                  <a:lnTo>
                    <a:pt x="1926" y="701"/>
                  </a:lnTo>
                  <a:lnTo>
                    <a:pt x="1929" y="703"/>
                  </a:lnTo>
                  <a:lnTo>
                    <a:pt x="1931" y="706"/>
                  </a:lnTo>
                  <a:lnTo>
                    <a:pt x="1931" y="708"/>
                  </a:lnTo>
                  <a:lnTo>
                    <a:pt x="1934" y="708"/>
                  </a:lnTo>
                  <a:lnTo>
                    <a:pt x="1936" y="711"/>
                  </a:lnTo>
                  <a:lnTo>
                    <a:pt x="1939" y="711"/>
                  </a:lnTo>
                  <a:lnTo>
                    <a:pt x="1944" y="711"/>
                  </a:lnTo>
                  <a:lnTo>
                    <a:pt x="1949" y="711"/>
                  </a:lnTo>
                  <a:lnTo>
                    <a:pt x="1954" y="711"/>
                  </a:lnTo>
                  <a:lnTo>
                    <a:pt x="1956" y="711"/>
                  </a:lnTo>
                  <a:lnTo>
                    <a:pt x="1964" y="708"/>
                  </a:lnTo>
                  <a:lnTo>
                    <a:pt x="1966" y="708"/>
                  </a:lnTo>
                  <a:lnTo>
                    <a:pt x="1971" y="706"/>
                  </a:lnTo>
                  <a:lnTo>
                    <a:pt x="1977" y="703"/>
                  </a:lnTo>
                  <a:lnTo>
                    <a:pt x="1979" y="701"/>
                  </a:lnTo>
                  <a:lnTo>
                    <a:pt x="1982" y="698"/>
                  </a:lnTo>
                  <a:lnTo>
                    <a:pt x="1984" y="693"/>
                  </a:lnTo>
                  <a:lnTo>
                    <a:pt x="1984" y="691"/>
                  </a:lnTo>
                  <a:lnTo>
                    <a:pt x="1984" y="681"/>
                  </a:lnTo>
                  <a:lnTo>
                    <a:pt x="1984" y="673"/>
                  </a:lnTo>
                  <a:lnTo>
                    <a:pt x="1984" y="668"/>
                  </a:lnTo>
                  <a:lnTo>
                    <a:pt x="1984" y="666"/>
                  </a:lnTo>
                  <a:lnTo>
                    <a:pt x="1984" y="661"/>
                  </a:lnTo>
                  <a:lnTo>
                    <a:pt x="1987" y="658"/>
                  </a:lnTo>
                  <a:lnTo>
                    <a:pt x="1989" y="656"/>
                  </a:lnTo>
                  <a:lnTo>
                    <a:pt x="1992" y="653"/>
                  </a:lnTo>
                  <a:lnTo>
                    <a:pt x="1994" y="648"/>
                  </a:lnTo>
                  <a:lnTo>
                    <a:pt x="1992" y="640"/>
                  </a:lnTo>
                  <a:lnTo>
                    <a:pt x="1989" y="633"/>
                  </a:lnTo>
                  <a:lnTo>
                    <a:pt x="1989" y="628"/>
                  </a:lnTo>
                  <a:lnTo>
                    <a:pt x="1992" y="625"/>
                  </a:lnTo>
                  <a:lnTo>
                    <a:pt x="1994" y="620"/>
                  </a:lnTo>
                  <a:lnTo>
                    <a:pt x="1999" y="615"/>
                  </a:lnTo>
                  <a:lnTo>
                    <a:pt x="2004" y="608"/>
                  </a:lnTo>
                  <a:lnTo>
                    <a:pt x="2007" y="600"/>
                  </a:lnTo>
                  <a:lnTo>
                    <a:pt x="2009" y="593"/>
                  </a:lnTo>
                  <a:lnTo>
                    <a:pt x="2012" y="585"/>
                  </a:lnTo>
                  <a:lnTo>
                    <a:pt x="2009" y="580"/>
                  </a:lnTo>
                  <a:lnTo>
                    <a:pt x="2009" y="572"/>
                  </a:lnTo>
                  <a:lnTo>
                    <a:pt x="2012" y="565"/>
                  </a:lnTo>
                  <a:lnTo>
                    <a:pt x="2014" y="560"/>
                  </a:lnTo>
                  <a:lnTo>
                    <a:pt x="2022" y="552"/>
                  </a:lnTo>
                  <a:lnTo>
                    <a:pt x="2027" y="545"/>
                  </a:lnTo>
                  <a:lnTo>
                    <a:pt x="2035" y="540"/>
                  </a:lnTo>
                  <a:lnTo>
                    <a:pt x="2042" y="535"/>
                  </a:lnTo>
                  <a:lnTo>
                    <a:pt x="2047" y="532"/>
                  </a:lnTo>
                  <a:lnTo>
                    <a:pt x="2052" y="529"/>
                  </a:lnTo>
                  <a:lnTo>
                    <a:pt x="2057" y="527"/>
                  </a:lnTo>
                  <a:lnTo>
                    <a:pt x="2065" y="524"/>
                  </a:lnTo>
                  <a:lnTo>
                    <a:pt x="2072" y="517"/>
                  </a:lnTo>
                  <a:lnTo>
                    <a:pt x="2080" y="512"/>
                  </a:lnTo>
                  <a:lnTo>
                    <a:pt x="2087" y="502"/>
                  </a:lnTo>
                  <a:lnTo>
                    <a:pt x="2093" y="494"/>
                  </a:lnTo>
                  <a:lnTo>
                    <a:pt x="2098" y="484"/>
                  </a:lnTo>
                  <a:lnTo>
                    <a:pt x="2100" y="474"/>
                  </a:lnTo>
                  <a:lnTo>
                    <a:pt x="2105" y="466"/>
                  </a:lnTo>
                  <a:lnTo>
                    <a:pt x="2108" y="461"/>
                  </a:lnTo>
                  <a:lnTo>
                    <a:pt x="2108" y="456"/>
                  </a:lnTo>
                  <a:lnTo>
                    <a:pt x="2113" y="454"/>
                  </a:lnTo>
                  <a:lnTo>
                    <a:pt x="2113" y="454"/>
                  </a:lnTo>
                  <a:lnTo>
                    <a:pt x="2118" y="451"/>
                  </a:lnTo>
                  <a:lnTo>
                    <a:pt x="2123" y="449"/>
                  </a:lnTo>
                  <a:lnTo>
                    <a:pt x="2125" y="446"/>
                  </a:lnTo>
                  <a:lnTo>
                    <a:pt x="2130" y="444"/>
                  </a:lnTo>
                  <a:lnTo>
                    <a:pt x="2135" y="439"/>
                  </a:lnTo>
                  <a:lnTo>
                    <a:pt x="2140" y="434"/>
                  </a:lnTo>
                  <a:lnTo>
                    <a:pt x="2148" y="429"/>
                  </a:lnTo>
                  <a:lnTo>
                    <a:pt x="2156" y="424"/>
                  </a:lnTo>
                  <a:lnTo>
                    <a:pt x="2163" y="416"/>
                  </a:lnTo>
                  <a:lnTo>
                    <a:pt x="2171" y="411"/>
                  </a:lnTo>
                  <a:lnTo>
                    <a:pt x="2176" y="403"/>
                  </a:lnTo>
                  <a:lnTo>
                    <a:pt x="2183" y="396"/>
                  </a:lnTo>
                  <a:lnTo>
                    <a:pt x="2191" y="391"/>
                  </a:lnTo>
                  <a:lnTo>
                    <a:pt x="2196" y="386"/>
                  </a:lnTo>
                  <a:lnTo>
                    <a:pt x="2198" y="378"/>
                  </a:lnTo>
                  <a:lnTo>
                    <a:pt x="2203" y="376"/>
                  </a:lnTo>
                  <a:lnTo>
                    <a:pt x="2203" y="371"/>
                  </a:lnTo>
                  <a:lnTo>
                    <a:pt x="2206" y="368"/>
                  </a:lnTo>
                  <a:lnTo>
                    <a:pt x="2203" y="366"/>
                  </a:lnTo>
                  <a:lnTo>
                    <a:pt x="2196" y="363"/>
                  </a:lnTo>
                  <a:lnTo>
                    <a:pt x="2188" y="363"/>
                  </a:lnTo>
                  <a:lnTo>
                    <a:pt x="2178" y="366"/>
                  </a:lnTo>
                  <a:lnTo>
                    <a:pt x="2168" y="368"/>
                  </a:lnTo>
                  <a:lnTo>
                    <a:pt x="2161" y="371"/>
                  </a:lnTo>
                  <a:lnTo>
                    <a:pt x="2150" y="376"/>
                  </a:lnTo>
                  <a:lnTo>
                    <a:pt x="2143" y="381"/>
                  </a:lnTo>
                  <a:lnTo>
                    <a:pt x="2140" y="383"/>
                  </a:lnTo>
                  <a:lnTo>
                    <a:pt x="2140" y="381"/>
                  </a:lnTo>
                  <a:lnTo>
                    <a:pt x="2143" y="378"/>
                  </a:lnTo>
                  <a:lnTo>
                    <a:pt x="2145" y="376"/>
                  </a:lnTo>
                  <a:lnTo>
                    <a:pt x="2145" y="371"/>
                  </a:lnTo>
                  <a:lnTo>
                    <a:pt x="2143" y="366"/>
                  </a:lnTo>
                  <a:lnTo>
                    <a:pt x="2138" y="366"/>
                  </a:lnTo>
                  <a:lnTo>
                    <a:pt x="2128" y="366"/>
                  </a:lnTo>
                  <a:lnTo>
                    <a:pt x="2125" y="368"/>
                  </a:lnTo>
                  <a:lnTo>
                    <a:pt x="2125" y="366"/>
                  </a:lnTo>
                  <a:lnTo>
                    <a:pt x="2130" y="363"/>
                  </a:lnTo>
                  <a:lnTo>
                    <a:pt x="2140" y="358"/>
                  </a:lnTo>
                  <a:lnTo>
                    <a:pt x="2150" y="356"/>
                  </a:lnTo>
                  <a:lnTo>
                    <a:pt x="2158" y="353"/>
                  </a:lnTo>
                  <a:lnTo>
                    <a:pt x="2166" y="350"/>
                  </a:lnTo>
                  <a:lnTo>
                    <a:pt x="2171" y="353"/>
                  </a:lnTo>
                  <a:lnTo>
                    <a:pt x="2173" y="353"/>
                  </a:lnTo>
                  <a:lnTo>
                    <a:pt x="2178" y="356"/>
                  </a:lnTo>
                  <a:lnTo>
                    <a:pt x="2183" y="353"/>
                  </a:lnTo>
                  <a:lnTo>
                    <a:pt x="2188" y="353"/>
                  </a:lnTo>
                  <a:lnTo>
                    <a:pt x="2193" y="350"/>
                  </a:lnTo>
                  <a:lnTo>
                    <a:pt x="2198" y="345"/>
                  </a:lnTo>
                  <a:lnTo>
                    <a:pt x="2201" y="343"/>
                  </a:lnTo>
                  <a:lnTo>
                    <a:pt x="2201" y="338"/>
                  </a:lnTo>
                  <a:lnTo>
                    <a:pt x="2198" y="333"/>
                  </a:lnTo>
                  <a:lnTo>
                    <a:pt x="2196" y="330"/>
                  </a:lnTo>
                  <a:lnTo>
                    <a:pt x="2193" y="328"/>
                  </a:lnTo>
                  <a:lnTo>
                    <a:pt x="2188" y="325"/>
                  </a:lnTo>
                  <a:lnTo>
                    <a:pt x="2183" y="325"/>
                  </a:lnTo>
                  <a:lnTo>
                    <a:pt x="2176" y="323"/>
                  </a:lnTo>
                  <a:lnTo>
                    <a:pt x="2168" y="323"/>
                  </a:lnTo>
                  <a:lnTo>
                    <a:pt x="2161" y="323"/>
                  </a:lnTo>
                  <a:lnTo>
                    <a:pt x="2153" y="323"/>
                  </a:lnTo>
                  <a:lnTo>
                    <a:pt x="2145" y="323"/>
                  </a:lnTo>
                  <a:lnTo>
                    <a:pt x="2140" y="323"/>
                  </a:lnTo>
                  <a:lnTo>
                    <a:pt x="2138" y="325"/>
                  </a:lnTo>
                  <a:lnTo>
                    <a:pt x="2135" y="325"/>
                  </a:lnTo>
                  <a:lnTo>
                    <a:pt x="2135" y="325"/>
                  </a:lnTo>
                  <a:lnTo>
                    <a:pt x="2135" y="323"/>
                  </a:lnTo>
                  <a:lnTo>
                    <a:pt x="2135" y="323"/>
                  </a:lnTo>
                  <a:lnTo>
                    <a:pt x="2138" y="320"/>
                  </a:lnTo>
                  <a:lnTo>
                    <a:pt x="2143" y="318"/>
                  </a:lnTo>
                  <a:lnTo>
                    <a:pt x="2148" y="318"/>
                  </a:lnTo>
                  <a:lnTo>
                    <a:pt x="2153" y="318"/>
                  </a:lnTo>
                  <a:lnTo>
                    <a:pt x="2158" y="318"/>
                  </a:lnTo>
                  <a:lnTo>
                    <a:pt x="2161" y="315"/>
                  </a:lnTo>
                  <a:lnTo>
                    <a:pt x="2161" y="313"/>
                  </a:lnTo>
                  <a:lnTo>
                    <a:pt x="2156" y="310"/>
                  </a:lnTo>
                  <a:lnTo>
                    <a:pt x="2150" y="308"/>
                  </a:lnTo>
                  <a:lnTo>
                    <a:pt x="2145" y="305"/>
                  </a:lnTo>
                  <a:lnTo>
                    <a:pt x="2140" y="303"/>
                  </a:lnTo>
                  <a:lnTo>
                    <a:pt x="2135" y="303"/>
                  </a:lnTo>
                  <a:lnTo>
                    <a:pt x="2133" y="300"/>
                  </a:lnTo>
                  <a:lnTo>
                    <a:pt x="2133" y="300"/>
                  </a:lnTo>
                  <a:lnTo>
                    <a:pt x="2133" y="298"/>
                  </a:lnTo>
                  <a:lnTo>
                    <a:pt x="2138" y="295"/>
                  </a:lnTo>
                  <a:lnTo>
                    <a:pt x="2143" y="292"/>
                  </a:lnTo>
                  <a:lnTo>
                    <a:pt x="2148" y="290"/>
                  </a:lnTo>
                  <a:lnTo>
                    <a:pt x="2150" y="285"/>
                  </a:lnTo>
                  <a:lnTo>
                    <a:pt x="2153" y="282"/>
                  </a:lnTo>
                  <a:lnTo>
                    <a:pt x="2156" y="277"/>
                  </a:lnTo>
                  <a:lnTo>
                    <a:pt x="2156" y="275"/>
                  </a:lnTo>
                  <a:lnTo>
                    <a:pt x="2153" y="272"/>
                  </a:lnTo>
                  <a:lnTo>
                    <a:pt x="2153" y="270"/>
                  </a:lnTo>
                  <a:lnTo>
                    <a:pt x="2150" y="267"/>
                  </a:lnTo>
                  <a:lnTo>
                    <a:pt x="2150" y="265"/>
                  </a:lnTo>
                  <a:lnTo>
                    <a:pt x="2150" y="260"/>
                  </a:lnTo>
                  <a:lnTo>
                    <a:pt x="2153" y="257"/>
                  </a:lnTo>
                  <a:lnTo>
                    <a:pt x="2153" y="255"/>
                  </a:lnTo>
                  <a:lnTo>
                    <a:pt x="2153" y="252"/>
                  </a:lnTo>
                  <a:lnTo>
                    <a:pt x="2150" y="250"/>
                  </a:lnTo>
                  <a:lnTo>
                    <a:pt x="2148" y="250"/>
                  </a:lnTo>
                  <a:lnTo>
                    <a:pt x="2143" y="247"/>
                  </a:lnTo>
                  <a:lnTo>
                    <a:pt x="2140" y="245"/>
                  </a:lnTo>
                  <a:lnTo>
                    <a:pt x="2140" y="245"/>
                  </a:lnTo>
                  <a:lnTo>
                    <a:pt x="2140" y="242"/>
                  </a:lnTo>
                  <a:lnTo>
                    <a:pt x="2140" y="240"/>
                  </a:lnTo>
                  <a:lnTo>
                    <a:pt x="2140" y="237"/>
                  </a:lnTo>
                  <a:lnTo>
                    <a:pt x="2138" y="234"/>
                  </a:lnTo>
                  <a:lnTo>
                    <a:pt x="2133" y="234"/>
                  </a:lnTo>
                  <a:lnTo>
                    <a:pt x="2128" y="232"/>
                  </a:lnTo>
                  <a:lnTo>
                    <a:pt x="2120" y="232"/>
                  </a:lnTo>
                  <a:lnTo>
                    <a:pt x="2113" y="229"/>
                  </a:lnTo>
                  <a:lnTo>
                    <a:pt x="2105" y="229"/>
                  </a:lnTo>
                  <a:lnTo>
                    <a:pt x="2100" y="227"/>
                  </a:lnTo>
                  <a:lnTo>
                    <a:pt x="2095" y="224"/>
                  </a:lnTo>
                  <a:lnTo>
                    <a:pt x="2095" y="219"/>
                  </a:lnTo>
                  <a:lnTo>
                    <a:pt x="2100" y="217"/>
                  </a:lnTo>
                  <a:lnTo>
                    <a:pt x="2105" y="212"/>
                  </a:lnTo>
                  <a:lnTo>
                    <a:pt x="2108" y="207"/>
                  </a:lnTo>
                  <a:lnTo>
                    <a:pt x="2110" y="204"/>
                  </a:lnTo>
                  <a:lnTo>
                    <a:pt x="2108" y="202"/>
                  </a:lnTo>
                  <a:lnTo>
                    <a:pt x="2105" y="202"/>
                  </a:lnTo>
                  <a:lnTo>
                    <a:pt x="2103" y="199"/>
                  </a:lnTo>
                  <a:lnTo>
                    <a:pt x="2098" y="202"/>
                  </a:lnTo>
                  <a:lnTo>
                    <a:pt x="2093" y="202"/>
                  </a:lnTo>
                  <a:lnTo>
                    <a:pt x="2087" y="202"/>
                  </a:lnTo>
                  <a:lnTo>
                    <a:pt x="2085" y="202"/>
                  </a:lnTo>
                  <a:lnTo>
                    <a:pt x="2082" y="199"/>
                  </a:lnTo>
                  <a:lnTo>
                    <a:pt x="2082" y="197"/>
                  </a:lnTo>
                  <a:lnTo>
                    <a:pt x="2080" y="197"/>
                  </a:lnTo>
                  <a:lnTo>
                    <a:pt x="2077" y="194"/>
                  </a:lnTo>
                  <a:lnTo>
                    <a:pt x="2075" y="194"/>
                  </a:lnTo>
                  <a:lnTo>
                    <a:pt x="2070" y="194"/>
                  </a:lnTo>
                  <a:lnTo>
                    <a:pt x="2062" y="194"/>
                  </a:lnTo>
                  <a:lnTo>
                    <a:pt x="2055" y="184"/>
                  </a:lnTo>
                  <a:lnTo>
                    <a:pt x="2052" y="174"/>
                  </a:lnTo>
                  <a:lnTo>
                    <a:pt x="2050" y="161"/>
                  </a:lnTo>
                  <a:lnTo>
                    <a:pt x="2050" y="154"/>
                  </a:lnTo>
                  <a:lnTo>
                    <a:pt x="2050" y="146"/>
                  </a:lnTo>
                  <a:lnTo>
                    <a:pt x="2050" y="141"/>
                  </a:lnTo>
                  <a:lnTo>
                    <a:pt x="2047" y="134"/>
                  </a:lnTo>
                  <a:lnTo>
                    <a:pt x="2045" y="129"/>
                  </a:lnTo>
                  <a:lnTo>
                    <a:pt x="2045" y="121"/>
                  </a:lnTo>
                  <a:lnTo>
                    <a:pt x="2047" y="111"/>
                  </a:lnTo>
                  <a:lnTo>
                    <a:pt x="2047" y="103"/>
                  </a:lnTo>
                  <a:lnTo>
                    <a:pt x="2047" y="101"/>
                  </a:lnTo>
                  <a:lnTo>
                    <a:pt x="2045" y="98"/>
                  </a:lnTo>
                  <a:lnTo>
                    <a:pt x="2042" y="98"/>
                  </a:lnTo>
                  <a:lnTo>
                    <a:pt x="2040" y="96"/>
                  </a:lnTo>
                  <a:lnTo>
                    <a:pt x="2035" y="96"/>
                  </a:lnTo>
                  <a:lnTo>
                    <a:pt x="2032" y="98"/>
                  </a:lnTo>
                  <a:lnTo>
                    <a:pt x="2029" y="98"/>
                  </a:lnTo>
                  <a:lnTo>
                    <a:pt x="2027" y="98"/>
                  </a:lnTo>
                  <a:lnTo>
                    <a:pt x="2022" y="101"/>
                  </a:lnTo>
                  <a:lnTo>
                    <a:pt x="2017" y="103"/>
                  </a:lnTo>
                  <a:lnTo>
                    <a:pt x="2014" y="106"/>
                  </a:lnTo>
                  <a:lnTo>
                    <a:pt x="2012" y="111"/>
                  </a:lnTo>
                  <a:lnTo>
                    <a:pt x="2009" y="113"/>
                  </a:lnTo>
                  <a:lnTo>
                    <a:pt x="2007" y="116"/>
                  </a:lnTo>
                  <a:lnTo>
                    <a:pt x="2004" y="121"/>
                  </a:lnTo>
                  <a:lnTo>
                    <a:pt x="2004" y="124"/>
                  </a:lnTo>
                  <a:lnTo>
                    <a:pt x="2002" y="129"/>
                  </a:lnTo>
                  <a:lnTo>
                    <a:pt x="1999" y="131"/>
                  </a:lnTo>
                  <a:lnTo>
                    <a:pt x="1997" y="131"/>
                  </a:lnTo>
                  <a:lnTo>
                    <a:pt x="1994" y="131"/>
                  </a:lnTo>
                  <a:lnTo>
                    <a:pt x="1992" y="134"/>
                  </a:lnTo>
                  <a:lnTo>
                    <a:pt x="1992" y="131"/>
                  </a:lnTo>
                  <a:lnTo>
                    <a:pt x="1989" y="131"/>
                  </a:lnTo>
                  <a:lnTo>
                    <a:pt x="1987" y="129"/>
                  </a:lnTo>
                  <a:lnTo>
                    <a:pt x="1984" y="126"/>
                  </a:lnTo>
                  <a:lnTo>
                    <a:pt x="1982" y="126"/>
                  </a:lnTo>
                  <a:lnTo>
                    <a:pt x="1979" y="126"/>
                  </a:lnTo>
                  <a:lnTo>
                    <a:pt x="1977" y="129"/>
                  </a:lnTo>
                  <a:lnTo>
                    <a:pt x="1974" y="131"/>
                  </a:lnTo>
                  <a:lnTo>
                    <a:pt x="1971" y="134"/>
                  </a:lnTo>
                  <a:lnTo>
                    <a:pt x="1969" y="136"/>
                  </a:lnTo>
                  <a:lnTo>
                    <a:pt x="1964" y="141"/>
                  </a:lnTo>
                  <a:lnTo>
                    <a:pt x="1964" y="141"/>
                  </a:lnTo>
                  <a:lnTo>
                    <a:pt x="1964" y="141"/>
                  </a:lnTo>
                  <a:lnTo>
                    <a:pt x="1964" y="139"/>
                  </a:lnTo>
                  <a:lnTo>
                    <a:pt x="1964" y="136"/>
                  </a:lnTo>
                  <a:lnTo>
                    <a:pt x="1964" y="134"/>
                  </a:lnTo>
                  <a:lnTo>
                    <a:pt x="1961" y="131"/>
                  </a:lnTo>
                  <a:lnTo>
                    <a:pt x="1954" y="131"/>
                  </a:lnTo>
                  <a:lnTo>
                    <a:pt x="1946" y="134"/>
                  </a:lnTo>
                  <a:lnTo>
                    <a:pt x="1946" y="131"/>
                  </a:lnTo>
                  <a:lnTo>
                    <a:pt x="1951" y="129"/>
                  </a:lnTo>
                  <a:lnTo>
                    <a:pt x="1954" y="124"/>
                  </a:lnTo>
                  <a:lnTo>
                    <a:pt x="1959" y="119"/>
                  </a:lnTo>
                  <a:lnTo>
                    <a:pt x="1961" y="116"/>
                  </a:lnTo>
                  <a:lnTo>
                    <a:pt x="1964" y="111"/>
                  </a:lnTo>
                  <a:lnTo>
                    <a:pt x="1961" y="108"/>
                  </a:lnTo>
                  <a:lnTo>
                    <a:pt x="1954" y="108"/>
                  </a:lnTo>
                  <a:lnTo>
                    <a:pt x="1949" y="111"/>
                  </a:lnTo>
                  <a:lnTo>
                    <a:pt x="1944" y="111"/>
                  </a:lnTo>
                  <a:lnTo>
                    <a:pt x="1939" y="111"/>
                  </a:lnTo>
                  <a:lnTo>
                    <a:pt x="1934" y="108"/>
                  </a:lnTo>
                  <a:lnTo>
                    <a:pt x="1931" y="108"/>
                  </a:lnTo>
                  <a:lnTo>
                    <a:pt x="1926" y="108"/>
                  </a:lnTo>
                  <a:lnTo>
                    <a:pt x="1924" y="108"/>
                  </a:lnTo>
                  <a:lnTo>
                    <a:pt x="1919" y="108"/>
                  </a:lnTo>
                  <a:lnTo>
                    <a:pt x="1916" y="108"/>
                  </a:lnTo>
                  <a:lnTo>
                    <a:pt x="1914" y="111"/>
                  </a:lnTo>
                  <a:lnTo>
                    <a:pt x="1911" y="111"/>
                  </a:lnTo>
                  <a:lnTo>
                    <a:pt x="1906" y="111"/>
                  </a:lnTo>
                  <a:lnTo>
                    <a:pt x="1898" y="116"/>
                  </a:lnTo>
                  <a:lnTo>
                    <a:pt x="1888" y="121"/>
                  </a:lnTo>
                  <a:lnTo>
                    <a:pt x="1876" y="126"/>
                  </a:lnTo>
                  <a:lnTo>
                    <a:pt x="1866" y="129"/>
                  </a:lnTo>
                  <a:lnTo>
                    <a:pt x="1853" y="134"/>
                  </a:lnTo>
                  <a:lnTo>
                    <a:pt x="1845" y="139"/>
                  </a:lnTo>
                  <a:lnTo>
                    <a:pt x="1838" y="144"/>
                  </a:lnTo>
                  <a:lnTo>
                    <a:pt x="1835" y="149"/>
                  </a:lnTo>
                  <a:lnTo>
                    <a:pt x="1833" y="151"/>
                  </a:lnTo>
                  <a:lnTo>
                    <a:pt x="1830" y="156"/>
                  </a:lnTo>
                  <a:lnTo>
                    <a:pt x="1830" y="159"/>
                  </a:lnTo>
                  <a:lnTo>
                    <a:pt x="1828" y="161"/>
                  </a:lnTo>
                  <a:lnTo>
                    <a:pt x="1825" y="164"/>
                  </a:lnTo>
                  <a:lnTo>
                    <a:pt x="1820" y="166"/>
                  </a:lnTo>
                  <a:lnTo>
                    <a:pt x="1815" y="166"/>
                  </a:lnTo>
                  <a:lnTo>
                    <a:pt x="1808" y="166"/>
                  </a:lnTo>
                  <a:lnTo>
                    <a:pt x="1800" y="169"/>
                  </a:lnTo>
                  <a:lnTo>
                    <a:pt x="1792" y="169"/>
                  </a:lnTo>
                  <a:lnTo>
                    <a:pt x="1782" y="174"/>
                  </a:lnTo>
                  <a:lnTo>
                    <a:pt x="1775" y="176"/>
                  </a:lnTo>
                  <a:lnTo>
                    <a:pt x="1767" y="182"/>
                  </a:lnTo>
                  <a:lnTo>
                    <a:pt x="1760" y="184"/>
                  </a:lnTo>
                  <a:lnTo>
                    <a:pt x="1755" y="189"/>
                  </a:lnTo>
                  <a:lnTo>
                    <a:pt x="1752" y="192"/>
                  </a:lnTo>
                  <a:lnTo>
                    <a:pt x="1750" y="197"/>
                  </a:lnTo>
                  <a:lnTo>
                    <a:pt x="1745" y="202"/>
                  </a:lnTo>
                  <a:lnTo>
                    <a:pt x="1737" y="207"/>
                  </a:lnTo>
                  <a:lnTo>
                    <a:pt x="1727" y="212"/>
                  </a:lnTo>
                  <a:lnTo>
                    <a:pt x="1719" y="217"/>
                  </a:lnTo>
                  <a:lnTo>
                    <a:pt x="1712" y="222"/>
                  </a:lnTo>
                  <a:lnTo>
                    <a:pt x="1707" y="229"/>
                  </a:lnTo>
                  <a:lnTo>
                    <a:pt x="1704" y="234"/>
                  </a:lnTo>
                  <a:lnTo>
                    <a:pt x="1704" y="240"/>
                  </a:lnTo>
                  <a:lnTo>
                    <a:pt x="1702" y="247"/>
                  </a:lnTo>
                  <a:lnTo>
                    <a:pt x="1697" y="252"/>
                  </a:lnTo>
                  <a:lnTo>
                    <a:pt x="1692" y="255"/>
                  </a:lnTo>
                  <a:lnTo>
                    <a:pt x="1684" y="260"/>
                  </a:lnTo>
                  <a:lnTo>
                    <a:pt x="1677" y="262"/>
                  </a:lnTo>
                  <a:lnTo>
                    <a:pt x="1669" y="265"/>
                  </a:lnTo>
                  <a:lnTo>
                    <a:pt x="1659" y="267"/>
                  </a:lnTo>
                  <a:lnTo>
                    <a:pt x="1651" y="270"/>
                  </a:lnTo>
                  <a:lnTo>
                    <a:pt x="1646" y="272"/>
                  </a:lnTo>
                  <a:lnTo>
                    <a:pt x="1639" y="277"/>
                  </a:lnTo>
                  <a:lnTo>
                    <a:pt x="1636" y="280"/>
                  </a:lnTo>
                  <a:lnTo>
                    <a:pt x="1634" y="282"/>
                  </a:lnTo>
                  <a:lnTo>
                    <a:pt x="1634" y="287"/>
                  </a:lnTo>
                  <a:lnTo>
                    <a:pt x="1634" y="290"/>
                  </a:lnTo>
                  <a:lnTo>
                    <a:pt x="1636" y="295"/>
                  </a:lnTo>
                  <a:close/>
                  <a:moveTo>
                    <a:pt x="1258" y="159"/>
                  </a:moveTo>
                  <a:lnTo>
                    <a:pt x="1258" y="159"/>
                  </a:lnTo>
                  <a:lnTo>
                    <a:pt x="1261" y="159"/>
                  </a:lnTo>
                  <a:lnTo>
                    <a:pt x="1261" y="159"/>
                  </a:lnTo>
                  <a:lnTo>
                    <a:pt x="1263" y="164"/>
                  </a:lnTo>
                  <a:lnTo>
                    <a:pt x="1263" y="164"/>
                  </a:lnTo>
                  <a:lnTo>
                    <a:pt x="1271" y="166"/>
                  </a:lnTo>
                  <a:lnTo>
                    <a:pt x="1271" y="166"/>
                  </a:lnTo>
                  <a:lnTo>
                    <a:pt x="1278" y="166"/>
                  </a:lnTo>
                  <a:lnTo>
                    <a:pt x="1278" y="166"/>
                  </a:lnTo>
                  <a:lnTo>
                    <a:pt x="1283" y="161"/>
                  </a:lnTo>
                  <a:lnTo>
                    <a:pt x="1283" y="161"/>
                  </a:lnTo>
                  <a:lnTo>
                    <a:pt x="1288" y="159"/>
                  </a:lnTo>
                  <a:lnTo>
                    <a:pt x="1288" y="159"/>
                  </a:lnTo>
                  <a:lnTo>
                    <a:pt x="1291" y="156"/>
                  </a:lnTo>
                  <a:lnTo>
                    <a:pt x="1291" y="156"/>
                  </a:lnTo>
                  <a:lnTo>
                    <a:pt x="1293" y="154"/>
                  </a:lnTo>
                  <a:lnTo>
                    <a:pt x="1293" y="154"/>
                  </a:lnTo>
                  <a:lnTo>
                    <a:pt x="1296" y="156"/>
                  </a:lnTo>
                  <a:lnTo>
                    <a:pt x="1296" y="156"/>
                  </a:lnTo>
                  <a:lnTo>
                    <a:pt x="1301" y="159"/>
                  </a:lnTo>
                  <a:lnTo>
                    <a:pt x="1301" y="159"/>
                  </a:lnTo>
                  <a:lnTo>
                    <a:pt x="1306" y="164"/>
                  </a:lnTo>
                  <a:lnTo>
                    <a:pt x="1306" y="164"/>
                  </a:lnTo>
                  <a:lnTo>
                    <a:pt x="1311" y="169"/>
                  </a:lnTo>
                  <a:lnTo>
                    <a:pt x="1311" y="169"/>
                  </a:lnTo>
                  <a:lnTo>
                    <a:pt x="1316" y="174"/>
                  </a:lnTo>
                  <a:lnTo>
                    <a:pt x="1316" y="174"/>
                  </a:lnTo>
                  <a:lnTo>
                    <a:pt x="1316" y="176"/>
                  </a:lnTo>
                  <a:lnTo>
                    <a:pt x="1316" y="176"/>
                  </a:lnTo>
                  <a:lnTo>
                    <a:pt x="1316" y="176"/>
                  </a:lnTo>
                  <a:lnTo>
                    <a:pt x="1316" y="176"/>
                  </a:lnTo>
                  <a:lnTo>
                    <a:pt x="1311" y="174"/>
                  </a:lnTo>
                  <a:lnTo>
                    <a:pt x="1311" y="174"/>
                  </a:lnTo>
                  <a:lnTo>
                    <a:pt x="1306" y="171"/>
                  </a:lnTo>
                  <a:lnTo>
                    <a:pt x="1306" y="171"/>
                  </a:lnTo>
                  <a:lnTo>
                    <a:pt x="1298" y="169"/>
                  </a:lnTo>
                  <a:lnTo>
                    <a:pt x="1298" y="169"/>
                  </a:lnTo>
                  <a:lnTo>
                    <a:pt x="1296" y="171"/>
                  </a:lnTo>
                  <a:lnTo>
                    <a:pt x="1296" y="171"/>
                  </a:lnTo>
                  <a:lnTo>
                    <a:pt x="1296" y="176"/>
                  </a:lnTo>
                  <a:lnTo>
                    <a:pt x="1296" y="176"/>
                  </a:lnTo>
                  <a:lnTo>
                    <a:pt x="1296" y="182"/>
                  </a:lnTo>
                  <a:lnTo>
                    <a:pt x="1296" y="182"/>
                  </a:lnTo>
                  <a:lnTo>
                    <a:pt x="1301" y="184"/>
                  </a:lnTo>
                  <a:lnTo>
                    <a:pt x="1301" y="184"/>
                  </a:lnTo>
                  <a:lnTo>
                    <a:pt x="1303" y="189"/>
                  </a:lnTo>
                  <a:lnTo>
                    <a:pt x="1303" y="189"/>
                  </a:lnTo>
                  <a:lnTo>
                    <a:pt x="1303" y="194"/>
                  </a:lnTo>
                  <a:lnTo>
                    <a:pt x="1303" y="194"/>
                  </a:lnTo>
                  <a:lnTo>
                    <a:pt x="1301" y="197"/>
                  </a:lnTo>
                  <a:lnTo>
                    <a:pt x="1301" y="197"/>
                  </a:lnTo>
                  <a:lnTo>
                    <a:pt x="1296" y="199"/>
                  </a:lnTo>
                  <a:lnTo>
                    <a:pt x="1296" y="199"/>
                  </a:lnTo>
                  <a:lnTo>
                    <a:pt x="1293" y="202"/>
                  </a:lnTo>
                  <a:lnTo>
                    <a:pt x="1293" y="202"/>
                  </a:lnTo>
                  <a:lnTo>
                    <a:pt x="1291" y="204"/>
                  </a:lnTo>
                  <a:lnTo>
                    <a:pt x="1291" y="204"/>
                  </a:lnTo>
                  <a:lnTo>
                    <a:pt x="1293" y="209"/>
                  </a:lnTo>
                  <a:lnTo>
                    <a:pt x="1293" y="209"/>
                  </a:lnTo>
                  <a:lnTo>
                    <a:pt x="1296" y="214"/>
                  </a:lnTo>
                  <a:lnTo>
                    <a:pt x="1296" y="214"/>
                  </a:lnTo>
                  <a:lnTo>
                    <a:pt x="1298" y="214"/>
                  </a:lnTo>
                  <a:lnTo>
                    <a:pt x="1298" y="214"/>
                  </a:lnTo>
                  <a:lnTo>
                    <a:pt x="1306" y="214"/>
                  </a:lnTo>
                  <a:lnTo>
                    <a:pt x="1306" y="214"/>
                  </a:lnTo>
                  <a:lnTo>
                    <a:pt x="1313" y="214"/>
                  </a:lnTo>
                  <a:lnTo>
                    <a:pt x="1313" y="214"/>
                  </a:lnTo>
                  <a:lnTo>
                    <a:pt x="1321" y="214"/>
                  </a:lnTo>
                  <a:lnTo>
                    <a:pt x="1321" y="214"/>
                  </a:lnTo>
                  <a:lnTo>
                    <a:pt x="1326" y="214"/>
                  </a:lnTo>
                  <a:lnTo>
                    <a:pt x="1326" y="214"/>
                  </a:lnTo>
                  <a:lnTo>
                    <a:pt x="1331" y="212"/>
                  </a:lnTo>
                  <a:lnTo>
                    <a:pt x="1331" y="212"/>
                  </a:lnTo>
                  <a:lnTo>
                    <a:pt x="1336" y="209"/>
                  </a:lnTo>
                  <a:lnTo>
                    <a:pt x="1336" y="209"/>
                  </a:lnTo>
                  <a:lnTo>
                    <a:pt x="1341" y="207"/>
                  </a:lnTo>
                  <a:lnTo>
                    <a:pt x="1341" y="207"/>
                  </a:lnTo>
                  <a:lnTo>
                    <a:pt x="1346" y="204"/>
                  </a:lnTo>
                  <a:lnTo>
                    <a:pt x="1346" y="204"/>
                  </a:lnTo>
                  <a:lnTo>
                    <a:pt x="1351" y="204"/>
                  </a:lnTo>
                  <a:lnTo>
                    <a:pt x="1351" y="204"/>
                  </a:lnTo>
                  <a:lnTo>
                    <a:pt x="1356" y="207"/>
                  </a:lnTo>
                  <a:lnTo>
                    <a:pt x="1356" y="207"/>
                  </a:lnTo>
                  <a:lnTo>
                    <a:pt x="1359" y="207"/>
                  </a:lnTo>
                  <a:lnTo>
                    <a:pt x="1359" y="207"/>
                  </a:lnTo>
                  <a:lnTo>
                    <a:pt x="1364" y="207"/>
                  </a:lnTo>
                  <a:lnTo>
                    <a:pt x="1364" y="207"/>
                  </a:lnTo>
                  <a:lnTo>
                    <a:pt x="1366" y="204"/>
                  </a:lnTo>
                  <a:lnTo>
                    <a:pt x="1366" y="204"/>
                  </a:lnTo>
                  <a:lnTo>
                    <a:pt x="1371" y="199"/>
                  </a:lnTo>
                  <a:lnTo>
                    <a:pt x="1371" y="199"/>
                  </a:lnTo>
                  <a:lnTo>
                    <a:pt x="1374" y="197"/>
                  </a:lnTo>
                  <a:lnTo>
                    <a:pt x="1374" y="197"/>
                  </a:lnTo>
                  <a:lnTo>
                    <a:pt x="1377" y="194"/>
                  </a:lnTo>
                  <a:lnTo>
                    <a:pt x="1377" y="194"/>
                  </a:lnTo>
                  <a:lnTo>
                    <a:pt x="1374" y="189"/>
                  </a:lnTo>
                  <a:lnTo>
                    <a:pt x="1374" y="189"/>
                  </a:lnTo>
                  <a:lnTo>
                    <a:pt x="1369" y="187"/>
                  </a:lnTo>
                  <a:lnTo>
                    <a:pt x="1369" y="187"/>
                  </a:lnTo>
                  <a:lnTo>
                    <a:pt x="1361" y="184"/>
                  </a:lnTo>
                  <a:lnTo>
                    <a:pt x="1361" y="184"/>
                  </a:lnTo>
                  <a:lnTo>
                    <a:pt x="1359" y="182"/>
                  </a:lnTo>
                  <a:lnTo>
                    <a:pt x="1359" y="182"/>
                  </a:lnTo>
                  <a:lnTo>
                    <a:pt x="1356" y="179"/>
                  </a:lnTo>
                  <a:lnTo>
                    <a:pt x="1356" y="179"/>
                  </a:lnTo>
                  <a:lnTo>
                    <a:pt x="1359" y="176"/>
                  </a:lnTo>
                  <a:lnTo>
                    <a:pt x="1359" y="176"/>
                  </a:lnTo>
                  <a:lnTo>
                    <a:pt x="1364" y="174"/>
                  </a:lnTo>
                  <a:lnTo>
                    <a:pt x="1364" y="174"/>
                  </a:lnTo>
                  <a:lnTo>
                    <a:pt x="1364" y="171"/>
                  </a:lnTo>
                  <a:lnTo>
                    <a:pt x="1364" y="171"/>
                  </a:lnTo>
                  <a:lnTo>
                    <a:pt x="1366" y="166"/>
                  </a:lnTo>
                  <a:lnTo>
                    <a:pt x="1366" y="166"/>
                  </a:lnTo>
                  <a:lnTo>
                    <a:pt x="1364" y="161"/>
                  </a:lnTo>
                  <a:lnTo>
                    <a:pt x="1364" y="161"/>
                  </a:lnTo>
                  <a:lnTo>
                    <a:pt x="1364" y="159"/>
                  </a:lnTo>
                  <a:lnTo>
                    <a:pt x="1364" y="159"/>
                  </a:lnTo>
                  <a:lnTo>
                    <a:pt x="1364" y="156"/>
                  </a:lnTo>
                  <a:lnTo>
                    <a:pt x="1364" y="156"/>
                  </a:lnTo>
                  <a:lnTo>
                    <a:pt x="1364" y="154"/>
                  </a:lnTo>
                  <a:lnTo>
                    <a:pt x="1364" y="154"/>
                  </a:lnTo>
                  <a:lnTo>
                    <a:pt x="1366" y="151"/>
                  </a:lnTo>
                  <a:lnTo>
                    <a:pt x="1366" y="151"/>
                  </a:lnTo>
                  <a:lnTo>
                    <a:pt x="1371" y="144"/>
                  </a:lnTo>
                  <a:lnTo>
                    <a:pt x="1371" y="144"/>
                  </a:lnTo>
                  <a:lnTo>
                    <a:pt x="1377" y="136"/>
                  </a:lnTo>
                  <a:lnTo>
                    <a:pt x="1377" y="136"/>
                  </a:lnTo>
                  <a:lnTo>
                    <a:pt x="1374" y="129"/>
                  </a:lnTo>
                  <a:lnTo>
                    <a:pt x="1374" y="129"/>
                  </a:lnTo>
                  <a:lnTo>
                    <a:pt x="1366" y="124"/>
                  </a:lnTo>
                  <a:lnTo>
                    <a:pt x="1366" y="124"/>
                  </a:lnTo>
                  <a:lnTo>
                    <a:pt x="1359" y="119"/>
                  </a:lnTo>
                  <a:lnTo>
                    <a:pt x="1359" y="119"/>
                  </a:lnTo>
                  <a:lnTo>
                    <a:pt x="1354" y="116"/>
                  </a:lnTo>
                  <a:lnTo>
                    <a:pt x="1354" y="116"/>
                  </a:lnTo>
                  <a:lnTo>
                    <a:pt x="1354" y="111"/>
                  </a:lnTo>
                  <a:lnTo>
                    <a:pt x="1354" y="111"/>
                  </a:lnTo>
                  <a:lnTo>
                    <a:pt x="1359" y="108"/>
                  </a:lnTo>
                  <a:lnTo>
                    <a:pt x="1359" y="108"/>
                  </a:lnTo>
                  <a:lnTo>
                    <a:pt x="1366" y="103"/>
                  </a:lnTo>
                  <a:lnTo>
                    <a:pt x="1366" y="103"/>
                  </a:lnTo>
                  <a:lnTo>
                    <a:pt x="1371" y="98"/>
                  </a:lnTo>
                  <a:lnTo>
                    <a:pt x="1371" y="98"/>
                  </a:lnTo>
                  <a:lnTo>
                    <a:pt x="1374" y="91"/>
                  </a:lnTo>
                  <a:lnTo>
                    <a:pt x="1374" y="91"/>
                  </a:lnTo>
                  <a:lnTo>
                    <a:pt x="1374" y="86"/>
                  </a:lnTo>
                  <a:lnTo>
                    <a:pt x="1374" y="86"/>
                  </a:lnTo>
                  <a:lnTo>
                    <a:pt x="1374" y="78"/>
                  </a:lnTo>
                  <a:lnTo>
                    <a:pt x="1374" y="78"/>
                  </a:lnTo>
                  <a:lnTo>
                    <a:pt x="1374" y="71"/>
                  </a:lnTo>
                  <a:lnTo>
                    <a:pt x="1374" y="71"/>
                  </a:lnTo>
                  <a:lnTo>
                    <a:pt x="1374" y="66"/>
                  </a:lnTo>
                  <a:lnTo>
                    <a:pt x="1374" y="66"/>
                  </a:lnTo>
                  <a:lnTo>
                    <a:pt x="1377" y="55"/>
                  </a:lnTo>
                  <a:lnTo>
                    <a:pt x="1377" y="55"/>
                  </a:lnTo>
                  <a:lnTo>
                    <a:pt x="1377" y="48"/>
                  </a:lnTo>
                  <a:lnTo>
                    <a:pt x="1377" y="48"/>
                  </a:lnTo>
                  <a:lnTo>
                    <a:pt x="1379" y="40"/>
                  </a:lnTo>
                  <a:lnTo>
                    <a:pt x="1379" y="40"/>
                  </a:lnTo>
                  <a:lnTo>
                    <a:pt x="1377" y="38"/>
                  </a:lnTo>
                  <a:lnTo>
                    <a:pt x="1377" y="38"/>
                  </a:lnTo>
                  <a:lnTo>
                    <a:pt x="1374" y="35"/>
                  </a:lnTo>
                  <a:lnTo>
                    <a:pt x="1374" y="35"/>
                  </a:lnTo>
                  <a:lnTo>
                    <a:pt x="1369" y="38"/>
                  </a:lnTo>
                  <a:lnTo>
                    <a:pt x="1369" y="38"/>
                  </a:lnTo>
                  <a:lnTo>
                    <a:pt x="1366" y="35"/>
                  </a:lnTo>
                  <a:lnTo>
                    <a:pt x="1366" y="35"/>
                  </a:lnTo>
                  <a:lnTo>
                    <a:pt x="1369" y="30"/>
                  </a:lnTo>
                  <a:lnTo>
                    <a:pt x="1369" y="30"/>
                  </a:lnTo>
                  <a:lnTo>
                    <a:pt x="1374" y="23"/>
                  </a:lnTo>
                  <a:lnTo>
                    <a:pt x="1374" y="23"/>
                  </a:lnTo>
                  <a:lnTo>
                    <a:pt x="1377" y="18"/>
                  </a:lnTo>
                  <a:lnTo>
                    <a:pt x="1377" y="18"/>
                  </a:lnTo>
                  <a:lnTo>
                    <a:pt x="1377" y="10"/>
                  </a:lnTo>
                  <a:lnTo>
                    <a:pt x="1377" y="10"/>
                  </a:lnTo>
                  <a:lnTo>
                    <a:pt x="1377" y="5"/>
                  </a:lnTo>
                  <a:lnTo>
                    <a:pt x="1377" y="5"/>
                  </a:lnTo>
                  <a:lnTo>
                    <a:pt x="1374" y="5"/>
                  </a:lnTo>
                  <a:lnTo>
                    <a:pt x="1374" y="5"/>
                  </a:lnTo>
                  <a:lnTo>
                    <a:pt x="1371" y="5"/>
                  </a:lnTo>
                  <a:lnTo>
                    <a:pt x="1371" y="5"/>
                  </a:lnTo>
                  <a:lnTo>
                    <a:pt x="1371" y="5"/>
                  </a:lnTo>
                  <a:lnTo>
                    <a:pt x="1371" y="5"/>
                  </a:lnTo>
                  <a:lnTo>
                    <a:pt x="1369" y="5"/>
                  </a:lnTo>
                  <a:lnTo>
                    <a:pt x="1369" y="5"/>
                  </a:lnTo>
                  <a:lnTo>
                    <a:pt x="1366" y="5"/>
                  </a:lnTo>
                  <a:lnTo>
                    <a:pt x="1366" y="5"/>
                  </a:lnTo>
                  <a:lnTo>
                    <a:pt x="1361" y="3"/>
                  </a:lnTo>
                  <a:lnTo>
                    <a:pt x="1361" y="3"/>
                  </a:lnTo>
                  <a:lnTo>
                    <a:pt x="1356" y="3"/>
                  </a:lnTo>
                  <a:lnTo>
                    <a:pt x="1356" y="3"/>
                  </a:lnTo>
                  <a:lnTo>
                    <a:pt x="1354" y="0"/>
                  </a:lnTo>
                  <a:lnTo>
                    <a:pt x="1354" y="0"/>
                  </a:lnTo>
                  <a:lnTo>
                    <a:pt x="1351" y="0"/>
                  </a:lnTo>
                  <a:lnTo>
                    <a:pt x="1351" y="0"/>
                  </a:lnTo>
                  <a:lnTo>
                    <a:pt x="1351" y="0"/>
                  </a:lnTo>
                  <a:lnTo>
                    <a:pt x="1351" y="0"/>
                  </a:lnTo>
                  <a:lnTo>
                    <a:pt x="1351" y="0"/>
                  </a:lnTo>
                  <a:lnTo>
                    <a:pt x="1351" y="0"/>
                  </a:lnTo>
                  <a:lnTo>
                    <a:pt x="1349" y="3"/>
                  </a:lnTo>
                  <a:lnTo>
                    <a:pt x="1349" y="3"/>
                  </a:lnTo>
                  <a:lnTo>
                    <a:pt x="1349" y="3"/>
                  </a:lnTo>
                  <a:lnTo>
                    <a:pt x="1349" y="3"/>
                  </a:lnTo>
                  <a:lnTo>
                    <a:pt x="1346" y="5"/>
                  </a:lnTo>
                  <a:lnTo>
                    <a:pt x="1346" y="5"/>
                  </a:lnTo>
                  <a:lnTo>
                    <a:pt x="1341" y="5"/>
                  </a:lnTo>
                  <a:lnTo>
                    <a:pt x="1341" y="5"/>
                  </a:lnTo>
                  <a:lnTo>
                    <a:pt x="1336" y="5"/>
                  </a:lnTo>
                  <a:lnTo>
                    <a:pt x="1336" y="5"/>
                  </a:lnTo>
                  <a:lnTo>
                    <a:pt x="1334" y="5"/>
                  </a:lnTo>
                  <a:lnTo>
                    <a:pt x="1334" y="5"/>
                  </a:lnTo>
                  <a:lnTo>
                    <a:pt x="1329" y="8"/>
                  </a:lnTo>
                  <a:lnTo>
                    <a:pt x="1329" y="8"/>
                  </a:lnTo>
                  <a:lnTo>
                    <a:pt x="1326" y="8"/>
                  </a:lnTo>
                  <a:lnTo>
                    <a:pt x="1326" y="8"/>
                  </a:lnTo>
                  <a:lnTo>
                    <a:pt x="1324" y="8"/>
                  </a:lnTo>
                  <a:lnTo>
                    <a:pt x="1324" y="8"/>
                  </a:lnTo>
                  <a:lnTo>
                    <a:pt x="1324" y="10"/>
                  </a:lnTo>
                  <a:lnTo>
                    <a:pt x="1324" y="10"/>
                  </a:lnTo>
                  <a:lnTo>
                    <a:pt x="1321" y="13"/>
                  </a:lnTo>
                  <a:lnTo>
                    <a:pt x="1321" y="13"/>
                  </a:lnTo>
                  <a:lnTo>
                    <a:pt x="1319" y="13"/>
                  </a:lnTo>
                  <a:lnTo>
                    <a:pt x="1319" y="13"/>
                  </a:lnTo>
                  <a:lnTo>
                    <a:pt x="1316" y="13"/>
                  </a:lnTo>
                  <a:lnTo>
                    <a:pt x="1316" y="13"/>
                  </a:lnTo>
                  <a:lnTo>
                    <a:pt x="1311" y="15"/>
                  </a:lnTo>
                  <a:lnTo>
                    <a:pt x="1311" y="15"/>
                  </a:lnTo>
                  <a:lnTo>
                    <a:pt x="1303" y="18"/>
                  </a:lnTo>
                  <a:lnTo>
                    <a:pt x="1303" y="18"/>
                  </a:lnTo>
                  <a:lnTo>
                    <a:pt x="1301" y="20"/>
                  </a:lnTo>
                  <a:lnTo>
                    <a:pt x="1301" y="20"/>
                  </a:lnTo>
                  <a:lnTo>
                    <a:pt x="1296" y="25"/>
                  </a:lnTo>
                  <a:lnTo>
                    <a:pt x="1296" y="25"/>
                  </a:lnTo>
                  <a:lnTo>
                    <a:pt x="1293" y="30"/>
                  </a:lnTo>
                  <a:lnTo>
                    <a:pt x="1293" y="30"/>
                  </a:lnTo>
                  <a:lnTo>
                    <a:pt x="1293" y="35"/>
                  </a:lnTo>
                  <a:lnTo>
                    <a:pt x="1293" y="35"/>
                  </a:lnTo>
                  <a:lnTo>
                    <a:pt x="1293" y="38"/>
                  </a:lnTo>
                  <a:lnTo>
                    <a:pt x="1293" y="38"/>
                  </a:lnTo>
                  <a:lnTo>
                    <a:pt x="1293" y="40"/>
                  </a:lnTo>
                  <a:lnTo>
                    <a:pt x="1293" y="40"/>
                  </a:lnTo>
                  <a:lnTo>
                    <a:pt x="1291" y="40"/>
                  </a:lnTo>
                  <a:lnTo>
                    <a:pt x="1291" y="40"/>
                  </a:lnTo>
                  <a:lnTo>
                    <a:pt x="1286" y="43"/>
                  </a:lnTo>
                  <a:lnTo>
                    <a:pt x="1286" y="43"/>
                  </a:lnTo>
                  <a:lnTo>
                    <a:pt x="1281" y="43"/>
                  </a:lnTo>
                  <a:lnTo>
                    <a:pt x="1281" y="43"/>
                  </a:lnTo>
                  <a:lnTo>
                    <a:pt x="1278" y="45"/>
                  </a:lnTo>
                  <a:lnTo>
                    <a:pt x="1278" y="45"/>
                  </a:lnTo>
                  <a:lnTo>
                    <a:pt x="1276" y="48"/>
                  </a:lnTo>
                  <a:lnTo>
                    <a:pt x="1276" y="48"/>
                  </a:lnTo>
                  <a:lnTo>
                    <a:pt x="1273" y="50"/>
                  </a:lnTo>
                  <a:lnTo>
                    <a:pt x="1273" y="50"/>
                  </a:lnTo>
                  <a:lnTo>
                    <a:pt x="1271" y="53"/>
                  </a:lnTo>
                  <a:lnTo>
                    <a:pt x="1271" y="53"/>
                  </a:lnTo>
                  <a:lnTo>
                    <a:pt x="1268" y="55"/>
                  </a:lnTo>
                  <a:lnTo>
                    <a:pt x="1268" y="55"/>
                  </a:lnTo>
                  <a:lnTo>
                    <a:pt x="1266" y="58"/>
                  </a:lnTo>
                  <a:lnTo>
                    <a:pt x="1266" y="58"/>
                  </a:lnTo>
                  <a:lnTo>
                    <a:pt x="1263" y="61"/>
                  </a:lnTo>
                  <a:lnTo>
                    <a:pt x="1263" y="61"/>
                  </a:lnTo>
                  <a:lnTo>
                    <a:pt x="1261" y="66"/>
                  </a:lnTo>
                  <a:lnTo>
                    <a:pt x="1261" y="66"/>
                  </a:lnTo>
                  <a:lnTo>
                    <a:pt x="1261" y="71"/>
                  </a:lnTo>
                  <a:lnTo>
                    <a:pt x="1261" y="71"/>
                  </a:lnTo>
                  <a:lnTo>
                    <a:pt x="1266" y="76"/>
                  </a:lnTo>
                  <a:lnTo>
                    <a:pt x="1266" y="76"/>
                  </a:lnTo>
                  <a:lnTo>
                    <a:pt x="1268" y="81"/>
                  </a:lnTo>
                  <a:lnTo>
                    <a:pt x="1268" y="81"/>
                  </a:lnTo>
                  <a:lnTo>
                    <a:pt x="1271" y="86"/>
                  </a:lnTo>
                  <a:lnTo>
                    <a:pt x="1271" y="86"/>
                  </a:lnTo>
                  <a:lnTo>
                    <a:pt x="1271" y="88"/>
                  </a:lnTo>
                  <a:lnTo>
                    <a:pt x="1271" y="88"/>
                  </a:lnTo>
                  <a:lnTo>
                    <a:pt x="1268" y="91"/>
                  </a:lnTo>
                  <a:lnTo>
                    <a:pt x="1268" y="91"/>
                  </a:lnTo>
                  <a:lnTo>
                    <a:pt x="1268" y="96"/>
                  </a:lnTo>
                  <a:lnTo>
                    <a:pt x="1268" y="96"/>
                  </a:lnTo>
                  <a:lnTo>
                    <a:pt x="1266" y="96"/>
                  </a:lnTo>
                  <a:lnTo>
                    <a:pt x="1266" y="96"/>
                  </a:lnTo>
                  <a:lnTo>
                    <a:pt x="1263" y="93"/>
                  </a:lnTo>
                  <a:lnTo>
                    <a:pt x="1263" y="93"/>
                  </a:lnTo>
                  <a:lnTo>
                    <a:pt x="1261" y="88"/>
                  </a:lnTo>
                  <a:lnTo>
                    <a:pt x="1261" y="88"/>
                  </a:lnTo>
                  <a:lnTo>
                    <a:pt x="1258" y="83"/>
                  </a:lnTo>
                  <a:lnTo>
                    <a:pt x="1258" y="83"/>
                  </a:lnTo>
                  <a:lnTo>
                    <a:pt x="1256" y="78"/>
                  </a:lnTo>
                  <a:lnTo>
                    <a:pt x="1256" y="78"/>
                  </a:lnTo>
                  <a:lnTo>
                    <a:pt x="1253" y="76"/>
                  </a:lnTo>
                  <a:lnTo>
                    <a:pt x="1253" y="76"/>
                  </a:lnTo>
                  <a:lnTo>
                    <a:pt x="1250" y="78"/>
                  </a:lnTo>
                  <a:lnTo>
                    <a:pt x="1250" y="78"/>
                  </a:lnTo>
                  <a:lnTo>
                    <a:pt x="1248" y="81"/>
                  </a:lnTo>
                  <a:lnTo>
                    <a:pt x="1248" y="81"/>
                  </a:lnTo>
                  <a:lnTo>
                    <a:pt x="1245" y="86"/>
                  </a:lnTo>
                  <a:lnTo>
                    <a:pt x="1245" y="86"/>
                  </a:lnTo>
                  <a:lnTo>
                    <a:pt x="1243" y="88"/>
                  </a:lnTo>
                  <a:lnTo>
                    <a:pt x="1243" y="88"/>
                  </a:lnTo>
                  <a:lnTo>
                    <a:pt x="1240" y="93"/>
                  </a:lnTo>
                  <a:lnTo>
                    <a:pt x="1240" y="93"/>
                  </a:lnTo>
                  <a:lnTo>
                    <a:pt x="1240" y="98"/>
                  </a:lnTo>
                  <a:lnTo>
                    <a:pt x="1240" y="98"/>
                  </a:lnTo>
                  <a:lnTo>
                    <a:pt x="1238" y="108"/>
                  </a:lnTo>
                  <a:lnTo>
                    <a:pt x="1238" y="108"/>
                  </a:lnTo>
                  <a:lnTo>
                    <a:pt x="1235" y="116"/>
                  </a:lnTo>
                  <a:lnTo>
                    <a:pt x="1235" y="116"/>
                  </a:lnTo>
                  <a:lnTo>
                    <a:pt x="1235" y="121"/>
                  </a:lnTo>
                  <a:lnTo>
                    <a:pt x="1235" y="121"/>
                  </a:lnTo>
                  <a:lnTo>
                    <a:pt x="1235" y="126"/>
                  </a:lnTo>
                  <a:lnTo>
                    <a:pt x="1235" y="126"/>
                  </a:lnTo>
                  <a:lnTo>
                    <a:pt x="1238" y="131"/>
                  </a:lnTo>
                  <a:lnTo>
                    <a:pt x="1238" y="131"/>
                  </a:lnTo>
                  <a:lnTo>
                    <a:pt x="1243" y="134"/>
                  </a:lnTo>
                  <a:lnTo>
                    <a:pt x="1243" y="134"/>
                  </a:lnTo>
                  <a:lnTo>
                    <a:pt x="1245" y="134"/>
                  </a:lnTo>
                  <a:lnTo>
                    <a:pt x="1245" y="134"/>
                  </a:lnTo>
                  <a:lnTo>
                    <a:pt x="1250" y="134"/>
                  </a:lnTo>
                  <a:lnTo>
                    <a:pt x="1250" y="134"/>
                  </a:lnTo>
                  <a:lnTo>
                    <a:pt x="1253" y="136"/>
                  </a:lnTo>
                  <a:lnTo>
                    <a:pt x="1253" y="136"/>
                  </a:lnTo>
                  <a:lnTo>
                    <a:pt x="1256" y="134"/>
                  </a:lnTo>
                  <a:lnTo>
                    <a:pt x="1256" y="134"/>
                  </a:lnTo>
                  <a:lnTo>
                    <a:pt x="1258" y="134"/>
                  </a:lnTo>
                  <a:lnTo>
                    <a:pt x="1258" y="134"/>
                  </a:lnTo>
                  <a:lnTo>
                    <a:pt x="1258" y="136"/>
                  </a:lnTo>
                  <a:lnTo>
                    <a:pt x="1258" y="136"/>
                  </a:lnTo>
                  <a:lnTo>
                    <a:pt x="1256" y="141"/>
                  </a:lnTo>
                  <a:lnTo>
                    <a:pt x="1256" y="141"/>
                  </a:lnTo>
                  <a:lnTo>
                    <a:pt x="1253" y="144"/>
                  </a:lnTo>
                  <a:lnTo>
                    <a:pt x="1253" y="144"/>
                  </a:lnTo>
                  <a:lnTo>
                    <a:pt x="1253" y="146"/>
                  </a:lnTo>
                  <a:lnTo>
                    <a:pt x="1258" y="159"/>
                  </a:lnTo>
                  <a:close/>
                  <a:moveTo>
                    <a:pt x="1866" y="1003"/>
                  </a:moveTo>
                  <a:lnTo>
                    <a:pt x="1840" y="1024"/>
                  </a:lnTo>
                  <a:lnTo>
                    <a:pt x="1813" y="1067"/>
                  </a:lnTo>
                  <a:lnTo>
                    <a:pt x="1808" y="1082"/>
                  </a:lnTo>
                  <a:lnTo>
                    <a:pt x="1808" y="1102"/>
                  </a:lnTo>
                  <a:lnTo>
                    <a:pt x="1823" y="1097"/>
                  </a:lnTo>
                  <a:lnTo>
                    <a:pt x="1850" y="1102"/>
                  </a:lnTo>
                  <a:lnTo>
                    <a:pt x="1866" y="1112"/>
                  </a:lnTo>
                  <a:lnTo>
                    <a:pt x="1881" y="1107"/>
                  </a:lnTo>
                  <a:lnTo>
                    <a:pt x="1893" y="1122"/>
                  </a:lnTo>
                  <a:lnTo>
                    <a:pt x="1914" y="1117"/>
                  </a:lnTo>
                  <a:lnTo>
                    <a:pt x="1914" y="1097"/>
                  </a:lnTo>
                  <a:lnTo>
                    <a:pt x="1903" y="1072"/>
                  </a:lnTo>
                  <a:lnTo>
                    <a:pt x="1861" y="1051"/>
                  </a:lnTo>
                  <a:lnTo>
                    <a:pt x="1856" y="1041"/>
                  </a:lnTo>
                  <a:lnTo>
                    <a:pt x="1866" y="1019"/>
                  </a:lnTo>
                  <a:lnTo>
                    <a:pt x="1866" y="1003"/>
                  </a:lnTo>
                  <a:close/>
                  <a:moveTo>
                    <a:pt x="1258" y="247"/>
                  </a:moveTo>
                  <a:lnTo>
                    <a:pt x="1258" y="245"/>
                  </a:lnTo>
                  <a:lnTo>
                    <a:pt x="1256" y="245"/>
                  </a:lnTo>
                  <a:lnTo>
                    <a:pt x="1256" y="245"/>
                  </a:lnTo>
                  <a:lnTo>
                    <a:pt x="1253" y="247"/>
                  </a:lnTo>
                  <a:lnTo>
                    <a:pt x="1258" y="247"/>
                  </a:lnTo>
                  <a:close/>
                  <a:moveTo>
                    <a:pt x="1238" y="219"/>
                  </a:moveTo>
                  <a:lnTo>
                    <a:pt x="1243" y="219"/>
                  </a:lnTo>
                  <a:lnTo>
                    <a:pt x="1250" y="224"/>
                  </a:lnTo>
                  <a:lnTo>
                    <a:pt x="1253" y="227"/>
                  </a:lnTo>
                  <a:lnTo>
                    <a:pt x="1256" y="227"/>
                  </a:lnTo>
                  <a:lnTo>
                    <a:pt x="1256" y="227"/>
                  </a:lnTo>
                  <a:lnTo>
                    <a:pt x="1261" y="224"/>
                  </a:lnTo>
                  <a:lnTo>
                    <a:pt x="1266" y="224"/>
                  </a:lnTo>
                  <a:lnTo>
                    <a:pt x="1268" y="227"/>
                  </a:lnTo>
                  <a:lnTo>
                    <a:pt x="1271" y="229"/>
                  </a:lnTo>
                  <a:lnTo>
                    <a:pt x="1271" y="234"/>
                  </a:lnTo>
                  <a:lnTo>
                    <a:pt x="1273" y="237"/>
                  </a:lnTo>
                  <a:lnTo>
                    <a:pt x="1273" y="240"/>
                  </a:lnTo>
                  <a:lnTo>
                    <a:pt x="1273" y="245"/>
                  </a:lnTo>
                  <a:lnTo>
                    <a:pt x="1273" y="252"/>
                  </a:lnTo>
                  <a:lnTo>
                    <a:pt x="1273" y="257"/>
                  </a:lnTo>
                  <a:lnTo>
                    <a:pt x="1276" y="262"/>
                  </a:lnTo>
                  <a:lnTo>
                    <a:pt x="1281" y="265"/>
                  </a:lnTo>
                  <a:lnTo>
                    <a:pt x="1283" y="267"/>
                  </a:lnTo>
                  <a:lnTo>
                    <a:pt x="1288" y="270"/>
                  </a:lnTo>
                  <a:lnTo>
                    <a:pt x="1291" y="270"/>
                  </a:lnTo>
                  <a:lnTo>
                    <a:pt x="1296" y="270"/>
                  </a:lnTo>
                  <a:lnTo>
                    <a:pt x="1301" y="272"/>
                  </a:lnTo>
                  <a:lnTo>
                    <a:pt x="1306" y="272"/>
                  </a:lnTo>
                  <a:lnTo>
                    <a:pt x="1311" y="270"/>
                  </a:lnTo>
                  <a:lnTo>
                    <a:pt x="1313" y="270"/>
                  </a:lnTo>
                  <a:lnTo>
                    <a:pt x="1319" y="270"/>
                  </a:lnTo>
                  <a:lnTo>
                    <a:pt x="1321" y="267"/>
                  </a:lnTo>
                  <a:lnTo>
                    <a:pt x="1324" y="267"/>
                  </a:lnTo>
                  <a:lnTo>
                    <a:pt x="1329" y="267"/>
                  </a:lnTo>
                  <a:lnTo>
                    <a:pt x="1331" y="267"/>
                  </a:lnTo>
                  <a:lnTo>
                    <a:pt x="1336" y="267"/>
                  </a:lnTo>
                  <a:lnTo>
                    <a:pt x="1341" y="265"/>
                  </a:lnTo>
                  <a:lnTo>
                    <a:pt x="1344" y="265"/>
                  </a:lnTo>
                  <a:lnTo>
                    <a:pt x="1346" y="265"/>
                  </a:lnTo>
                  <a:lnTo>
                    <a:pt x="1349" y="260"/>
                  </a:lnTo>
                  <a:lnTo>
                    <a:pt x="1351" y="260"/>
                  </a:lnTo>
                  <a:lnTo>
                    <a:pt x="1354" y="260"/>
                  </a:lnTo>
                  <a:lnTo>
                    <a:pt x="1359" y="262"/>
                  </a:lnTo>
                  <a:lnTo>
                    <a:pt x="1364" y="262"/>
                  </a:lnTo>
                  <a:lnTo>
                    <a:pt x="1366" y="260"/>
                  </a:lnTo>
                  <a:lnTo>
                    <a:pt x="1371" y="260"/>
                  </a:lnTo>
                  <a:lnTo>
                    <a:pt x="1374" y="255"/>
                  </a:lnTo>
                  <a:lnTo>
                    <a:pt x="1379" y="252"/>
                  </a:lnTo>
                  <a:lnTo>
                    <a:pt x="1379" y="250"/>
                  </a:lnTo>
                  <a:lnTo>
                    <a:pt x="1379" y="250"/>
                  </a:lnTo>
                  <a:lnTo>
                    <a:pt x="1379" y="245"/>
                  </a:lnTo>
                  <a:lnTo>
                    <a:pt x="1379" y="240"/>
                  </a:lnTo>
                  <a:lnTo>
                    <a:pt x="1377" y="234"/>
                  </a:lnTo>
                  <a:lnTo>
                    <a:pt x="1374" y="232"/>
                  </a:lnTo>
                  <a:lnTo>
                    <a:pt x="1371" y="229"/>
                  </a:lnTo>
                  <a:lnTo>
                    <a:pt x="1366" y="227"/>
                  </a:lnTo>
                  <a:lnTo>
                    <a:pt x="1361" y="224"/>
                  </a:lnTo>
                  <a:lnTo>
                    <a:pt x="1356" y="224"/>
                  </a:lnTo>
                  <a:lnTo>
                    <a:pt x="1354" y="222"/>
                  </a:lnTo>
                  <a:lnTo>
                    <a:pt x="1344" y="224"/>
                  </a:lnTo>
                  <a:lnTo>
                    <a:pt x="1341" y="224"/>
                  </a:lnTo>
                  <a:lnTo>
                    <a:pt x="1336" y="229"/>
                  </a:lnTo>
                  <a:lnTo>
                    <a:pt x="1334" y="232"/>
                  </a:lnTo>
                  <a:lnTo>
                    <a:pt x="1331" y="234"/>
                  </a:lnTo>
                  <a:lnTo>
                    <a:pt x="1326" y="240"/>
                  </a:lnTo>
                  <a:lnTo>
                    <a:pt x="1324" y="240"/>
                  </a:lnTo>
                  <a:lnTo>
                    <a:pt x="1321" y="240"/>
                  </a:lnTo>
                  <a:lnTo>
                    <a:pt x="1313" y="240"/>
                  </a:lnTo>
                  <a:lnTo>
                    <a:pt x="1306" y="240"/>
                  </a:lnTo>
                  <a:lnTo>
                    <a:pt x="1301" y="240"/>
                  </a:lnTo>
                  <a:lnTo>
                    <a:pt x="1298" y="237"/>
                  </a:lnTo>
                  <a:lnTo>
                    <a:pt x="1296" y="232"/>
                  </a:lnTo>
                  <a:lnTo>
                    <a:pt x="1293" y="227"/>
                  </a:lnTo>
                  <a:lnTo>
                    <a:pt x="1288" y="224"/>
                  </a:lnTo>
                  <a:lnTo>
                    <a:pt x="1286" y="217"/>
                  </a:lnTo>
                  <a:lnTo>
                    <a:pt x="1283" y="214"/>
                  </a:lnTo>
                  <a:lnTo>
                    <a:pt x="1283" y="212"/>
                  </a:lnTo>
                  <a:lnTo>
                    <a:pt x="1281" y="212"/>
                  </a:lnTo>
                  <a:lnTo>
                    <a:pt x="1238" y="219"/>
                  </a:lnTo>
                  <a:close/>
                  <a:moveTo>
                    <a:pt x="1271" y="217"/>
                  </a:moveTo>
                  <a:lnTo>
                    <a:pt x="1268" y="217"/>
                  </a:lnTo>
                  <a:lnTo>
                    <a:pt x="1268" y="217"/>
                  </a:lnTo>
                  <a:lnTo>
                    <a:pt x="1271" y="217"/>
                  </a:lnTo>
                  <a:close/>
                  <a:moveTo>
                    <a:pt x="1404" y="1810"/>
                  </a:moveTo>
                  <a:lnTo>
                    <a:pt x="1404" y="1810"/>
                  </a:lnTo>
                  <a:lnTo>
                    <a:pt x="1404" y="1803"/>
                  </a:lnTo>
                  <a:lnTo>
                    <a:pt x="1402" y="1798"/>
                  </a:lnTo>
                  <a:lnTo>
                    <a:pt x="1399" y="1795"/>
                  </a:lnTo>
                  <a:lnTo>
                    <a:pt x="1399" y="1795"/>
                  </a:lnTo>
                  <a:lnTo>
                    <a:pt x="1404" y="1737"/>
                  </a:lnTo>
                  <a:lnTo>
                    <a:pt x="1404" y="1737"/>
                  </a:lnTo>
                  <a:lnTo>
                    <a:pt x="1404" y="1737"/>
                  </a:lnTo>
                  <a:lnTo>
                    <a:pt x="1404" y="1737"/>
                  </a:lnTo>
                  <a:lnTo>
                    <a:pt x="1404" y="1737"/>
                  </a:lnTo>
                  <a:lnTo>
                    <a:pt x="1404" y="1737"/>
                  </a:lnTo>
                  <a:lnTo>
                    <a:pt x="1404" y="1737"/>
                  </a:lnTo>
                  <a:lnTo>
                    <a:pt x="1404" y="1737"/>
                  </a:lnTo>
                  <a:lnTo>
                    <a:pt x="1377" y="1732"/>
                  </a:lnTo>
                  <a:lnTo>
                    <a:pt x="1346" y="1727"/>
                  </a:lnTo>
                  <a:lnTo>
                    <a:pt x="1346" y="1727"/>
                  </a:lnTo>
                  <a:lnTo>
                    <a:pt x="1339" y="1725"/>
                  </a:lnTo>
                  <a:lnTo>
                    <a:pt x="1331" y="1722"/>
                  </a:lnTo>
                  <a:lnTo>
                    <a:pt x="1331" y="1722"/>
                  </a:lnTo>
                  <a:lnTo>
                    <a:pt x="1329" y="1722"/>
                  </a:lnTo>
                  <a:lnTo>
                    <a:pt x="1329" y="1722"/>
                  </a:lnTo>
                  <a:lnTo>
                    <a:pt x="1316" y="1720"/>
                  </a:lnTo>
                  <a:lnTo>
                    <a:pt x="1308" y="1717"/>
                  </a:lnTo>
                  <a:lnTo>
                    <a:pt x="1308" y="1717"/>
                  </a:lnTo>
                  <a:lnTo>
                    <a:pt x="1308" y="1694"/>
                  </a:lnTo>
                  <a:lnTo>
                    <a:pt x="1308" y="1694"/>
                  </a:lnTo>
                  <a:lnTo>
                    <a:pt x="1303" y="1689"/>
                  </a:lnTo>
                  <a:lnTo>
                    <a:pt x="1321" y="1679"/>
                  </a:lnTo>
                  <a:lnTo>
                    <a:pt x="1336" y="1669"/>
                  </a:lnTo>
                  <a:lnTo>
                    <a:pt x="1346" y="1629"/>
                  </a:lnTo>
                  <a:lnTo>
                    <a:pt x="1283" y="1639"/>
                  </a:lnTo>
                  <a:lnTo>
                    <a:pt x="1258" y="1674"/>
                  </a:lnTo>
                  <a:lnTo>
                    <a:pt x="1215" y="1679"/>
                  </a:lnTo>
                  <a:lnTo>
                    <a:pt x="1172" y="1629"/>
                  </a:lnTo>
                  <a:lnTo>
                    <a:pt x="1167" y="1561"/>
                  </a:lnTo>
                  <a:lnTo>
                    <a:pt x="1180" y="1546"/>
                  </a:lnTo>
                  <a:lnTo>
                    <a:pt x="1177" y="1546"/>
                  </a:lnTo>
                  <a:lnTo>
                    <a:pt x="1177" y="1510"/>
                  </a:lnTo>
                  <a:lnTo>
                    <a:pt x="1200" y="1490"/>
                  </a:lnTo>
                  <a:lnTo>
                    <a:pt x="1215" y="1472"/>
                  </a:lnTo>
                  <a:lnTo>
                    <a:pt x="1268" y="1477"/>
                  </a:lnTo>
                  <a:lnTo>
                    <a:pt x="1298" y="1477"/>
                  </a:lnTo>
                  <a:lnTo>
                    <a:pt x="1341" y="1467"/>
                  </a:lnTo>
                  <a:lnTo>
                    <a:pt x="1366" y="1467"/>
                  </a:lnTo>
                  <a:lnTo>
                    <a:pt x="1392" y="1462"/>
                  </a:lnTo>
                  <a:lnTo>
                    <a:pt x="1399" y="1490"/>
                  </a:lnTo>
                  <a:lnTo>
                    <a:pt x="1409" y="1525"/>
                  </a:lnTo>
                  <a:lnTo>
                    <a:pt x="1442" y="1556"/>
                  </a:lnTo>
                  <a:lnTo>
                    <a:pt x="1457" y="1561"/>
                  </a:lnTo>
                  <a:lnTo>
                    <a:pt x="1452" y="1510"/>
                  </a:lnTo>
                  <a:lnTo>
                    <a:pt x="1429" y="1452"/>
                  </a:lnTo>
                  <a:lnTo>
                    <a:pt x="1457" y="1422"/>
                  </a:lnTo>
                  <a:lnTo>
                    <a:pt x="1482" y="1412"/>
                  </a:lnTo>
                  <a:lnTo>
                    <a:pt x="1530" y="1367"/>
                  </a:lnTo>
                  <a:lnTo>
                    <a:pt x="1525" y="1334"/>
                  </a:lnTo>
                  <a:lnTo>
                    <a:pt x="1520" y="1304"/>
                  </a:lnTo>
                  <a:lnTo>
                    <a:pt x="1535" y="1314"/>
                  </a:lnTo>
                  <a:lnTo>
                    <a:pt x="1540" y="1309"/>
                  </a:lnTo>
                  <a:lnTo>
                    <a:pt x="1535" y="1288"/>
                  </a:lnTo>
                  <a:lnTo>
                    <a:pt x="1545" y="1288"/>
                  </a:lnTo>
                  <a:lnTo>
                    <a:pt x="1561" y="1283"/>
                  </a:lnTo>
                  <a:lnTo>
                    <a:pt x="1571" y="1258"/>
                  </a:lnTo>
                  <a:lnTo>
                    <a:pt x="1593" y="1253"/>
                  </a:lnTo>
                  <a:lnTo>
                    <a:pt x="1624" y="1235"/>
                  </a:lnTo>
                  <a:lnTo>
                    <a:pt x="1624" y="1195"/>
                  </a:lnTo>
                  <a:lnTo>
                    <a:pt x="1677" y="1170"/>
                  </a:lnTo>
                  <a:lnTo>
                    <a:pt x="1666" y="1117"/>
                  </a:lnTo>
                  <a:lnTo>
                    <a:pt x="1666" y="1117"/>
                  </a:lnTo>
                  <a:lnTo>
                    <a:pt x="1677" y="1170"/>
                  </a:lnTo>
                  <a:lnTo>
                    <a:pt x="1699" y="1155"/>
                  </a:lnTo>
                  <a:lnTo>
                    <a:pt x="1714" y="1160"/>
                  </a:lnTo>
                  <a:lnTo>
                    <a:pt x="1704" y="1175"/>
                  </a:lnTo>
                  <a:lnTo>
                    <a:pt x="1714" y="1195"/>
                  </a:lnTo>
                  <a:lnTo>
                    <a:pt x="1760" y="1160"/>
                  </a:lnTo>
                  <a:lnTo>
                    <a:pt x="1777" y="1137"/>
                  </a:lnTo>
                  <a:lnTo>
                    <a:pt x="1729" y="1132"/>
                  </a:lnTo>
                  <a:lnTo>
                    <a:pt x="1709" y="1102"/>
                  </a:lnTo>
                  <a:lnTo>
                    <a:pt x="1724" y="1087"/>
                  </a:lnTo>
                  <a:lnTo>
                    <a:pt x="1729" y="1067"/>
                  </a:lnTo>
                  <a:lnTo>
                    <a:pt x="1656" y="1082"/>
                  </a:lnTo>
                  <a:lnTo>
                    <a:pt x="1619" y="1112"/>
                  </a:lnTo>
                  <a:lnTo>
                    <a:pt x="1636" y="1077"/>
                  </a:lnTo>
                  <a:lnTo>
                    <a:pt x="1671" y="1056"/>
                  </a:lnTo>
                  <a:lnTo>
                    <a:pt x="1692" y="1034"/>
                  </a:lnTo>
                  <a:lnTo>
                    <a:pt x="1755" y="1039"/>
                  </a:lnTo>
                  <a:lnTo>
                    <a:pt x="1803" y="1034"/>
                  </a:lnTo>
                  <a:lnTo>
                    <a:pt x="1840" y="1009"/>
                  </a:lnTo>
                  <a:lnTo>
                    <a:pt x="1866" y="988"/>
                  </a:lnTo>
                  <a:lnTo>
                    <a:pt x="1845" y="938"/>
                  </a:lnTo>
                  <a:lnTo>
                    <a:pt x="1840" y="910"/>
                  </a:lnTo>
                  <a:lnTo>
                    <a:pt x="1772" y="875"/>
                  </a:lnTo>
                  <a:lnTo>
                    <a:pt x="1772" y="855"/>
                  </a:lnTo>
                  <a:lnTo>
                    <a:pt x="1714" y="746"/>
                  </a:lnTo>
                  <a:lnTo>
                    <a:pt x="1699" y="792"/>
                  </a:lnTo>
                  <a:lnTo>
                    <a:pt x="1661" y="802"/>
                  </a:lnTo>
                  <a:lnTo>
                    <a:pt x="1651" y="792"/>
                  </a:lnTo>
                  <a:lnTo>
                    <a:pt x="1636" y="792"/>
                  </a:lnTo>
                  <a:lnTo>
                    <a:pt x="1636" y="719"/>
                  </a:lnTo>
                  <a:lnTo>
                    <a:pt x="1603" y="714"/>
                  </a:lnTo>
                  <a:lnTo>
                    <a:pt x="1578" y="678"/>
                  </a:lnTo>
                  <a:lnTo>
                    <a:pt x="1550" y="683"/>
                  </a:lnTo>
                  <a:lnTo>
                    <a:pt x="1520" y="673"/>
                  </a:lnTo>
                  <a:lnTo>
                    <a:pt x="1500" y="678"/>
                  </a:lnTo>
                  <a:lnTo>
                    <a:pt x="1500" y="703"/>
                  </a:lnTo>
                  <a:lnTo>
                    <a:pt x="1500" y="731"/>
                  </a:lnTo>
                  <a:lnTo>
                    <a:pt x="1495" y="787"/>
                  </a:lnTo>
                  <a:lnTo>
                    <a:pt x="1487" y="807"/>
                  </a:lnTo>
                  <a:lnTo>
                    <a:pt x="1520" y="870"/>
                  </a:lnTo>
                  <a:lnTo>
                    <a:pt x="1467" y="915"/>
                  </a:lnTo>
                  <a:lnTo>
                    <a:pt x="1477" y="993"/>
                  </a:lnTo>
                  <a:lnTo>
                    <a:pt x="1457" y="1009"/>
                  </a:lnTo>
                  <a:lnTo>
                    <a:pt x="1437" y="998"/>
                  </a:lnTo>
                  <a:lnTo>
                    <a:pt x="1424" y="905"/>
                  </a:lnTo>
                  <a:lnTo>
                    <a:pt x="1371" y="900"/>
                  </a:lnTo>
                  <a:lnTo>
                    <a:pt x="1273" y="845"/>
                  </a:lnTo>
                  <a:lnTo>
                    <a:pt x="1253" y="845"/>
                  </a:lnTo>
                  <a:lnTo>
                    <a:pt x="1235" y="797"/>
                  </a:lnTo>
                  <a:lnTo>
                    <a:pt x="1220" y="782"/>
                  </a:lnTo>
                  <a:lnTo>
                    <a:pt x="1263" y="658"/>
                  </a:lnTo>
                  <a:lnTo>
                    <a:pt x="1288" y="630"/>
                  </a:lnTo>
                  <a:lnTo>
                    <a:pt x="1316" y="615"/>
                  </a:lnTo>
                  <a:lnTo>
                    <a:pt x="1331" y="615"/>
                  </a:lnTo>
                  <a:lnTo>
                    <a:pt x="1346" y="565"/>
                  </a:lnTo>
                  <a:lnTo>
                    <a:pt x="1356" y="524"/>
                  </a:lnTo>
                  <a:lnTo>
                    <a:pt x="1409" y="512"/>
                  </a:lnTo>
                  <a:lnTo>
                    <a:pt x="1437" y="492"/>
                  </a:lnTo>
                  <a:lnTo>
                    <a:pt x="1419" y="446"/>
                  </a:lnTo>
                  <a:lnTo>
                    <a:pt x="1432" y="416"/>
                  </a:lnTo>
                  <a:lnTo>
                    <a:pt x="1412" y="393"/>
                  </a:lnTo>
                  <a:lnTo>
                    <a:pt x="1414" y="393"/>
                  </a:lnTo>
                  <a:lnTo>
                    <a:pt x="1417" y="391"/>
                  </a:lnTo>
                  <a:lnTo>
                    <a:pt x="1419" y="388"/>
                  </a:lnTo>
                  <a:lnTo>
                    <a:pt x="1422" y="388"/>
                  </a:lnTo>
                  <a:lnTo>
                    <a:pt x="1424" y="388"/>
                  </a:lnTo>
                  <a:lnTo>
                    <a:pt x="1432" y="388"/>
                  </a:lnTo>
                  <a:lnTo>
                    <a:pt x="1440" y="388"/>
                  </a:lnTo>
                  <a:lnTo>
                    <a:pt x="1442" y="386"/>
                  </a:lnTo>
                  <a:lnTo>
                    <a:pt x="1442" y="383"/>
                  </a:lnTo>
                  <a:lnTo>
                    <a:pt x="1437" y="376"/>
                  </a:lnTo>
                  <a:lnTo>
                    <a:pt x="1437" y="373"/>
                  </a:lnTo>
                  <a:lnTo>
                    <a:pt x="1440" y="373"/>
                  </a:lnTo>
                  <a:lnTo>
                    <a:pt x="1445" y="376"/>
                  </a:lnTo>
                  <a:lnTo>
                    <a:pt x="1452" y="378"/>
                  </a:lnTo>
                  <a:lnTo>
                    <a:pt x="1455" y="381"/>
                  </a:lnTo>
                  <a:lnTo>
                    <a:pt x="1457" y="383"/>
                  </a:lnTo>
                  <a:lnTo>
                    <a:pt x="1462" y="386"/>
                  </a:lnTo>
                  <a:lnTo>
                    <a:pt x="1467" y="388"/>
                  </a:lnTo>
                  <a:lnTo>
                    <a:pt x="1472" y="393"/>
                  </a:lnTo>
                  <a:lnTo>
                    <a:pt x="1477" y="396"/>
                  </a:lnTo>
                  <a:lnTo>
                    <a:pt x="1485" y="398"/>
                  </a:lnTo>
                  <a:lnTo>
                    <a:pt x="1490" y="401"/>
                  </a:lnTo>
                  <a:lnTo>
                    <a:pt x="1495" y="403"/>
                  </a:lnTo>
                  <a:lnTo>
                    <a:pt x="1500" y="406"/>
                  </a:lnTo>
                  <a:lnTo>
                    <a:pt x="1505" y="406"/>
                  </a:lnTo>
                  <a:lnTo>
                    <a:pt x="1510" y="411"/>
                  </a:lnTo>
                  <a:lnTo>
                    <a:pt x="1515" y="413"/>
                  </a:lnTo>
                  <a:lnTo>
                    <a:pt x="1523" y="419"/>
                  </a:lnTo>
                  <a:lnTo>
                    <a:pt x="1528" y="424"/>
                  </a:lnTo>
                  <a:lnTo>
                    <a:pt x="1535" y="431"/>
                  </a:lnTo>
                  <a:lnTo>
                    <a:pt x="1543" y="441"/>
                  </a:lnTo>
                  <a:lnTo>
                    <a:pt x="1545" y="449"/>
                  </a:lnTo>
                  <a:lnTo>
                    <a:pt x="1538" y="456"/>
                  </a:lnTo>
                  <a:lnTo>
                    <a:pt x="1530" y="466"/>
                  </a:lnTo>
                  <a:lnTo>
                    <a:pt x="1528" y="477"/>
                  </a:lnTo>
                  <a:lnTo>
                    <a:pt x="1530" y="479"/>
                  </a:lnTo>
                  <a:lnTo>
                    <a:pt x="1538" y="482"/>
                  </a:lnTo>
                  <a:lnTo>
                    <a:pt x="1543" y="487"/>
                  </a:lnTo>
                  <a:lnTo>
                    <a:pt x="1545" y="489"/>
                  </a:lnTo>
                  <a:lnTo>
                    <a:pt x="1543" y="494"/>
                  </a:lnTo>
                  <a:lnTo>
                    <a:pt x="1535" y="499"/>
                  </a:lnTo>
                  <a:lnTo>
                    <a:pt x="1528" y="504"/>
                  </a:lnTo>
                  <a:lnTo>
                    <a:pt x="1525" y="509"/>
                  </a:lnTo>
                  <a:lnTo>
                    <a:pt x="1520" y="509"/>
                  </a:lnTo>
                  <a:lnTo>
                    <a:pt x="1520" y="509"/>
                  </a:lnTo>
                  <a:lnTo>
                    <a:pt x="1518" y="509"/>
                  </a:lnTo>
                  <a:lnTo>
                    <a:pt x="1515" y="509"/>
                  </a:lnTo>
                  <a:lnTo>
                    <a:pt x="1513" y="509"/>
                  </a:lnTo>
                  <a:lnTo>
                    <a:pt x="1508" y="512"/>
                  </a:lnTo>
                  <a:lnTo>
                    <a:pt x="1500" y="514"/>
                  </a:lnTo>
                  <a:lnTo>
                    <a:pt x="1495" y="519"/>
                  </a:lnTo>
                  <a:lnTo>
                    <a:pt x="1492" y="522"/>
                  </a:lnTo>
                  <a:lnTo>
                    <a:pt x="1492" y="524"/>
                  </a:lnTo>
                  <a:lnTo>
                    <a:pt x="1495" y="527"/>
                  </a:lnTo>
                  <a:lnTo>
                    <a:pt x="1498" y="529"/>
                  </a:lnTo>
                  <a:lnTo>
                    <a:pt x="1500" y="532"/>
                  </a:lnTo>
                  <a:lnTo>
                    <a:pt x="1503" y="535"/>
                  </a:lnTo>
                  <a:lnTo>
                    <a:pt x="1508" y="537"/>
                  </a:lnTo>
                  <a:lnTo>
                    <a:pt x="1513" y="540"/>
                  </a:lnTo>
                  <a:lnTo>
                    <a:pt x="1518" y="540"/>
                  </a:lnTo>
                  <a:lnTo>
                    <a:pt x="1523" y="537"/>
                  </a:lnTo>
                  <a:lnTo>
                    <a:pt x="1528" y="532"/>
                  </a:lnTo>
                  <a:lnTo>
                    <a:pt x="1530" y="529"/>
                  </a:lnTo>
                  <a:lnTo>
                    <a:pt x="1535" y="527"/>
                  </a:lnTo>
                  <a:lnTo>
                    <a:pt x="1540" y="527"/>
                  </a:lnTo>
                  <a:lnTo>
                    <a:pt x="1548" y="524"/>
                  </a:lnTo>
                  <a:lnTo>
                    <a:pt x="1556" y="519"/>
                  </a:lnTo>
                  <a:lnTo>
                    <a:pt x="1561" y="519"/>
                  </a:lnTo>
                  <a:lnTo>
                    <a:pt x="1563" y="519"/>
                  </a:lnTo>
                  <a:lnTo>
                    <a:pt x="1566" y="522"/>
                  </a:lnTo>
                  <a:lnTo>
                    <a:pt x="1568" y="524"/>
                  </a:lnTo>
                  <a:lnTo>
                    <a:pt x="1571" y="524"/>
                  </a:lnTo>
                  <a:lnTo>
                    <a:pt x="1573" y="527"/>
                  </a:lnTo>
                  <a:lnTo>
                    <a:pt x="1576" y="529"/>
                  </a:lnTo>
                  <a:lnTo>
                    <a:pt x="1578" y="529"/>
                  </a:lnTo>
                  <a:lnTo>
                    <a:pt x="1583" y="532"/>
                  </a:lnTo>
                  <a:lnTo>
                    <a:pt x="1588" y="532"/>
                  </a:lnTo>
                  <a:lnTo>
                    <a:pt x="1593" y="535"/>
                  </a:lnTo>
                  <a:lnTo>
                    <a:pt x="1603" y="535"/>
                  </a:lnTo>
                  <a:lnTo>
                    <a:pt x="1606" y="540"/>
                  </a:lnTo>
                  <a:lnTo>
                    <a:pt x="1606" y="542"/>
                  </a:lnTo>
                  <a:lnTo>
                    <a:pt x="1608" y="547"/>
                  </a:lnTo>
                  <a:lnTo>
                    <a:pt x="1611" y="547"/>
                  </a:lnTo>
                  <a:lnTo>
                    <a:pt x="1616" y="550"/>
                  </a:lnTo>
                  <a:lnTo>
                    <a:pt x="1619" y="550"/>
                  </a:lnTo>
                  <a:lnTo>
                    <a:pt x="1621" y="550"/>
                  </a:lnTo>
                  <a:lnTo>
                    <a:pt x="1624" y="547"/>
                  </a:lnTo>
                  <a:lnTo>
                    <a:pt x="1629" y="547"/>
                  </a:lnTo>
                  <a:lnTo>
                    <a:pt x="1631" y="547"/>
                  </a:lnTo>
                  <a:lnTo>
                    <a:pt x="1634" y="547"/>
                  </a:lnTo>
                  <a:lnTo>
                    <a:pt x="1639" y="547"/>
                  </a:lnTo>
                  <a:lnTo>
                    <a:pt x="1641" y="547"/>
                  </a:lnTo>
                  <a:lnTo>
                    <a:pt x="1644" y="550"/>
                  </a:lnTo>
                  <a:lnTo>
                    <a:pt x="1649" y="550"/>
                  </a:lnTo>
                  <a:lnTo>
                    <a:pt x="1651" y="550"/>
                  </a:lnTo>
                  <a:lnTo>
                    <a:pt x="1654" y="547"/>
                  </a:lnTo>
                  <a:lnTo>
                    <a:pt x="1659" y="547"/>
                  </a:lnTo>
                  <a:lnTo>
                    <a:pt x="1664" y="547"/>
                  </a:lnTo>
                  <a:lnTo>
                    <a:pt x="1669" y="545"/>
                  </a:lnTo>
                  <a:lnTo>
                    <a:pt x="1671" y="545"/>
                  </a:lnTo>
                  <a:lnTo>
                    <a:pt x="1674" y="545"/>
                  </a:lnTo>
                  <a:lnTo>
                    <a:pt x="1679" y="545"/>
                  </a:lnTo>
                  <a:lnTo>
                    <a:pt x="1682" y="545"/>
                  </a:lnTo>
                  <a:lnTo>
                    <a:pt x="1684" y="545"/>
                  </a:lnTo>
                  <a:lnTo>
                    <a:pt x="1687" y="545"/>
                  </a:lnTo>
                  <a:lnTo>
                    <a:pt x="1692" y="545"/>
                  </a:lnTo>
                  <a:lnTo>
                    <a:pt x="1697" y="545"/>
                  </a:lnTo>
                  <a:lnTo>
                    <a:pt x="1699" y="542"/>
                  </a:lnTo>
                  <a:lnTo>
                    <a:pt x="1697" y="540"/>
                  </a:lnTo>
                  <a:lnTo>
                    <a:pt x="1697" y="537"/>
                  </a:lnTo>
                  <a:lnTo>
                    <a:pt x="1692" y="535"/>
                  </a:lnTo>
                  <a:lnTo>
                    <a:pt x="1687" y="532"/>
                  </a:lnTo>
                  <a:lnTo>
                    <a:pt x="1679" y="529"/>
                  </a:lnTo>
                  <a:lnTo>
                    <a:pt x="1677" y="529"/>
                  </a:lnTo>
                  <a:lnTo>
                    <a:pt x="1674" y="527"/>
                  </a:lnTo>
                  <a:lnTo>
                    <a:pt x="1671" y="524"/>
                  </a:lnTo>
                  <a:lnTo>
                    <a:pt x="1669" y="524"/>
                  </a:lnTo>
                  <a:lnTo>
                    <a:pt x="1666" y="524"/>
                  </a:lnTo>
                  <a:lnTo>
                    <a:pt x="1664" y="524"/>
                  </a:lnTo>
                  <a:lnTo>
                    <a:pt x="1661" y="524"/>
                  </a:lnTo>
                  <a:lnTo>
                    <a:pt x="1656" y="522"/>
                  </a:lnTo>
                  <a:lnTo>
                    <a:pt x="1651" y="519"/>
                  </a:lnTo>
                  <a:lnTo>
                    <a:pt x="1641" y="517"/>
                  </a:lnTo>
                  <a:lnTo>
                    <a:pt x="1636" y="514"/>
                  </a:lnTo>
                  <a:lnTo>
                    <a:pt x="1634" y="512"/>
                  </a:lnTo>
                  <a:lnTo>
                    <a:pt x="1634" y="509"/>
                  </a:lnTo>
                  <a:lnTo>
                    <a:pt x="1636" y="509"/>
                  </a:lnTo>
                  <a:lnTo>
                    <a:pt x="1639" y="509"/>
                  </a:lnTo>
                  <a:lnTo>
                    <a:pt x="1644" y="509"/>
                  </a:lnTo>
                  <a:lnTo>
                    <a:pt x="1649" y="512"/>
                  </a:lnTo>
                  <a:lnTo>
                    <a:pt x="1651" y="512"/>
                  </a:lnTo>
                  <a:lnTo>
                    <a:pt x="1656" y="514"/>
                  </a:lnTo>
                  <a:lnTo>
                    <a:pt x="1659" y="514"/>
                  </a:lnTo>
                  <a:lnTo>
                    <a:pt x="1664" y="514"/>
                  </a:lnTo>
                  <a:lnTo>
                    <a:pt x="1666" y="519"/>
                  </a:lnTo>
                  <a:lnTo>
                    <a:pt x="1671" y="519"/>
                  </a:lnTo>
                  <a:lnTo>
                    <a:pt x="1677" y="517"/>
                  </a:lnTo>
                  <a:lnTo>
                    <a:pt x="1687" y="514"/>
                  </a:lnTo>
                  <a:lnTo>
                    <a:pt x="1694" y="514"/>
                  </a:lnTo>
                  <a:lnTo>
                    <a:pt x="1697" y="519"/>
                  </a:lnTo>
                  <a:lnTo>
                    <a:pt x="1699" y="519"/>
                  </a:lnTo>
                  <a:lnTo>
                    <a:pt x="1704" y="522"/>
                  </a:lnTo>
                  <a:lnTo>
                    <a:pt x="1707" y="524"/>
                  </a:lnTo>
                  <a:lnTo>
                    <a:pt x="1707" y="522"/>
                  </a:lnTo>
                  <a:lnTo>
                    <a:pt x="1704" y="519"/>
                  </a:lnTo>
                  <a:lnTo>
                    <a:pt x="1702" y="514"/>
                  </a:lnTo>
                  <a:lnTo>
                    <a:pt x="1699" y="514"/>
                  </a:lnTo>
                  <a:lnTo>
                    <a:pt x="1699" y="509"/>
                  </a:lnTo>
                  <a:lnTo>
                    <a:pt x="1697" y="507"/>
                  </a:lnTo>
                  <a:lnTo>
                    <a:pt x="1694" y="502"/>
                  </a:lnTo>
                  <a:lnTo>
                    <a:pt x="1692" y="494"/>
                  </a:lnTo>
                  <a:lnTo>
                    <a:pt x="1692" y="492"/>
                  </a:lnTo>
                  <a:lnTo>
                    <a:pt x="1692" y="489"/>
                  </a:lnTo>
                  <a:lnTo>
                    <a:pt x="1692" y="487"/>
                  </a:lnTo>
                  <a:lnTo>
                    <a:pt x="1689" y="482"/>
                  </a:lnTo>
                  <a:lnTo>
                    <a:pt x="1682" y="479"/>
                  </a:lnTo>
                  <a:lnTo>
                    <a:pt x="1677" y="479"/>
                  </a:lnTo>
                  <a:lnTo>
                    <a:pt x="1671" y="477"/>
                  </a:lnTo>
                  <a:lnTo>
                    <a:pt x="1669" y="471"/>
                  </a:lnTo>
                  <a:lnTo>
                    <a:pt x="1664" y="469"/>
                  </a:lnTo>
                  <a:lnTo>
                    <a:pt x="1659" y="469"/>
                  </a:lnTo>
                  <a:lnTo>
                    <a:pt x="1651" y="466"/>
                  </a:lnTo>
                  <a:lnTo>
                    <a:pt x="1646" y="466"/>
                  </a:lnTo>
                  <a:lnTo>
                    <a:pt x="1644" y="466"/>
                  </a:lnTo>
                  <a:lnTo>
                    <a:pt x="1639" y="464"/>
                  </a:lnTo>
                  <a:lnTo>
                    <a:pt x="1634" y="461"/>
                  </a:lnTo>
                  <a:lnTo>
                    <a:pt x="1631" y="459"/>
                  </a:lnTo>
                  <a:lnTo>
                    <a:pt x="1626" y="459"/>
                  </a:lnTo>
                  <a:lnTo>
                    <a:pt x="1624" y="454"/>
                  </a:lnTo>
                  <a:lnTo>
                    <a:pt x="1621" y="451"/>
                  </a:lnTo>
                  <a:lnTo>
                    <a:pt x="1616" y="446"/>
                  </a:lnTo>
                  <a:lnTo>
                    <a:pt x="1614" y="441"/>
                  </a:lnTo>
                  <a:lnTo>
                    <a:pt x="1611" y="439"/>
                  </a:lnTo>
                  <a:lnTo>
                    <a:pt x="1611" y="434"/>
                  </a:lnTo>
                  <a:lnTo>
                    <a:pt x="1614" y="431"/>
                  </a:lnTo>
                  <a:lnTo>
                    <a:pt x="1619" y="431"/>
                  </a:lnTo>
                  <a:lnTo>
                    <a:pt x="1624" y="431"/>
                  </a:lnTo>
                  <a:lnTo>
                    <a:pt x="1631" y="434"/>
                  </a:lnTo>
                  <a:lnTo>
                    <a:pt x="1636" y="436"/>
                  </a:lnTo>
                  <a:lnTo>
                    <a:pt x="1639" y="436"/>
                  </a:lnTo>
                  <a:lnTo>
                    <a:pt x="1644" y="439"/>
                  </a:lnTo>
                  <a:lnTo>
                    <a:pt x="1644" y="439"/>
                  </a:lnTo>
                  <a:lnTo>
                    <a:pt x="1649" y="441"/>
                  </a:lnTo>
                  <a:lnTo>
                    <a:pt x="1654" y="444"/>
                  </a:lnTo>
                  <a:lnTo>
                    <a:pt x="1659" y="446"/>
                  </a:lnTo>
                  <a:lnTo>
                    <a:pt x="1664" y="449"/>
                  </a:lnTo>
                  <a:lnTo>
                    <a:pt x="1669" y="451"/>
                  </a:lnTo>
                  <a:lnTo>
                    <a:pt x="1669" y="451"/>
                  </a:lnTo>
                  <a:lnTo>
                    <a:pt x="1671" y="451"/>
                  </a:lnTo>
                  <a:lnTo>
                    <a:pt x="1677" y="449"/>
                  </a:lnTo>
                  <a:lnTo>
                    <a:pt x="1679" y="444"/>
                  </a:lnTo>
                  <a:lnTo>
                    <a:pt x="1679" y="441"/>
                  </a:lnTo>
                  <a:lnTo>
                    <a:pt x="1677" y="436"/>
                  </a:lnTo>
                  <a:lnTo>
                    <a:pt x="1671" y="434"/>
                  </a:lnTo>
                  <a:lnTo>
                    <a:pt x="1666" y="431"/>
                  </a:lnTo>
                  <a:lnTo>
                    <a:pt x="1666" y="429"/>
                  </a:lnTo>
                  <a:lnTo>
                    <a:pt x="1666" y="426"/>
                  </a:lnTo>
                  <a:lnTo>
                    <a:pt x="1669" y="424"/>
                  </a:lnTo>
                  <a:lnTo>
                    <a:pt x="1671" y="424"/>
                  </a:lnTo>
                  <a:lnTo>
                    <a:pt x="1674" y="421"/>
                  </a:lnTo>
                  <a:lnTo>
                    <a:pt x="1677" y="419"/>
                  </a:lnTo>
                  <a:lnTo>
                    <a:pt x="1677" y="416"/>
                  </a:lnTo>
                  <a:lnTo>
                    <a:pt x="1674" y="413"/>
                  </a:lnTo>
                  <a:lnTo>
                    <a:pt x="1671" y="408"/>
                  </a:lnTo>
                  <a:lnTo>
                    <a:pt x="1669" y="406"/>
                  </a:lnTo>
                  <a:lnTo>
                    <a:pt x="1664" y="406"/>
                  </a:lnTo>
                  <a:lnTo>
                    <a:pt x="1664" y="403"/>
                  </a:lnTo>
                  <a:lnTo>
                    <a:pt x="1669" y="401"/>
                  </a:lnTo>
                  <a:lnTo>
                    <a:pt x="1674" y="398"/>
                  </a:lnTo>
                  <a:lnTo>
                    <a:pt x="1677" y="393"/>
                  </a:lnTo>
                  <a:lnTo>
                    <a:pt x="1674" y="391"/>
                  </a:lnTo>
                  <a:lnTo>
                    <a:pt x="1669" y="388"/>
                  </a:lnTo>
                  <a:lnTo>
                    <a:pt x="1661" y="386"/>
                  </a:lnTo>
                  <a:lnTo>
                    <a:pt x="1654" y="386"/>
                  </a:lnTo>
                  <a:lnTo>
                    <a:pt x="1649" y="386"/>
                  </a:lnTo>
                  <a:lnTo>
                    <a:pt x="1644" y="386"/>
                  </a:lnTo>
                  <a:lnTo>
                    <a:pt x="1639" y="388"/>
                  </a:lnTo>
                  <a:lnTo>
                    <a:pt x="1636" y="388"/>
                  </a:lnTo>
                  <a:lnTo>
                    <a:pt x="1634" y="388"/>
                  </a:lnTo>
                  <a:lnTo>
                    <a:pt x="1634" y="388"/>
                  </a:lnTo>
                  <a:lnTo>
                    <a:pt x="1631" y="386"/>
                  </a:lnTo>
                  <a:lnTo>
                    <a:pt x="1634" y="383"/>
                  </a:lnTo>
                  <a:lnTo>
                    <a:pt x="1631" y="383"/>
                  </a:lnTo>
                  <a:lnTo>
                    <a:pt x="1629" y="381"/>
                  </a:lnTo>
                  <a:lnTo>
                    <a:pt x="1626" y="381"/>
                  </a:lnTo>
                  <a:lnTo>
                    <a:pt x="1621" y="381"/>
                  </a:lnTo>
                  <a:lnTo>
                    <a:pt x="1616" y="381"/>
                  </a:lnTo>
                  <a:lnTo>
                    <a:pt x="1611" y="378"/>
                  </a:lnTo>
                  <a:lnTo>
                    <a:pt x="1606" y="378"/>
                  </a:lnTo>
                  <a:lnTo>
                    <a:pt x="1603" y="378"/>
                  </a:lnTo>
                  <a:lnTo>
                    <a:pt x="1598" y="376"/>
                  </a:lnTo>
                  <a:lnTo>
                    <a:pt x="1598" y="378"/>
                  </a:lnTo>
                  <a:lnTo>
                    <a:pt x="1601" y="381"/>
                  </a:lnTo>
                  <a:lnTo>
                    <a:pt x="1603" y="386"/>
                  </a:lnTo>
                  <a:lnTo>
                    <a:pt x="1601" y="386"/>
                  </a:lnTo>
                  <a:lnTo>
                    <a:pt x="1596" y="386"/>
                  </a:lnTo>
                  <a:lnTo>
                    <a:pt x="1591" y="381"/>
                  </a:lnTo>
                  <a:lnTo>
                    <a:pt x="1583" y="376"/>
                  </a:lnTo>
                  <a:lnTo>
                    <a:pt x="1578" y="373"/>
                  </a:lnTo>
                  <a:lnTo>
                    <a:pt x="1576" y="373"/>
                  </a:lnTo>
                  <a:lnTo>
                    <a:pt x="1568" y="376"/>
                  </a:lnTo>
                  <a:lnTo>
                    <a:pt x="1563" y="373"/>
                  </a:lnTo>
                  <a:lnTo>
                    <a:pt x="1558" y="371"/>
                  </a:lnTo>
                  <a:lnTo>
                    <a:pt x="1558" y="366"/>
                  </a:lnTo>
                  <a:lnTo>
                    <a:pt x="1561" y="363"/>
                  </a:lnTo>
                  <a:lnTo>
                    <a:pt x="1561" y="361"/>
                  </a:lnTo>
                  <a:lnTo>
                    <a:pt x="1561" y="358"/>
                  </a:lnTo>
                  <a:lnTo>
                    <a:pt x="1563" y="356"/>
                  </a:lnTo>
                  <a:lnTo>
                    <a:pt x="1566" y="356"/>
                  </a:lnTo>
                  <a:lnTo>
                    <a:pt x="1568" y="356"/>
                  </a:lnTo>
                  <a:lnTo>
                    <a:pt x="1568" y="353"/>
                  </a:lnTo>
                  <a:lnTo>
                    <a:pt x="1561" y="350"/>
                  </a:lnTo>
                  <a:lnTo>
                    <a:pt x="1556" y="350"/>
                  </a:lnTo>
                  <a:lnTo>
                    <a:pt x="1553" y="345"/>
                  </a:lnTo>
                  <a:lnTo>
                    <a:pt x="1553" y="345"/>
                  </a:lnTo>
                  <a:lnTo>
                    <a:pt x="1556" y="343"/>
                  </a:lnTo>
                  <a:lnTo>
                    <a:pt x="1561" y="343"/>
                  </a:lnTo>
                  <a:lnTo>
                    <a:pt x="1561" y="343"/>
                  </a:lnTo>
                  <a:lnTo>
                    <a:pt x="1558" y="343"/>
                  </a:lnTo>
                  <a:lnTo>
                    <a:pt x="1556" y="340"/>
                  </a:lnTo>
                  <a:lnTo>
                    <a:pt x="1553" y="335"/>
                  </a:lnTo>
                  <a:lnTo>
                    <a:pt x="1548" y="333"/>
                  </a:lnTo>
                  <a:lnTo>
                    <a:pt x="1545" y="333"/>
                  </a:lnTo>
                  <a:lnTo>
                    <a:pt x="1540" y="333"/>
                  </a:lnTo>
                  <a:lnTo>
                    <a:pt x="1538" y="333"/>
                  </a:lnTo>
                  <a:lnTo>
                    <a:pt x="1540" y="330"/>
                  </a:lnTo>
                  <a:lnTo>
                    <a:pt x="1540" y="330"/>
                  </a:lnTo>
                  <a:lnTo>
                    <a:pt x="1540" y="328"/>
                  </a:lnTo>
                  <a:lnTo>
                    <a:pt x="1538" y="325"/>
                  </a:lnTo>
                  <a:lnTo>
                    <a:pt x="1533" y="325"/>
                  </a:lnTo>
                  <a:lnTo>
                    <a:pt x="1528" y="325"/>
                  </a:lnTo>
                  <a:lnTo>
                    <a:pt x="1520" y="325"/>
                  </a:lnTo>
                  <a:lnTo>
                    <a:pt x="1515" y="325"/>
                  </a:lnTo>
                  <a:lnTo>
                    <a:pt x="1510" y="325"/>
                  </a:lnTo>
                  <a:lnTo>
                    <a:pt x="1503" y="323"/>
                  </a:lnTo>
                  <a:lnTo>
                    <a:pt x="1500" y="323"/>
                  </a:lnTo>
                  <a:lnTo>
                    <a:pt x="1500" y="320"/>
                  </a:lnTo>
                  <a:lnTo>
                    <a:pt x="1498" y="318"/>
                  </a:lnTo>
                  <a:lnTo>
                    <a:pt x="1492" y="315"/>
                  </a:lnTo>
                  <a:lnTo>
                    <a:pt x="1485" y="315"/>
                  </a:lnTo>
                  <a:lnTo>
                    <a:pt x="1480" y="318"/>
                  </a:lnTo>
                  <a:lnTo>
                    <a:pt x="1475" y="323"/>
                  </a:lnTo>
                  <a:lnTo>
                    <a:pt x="1472" y="325"/>
                  </a:lnTo>
                  <a:lnTo>
                    <a:pt x="1467" y="325"/>
                  </a:lnTo>
                  <a:lnTo>
                    <a:pt x="1462" y="320"/>
                  </a:lnTo>
                  <a:lnTo>
                    <a:pt x="1460" y="318"/>
                  </a:lnTo>
                  <a:lnTo>
                    <a:pt x="1457" y="313"/>
                  </a:lnTo>
                  <a:lnTo>
                    <a:pt x="1455" y="310"/>
                  </a:lnTo>
                  <a:lnTo>
                    <a:pt x="1450" y="305"/>
                  </a:lnTo>
                  <a:lnTo>
                    <a:pt x="1442" y="300"/>
                  </a:lnTo>
                  <a:lnTo>
                    <a:pt x="1435" y="298"/>
                  </a:lnTo>
                  <a:lnTo>
                    <a:pt x="1429" y="298"/>
                  </a:lnTo>
                  <a:lnTo>
                    <a:pt x="1427" y="300"/>
                  </a:lnTo>
                  <a:lnTo>
                    <a:pt x="1419" y="303"/>
                  </a:lnTo>
                  <a:lnTo>
                    <a:pt x="1414" y="305"/>
                  </a:lnTo>
                  <a:lnTo>
                    <a:pt x="1414" y="308"/>
                  </a:lnTo>
                  <a:lnTo>
                    <a:pt x="1414" y="313"/>
                  </a:lnTo>
                  <a:lnTo>
                    <a:pt x="1409" y="315"/>
                  </a:lnTo>
                  <a:lnTo>
                    <a:pt x="1404" y="320"/>
                  </a:lnTo>
                  <a:lnTo>
                    <a:pt x="1397" y="320"/>
                  </a:lnTo>
                  <a:lnTo>
                    <a:pt x="1394" y="320"/>
                  </a:lnTo>
                  <a:lnTo>
                    <a:pt x="1392" y="315"/>
                  </a:lnTo>
                  <a:lnTo>
                    <a:pt x="1392" y="310"/>
                  </a:lnTo>
                  <a:lnTo>
                    <a:pt x="1389" y="305"/>
                  </a:lnTo>
                  <a:lnTo>
                    <a:pt x="1389" y="303"/>
                  </a:lnTo>
                  <a:lnTo>
                    <a:pt x="1387" y="298"/>
                  </a:lnTo>
                  <a:lnTo>
                    <a:pt x="1384" y="292"/>
                  </a:lnTo>
                  <a:lnTo>
                    <a:pt x="1382" y="290"/>
                  </a:lnTo>
                  <a:lnTo>
                    <a:pt x="1374" y="285"/>
                  </a:lnTo>
                  <a:lnTo>
                    <a:pt x="1366" y="285"/>
                  </a:lnTo>
                  <a:lnTo>
                    <a:pt x="1359" y="287"/>
                  </a:lnTo>
                  <a:lnTo>
                    <a:pt x="1354" y="292"/>
                  </a:lnTo>
                  <a:lnTo>
                    <a:pt x="1351" y="303"/>
                  </a:lnTo>
                  <a:lnTo>
                    <a:pt x="1349" y="313"/>
                  </a:lnTo>
                  <a:lnTo>
                    <a:pt x="1349" y="325"/>
                  </a:lnTo>
                  <a:lnTo>
                    <a:pt x="1354" y="343"/>
                  </a:lnTo>
                  <a:lnTo>
                    <a:pt x="1359" y="356"/>
                  </a:lnTo>
                  <a:lnTo>
                    <a:pt x="1359" y="356"/>
                  </a:lnTo>
                  <a:lnTo>
                    <a:pt x="1359" y="356"/>
                  </a:lnTo>
                  <a:lnTo>
                    <a:pt x="1359" y="356"/>
                  </a:lnTo>
                  <a:lnTo>
                    <a:pt x="1356" y="353"/>
                  </a:lnTo>
                  <a:lnTo>
                    <a:pt x="1354" y="350"/>
                  </a:lnTo>
                  <a:lnTo>
                    <a:pt x="1349" y="345"/>
                  </a:lnTo>
                  <a:lnTo>
                    <a:pt x="1344" y="338"/>
                  </a:lnTo>
                  <a:lnTo>
                    <a:pt x="1341" y="330"/>
                  </a:lnTo>
                  <a:lnTo>
                    <a:pt x="1339" y="323"/>
                  </a:lnTo>
                  <a:lnTo>
                    <a:pt x="1339" y="310"/>
                  </a:lnTo>
                  <a:lnTo>
                    <a:pt x="1344" y="298"/>
                  </a:lnTo>
                  <a:lnTo>
                    <a:pt x="1344" y="290"/>
                  </a:lnTo>
                  <a:lnTo>
                    <a:pt x="1341" y="287"/>
                  </a:lnTo>
                  <a:lnTo>
                    <a:pt x="1336" y="287"/>
                  </a:lnTo>
                  <a:lnTo>
                    <a:pt x="1331" y="287"/>
                  </a:lnTo>
                  <a:lnTo>
                    <a:pt x="1324" y="290"/>
                  </a:lnTo>
                  <a:lnTo>
                    <a:pt x="1316" y="298"/>
                  </a:lnTo>
                  <a:lnTo>
                    <a:pt x="1311" y="310"/>
                  </a:lnTo>
                  <a:lnTo>
                    <a:pt x="1308" y="325"/>
                  </a:lnTo>
                  <a:lnTo>
                    <a:pt x="1308" y="335"/>
                  </a:lnTo>
                  <a:lnTo>
                    <a:pt x="1308" y="340"/>
                  </a:lnTo>
                  <a:lnTo>
                    <a:pt x="1308" y="345"/>
                  </a:lnTo>
                  <a:lnTo>
                    <a:pt x="1308" y="356"/>
                  </a:lnTo>
                  <a:lnTo>
                    <a:pt x="1308" y="361"/>
                  </a:lnTo>
                  <a:lnTo>
                    <a:pt x="1311" y="363"/>
                  </a:lnTo>
                  <a:lnTo>
                    <a:pt x="1311" y="363"/>
                  </a:lnTo>
                  <a:lnTo>
                    <a:pt x="1316" y="366"/>
                  </a:lnTo>
                  <a:lnTo>
                    <a:pt x="1319" y="366"/>
                  </a:lnTo>
                  <a:lnTo>
                    <a:pt x="1321" y="366"/>
                  </a:lnTo>
                  <a:lnTo>
                    <a:pt x="1329" y="368"/>
                  </a:lnTo>
                  <a:lnTo>
                    <a:pt x="1334" y="371"/>
                  </a:lnTo>
                  <a:lnTo>
                    <a:pt x="1339" y="371"/>
                  </a:lnTo>
                  <a:lnTo>
                    <a:pt x="1341" y="373"/>
                  </a:lnTo>
                  <a:lnTo>
                    <a:pt x="1341" y="373"/>
                  </a:lnTo>
                  <a:lnTo>
                    <a:pt x="1339" y="376"/>
                  </a:lnTo>
                  <a:lnTo>
                    <a:pt x="1334" y="376"/>
                  </a:lnTo>
                  <a:lnTo>
                    <a:pt x="1331" y="376"/>
                  </a:lnTo>
                  <a:lnTo>
                    <a:pt x="1326" y="376"/>
                  </a:lnTo>
                  <a:lnTo>
                    <a:pt x="1321" y="378"/>
                  </a:lnTo>
                  <a:lnTo>
                    <a:pt x="1316" y="381"/>
                  </a:lnTo>
                  <a:lnTo>
                    <a:pt x="1316" y="381"/>
                  </a:lnTo>
                  <a:lnTo>
                    <a:pt x="1316" y="383"/>
                  </a:lnTo>
                  <a:lnTo>
                    <a:pt x="1319" y="386"/>
                  </a:lnTo>
                  <a:lnTo>
                    <a:pt x="1321" y="386"/>
                  </a:lnTo>
                  <a:lnTo>
                    <a:pt x="1326" y="388"/>
                  </a:lnTo>
                  <a:lnTo>
                    <a:pt x="1331" y="391"/>
                  </a:lnTo>
                  <a:lnTo>
                    <a:pt x="1334" y="393"/>
                  </a:lnTo>
                  <a:lnTo>
                    <a:pt x="1339" y="396"/>
                  </a:lnTo>
                  <a:lnTo>
                    <a:pt x="1341" y="396"/>
                  </a:lnTo>
                  <a:lnTo>
                    <a:pt x="1346" y="396"/>
                  </a:lnTo>
                  <a:lnTo>
                    <a:pt x="1351" y="393"/>
                  </a:lnTo>
                  <a:lnTo>
                    <a:pt x="1356" y="391"/>
                  </a:lnTo>
                  <a:lnTo>
                    <a:pt x="1359" y="393"/>
                  </a:lnTo>
                  <a:lnTo>
                    <a:pt x="1361" y="396"/>
                  </a:lnTo>
                  <a:lnTo>
                    <a:pt x="1371" y="398"/>
                  </a:lnTo>
                  <a:lnTo>
                    <a:pt x="1374" y="398"/>
                  </a:lnTo>
                  <a:lnTo>
                    <a:pt x="1366" y="436"/>
                  </a:lnTo>
                  <a:lnTo>
                    <a:pt x="1336" y="482"/>
                  </a:lnTo>
                  <a:lnTo>
                    <a:pt x="1326" y="426"/>
                  </a:lnTo>
                  <a:lnTo>
                    <a:pt x="1308" y="403"/>
                  </a:lnTo>
                  <a:lnTo>
                    <a:pt x="1288" y="431"/>
                  </a:lnTo>
                  <a:lnTo>
                    <a:pt x="1278" y="403"/>
                  </a:lnTo>
                  <a:lnTo>
                    <a:pt x="1258" y="368"/>
                  </a:lnTo>
                  <a:lnTo>
                    <a:pt x="1248" y="323"/>
                  </a:lnTo>
                  <a:lnTo>
                    <a:pt x="1215" y="270"/>
                  </a:lnTo>
                  <a:lnTo>
                    <a:pt x="1190" y="343"/>
                  </a:lnTo>
                  <a:lnTo>
                    <a:pt x="1190" y="368"/>
                  </a:lnTo>
                  <a:lnTo>
                    <a:pt x="1225" y="398"/>
                  </a:lnTo>
                  <a:lnTo>
                    <a:pt x="1230" y="431"/>
                  </a:lnTo>
                  <a:lnTo>
                    <a:pt x="1205" y="456"/>
                  </a:lnTo>
                  <a:lnTo>
                    <a:pt x="1190" y="446"/>
                  </a:lnTo>
                  <a:lnTo>
                    <a:pt x="1185" y="446"/>
                  </a:lnTo>
                  <a:lnTo>
                    <a:pt x="1185" y="444"/>
                  </a:lnTo>
                  <a:lnTo>
                    <a:pt x="1187" y="439"/>
                  </a:lnTo>
                  <a:lnTo>
                    <a:pt x="1185" y="434"/>
                  </a:lnTo>
                  <a:lnTo>
                    <a:pt x="1185" y="429"/>
                  </a:lnTo>
                  <a:lnTo>
                    <a:pt x="1182" y="424"/>
                  </a:lnTo>
                  <a:lnTo>
                    <a:pt x="1182" y="424"/>
                  </a:lnTo>
                  <a:lnTo>
                    <a:pt x="1185" y="424"/>
                  </a:lnTo>
                  <a:lnTo>
                    <a:pt x="1187" y="424"/>
                  </a:lnTo>
                  <a:lnTo>
                    <a:pt x="1190" y="424"/>
                  </a:lnTo>
                  <a:lnTo>
                    <a:pt x="1192" y="424"/>
                  </a:lnTo>
                  <a:lnTo>
                    <a:pt x="1195" y="424"/>
                  </a:lnTo>
                  <a:lnTo>
                    <a:pt x="1198" y="419"/>
                  </a:lnTo>
                  <a:lnTo>
                    <a:pt x="1200" y="413"/>
                  </a:lnTo>
                  <a:lnTo>
                    <a:pt x="1198" y="408"/>
                  </a:lnTo>
                  <a:lnTo>
                    <a:pt x="1192" y="406"/>
                  </a:lnTo>
                  <a:lnTo>
                    <a:pt x="1192" y="406"/>
                  </a:lnTo>
                  <a:lnTo>
                    <a:pt x="1190" y="403"/>
                  </a:lnTo>
                  <a:lnTo>
                    <a:pt x="1185" y="403"/>
                  </a:lnTo>
                  <a:lnTo>
                    <a:pt x="1180" y="398"/>
                  </a:lnTo>
                  <a:lnTo>
                    <a:pt x="1175" y="396"/>
                  </a:lnTo>
                  <a:lnTo>
                    <a:pt x="1170" y="391"/>
                  </a:lnTo>
                  <a:lnTo>
                    <a:pt x="1167" y="388"/>
                  </a:lnTo>
                  <a:lnTo>
                    <a:pt x="1165" y="383"/>
                  </a:lnTo>
                  <a:lnTo>
                    <a:pt x="1162" y="378"/>
                  </a:lnTo>
                  <a:lnTo>
                    <a:pt x="1162" y="373"/>
                  </a:lnTo>
                  <a:lnTo>
                    <a:pt x="1162" y="373"/>
                  </a:lnTo>
                  <a:lnTo>
                    <a:pt x="1162" y="371"/>
                  </a:lnTo>
                  <a:lnTo>
                    <a:pt x="1165" y="368"/>
                  </a:lnTo>
                  <a:lnTo>
                    <a:pt x="1165" y="363"/>
                  </a:lnTo>
                  <a:lnTo>
                    <a:pt x="1162" y="356"/>
                  </a:lnTo>
                  <a:lnTo>
                    <a:pt x="1162" y="350"/>
                  </a:lnTo>
                  <a:lnTo>
                    <a:pt x="1160" y="343"/>
                  </a:lnTo>
                  <a:lnTo>
                    <a:pt x="1160" y="338"/>
                  </a:lnTo>
                  <a:lnTo>
                    <a:pt x="1157" y="333"/>
                  </a:lnTo>
                  <a:lnTo>
                    <a:pt x="1157" y="328"/>
                  </a:lnTo>
                  <a:lnTo>
                    <a:pt x="1160" y="325"/>
                  </a:lnTo>
                  <a:lnTo>
                    <a:pt x="1162" y="323"/>
                  </a:lnTo>
                  <a:lnTo>
                    <a:pt x="1165" y="323"/>
                  </a:lnTo>
                  <a:lnTo>
                    <a:pt x="1167" y="318"/>
                  </a:lnTo>
                  <a:lnTo>
                    <a:pt x="1172" y="310"/>
                  </a:lnTo>
                  <a:lnTo>
                    <a:pt x="1172" y="308"/>
                  </a:lnTo>
                  <a:lnTo>
                    <a:pt x="1172" y="305"/>
                  </a:lnTo>
                  <a:lnTo>
                    <a:pt x="1170" y="303"/>
                  </a:lnTo>
                  <a:lnTo>
                    <a:pt x="1165" y="300"/>
                  </a:lnTo>
                  <a:lnTo>
                    <a:pt x="1162" y="300"/>
                  </a:lnTo>
                  <a:lnTo>
                    <a:pt x="1157" y="300"/>
                  </a:lnTo>
                  <a:lnTo>
                    <a:pt x="1152" y="300"/>
                  </a:lnTo>
                  <a:lnTo>
                    <a:pt x="1147" y="300"/>
                  </a:lnTo>
                  <a:lnTo>
                    <a:pt x="1142" y="303"/>
                  </a:lnTo>
                  <a:lnTo>
                    <a:pt x="1145" y="305"/>
                  </a:lnTo>
                  <a:lnTo>
                    <a:pt x="1147" y="308"/>
                  </a:lnTo>
                  <a:lnTo>
                    <a:pt x="1150" y="310"/>
                  </a:lnTo>
                  <a:lnTo>
                    <a:pt x="1150" y="310"/>
                  </a:lnTo>
                  <a:lnTo>
                    <a:pt x="1152" y="313"/>
                  </a:lnTo>
                  <a:lnTo>
                    <a:pt x="1150" y="313"/>
                  </a:lnTo>
                  <a:lnTo>
                    <a:pt x="1147" y="315"/>
                  </a:lnTo>
                  <a:lnTo>
                    <a:pt x="1145" y="313"/>
                  </a:lnTo>
                  <a:lnTo>
                    <a:pt x="1142" y="310"/>
                  </a:lnTo>
                  <a:lnTo>
                    <a:pt x="1137" y="310"/>
                  </a:lnTo>
                  <a:lnTo>
                    <a:pt x="1134" y="313"/>
                  </a:lnTo>
                  <a:lnTo>
                    <a:pt x="1132" y="315"/>
                  </a:lnTo>
                  <a:lnTo>
                    <a:pt x="1132" y="320"/>
                  </a:lnTo>
                  <a:lnTo>
                    <a:pt x="1132" y="323"/>
                  </a:lnTo>
                  <a:lnTo>
                    <a:pt x="1134" y="328"/>
                  </a:lnTo>
                  <a:lnTo>
                    <a:pt x="1137" y="330"/>
                  </a:lnTo>
                  <a:lnTo>
                    <a:pt x="1134" y="335"/>
                  </a:lnTo>
                  <a:lnTo>
                    <a:pt x="1132" y="340"/>
                  </a:lnTo>
                  <a:lnTo>
                    <a:pt x="1132" y="348"/>
                  </a:lnTo>
                  <a:lnTo>
                    <a:pt x="1129" y="353"/>
                  </a:lnTo>
                  <a:lnTo>
                    <a:pt x="1127" y="350"/>
                  </a:lnTo>
                  <a:lnTo>
                    <a:pt x="1124" y="343"/>
                  </a:lnTo>
                  <a:lnTo>
                    <a:pt x="1124" y="335"/>
                  </a:lnTo>
                  <a:lnTo>
                    <a:pt x="1124" y="328"/>
                  </a:lnTo>
                  <a:lnTo>
                    <a:pt x="1119" y="323"/>
                  </a:lnTo>
                  <a:lnTo>
                    <a:pt x="1117" y="320"/>
                  </a:lnTo>
                  <a:lnTo>
                    <a:pt x="1112" y="315"/>
                  </a:lnTo>
                  <a:lnTo>
                    <a:pt x="1109" y="315"/>
                  </a:lnTo>
                  <a:lnTo>
                    <a:pt x="1109" y="318"/>
                  </a:lnTo>
                  <a:lnTo>
                    <a:pt x="1112" y="323"/>
                  </a:lnTo>
                  <a:lnTo>
                    <a:pt x="1112" y="328"/>
                  </a:lnTo>
                  <a:lnTo>
                    <a:pt x="1109" y="328"/>
                  </a:lnTo>
                  <a:lnTo>
                    <a:pt x="1104" y="328"/>
                  </a:lnTo>
                  <a:lnTo>
                    <a:pt x="1099" y="325"/>
                  </a:lnTo>
                  <a:lnTo>
                    <a:pt x="1094" y="320"/>
                  </a:lnTo>
                  <a:lnTo>
                    <a:pt x="1092" y="315"/>
                  </a:lnTo>
                  <a:lnTo>
                    <a:pt x="1092" y="313"/>
                  </a:lnTo>
                  <a:lnTo>
                    <a:pt x="1087" y="313"/>
                  </a:lnTo>
                  <a:lnTo>
                    <a:pt x="1082" y="315"/>
                  </a:lnTo>
                  <a:lnTo>
                    <a:pt x="1079" y="315"/>
                  </a:lnTo>
                  <a:lnTo>
                    <a:pt x="1077" y="313"/>
                  </a:lnTo>
                  <a:lnTo>
                    <a:pt x="1079" y="310"/>
                  </a:lnTo>
                  <a:lnTo>
                    <a:pt x="1082" y="303"/>
                  </a:lnTo>
                  <a:lnTo>
                    <a:pt x="1082" y="300"/>
                  </a:lnTo>
                  <a:lnTo>
                    <a:pt x="1077" y="298"/>
                  </a:lnTo>
                  <a:lnTo>
                    <a:pt x="1071" y="300"/>
                  </a:lnTo>
                  <a:lnTo>
                    <a:pt x="1064" y="300"/>
                  </a:lnTo>
                  <a:lnTo>
                    <a:pt x="1056" y="303"/>
                  </a:lnTo>
                  <a:lnTo>
                    <a:pt x="1051" y="303"/>
                  </a:lnTo>
                  <a:lnTo>
                    <a:pt x="1049" y="305"/>
                  </a:lnTo>
                  <a:lnTo>
                    <a:pt x="1044" y="305"/>
                  </a:lnTo>
                  <a:lnTo>
                    <a:pt x="1039" y="308"/>
                  </a:lnTo>
                  <a:lnTo>
                    <a:pt x="1036" y="310"/>
                  </a:lnTo>
                  <a:lnTo>
                    <a:pt x="1036" y="310"/>
                  </a:lnTo>
                  <a:lnTo>
                    <a:pt x="1036" y="315"/>
                  </a:lnTo>
                  <a:lnTo>
                    <a:pt x="1034" y="320"/>
                  </a:lnTo>
                  <a:lnTo>
                    <a:pt x="1034" y="320"/>
                  </a:lnTo>
                  <a:lnTo>
                    <a:pt x="1029" y="323"/>
                  </a:lnTo>
                  <a:lnTo>
                    <a:pt x="1024" y="323"/>
                  </a:lnTo>
                  <a:lnTo>
                    <a:pt x="1021" y="325"/>
                  </a:lnTo>
                  <a:lnTo>
                    <a:pt x="1021" y="330"/>
                  </a:lnTo>
                  <a:lnTo>
                    <a:pt x="1024" y="333"/>
                  </a:lnTo>
                  <a:lnTo>
                    <a:pt x="1029" y="338"/>
                  </a:lnTo>
                  <a:lnTo>
                    <a:pt x="1034" y="343"/>
                  </a:lnTo>
                  <a:lnTo>
                    <a:pt x="1036" y="345"/>
                  </a:lnTo>
                  <a:lnTo>
                    <a:pt x="1039" y="345"/>
                  </a:lnTo>
                  <a:lnTo>
                    <a:pt x="1039" y="350"/>
                  </a:lnTo>
                  <a:lnTo>
                    <a:pt x="1039" y="353"/>
                  </a:lnTo>
                  <a:lnTo>
                    <a:pt x="1034" y="356"/>
                  </a:lnTo>
                  <a:lnTo>
                    <a:pt x="1026" y="353"/>
                  </a:lnTo>
                  <a:lnTo>
                    <a:pt x="1021" y="356"/>
                  </a:lnTo>
                  <a:lnTo>
                    <a:pt x="1021" y="358"/>
                  </a:lnTo>
                  <a:lnTo>
                    <a:pt x="1021" y="361"/>
                  </a:lnTo>
                  <a:lnTo>
                    <a:pt x="1021" y="366"/>
                  </a:lnTo>
                  <a:lnTo>
                    <a:pt x="1024" y="371"/>
                  </a:lnTo>
                  <a:lnTo>
                    <a:pt x="1026" y="373"/>
                  </a:lnTo>
                  <a:lnTo>
                    <a:pt x="1031" y="373"/>
                  </a:lnTo>
                  <a:lnTo>
                    <a:pt x="1036" y="373"/>
                  </a:lnTo>
                  <a:lnTo>
                    <a:pt x="1044" y="373"/>
                  </a:lnTo>
                  <a:lnTo>
                    <a:pt x="1051" y="376"/>
                  </a:lnTo>
                  <a:lnTo>
                    <a:pt x="1054" y="376"/>
                  </a:lnTo>
                  <a:lnTo>
                    <a:pt x="1059" y="376"/>
                  </a:lnTo>
                  <a:lnTo>
                    <a:pt x="1069" y="378"/>
                  </a:lnTo>
                  <a:lnTo>
                    <a:pt x="1077" y="381"/>
                  </a:lnTo>
                  <a:lnTo>
                    <a:pt x="1082" y="386"/>
                  </a:lnTo>
                  <a:lnTo>
                    <a:pt x="1082" y="391"/>
                  </a:lnTo>
                  <a:lnTo>
                    <a:pt x="1079" y="396"/>
                  </a:lnTo>
                  <a:lnTo>
                    <a:pt x="1079" y="398"/>
                  </a:lnTo>
                  <a:lnTo>
                    <a:pt x="1077" y="398"/>
                  </a:lnTo>
                  <a:lnTo>
                    <a:pt x="1071" y="396"/>
                  </a:lnTo>
                  <a:lnTo>
                    <a:pt x="1066" y="396"/>
                  </a:lnTo>
                  <a:lnTo>
                    <a:pt x="1059" y="393"/>
                  </a:lnTo>
                  <a:lnTo>
                    <a:pt x="1054" y="388"/>
                  </a:lnTo>
                  <a:lnTo>
                    <a:pt x="1049" y="388"/>
                  </a:lnTo>
                  <a:lnTo>
                    <a:pt x="1044" y="386"/>
                  </a:lnTo>
                  <a:lnTo>
                    <a:pt x="1039" y="383"/>
                  </a:lnTo>
                  <a:lnTo>
                    <a:pt x="1034" y="383"/>
                  </a:lnTo>
                  <a:lnTo>
                    <a:pt x="1026" y="383"/>
                  </a:lnTo>
                  <a:lnTo>
                    <a:pt x="1021" y="383"/>
                  </a:lnTo>
                  <a:lnTo>
                    <a:pt x="1019" y="383"/>
                  </a:lnTo>
                  <a:lnTo>
                    <a:pt x="1019" y="388"/>
                  </a:lnTo>
                  <a:lnTo>
                    <a:pt x="1019" y="393"/>
                  </a:lnTo>
                  <a:lnTo>
                    <a:pt x="1019" y="398"/>
                  </a:lnTo>
                  <a:lnTo>
                    <a:pt x="1019" y="403"/>
                  </a:lnTo>
                  <a:lnTo>
                    <a:pt x="1021" y="406"/>
                  </a:lnTo>
                  <a:lnTo>
                    <a:pt x="1026" y="406"/>
                  </a:lnTo>
                  <a:lnTo>
                    <a:pt x="1031" y="408"/>
                  </a:lnTo>
                  <a:lnTo>
                    <a:pt x="1036" y="413"/>
                  </a:lnTo>
                  <a:lnTo>
                    <a:pt x="1044" y="419"/>
                  </a:lnTo>
                  <a:lnTo>
                    <a:pt x="1049" y="424"/>
                  </a:lnTo>
                  <a:lnTo>
                    <a:pt x="1049" y="429"/>
                  </a:lnTo>
                  <a:lnTo>
                    <a:pt x="1051" y="434"/>
                  </a:lnTo>
                  <a:lnTo>
                    <a:pt x="1051" y="439"/>
                  </a:lnTo>
                  <a:lnTo>
                    <a:pt x="1051" y="439"/>
                  </a:lnTo>
                  <a:lnTo>
                    <a:pt x="1054" y="441"/>
                  </a:lnTo>
                  <a:lnTo>
                    <a:pt x="1056" y="441"/>
                  </a:lnTo>
                  <a:lnTo>
                    <a:pt x="1059" y="441"/>
                  </a:lnTo>
                  <a:lnTo>
                    <a:pt x="1064" y="444"/>
                  </a:lnTo>
                  <a:lnTo>
                    <a:pt x="1066" y="444"/>
                  </a:lnTo>
                  <a:lnTo>
                    <a:pt x="1071" y="446"/>
                  </a:lnTo>
                  <a:lnTo>
                    <a:pt x="1074" y="446"/>
                  </a:lnTo>
                  <a:lnTo>
                    <a:pt x="1077" y="446"/>
                  </a:lnTo>
                  <a:lnTo>
                    <a:pt x="1079" y="446"/>
                  </a:lnTo>
                  <a:lnTo>
                    <a:pt x="1084" y="446"/>
                  </a:lnTo>
                  <a:lnTo>
                    <a:pt x="1087" y="444"/>
                  </a:lnTo>
                  <a:lnTo>
                    <a:pt x="1094" y="444"/>
                  </a:lnTo>
                  <a:lnTo>
                    <a:pt x="1102" y="441"/>
                  </a:lnTo>
                  <a:lnTo>
                    <a:pt x="1107" y="439"/>
                  </a:lnTo>
                  <a:lnTo>
                    <a:pt x="1114" y="439"/>
                  </a:lnTo>
                  <a:lnTo>
                    <a:pt x="1119" y="436"/>
                  </a:lnTo>
                  <a:lnTo>
                    <a:pt x="1124" y="434"/>
                  </a:lnTo>
                  <a:lnTo>
                    <a:pt x="1129" y="429"/>
                  </a:lnTo>
                  <a:lnTo>
                    <a:pt x="1132" y="426"/>
                  </a:lnTo>
                  <a:lnTo>
                    <a:pt x="1132" y="426"/>
                  </a:lnTo>
                  <a:lnTo>
                    <a:pt x="1134" y="429"/>
                  </a:lnTo>
                  <a:lnTo>
                    <a:pt x="1137" y="429"/>
                  </a:lnTo>
                  <a:lnTo>
                    <a:pt x="1137" y="429"/>
                  </a:lnTo>
                  <a:lnTo>
                    <a:pt x="1142" y="434"/>
                  </a:lnTo>
                  <a:lnTo>
                    <a:pt x="1145" y="434"/>
                  </a:lnTo>
                  <a:lnTo>
                    <a:pt x="1147" y="439"/>
                  </a:lnTo>
                  <a:lnTo>
                    <a:pt x="1152" y="441"/>
                  </a:lnTo>
                  <a:lnTo>
                    <a:pt x="1157" y="444"/>
                  </a:lnTo>
                  <a:lnTo>
                    <a:pt x="1160" y="449"/>
                  </a:lnTo>
                  <a:lnTo>
                    <a:pt x="1167" y="451"/>
                  </a:lnTo>
                  <a:lnTo>
                    <a:pt x="1157" y="471"/>
                  </a:lnTo>
                  <a:lnTo>
                    <a:pt x="1122" y="461"/>
                  </a:lnTo>
                  <a:lnTo>
                    <a:pt x="1069" y="461"/>
                  </a:lnTo>
                  <a:lnTo>
                    <a:pt x="1039" y="441"/>
                  </a:lnTo>
                  <a:lnTo>
                    <a:pt x="991" y="451"/>
                  </a:lnTo>
                  <a:lnTo>
                    <a:pt x="996" y="466"/>
                  </a:lnTo>
                  <a:lnTo>
                    <a:pt x="1001" y="497"/>
                  </a:lnTo>
                  <a:lnTo>
                    <a:pt x="986" y="492"/>
                  </a:lnTo>
                  <a:lnTo>
                    <a:pt x="958" y="461"/>
                  </a:lnTo>
                  <a:lnTo>
                    <a:pt x="903" y="471"/>
                  </a:lnTo>
                  <a:lnTo>
                    <a:pt x="875" y="451"/>
                  </a:lnTo>
                  <a:lnTo>
                    <a:pt x="885" y="431"/>
                  </a:lnTo>
                  <a:lnTo>
                    <a:pt x="850" y="421"/>
                  </a:lnTo>
                  <a:lnTo>
                    <a:pt x="807" y="398"/>
                  </a:lnTo>
                  <a:lnTo>
                    <a:pt x="749" y="383"/>
                  </a:lnTo>
                  <a:lnTo>
                    <a:pt x="713" y="393"/>
                  </a:lnTo>
                  <a:lnTo>
                    <a:pt x="676" y="353"/>
                  </a:lnTo>
                  <a:lnTo>
                    <a:pt x="577" y="398"/>
                  </a:lnTo>
                  <a:lnTo>
                    <a:pt x="550" y="426"/>
                  </a:lnTo>
                  <a:lnTo>
                    <a:pt x="509" y="416"/>
                  </a:lnTo>
                  <a:lnTo>
                    <a:pt x="482" y="388"/>
                  </a:lnTo>
                  <a:lnTo>
                    <a:pt x="451" y="378"/>
                  </a:lnTo>
                  <a:lnTo>
                    <a:pt x="451" y="378"/>
                  </a:lnTo>
                  <a:lnTo>
                    <a:pt x="439" y="378"/>
                  </a:lnTo>
                  <a:lnTo>
                    <a:pt x="424" y="363"/>
                  </a:lnTo>
                  <a:lnTo>
                    <a:pt x="376" y="368"/>
                  </a:lnTo>
                  <a:lnTo>
                    <a:pt x="308" y="338"/>
                  </a:lnTo>
                  <a:lnTo>
                    <a:pt x="277" y="343"/>
                  </a:lnTo>
                  <a:lnTo>
                    <a:pt x="252" y="328"/>
                  </a:lnTo>
                  <a:lnTo>
                    <a:pt x="245" y="310"/>
                  </a:lnTo>
                  <a:lnTo>
                    <a:pt x="199" y="295"/>
                  </a:lnTo>
                  <a:lnTo>
                    <a:pt x="171" y="315"/>
                  </a:lnTo>
                  <a:lnTo>
                    <a:pt x="131" y="333"/>
                  </a:lnTo>
                  <a:lnTo>
                    <a:pt x="98" y="353"/>
                  </a:lnTo>
                  <a:lnTo>
                    <a:pt x="78" y="403"/>
                  </a:lnTo>
                  <a:lnTo>
                    <a:pt x="35" y="413"/>
                  </a:lnTo>
                  <a:lnTo>
                    <a:pt x="35" y="446"/>
                  </a:lnTo>
                  <a:lnTo>
                    <a:pt x="68" y="487"/>
                  </a:lnTo>
                  <a:lnTo>
                    <a:pt x="98" y="502"/>
                  </a:lnTo>
                  <a:lnTo>
                    <a:pt x="98" y="522"/>
                  </a:lnTo>
                  <a:lnTo>
                    <a:pt x="78" y="532"/>
                  </a:lnTo>
                  <a:lnTo>
                    <a:pt x="50" y="522"/>
                  </a:lnTo>
                  <a:lnTo>
                    <a:pt x="0" y="560"/>
                  </a:lnTo>
                  <a:lnTo>
                    <a:pt x="15" y="575"/>
                  </a:lnTo>
                  <a:lnTo>
                    <a:pt x="35" y="595"/>
                  </a:lnTo>
                  <a:lnTo>
                    <a:pt x="83" y="595"/>
                  </a:lnTo>
                  <a:lnTo>
                    <a:pt x="118" y="600"/>
                  </a:lnTo>
                  <a:lnTo>
                    <a:pt x="103" y="635"/>
                  </a:lnTo>
                  <a:lnTo>
                    <a:pt x="63" y="653"/>
                  </a:lnTo>
                  <a:lnTo>
                    <a:pt x="30" y="673"/>
                  </a:lnTo>
                  <a:lnTo>
                    <a:pt x="25" y="698"/>
                  </a:lnTo>
                  <a:lnTo>
                    <a:pt x="63" y="724"/>
                  </a:lnTo>
                  <a:lnTo>
                    <a:pt x="68" y="751"/>
                  </a:lnTo>
                  <a:lnTo>
                    <a:pt x="93" y="761"/>
                  </a:lnTo>
                  <a:lnTo>
                    <a:pt x="98" y="797"/>
                  </a:lnTo>
                  <a:lnTo>
                    <a:pt x="136" y="792"/>
                  </a:lnTo>
                  <a:lnTo>
                    <a:pt x="182" y="792"/>
                  </a:lnTo>
                  <a:lnTo>
                    <a:pt x="156" y="840"/>
                  </a:lnTo>
                  <a:lnTo>
                    <a:pt x="78" y="905"/>
                  </a:lnTo>
                  <a:lnTo>
                    <a:pt x="166" y="860"/>
                  </a:lnTo>
                  <a:lnTo>
                    <a:pt x="234" y="787"/>
                  </a:lnTo>
                  <a:lnTo>
                    <a:pt x="229" y="772"/>
                  </a:lnTo>
                  <a:lnTo>
                    <a:pt x="272" y="719"/>
                  </a:lnTo>
                  <a:lnTo>
                    <a:pt x="282" y="741"/>
                  </a:lnTo>
                  <a:lnTo>
                    <a:pt x="287" y="766"/>
                  </a:lnTo>
                  <a:lnTo>
                    <a:pt x="320" y="741"/>
                  </a:lnTo>
                  <a:lnTo>
                    <a:pt x="355" y="719"/>
                  </a:lnTo>
                  <a:lnTo>
                    <a:pt x="371" y="731"/>
                  </a:lnTo>
                  <a:lnTo>
                    <a:pt x="451" y="746"/>
                  </a:lnTo>
                  <a:lnTo>
                    <a:pt x="451" y="746"/>
                  </a:lnTo>
                  <a:lnTo>
                    <a:pt x="504" y="772"/>
                  </a:lnTo>
                  <a:lnTo>
                    <a:pt x="545" y="751"/>
                  </a:lnTo>
                  <a:lnTo>
                    <a:pt x="603" y="855"/>
                  </a:lnTo>
                  <a:lnTo>
                    <a:pt x="640" y="880"/>
                  </a:lnTo>
                  <a:lnTo>
                    <a:pt x="635" y="920"/>
                  </a:lnTo>
                  <a:lnTo>
                    <a:pt x="650" y="953"/>
                  </a:lnTo>
                  <a:lnTo>
                    <a:pt x="691" y="1009"/>
                  </a:lnTo>
                  <a:lnTo>
                    <a:pt x="749" y="1046"/>
                  </a:lnTo>
                  <a:lnTo>
                    <a:pt x="754" y="1072"/>
                  </a:lnTo>
                  <a:lnTo>
                    <a:pt x="754" y="1072"/>
                  </a:lnTo>
                  <a:lnTo>
                    <a:pt x="759" y="1102"/>
                  </a:lnTo>
                  <a:lnTo>
                    <a:pt x="744" y="1112"/>
                  </a:lnTo>
                  <a:lnTo>
                    <a:pt x="749" y="1092"/>
                  </a:lnTo>
                  <a:lnTo>
                    <a:pt x="719" y="1082"/>
                  </a:lnTo>
                  <a:lnTo>
                    <a:pt x="734" y="1137"/>
                  </a:lnTo>
                  <a:lnTo>
                    <a:pt x="729" y="1180"/>
                  </a:lnTo>
                  <a:lnTo>
                    <a:pt x="719" y="1220"/>
                  </a:lnTo>
                  <a:lnTo>
                    <a:pt x="729" y="1253"/>
                  </a:lnTo>
                  <a:lnTo>
                    <a:pt x="729" y="1273"/>
                  </a:lnTo>
                  <a:lnTo>
                    <a:pt x="754" y="1324"/>
                  </a:lnTo>
                  <a:lnTo>
                    <a:pt x="774" y="1359"/>
                  </a:lnTo>
                  <a:lnTo>
                    <a:pt x="792" y="1387"/>
                  </a:lnTo>
                  <a:lnTo>
                    <a:pt x="837" y="1417"/>
                  </a:lnTo>
                  <a:lnTo>
                    <a:pt x="842" y="1427"/>
                  </a:lnTo>
                  <a:lnTo>
                    <a:pt x="845" y="1427"/>
                  </a:lnTo>
                  <a:lnTo>
                    <a:pt x="875" y="1483"/>
                  </a:lnTo>
                  <a:lnTo>
                    <a:pt x="895" y="1515"/>
                  </a:lnTo>
                  <a:lnTo>
                    <a:pt x="890" y="1525"/>
                  </a:lnTo>
                  <a:lnTo>
                    <a:pt x="928" y="1551"/>
                  </a:lnTo>
                  <a:lnTo>
                    <a:pt x="933" y="1576"/>
                  </a:lnTo>
                  <a:lnTo>
                    <a:pt x="948" y="1586"/>
                  </a:lnTo>
                  <a:lnTo>
                    <a:pt x="968" y="1606"/>
                  </a:lnTo>
                  <a:lnTo>
                    <a:pt x="976" y="1591"/>
                  </a:lnTo>
                  <a:lnTo>
                    <a:pt x="953" y="1576"/>
                  </a:lnTo>
                  <a:lnTo>
                    <a:pt x="933" y="1530"/>
                  </a:lnTo>
                  <a:lnTo>
                    <a:pt x="895" y="1477"/>
                  </a:lnTo>
                  <a:lnTo>
                    <a:pt x="885" y="1447"/>
                  </a:lnTo>
                  <a:lnTo>
                    <a:pt x="913" y="1457"/>
                  </a:lnTo>
                  <a:lnTo>
                    <a:pt x="938" y="1510"/>
                  </a:lnTo>
                  <a:lnTo>
                    <a:pt x="948" y="1525"/>
                  </a:lnTo>
                  <a:lnTo>
                    <a:pt x="976" y="1541"/>
                  </a:lnTo>
                  <a:lnTo>
                    <a:pt x="976" y="1556"/>
                  </a:lnTo>
                  <a:lnTo>
                    <a:pt x="996" y="1566"/>
                  </a:lnTo>
                  <a:lnTo>
                    <a:pt x="1006" y="1581"/>
                  </a:lnTo>
                  <a:lnTo>
                    <a:pt x="1031" y="1606"/>
                  </a:lnTo>
                  <a:lnTo>
                    <a:pt x="1036" y="1644"/>
                  </a:lnTo>
                  <a:lnTo>
                    <a:pt x="1036" y="1659"/>
                  </a:lnTo>
                  <a:lnTo>
                    <a:pt x="1104" y="1699"/>
                  </a:lnTo>
                  <a:lnTo>
                    <a:pt x="1137" y="1717"/>
                  </a:lnTo>
                  <a:lnTo>
                    <a:pt x="1195" y="1732"/>
                  </a:lnTo>
                  <a:lnTo>
                    <a:pt x="1210" y="1727"/>
                  </a:lnTo>
                  <a:lnTo>
                    <a:pt x="1225" y="1727"/>
                  </a:lnTo>
                  <a:lnTo>
                    <a:pt x="1250" y="1747"/>
                  </a:lnTo>
                  <a:lnTo>
                    <a:pt x="1250" y="1747"/>
                  </a:lnTo>
                  <a:lnTo>
                    <a:pt x="1250" y="1747"/>
                  </a:lnTo>
                  <a:lnTo>
                    <a:pt x="1250" y="1747"/>
                  </a:lnTo>
                  <a:lnTo>
                    <a:pt x="1256" y="1755"/>
                  </a:lnTo>
                  <a:lnTo>
                    <a:pt x="1256" y="1755"/>
                  </a:lnTo>
                  <a:lnTo>
                    <a:pt x="1288" y="1760"/>
                  </a:lnTo>
                  <a:lnTo>
                    <a:pt x="1288" y="1760"/>
                  </a:lnTo>
                  <a:lnTo>
                    <a:pt x="1303" y="1755"/>
                  </a:lnTo>
                  <a:lnTo>
                    <a:pt x="1303" y="1755"/>
                  </a:lnTo>
                  <a:lnTo>
                    <a:pt x="1303" y="1752"/>
                  </a:lnTo>
                  <a:lnTo>
                    <a:pt x="1303" y="1752"/>
                  </a:lnTo>
                  <a:lnTo>
                    <a:pt x="1331" y="1767"/>
                  </a:lnTo>
                  <a:lnTo>
                    <a:pt x="1331" y="1767"/>
                  </a:lnTo>
                  <a:lnTo>
                    <a:pt x="1361" y="1755"/>
                  </a:lnTo>
                  <a:lnTo>
                    <a:pt x="1361" y="1755"/>
                  </a:lnTo>
                  <a:lnTo>
                    <a:pt x="1329" y="1767"/>
                  </a:lnTo>
                  <a:lnTo>
                    <a:pt x="1329" y="1767"/>
                  </a:lnTo>
                  <a:lnTo>
                    <a:pt x="1356" y="1810"/>
                  </a:lnTo>
                  <a:lnTo>
                    <a:pt x="1356" y="1810"/>
                  </a:lnTo>
                  <a:lnTo>
                    <a:pt x="1356" y="1810"/>
                  </a:lnTo>
                  <a:lnTo>
                    <a:pt x="1356" y="1810"/>
                  </a:lnTo>
                  <a:lnTo>
                    <a:pt x="1366" y="1820"/>
                  </a:lnTo>
                  <a:lnTo>
                    <a:pt x="1366" y="1820"/>
                  </a:lnTo>
                  <a:lnTo>
                    <a:pt x="1414" y="1851"/>
                  </a:lnTo>
                  <a:lnTo>
                    <a:pt x="1414" y="1851"/>
                  </a:lnTo>
                  <a:lnTo>
                    <a:pt x="1419" y="1830"/>
                  </a:lnTo>
                  <a:lnTo>
                    <a:pt x="1419" y="1830"/>
                  </a:lnTo>
                  <a:lnTo>
                    <a:pt x="1404" y="1810"/>
                  </a:lnTo>
                  <a:lnTo>
                    <a:pt x="1404" y="1810"/>
                  </a:lnTo>
                  <a:close/>
                  <a:moveTo>
                    <a:pt x="1268" y="1722"/>
                  </a:moveTo>
                  <a:lnTo>
                    <a:pt x="1268" y="1722"/>
                  </a:lnTo>
                  <a:lnTo>
                    <a:pt x="1281" y="1722"/>
                  </a:lnTo>
                  <a:lnTo>
                    <a:pt x="1281" y="1722"/>
                  </a:lnTo>
                  <a:lnTo>
                    <a:pt x="1283" y="1722"/>
                  </a:lnTo>
                  <a:lnTo>
                    <a:pt x="1283" y="1722"/>
                  </a:lnTo>
                  <a:lnTo>
                    <a:pt x="1268" y="1722"/>
                  </a:lnTo>
                  <a:lnTo>
                    <a:pt x="1268" y="1722"/>
                  </a:lnTo>
                  <a:close/>
                  <a:moveTo>
                    <a:pt x="1593" y="1692"/>
                  </a:moveTo>
                  <a:lnTo>
                    <a:pt x="1614" y="1692"/>
                  </a:lnTo>
                  <a:lnTo>
                    <a:pt x="1629" y="1679"/>
                  </a:lnTo>
                  <a:lnTo>
                    <a:pt x="1671" y="1687"/>
                  </a:lnTo>
                  <a:lnTo>
                    <a:pt x="1651" y="1674"/>
                  </a:lnTo>
                  <a:lnTo>
                    <a:pt x="1619" y="1659"/>
                  </a:lnTo>
                  <a:lnTo>
                    <a:pt x="1578" y="1659"/>
                  </a:lnTo>
                  <a:lnTo>
                    <a:pt x="1578" y="1669"/>
                  </a:lnTo>
                  <a:lnTo>
                    <a:pt x="1556" y="1674"/>
                  </a:lnTo>
                  <a:lnTo>
                    <a:pt x="1583" y="1687"/>
                  </a:lnTo>
                  <a:lnTo>
                    <a:pt x="1593" y="1692"/>
                  </a:lnTo>
                  <a:close/>
                  <a:moveTo>
                    <a:pt x="1520" y="1634"/>
                  </a:moveTo>
                  <a:lnTo>
                    <a:pt x="1520" y="1634"/>
                  </a:lnTo>
                  <a:lnTo>
                    <a:pt x="1513" y="1624"/>
                  </a:lnTo>
                  <a:lnTo>
                    <a:pt x="1510" y="1619"/>
                  </a:lnTo>
                  <a:lnTo>
                    <a:pt x="1510" y="1619"/>
                  </a:lnTo>
                  <a:lnTo>
                    <a:pt x="1472" y="1604"/>
                  </a:lnTo>
                  <a:lnTo>
                    <a:pt x="1472" y="1604"/>
                  </a:lnTo>
                  <a:lnTo>
                    <a:pt x="1414" y="1604"/>
                  </a:lnTo>
                  <a:lnTo>
                    <a:pt x="1414" y="1604"/>
                  </a:lnTo>
                  <a:lnTo>
                    <a:pt x="1382" y="1609"/>
                  </a:lnTo>
                  <a:lnTo>
                    <a:pt x="1371" y="1619"/>
                  </a:lnTo>
                  <a:lnTo>
                    <a:pt x="1371" y="1619"/>
                  </a:lnTo>
                  <a:lnTo>
                    <a:pt x="1397" y="1624"/>
                  </a:lnTo>
                  <a:lnTo>
                    <a:pt x="1397" y="1624"/>
                  </a:lnTo>
                  <a:lnTo>
                    <a:pt x="1419" y="1624"/>
                  </a:lnTo>
                  <a:lnTo>
                    <a:pt x="1419" y="1624"/>
                  </a:lnTo>
                  <a:lnTo>
                    <a:pt x="1450" y="1624"/>
                  </a:lnTo>
                  <a:lnTo>
                    <a:pt x="1450" y="1624"/>
                  </a:lnTo>
                  <a:lnTo>
                    <a:pt x="1482" y="1629"/>
                  </a:lnTo>
                  <a:lnTo>
                    <a:pt x="1482" y="1629"/>
                  </a:lnTo>
                  <a:lnTo>
                    <a:pt x="1492" y="1644"/>
                  </a:lnTo>
                  <a:lnTo>
                    <a:pt x="1492" y="1644"/>
                  </a:lnTo>
                  <a:lnTo>
                    <a:pt x="1503" y="1654"/>
                  </a:lnTo>
                  <a:lnTo>
                    <a:pt x="1503" y="1654"/>
                  </a:lnTo>
                  <a:lnTo>
                    <a:pt x="1545" y="1654"/>
                  </a:lnTo>
                  <a:lnTo>
                    <a:pt x="1545" y="1654"/>
                  </a:lnTo>
                  <a:lnTo>
                    <a:pt x="1553" y="1654"/>
                  </a:lnTo>
                  <a:lnTo>
                    <a:pt x="1556" y="1651"/>
                  </a:lnTo>
                  <a:lnTo>
                    <a:pt x="1556" y="1649"/>
                  </a:lnTo>
                  <a:lnTo>
                    <a:pt x="1556" y="1649"/>
                  </a:lnTo>
                  <a:lnTo>
                    <a:pt x="1545" y="1639"/>
                  </a:lnTo>
                  <a:lnTo>
                    <a:pt x="1545" y="1639"/>
                  </a:lnTo>
                  <a:lnTo>
                    <a:pt x="1538" y="1639"/>
                  </a:lnTo>
                  <a:lnTo>
                    <a:pt x="1528" y="1636"/>
                  </a:lnTo>
                  <a:lnTo>
                    <a:pt x="1520" y="1634"/>
                  </a:lnTo>
                  <a:lnTo>
                    <a:pt x="1520" y="1634"/>
                  </a:lnTo>
                  <a:close/>
                  <a:moveTo>
                    <a:pt x="1704" y="1717"/>
                  </a:moveTo>
                  <a:lnTo>
                    <a:pt x="1729" y="1722"/>
                  </a:lnTo>
                  <a:lnTo>
                    <a:pt x="1729" y="1709"/>
                  </a:lnTo>
                  <a:lnTo>
                    <a:pt x="1707" y="1709"/>
                  </a:lnTo>
                  <a:lnTo>
                    <a:pt x="1704" y="1717"/>
                  </a:lnTo>
                  <a:close/>
                  <a:moveTo>
                    <a:pt x="1452" y="1861"/>
                  </a:moveTo>
                  <a:lnTo>
                    <a:pt x="1452" y="1861"/>
                  </a:lnTo>
                  <a:lnTo>
                    <a:pt x="1467" y="1846"/>
                  </a:lnTo>
                  <a:lnTo>
                    <a:pt x="1467" y="1846"/>
                  </a:lnTo>
                  <a:lnTo>
                    <a:pt x="1487" y="1851"/>
                  </a:lnTo>
                  <a:lnTo>
                    <a:pt x="1487" y="1851"/>
                  </a:lnTo>
                  <a:lnTo>
                    <a:pt x="1492" y="1866"/>
                  </a:lnTo>
                  <a:lnTo>
                    <a:pt x="1492" y="1866"/>
                  </a:lnTo>
                  <a:lnTo>
                    <a:pt x="1508" y="1851"/>
                  </a:lnTo>
                  <a:lnTo>
                    <a:pt x="1487" y="1836"/>
                  </a:lnTo>
                  <a:lnTo>
                    <a:pt x="1487" y="1836"/>
                  </a:lnTo>
                  <a:lnTo>
                    <a:pt x="1462" y="1836"/>
                  </a:lnTo>
                  <a:lnTo>
                    <a:pt x="1462" y="1836"/>
                  </a:lnTo>
                  <a:lnTo>
                    <a:pt x="1445" y="1838"/>
                  </a:lnTo>
                  <a:lnTo>
                    <a:pt x="1432" y="1838"/>
                  </a:lnTo>
                  <a:lnTo>
                    <a:pt x="1424" y="1836"/>
                  </a:lnTo>
                  <a:lnTo>
                    <a:pt x="1424" y="1836"/>
                  </a:lnTo>
                  <a:lnTo>
                    <a:pt x="1419" y="1836"/>
                  </a:lnTo>
                  <a:lnTo>
                    <a:pt x="1419" y="1830"/>
                  </a:lnTo>
                  <a:lnTo>
                    <a:pt x="1419" y="1830"/>
                  </a:lnTo>
                  <a:lnTo>
                    <a:pt x="1414" y="1851"/>
                  </a:lnTo>
                  <a:lnTo>
                    <a:pt x="1414" y="1851"/>
                  </a:lnTo>
                  <a:lnTo>
                    <a:pt x="1435" y="1871"/>
                  </a:lnTo>
                  <a:lnTo>
                    <a:pt x="1435" y="1871"/>
                  </a:lnTo>
                  <a:lnTo>
                    <a:pt x="1445" y="1871"/>
                  </a:lnTo>
                  <a:lnTo>
                    <a:pt x="1445" y="1871"/>
                  </a:lnTo>
                  <a:lnTo>
                    <a:pt x="1452" y="1861"/>
                  </a:lnTo>
                  <a:lnTo>
                    <a:pt x="1452" y="1861"/>
                  </a:lnTo>
                  <a:close/>
                  <a:moveTo>
                    <a:pt x="2201" y="2073"/>
                  </a:moveTo>
                  <a:lnTo>
                    <a:pt x="2201" y="2073"/>
                  </a:lnTo>
                  <a:lnTo>
                    <a:pt x="2168" y="2062"/>
                  </a:lnTo>
                  <a:lnTo>
                    <a:pt x="2168" y="2062"/>
                  </a:lnTo>
                  <a:lnTo>
                    <a:pt x="2123" y="2037"/>
                  </a:lnTo>
                  <a:lnTo>
                    <a:pt x="2123" y="2037"/>
                  </a:lnTo>
                  <a:lnTo>
                    <a:pt x="2070" y="2032"/>
                  </a:lnTo>
                  <a:lnTo>
                    <a:pt x="2070" y="2032"/>
                  </a:lnTo>
                  <a:lnTo>
                    <a:pt x="2055" y="2027"/>
                  </a:lnTo>
                  <a:lnTo>
                    <a:pt x="2055" y="2027"/>
                  </a:lnTo>
                  <a:lnTo>
                    <a:pt x="2042" y="2012"/>
                  </a:lnTo>
                  <a:lnTo>
                    <a:pt x="2042" y="2012"/>
                  </a:lnTo>
                  <a:lnTo>
                    <a:pt x="2002" y="1997"/>
                  </a:lnTo>
                  <a:lnTo>
                    <a:pt x="2002" y="1997"/>
                  </a:lnTo>
                  <a:lnTo>
                    <a:pt x="1964" y="1974"/>
                  </a:lnTo>
                  <a:lnTo>
                    <a:pt x="1964" y="1974"/>
                  </a:lnTo>
                  <a:lnTo>
                    <a:pt x="1959" y="1954"/>
                  </a:lnTo>
                  <a:lnTo>
                    <a:pt x="1959" y="1954"/>
                  </a:lnTo>
                  <a:lnTo>
                    <a:pt x="1944" y="1914"/>
                  </a:lnTo>
                  <a:lnTo>
                    <a:pt x="1944" y="1914"/>
                  </a:lnTo>
                  <a:lnTo>
                    <a:pt x="1939" y="1914"/>
                  </a:lnTo>
                  <a:lnTo>
                    <a:pt x="1939" y="1914"/>
                  </a:lnTo>
                  <a:lnTo>
                    <a:pt x="1939" y="1914"/>
                  </a:lnTo>
                  <a:lnTo>
                    <a:pt x="1903" y="1893"/>
                  </a:lnTo>
                  <a:lnTo>
                    <a:pt x="1891" y="1893"/>
                  </a:lnTo>
                  <a:lnTo>
                    <a:pt x="1891" y="1896"/>
                  </a:lnTo>
                  <a:lnTo>
                    <a:pt x="1891" y="1896"/>
                  </a:lnTo>
                  <a:lnTo>
                    <a:pt x="1891" y="1893"/>
                  </a:lnTo>
                  <a:lnTo>
                    <a:pt x="1848" y="1888"/>
                  </a:lnTo>
                  <a:lnTo>
                    <a:pt x="1848" y="1883"/>
                  </a:lnTo>
                  <a:lnTo>
                    <a:pt x="1848" y="1888"/>
                  </a:lnTo>
                  <a:lnTo>
                    <a:pt x="1848" y="1888"/>
                  </a:lnTo>
                  <a:lnTo>
                    <a:pt x="1848" y="1881"/>
                  </a:lnTo>
                  <a:lnTo>
                    <a:pt x="1828" y="1876"/>
                  </a:lnTo>
                  <a:lnTo>
                    <a:pt x="1823" y="1861"/>
                  </a:lnTo>
                  <a:lnTo>
                    <a:pt x="1803" y="1846"/>
                  </a:lnTo>
                  <a:lnTo>
                    <a:pt x="1803" y="1846"/>
                  </a:lnTo>
                  <a:lnTo>
                    <a:pt x="1803" y="1846"/>
                  </a:lnTo>
                  <a:lnTo>
                    <a:pt x="1803" y="1846"/>
                  </a:lnTo>
                  <a:lnTo>
                    <a:pt x="1798" y="1846"/>
                  </a:lnTo>
                  <a:lnTo>
                    <a:pt x="1798" y="1846"/>
                  </a:lnTo>
                  <a:lnTo>
                    <a:pt x="1782" y="1841"/>
                  </a:lnTo>
                  <a:lnTo>
                    <a:pt x="1782" y="1841"/>
                  </a:lnTo>
                  <a:lnTo>
                    <a:pt x="1777" y="1830"/>
                  </a:lnTo>
                  <a:lnTo>
                    <a:pt x="1777" y="1830"/>
                  </a:lnTo>
                  <a:lnTo>
                    <a:pt x="1745" y="1815"/>
                  </a:lnTo>
                  <a:lnTo>
                    <a:pt x="1745" y="1815"/>
                  </a:lnTo>
                  <a:lnTo>
                    <a:pt x="1694" y="1820"/>
                  </a:lnTo>
                  <a:lnTo>
                    <a:pt x="1694" y="1820"/>
                  </a:lnTo>
                  <a:lnTo>
                    <a:pt x="1666" y="1815"/>
                  </a:lnTo>
                  <a:lnTo>
                    <a:pt x="1666" y="1815"/>
                  </a:lnTo>
                  <a:lnTo>
                    <a:pt x="1661" y="1805"/>
                  </a:lnTo>
                  <a:lnTo>
                    <a:pt x="1661" y="1805"/>
                  </a:lnTo>
                  <a:lnTo>
                    <a:pt x="1636" y="1800"/>
                  </a:lnTo>
                  <a:lnTo>
                    <a:pt x="1636" y="1800"/>
                  </a:lnTo>
                  <a:lnTo>
                    <a:pt x="1608" y="1805"/>
                  </a:lnTo>
                  <a:lnTo>
                    <a:pt x="1608" y="1805"/>
                  </a:lnTo>
                  <a:lnTo>
                    <a:pt x="1606" y="1803"/>
                  </a:lnTo>
                  <a:lnTo>
                    <a:pt x="1606" y="1798"/>
                  </a:lnTo>
                  <a:lnTo>
                    <a:pt x="1603" y="1790"/>
                  </a:lnTo>
                  <a:lnTo>
                    <a:pt x="1603" y="1790"/>
                  </a:lnTo>
                  <a:lnTo>
                    <a:pt x="1591" y="1795"/>
                  </a:lnTo>
                  <a:lnTo>
                    <a:pt x="1591" y="1795"/>
                  </a:lnTo>
                  <a:lnTo>
                    <a:pt x="1591" y="1795"/>
                  </a:lnTo>
                  <a:lnTo>
                    <a:pt x="1603" y="1790"/>
                  </a:lnTo>
                  <a:lnTo>
                    <a:pt x="1603" y="1790"/>
                  </a:lnTo>
                  <a:lnTo>
                    <a:pt x="1603" y="1785"/>
                  </a:lnTo>
                  <a:lnTo>
                    <a:pt x="1603" y="1785"/>
                  </a:lnTo>
                  <a:lnTo>
                    <a:pt x="1566" y="1795"/>
                  </a:lnTo>
                  <a:lnTo>
                    <a:pt x="1566" y="1795"/>
                  </a:lnTo>
                  <a:lnTo>
                    <a:pt x="1545" y="1805"/>
                  </a:lnTo>
                  <a:lnTo>
                    <a:pt x="1545" y="1805"/>
                  </a:lnTo>
                  <a:lnTo>
                    <a:pt x="1535" y="1830"/>
                  </a:lnTo>
                  <a:lnTo>
                    <a:pt x="1535" y="1830"/>
                  </a:lnTo>
                  <a:lnTo>
                    <a:pt x="1525" y="1836"/>
                  </a:lnTo>
                  <a:lnTo>
                    <a:pt x="1525" y="1836"/>
                  </a:lnTo>
                  <a:lnTo>
                    <a:pt x="1508" y="1851"/>
                  </a:lnTo>
                  <a:lnTo>
                    <a:pt x="1508" y="1851"/>
                  </a:lnTo>
                  <a:lnTo>
                    <a:pt x="1492" y="1866"/>
                  </a:lnTo>
                  <a:lnTo>
                    <a:pt x="1492" y="1866"/>
                  </a:lnTo>
                  <a:lnTo>
                    <a:pt x="1498" y="1878"/>
                  </a:lnTo>
                  <a:lnTo>
                    <a:pt x="1498" y="1878"/>
                  </a:lnTo>
                  <a:lnTo>
                    <a:pt x="1503" y="1904"/>
                  </a:lnTo>
                  <a:lnTo>
                    <a:pt x="1503" y="1904"/>
                  </a:lnTo>
                  <a:lnTo>
                    <a:pt x="1503" y="1919"/>
                  </a:lnTo>
                  <a:lnTo>
                    <a:pt x="1503" y="1919"/>
                  </a:lnTo>
                  <a:lnTo>
                    <a:pt x="1508" y="1939"/>
                  </a:lnTo>
                  <a:lnTo>
                    <a:pt x="1508" y="1939"/>
                  </a:lnTo>
                  <a:lnTo>
                    <a:pt x="1487" y="1954"/>
                  </a:lnTo>
                  <a:lnTo>
                    <a:pt x="1487" y="1954"/>
                  </a:lnTo>
                  <a:lnTo>
                    <a:pt x="1477" y="1964"/>
                  </a:lnTo>
                  <a:lnTo>
                    <a:pt x="1477" y="1964"/>
                  </a:lnTo>
                  <a:lnTo>
                    <a:pt x="1472" y="1974"/>
                  </a:lnTo>
                  <a:lnTo>
                    <a:pt x="1450" y="2022"/>
                  </a:lnTo>
                  <a:lnTo>
                    <a:pt x="1462" y="2042"/>
                  </a:lnTo>
                  <a:lnTo>
                    <a:pt x="1450" y="2047"/>
                  </a:lnTo>
                  <a:lnTo>
                    <a:pt x="1452" y="2047"/>
                  </a:lnTo>
                  <a:lnTo>
                    <a:pt x="1435" y="2057"/>
                  </a:lnTo>
                  <a:lnTo>
                    <a:pt x="1452" y="2093"/>
                  </a:lnTo>
                  <a:lnTo>
                    <a:pt x="1482" y="2146"/>
                  </a:lnTo>
                  <a:lnTo>
                    <a:pt x="1515" y="2211"/>
                  </a:lnTo>
                  <a:lnTo>
                    <a:pt x="1515" y="2221"/>
                  </a:lnTo>
                  <a:lnTo>
                    <a:pt x="1626" y="2284"/>
                  </a:lnTo>
                  <a:lnTo>
                    <a:pt x="1631" y="2284"/>
                  </a:lnTo>
                  <a:lnTo>
                    <a:pt x="1631" y="2282"/>
                  </a:lnTo>
                  <a:lnTo>
                    <a:pt x="1631" y="2282"/>
                  </a:lnTo>
                  <a:lnTo>
                    <a:pt x="1634" y="2279"/>
                  </a:lnTo>
                  <a:lnTo>
                    <a:pt x="1634" y="2279"/>
                  </a:lnTo>
                  <a:lnTo>
                    <a:pt x="1649" y="2294"/>
                  </a:lnTo>
                  <a:lnTo>
                    <a:pt x="1649" y="2297"/>
                  </a:lnTo>
                  <a:lnTo>
                    <a:pt x="1649" y="2297"/>
                  </a:lnTo>
                  <a:lnTo>
                    <a:pt x="1644" y="2315"/>
                  </a:lnTo>
                  <a:lnTo>
                    <a:pt x="1644" y="2315"/>
                  </a:lnTo>
                  <a:lnTo>
                    <a:pt x="1666" y="2352"/>
                  </a:lnTo>
                  <a:lnTo>
                    <a:pt x="1666" y="2352"/>
                  </a:lnTo>
                  <a:lnTo>
                    <a:pt x="1671" y="2362"/>
                  </a:lnTo>
                  <a:lnTo>
                    <a:pt x="1671" y="2362"/>
                  </a:lnTo>
                  <a:lnTo>
                    <a:pt x="1677" y="2357"/>
                  </a:lnTo>
                  <a:lnTo>
                    <a:pt x="1677" y="2360"/>
                  </a:lnTo>
                  <a:lnTo>
                    <a:pt x="1677" y="2360"/>
                  </a:lnTo>
                  <a:lnTo>
                    <a:pt x="1671" y="2362"/>
                  </a:lnTo>
                  <a:lnTo>
                    <a:pt x="1671" y="2362"/>
                  </a:lnTo>
                  <a:lnTo>
                    <a:pt x="1677" y="2368"/>
                  </a:lnTo>
                  <a:lnTo>
                    <a:pt x="1677" y="2368"/>
                  </a:lnTo>
                  <a:lnTo>
                    <a:pt x="1671" y="2388"/>
                  </a:lnTo>
                  <a:lnTo>
                    <a:pt x="1671" y="2388"/>
                  </a:lnTo>
                  <a:lnTo>
                    <a:pt x="1656" y="2405"/>
                  </a:lnTo>
                  <a:lnTo>
                    <a:pt x="1656" y="2405"/>
                  </a:lnTo>
                  <a:lnTo>
                    <a:pt x="1656" y="2436"/>
                  </a:lnTo>
                  <a:lnTo>
                    <a:pt x="1656" y="2436"/>
                  </a:lnTo>
                  <a:lnTo>
                    <a:pt x="1646" y="2456"/>
                  </a:lnTo>
                  <a:lnTo>
                    <a:pt x="1646" y="2456"/>
                  </a:lnTo>
                  <a:lnTo>
                    <a:pt x="1629" y="2524"/>
                  </a:lnTo>
                  <a:lnTo>
                    <a:pt x="1629" y="2524"/>
                  </a:lnTo>
                  <a:lnTo>
                    <a:pt x="1634" y="2574"/>
                  </a:lnTo>
                  <a:lnTo>
                    <a:pt x="1634" y="2574"/>
                  </a:lnTo>
                  <a:lnTo>
                    <a:pt x="1603" y="2642"/>
                  </a:lnTo>
                  <a:lnTo>
                    <a:pt x="1603" y="2642"/>
                  </a:lnTo>
                  <a:lnTo>
                    <a:pt x="1598" y="2713"/>
                  </a:lnTo>
                  <a:lnTo>
                    <a:pt x="1598" y="2713"/>
                  </a:lnTo>
                  <a:lnTo>
                    <a:pt x="1598" y="2751"/>
                  </a:lnTo>
                  <a:lnTo>
                    <a:pt x="1598" y="2751"/>
                  </a:lnTo>
                  <a:lnTo>
                    <a:pt x="1593" y="2786"/>
                  </a:lnTo>
                  <a:lnTo>
                    <a:pt x="1593" y="2786"/>
                  </a:lnTo>
                  <a:lnTo>
                    <a:pt x="1603" y="2806"/>
                  </a:lnTo>
                  <a:lnTo>
                    <a:pt x="1603" y="2806"/>
                  </a:lnTo>
                  <a:lnTo>
                    <a:pt x="1588" y="2889"/>
                  </a:lnTo>
                  <a:lnTo>
                    <a:pt x="1588" y="2889"/>
                  </a:lnTo>
                  <a:lnTo>
                    <a:pt x="1571" y="2925"/>
                  </a:lnTo>
                  <a:lnTo>
                    <a:pt x="1571" y="2925"/>
                  </a:lnTo>
                  <a:lnTo>
                    <a:pt x="1578" y="2950"/>
                  </a:lnTo>
                  <a:lnTo>
                    <a:pt x="1578" y="2950"/>
                  </a:lnTo>
                  <a:lnTo>
                    <a:pt x="1593" y="2983"/>
                  </a:lnTo>
                  <a:lnTo>
                    <a:pt x="1593" y="2983"/>
                  </a:lnTo>
                  <a:lnTo>
                    <a:pt x="1677" y="3018"/>
                  </a:lnTo>
                  <a:lnTo>
                    <a:pt x="1677" y="3018"/>
                  </a:lnTo>
                  <a:lnTo>
                    <a:pt x="1656" y="2998"/>
                  </a:lnTo>
                  <a:lnTo>
                    <a:pt x="1656" y="2998"/>
                  </a:lnTo>
                  <a:lnTo>
                    <a:pt x="1654" y="2993"/>
                  </a:lnTo>
                  <a:lnTo>
                    <a:pt x="1679" y="3018"/>
                  </a:lnTo>
                  <a:lnTo>
                    <a:pt x="1651" y="2960"/>
                  </a:lnTo>
                  <a:lnTo>
                    <a:pt x="1671" y="2927"/>
                  </a:lnTo>
                  <a:lnTo>
                    <a:pt x="1694" y="2894"/>
                  </a:lnTo>
                  <a:lnTo>
                    <a:pt x="1702" y="2862"/>
                  </a:lnTo>
                  <a:lnTo>
                    <a:pt x="1689" y="2847"/>
                  </a:lnTo>
                  <a:lnTo>
                    <a:pt x="1687" y="2824"/>
                  </a:lnTo>
                  <a:lnTo>
                    <a:pt x="1722" y="2781"/>
                  </a:lnTo>
                  <a:lnTo>
                    <a:pt x="1740" y="2741"/>
                  </a:lnTo>
                  <a:lnTo>
                    <a:pt x="1727" y="2726"/>
                  </a:lnTo>
                  <a:lnTo>
                    <a:pt x="1752" y="2715"/>
                  </a:lnTo>
                  <a:lnTo>
                    <a:pt x="1780" y="2673"/>
                  </a:lnTo>
                  <a:lnTo>
                    <a:pt x="1828" y="2655"/>
                  </a:lnTo>
                  <a:lnTo>
                    <a:pt x="1848" y="2642"/>
                  </a:lnTo>
                  <a:lnTo>
                    <a:pt x="1856" y="2605"/>
                  </a:lnTo>
                  <a:lnTo>
                    <a:pt x="1840" y="2594"/>
                  </a:lnTo>
                  <a:lnTo>
                    <a:pt x="1840" y="2584"/>
                  </a:lnTo>
                  <a:lnTo>
                    <a:pt x="1850" y="2594"/>
                  </a:lnTo>
                  <a:lnTo>
                    <a:pt x="1876" y="2599"/>
                  </a:lnTo>
                  <a:lnTo>
                    <a:pt x="1901" y="2579"/>
                  </a:lnTo>
                  <a:lnTo>
                    <a:pt x="1906" y="2569"/>
                  </a:lnTo>
                  <a:lnTo>
                    <a:pt x="1903" y="2559"/>
                  </a:lnTo>
                  <a:lnTo>
                    <a:pt x="1903" y="2559"/>
                  </a:lnTo>
                  <a:lnTo>
                    <a:pt x="1903" y="2559"/>
                  </a:lnTo>
                  <a:lnTo>
                    <a:pt x="1906" y="2569"/>
                  </a:lnTo>
                  <a:lnTo>
                    <a:pt x="1906" y="2569"/>
                  </a:lnTo>
                  <a:lnTo>
                    <a:pt x="1914" y="2552"/>
                  </a:lnTo>
                  <a:lnTo>
                    <a:pt x="1914" y="2552"/>
                  </a:lnTo>
                  <a:lnTo>
                    <a:pt x="1934" y="2531"/>
                  </a:lnTo>
                  <a:lnTo>
                    <a:pt x="1934" y="2531"/>
                  </a:lnTo>
                  <a:lnTo>
                    <a:pt x="1959" y="2506"/>
                  </a:lnTo>
                  <a:lnTo>
                    <a:pt x="1959" y="2506"/>
                  </a:lnTo>
                  <a:lnTo>
                    <a:pt x="1982" y="2438"/>
                  </a:lnTo>
                  <a:lnTo>
                    <a:pt x="1982" y="2438"/>
                  </a:lnTo>
                  <a:lnTo>
                    <a:pt x="1997" y="2408"/>
                  </a:lnTo>
                  <a:lnTo>
                    <a:pt x="1997" y="2408"/>
                  </a:lnTo>
                  <a:lnTo>
                    <a:pt x="2055" y="2373"/>
                  </a:lnTo>
                  <a:lnTo>
                    <a:pt x="2055" y="2373"/>
                  </a:lnTo>
                  <a:lnTo>
                    <a:pt x="2090" y="2368"/>
                  </a:lnTo>
                  <a:lnTo>
                    <a:pt x="2090" y="2368"/>
                  </a:lnTo>
                  <a:lnTo>
                    <a:pt x="2100" y="2362"/>
                  </a:lnTo>
                  <a:lnTo>
                    <a:pt x="2100" y="2362"/>
                  </a:lnTo>
                  <a:lnTo>
                    <a:pt x="2110" y="2342"/>
                  </a:lnTo>
                  <a:lnTo>
                    <a:pt x="2110" y="2342"/>
                  </a:lnTo>
                  <a:lnTo>
                    <a:pt x="2118" y="2320"/>
                  </a:lnTo>
                  <a:lnTo>
                    <a:pt x="2118" y="2320"/>
                  </a:lnTo>
                  <a:lnTo>
                    <a:pt x="2133" y="2294"/>
                  </a:lnTo>
                  <a:lnTo>
                    <a:pt x="2133" y="2294"/>
                  </a:lnTo>
                  <a:lnTo>
                    <a:pt x="2138" y="2284"/>
                  </a:lnTo>
                  <a:lnTo>
                    <a:pt x="2138" y="2284"/>
                  </a:lnTo>
                  <a:lnTo>
                    <a:pt x="2143" y="2196"/>
                  </a:lnTo>
                  <a:lnTo>
                    <a:pt x="2143" y="2196"/>
                  </a:lnTo>
                  <a:lnTo>
                    <a:pt x="2158" y="2191"/>
                  </a:lnTo>
                  <a:lnTo>
                    <a:pt x="2158" y="2191"/>
                  </a:lnTo>
                  <a:lnTo>
                    <a:pt x="2211" y="2125"/>
                  </a:lnTo>
                  <a:lnTo>
                    <a:pt x="2211" y="2125"/>
                  </a:lnTo>
                  <a:lnTo>
                    <a:pt x="2211" y="2110"/>
                  </a:lnTo>
                  <a:lnTo>
                    <a:pt x="2211" y="2110"/>
                  </a:lnTo>
                  <a:lnTo>
                    <a:pt x="2201" y="2073"/>
                  </a:lnTo>
                  <a:lnTo>
                    <a:pt x="2201" y="2073"/>
                  </a:lnTo>
                  <a:close/>
                  <a:moveTo>
                    <a:pt x="1440" y="567"/>
                  </a:moveTo>
                  <a:lnTo>
                    <a:pt x="1445" y="570"/>
                  </a:lnTo>
                  <a:lnTo>
                    <a:pt x="1447" y="570"/>
                  </a:lnTo>
                  <a:lnTo>
                    <a:pt x="1450" y="572"/>
                  </a:lnTo>
                  <a:lnTo>
                    <a:pt x="1455" y="575"/>
                  </a:lnTo>
                  <a:lnTo>
                    <a:pt x="1457" y="575"/>
                  </a:lnTo>
                  <a:lnTo>
                    <a:pt x="1462" y="577"/>
                  </a:lnTo>
                  <a:lnTo>
                    <a:pt x="1467" y="577"/>
                  </a:lnTo>
                  <a:lnTo>
                    <a:pt x="1470" y="580"/>
                  </a:lnTo>
                  <a:lnTo>
                    <a:pt x="1470" y="580"/>
                  </a:lnTo>
                  <a:lnTo>
                    <a:pt x="1472" y="580"/>
                  </a:lnTo>
                  <a:lnTo>
                    <a:pt x="1475" y="577"/>
                  </a:lnTo>
                  <a:lnTo>
                    <a:pt x="1475" y="575"/>
                  </a:lnTo>
                  <a:lnTo>
                    <a:pt x="1477" y="575"/>
                  </a:lnTo>
                  <a:lnTo>
                    <a:pt x="1480" y="570"/>
                  </a:lnTo>
                  <a:lnTo>
                    <a:pt x="1482" y="567"/>
                  </a:lnTo>
                  <a:lnTo>
                    <a:pt x="1480" y="565"/>
                  </a:lnTo>
                  <a:lnTo>
                    <a:pt x="1475" y="565"/>
                  </a:lnTo>
                  <a:lnTo>
                    <a:pt x="1472" y="562"/>
                  </a:lnTo>
                  <a:lnTo>
                    <a:pt x="1457" y="562"/>
                  </a:lnTo>
                  <a:lnTo>
                    <a:pt x="1457" y="562"/>
                  </a:lnTo>
                  <a:lnTo>
                    <a:pt x="1455" y="560"/>
                  </a:lnTo>
                  <a:lnTo>
                    <a:pt x="1452" y="555"/>
                  </a:lnTo>
                  <a:lnTo>
                    <a:pt x="1450" y="550"/>
                  </a:lnTo>
                  <a:lnTo>
                    <a:pt x="1447" y="545"/>
                  </a:lnTo>
                  <a:lnTo>
                    <a:pt x="1442" y="545"/>
                  </a:lnTo>
                  <a:lnTo>
                    <a:pt x="1435" y="542"/>
                  </a:lnTo>
                  <a:lnTo>
                    <a:pt x="1429" y="540"/>
                  </a:lnTo>
                  <a:lnTo>
                    <a:pt x="1424" y="540"/>
                  </a:lnTo>
                  <a:lnTo>
                    <a:pt x="1419" y="540"/>
                  </a:lnTo>
                  <a:lnTo>
                    <a:pt x="1417" y="540"/>
                  </a:lnTo>
                  <a:lnTo>
                    <a:pt x="1414" y="542"/>
                  </a:lnTo>
                  <a:lnTo>
                    <a:pt x="1412" y="545"/>
                  </a:lnTo>
                  <a:lnTo>
                    <a:pt x="1409" y="545"/>
                  </a:lnTo>
                  <a:lnTo>
                    <a:pt x="1409" y="542"/>
                  </a:lnTo>
                  <a:lnTo>
                    <a:pt x="1407" y="535"/>
                  </a:lnTo>
                  <a:lnTo>
                    <a:pt x="1404" y="529"/>
                  </a:lnTo>
                  <a:lnTo>
                    <a:pt x="1402" y="527"/>
                  </a:lnTo>
                  <a:lnTo>
                    <a:pt x="1399" y="524"/>
                  </a:lnTo>
                  <a:lnTo>
                    <a:pt x="1394" y="524"/>
                  </a:lnTo>
                  <a:lnTo>
                    <a:pt x="1392" y="524"/>
                  </a:lnTo>
                  <a:lnTo>
                    <a:pt x="1392" y="529"/>
                  </a:lnTo>
                  <a:lnTo>
                    <a:pt x="1392" y="535"/>
                  </a:lnTo>
                  <a:lnTo>
                    <a:pt x="1392" y="542"/>
                  </a:lnTo>
                  <a:lnTo>
                    <a:pt x="1392" y="547"/>
                  </a:lnTo>
                  <a:lnTo>
                    <a:pt x="1392" y="550"/>
                  </a:lnTo>
                  <a:lnTo>
                    <a:pt x="1394" y="552"/>
                  </a:lnTo>
                  <a:lnTo>
                    <a:pt x="1394" y="555"/>
                  </a:lnTo>
                  <a:lnTo>
                    <a:pt x="1394" y="560"/>
                  </a:lnTo>
                  <a:lnTo>
                    <a:pt x="1394" y="565"/>
                  </a:lnTo>
                  <a:lnTo>
                    <a:pt x="1394" y="570"/>
                  </a:lnTo>
                  <a:lnTo>
                    <a:pt x="1397" y="575"/>
                  </a:lnTo>
                  <a:lnTo>
                    <a:pt x="1397" y="577"/>
                  </a:lnTo>
                  <a:lnTo>
                    <a:pt x="1394" y="577"/>
                  </a:lnTo>
                  <a:lnTo>
                    <a:pt x="1392" y="580"/>
                  </a:lnTo>
                  <a:lnTo>
                    <a:pt x="1389" y="585"/>
                  </a:lnTo>
                  <a:lnTo>
                    <a:pt x="1387" y="587"/>
                  </a:lnTo>
                  <a:lnTo>
                    <a:pt x="1384" y="590"/>
                  </a:lnTo>
                  <a:lnTo>
                    <a:pt x="1387" y="593"/>
                  </a:lnTo>
                  <a:lnTo>
                    <a:pt x="1392" y="593"/>
                  </a:lnTo>
                  <a:lnTo>
                    <a:pt x="1397" y="590"/>
                  </a:lnTo>
                  <a:lnTo>
                    <a:pt x="1399" y="590"/>
                  </a:lnTo>
                  <a:lnTo>
                    <a:pt x="1402" y="590"/>
                  </a:lnTo>
                  <a:lnTo>
                    <a:pt x="1407" y="590"/>
                  </a:lnTo>
                  <a:lnTo>
                    <a:pt x="1409" y="590"/>
                  </a:lnTo>
                  <a:lnTo>
                    <a:pt x="1412" y="593"/>
                  </a:lnTo>
                  <a:lnTo>
                    <a:pt x="1414" y="598"/>
                  </a:lnTo>
                  <a:lnTo>
                    <a:pt x="1414" y="600"/>
                  </a:lnTo>
                  <a:lnTo>
                    <a:pt x="1417" y="603"/>
                  </a:lnTo>
                  <a:lnTo>
                    <a:pt x="1419" y="603"/>
                  </a:lnTo>
                  <a:lnTo>
                    <a:pt x="1424" y="600"/>
                  </a:lnTo>
                  <a:lnTo>
                    <a:pt x="1424" y="598"/>
                  </a:lnTo>
                  <a:lnTo>
                    <a:pt x="1427" y="595"/>
                  </a:lnTo>
                  <a:lnTo>
                    <a:pt x="1427" y="593"/>
                  </a:lnTo>
                  <a:lnTo>
                    <a:pt x="1429" y="590"/>
                  </a:lnTo>
                  <a:lnTo>
                    <a:pt x="1435" y="587"/>
                  </a:lnTo>
                  <a:lnTo>
                    <a:pt x="1437" y="585"/>
                  </a:lnTo>
                  <a:lnTo>
                    <a:pt x="1437" y="580"/>
                  </a:lnTo>
                  <a:lnTo>
                    <a:pt x="1437" y="575"/>
                  </a:lnTo>
                  <a:lnTo>
                    <a:pt x="1435" y="570"/>
                  </a:lnTo>
                  <a:lnTo>
                    <a:pt x="1437" y="567"/>
                  </a:lnTo>
                  <a:lnTo>
                    <a:pt x="1440" y="567"/>
                  </a:lnTo>
                  <a:close/>
                  <a:moveTo>
                    <a:pt x="966" y="300"/>
                  </a:moveTo>
                  <a:lnTo>
                    <a:pt x="968" y="303"/>
                  </a:lnTo>
                  <a:lnTo>
                    <a:pt x="971" y="310"/>
                  </a:lnTo>
                  <a:lnTo>
                    <a:pt x="973" y="323"/>
                  </a:lnTo>
                  <a:lnTo>
                    <a:pt x="973" y="330"/>
                  </a:lnTo>
                  <a:lnTo>
                    <a:pt x="973" y="335"/>
                  </a:lnTo>
                  <a:lnTo>
                    <a:pt x="978" y="338"/>
                  </a:lnTo>
                  <a:lnTo>
                    <a:pt x="983" y="335"/>
                  </a:lnTo>
                  <a:lnTo>
                    <a:pt x="986" y="333"/>
                  </a:lnTo>
                  <a:lnTo>
                    <a:pt x="988" y="330"/>
                  </a:lnTo>
                  <a:lnTo>
                    <a:pt x="991" y="333"/>
                  </a:lnTo>
                  <a:lnTo>
                    <a:pt x="996" y="335"/>
                  </a:lnTo>
                  <a:lnTo>
                    <a:pt x="998" y="338"/>
                  </a:lnTo>
                  <a:lnTo>
                    <a:pt x="1003" y="335"/>
                  </a:lnTo>
                  <a:lnTo>
                    <a:pt x="1006" y="330"/>
                  </a:lnTo>
                  <a:lnTo>
                    <a:pt x="1011" y="323"/>
                  </a:lnTo>
                  <a:lnTo>
                    <a:pt x="1016" y="320"/>
                  </a:lnTo>
                  <a:lnTo>
                    <a:pt x="1024" y="318"/>
                  </a:lnTo>
                  <a:lnTo>
                    <a:pt x="1026" y="315"/>
                  </a:lnTo>
                  <a:lnTo>
                    <a:pt x="1026" y="310"/>
                  </a:lnTo>
                  <a:lnTo>
                    <a:pt x="1026" y="305"/>
                  </a:lnTo>
                  <a:lnTo>
                    <a:pt x="1029" y="305"/>
                  </a:lnTo>
                  <a:lnTo>
                    <a:pt x="1039" y="303"/>
                  </a:lnTo>
                  <a:lnTo>
                    <a:pt x="1044" y="300"/>
                  </a:lnTo>
                  <a:lnTo>
                    <a:pt x="1049" y="300"/>
                  </a:lnTo>
                  <a:lnTo>
                    <a:pt x="1054" y="298"/>
                  </a:lnTo>
                  <a:lnTo>
                    <a:pt x="1059" y="295"/>
                  </a:lnTo>
                  <a:lnTo>
                    <a:pt x="1064" y="295"/>
                  </a:lnTo>
                  <a:lnTo>
                    <a:pt x="1066" y="292"/>
                  </a:lnTo>
                  <a:lnTo>
                    <a:pt x="1066" y="290"/>
                  </a:lnTo>
                  <a:lnTo>
                    <a:pt x="1069" y="287"/>
                  </a:lnTo>
                  <a:lnTo>
                    <a:pt x="1066" y="285"/>
                  </a:lnTo>
                  <a:lnTo>
                    <a:pt x="1066" y="277"/>
                  </a:lnTo>
                  <a:lnTo>
                    <a:pt x="1064" y="270"/>
                  </a:lnTo>
                  <a:lnTo>
                    <a:pt x="1059" y="265"/>
                  </a:lnTo>
                  <a:lnTo>
                    <a:pt x="1056" y="262"/>
                  </a:lnTo>
                  <a:lnTo>
                    <a:pt x="1054" y="262"/>
                  </a:lnTo>
                  <a:lnTo>
                    <a:pt x="1049" y="262"/>
                  </a:lnTo>
                  <a:lnTo>
                    <a:pt x="1046" y="262"/>
                  </a:lnTo>
                  <a:lnTo>
                    <a:pt x="1044" y="257"/>
                  </a:lnTo>
                  <a:lnTo>
                    <a:pt x="1041" y="255"/>
                  </a:lnTo>
                  <a:lnTo>
                    <a:pt x="1039" y="250"/>
                  </a:lnTo>
                  <a:lnTo>
                    <a:pt x="1031" y="247"/>
                  </a:lnTo>
                  <a:lnTo>
                    <a:pt x="1026" y="247"/>
                  </a:lnTo>
                  <a:lnTo>
                    <a:pt x="1021" y="247"/>
                  </a:lnTo>
                  <a:lnTo>
                    <a:pt x="1019" y="245"/>
                  </a:lnTo>
                  <a:lnTo>
                    <a:pt x="1016" y="242"/>
                  </a:lnTo>
                  <a:lnTo>
                    <a:pt x="1011" y="242"/>
                  </a:lnTo>
                  <a:lnTo>
                    <a:pt x="1008" y="240"/>
                  </a:lnTo>
                  <a:lnTo>
                    <a:pt x="1008" y="240"/>
                  </a:lnTo>
                  <a:lnTo>
                    <a:pt x="1006" y="242"/>
                  </a:lnTo>
                  <a:lnTo>
                    <a:pt x="1006" y="245"/>
                  </a:lnTo>
                  <a:lnTo>
                    <a:pt x="1006" y="250"/>
                  </a:lnTo>
                  <a:lnTo>
                    <a:pt x="1003" y="255"/>
                  </a:lnTo>
                  <a:lnTo>
                    <a:pt x="1003" y="257"/>
                  </a:lnTo>
                  <a:lnTo>
                    <a:pt x="998" y="260"/>
                  </a:lnTo>
                  <a:lnTo>
                    <a:pt x="993" y="267"/>
                  </a:lnTo>
                  <a:lnTo>
                    <a:pt x="986" y="272"/>
                  </a:lnTo>
                  <a:lnTo>
                    <a:pt x="983" y="277"/>
                  </a:lnTo>
                  <a:lnTo>
                    <a:pt x="978" y="282"/>
                  </a:lnTo>
                  <a:lnTo>
                    <a:pt x="971" y="287"/>
                  </a:lnTo>
                  <a:lnTo>
                    <a:pt x="966" y="295"/>
                  </a:lnTo>
                  <a:lnTo>
                    <a:pt x="963" y="300"/>
                  </a:lnTo>
                  <a:lnTo>
                    <a:pt x="966" y="300"/>
                  </a:lnTo>
                  <a:lnTo>
                    <a:pt x="966" y="300"/>
                  </a:lnTo>
                  <a:close/>
                  <a:moveTo>
                    <a:pt x="1498" y="494"/>
                  </a:moveTo>
                  <a:lnTo>
                    <a:pt x="1498" y="494"/>
                  </a:lnTo>
                  <a:lnTo>
                    <a:pt x="1498" y="492"/>
                  </a:lnTo>
                  <a:lnTo>
                    <a:pt x="1498" y="492"/>
                  </a:lnTo>
                  <a:lnTo>
                    <a:pt x="1498" y="489"/>
                  </a:lnTo>
                  <a:lnTo>
                    <a:pt x="1495" y="489"/>
                  </a:lnTo>
                  <a:lnTo>
                    <a:pt x="1495" y="489"/>
                  </a:lnTo>
                  <a:lnTo>
                    <a:pt x="1495" y="492"/>
                  </a:lnTo>
                  <a:lnTo>
                    <a:pt x="1498" y="494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s-PE" kern="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20" name="Freeform 43"/>
            <p:cNvSpPr>
              <a:spLocks/>
            </p:cNvSpPr>
            <p:nvPr/>
          </p:nvSpPr>
          <p:spPr bwMode="auto">
            <a:xfrm>
              <a:off x="3277" y="2412"/>
              <a:ext cx="46" cy="28"/>
            </a:xfrm>
            <a:custGeom>
              <a:avLst/>
              <a:gdLst/>
              <a:ahLst/>
              <a:cxnLst>
                <a:cxn ang="0">
                  <a:pos x="0" y="15"/>
                </a:cxn>
                <a:cxn ang="0">
                  <a:pos x="3" y="17"/>
                </a:cxn>
                <a:cxn ang="0">
                  <a:pos x="12" y="14"/>
                </a:cxn>
                <a:cxn ang="0">
                  <a:pos x="13" y="8"/>
                </a:cxn>
                <a:cxn ang="0">
                  <a:pos x="27" y="9"/>
                </a:cxn>
                <a:cxn ang="0">
                  <a:pos x="46" y="0"/>
                </a:cxn>
                <a:cxn ang="0">
                  <a:pos x="46" y="1"/>
                </a:cxn>
                <a:cxn ang="0">
                  <a:pos x="33" y="11"/>
                </a:cxn>
                <a:cxn ang="0">
                  <a:pos x="36" y="18"/>
                </a:cxn>
                <a:cxn ang="0">
                  <a:pos x="27" y="21"/>
                </a:cxn>
                <a:cxn ang="0">
                  <a:pos x="15" y="28"/>
                </a:cxn>
                <a:cxn ang="0">
                  <a:pos x="13" y="28"/>
                </a:cxn>
                <a:cxn ang="0">
                  <a:pos x="8" y="26"/>
                </a:cxn>
                <a:cxn ang="0">
                  <a:pos x="2" y="23"/>
                </a:cxn>
                <a:cxn ang="0">
                  <a:pos x="0" y="15"/>
                </a:cxn>
              </a:cxnLst>
              <a:rect l="0" t="0" r="r" b="b"/>
              <a:pathLst>
                <a:path w="46" h="28">
                  <a:moveTo>
                    <a:pt x="0" y="15"/>
                  </a:moveTo>
                  <a:lnTo>
                    <a:pt x="3" y="17"/>
                  </a:lnTo>
                  <a:lnTo>
                    <a:pt x="12" y="14"/>
                  </a:lnTo>
                  <a:lnTo>
                    <a:pt x="13" y="8"/>
                  </a:lnTo>
                  <a:lnTo>
                    <a:pt x="27" y="9"/>
                  </a:lnTo>
                  <a:lnTo>
                    <a:pt x="46" y="0"/>
                  </a:lnTo>
                  <a:lnTo>
                    <a:pt x="46" y="1"/>
                  </a:lnTo>
                  <a:lnTo>
                    <a:pt x="33" y="11"/>
                  </a:lnTo>
                  <a:lnTo>
                    <a:pt x="36" y="18"/>
                  </a:lnTo>
                  <a:lnTo>
                    <a:pt x="27" y="21"/>
                  </a:lnTo>
                  <a:lnTo>
                    <a:pt x="15" y="28"/>
                  </a:lnTo>
                  <a:lnTo>
                    <a:pt x="13" y="28"/>
                  </a:lnTo>
                  <a:lnTo>
                    <a:pt x="8" y="26"/>
                  </a:lnTo>
                  <a:lnTo>
                    <a:pt x="2" y="23"/>
                  </a:lnTo>
                  <a:lnTo>
                    <a:pt x="0" y="15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s-PE" kern="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11" name="Grupo 10">
            <a:extLst>
              <a:ext uri="{FF2B5EF4-FFF2-40B4-BE49-F238E27FC236}">
                <a16:creationId xmlns="" xmlns:a16="http://schemas.microsoft.com/office/drawing/2014/main" id="{558EA34C-BEFF-4CB9-BCC6-14C94DD370C3}"/>
              </a:ext>
            </a:extLst>
          </p:cNvPr>
          <p:cNvGrpSpPr/>
          <p:nvPr/>
        </p:nvGrpSpPr>
        <p:grpSpPr>
          <a:xfrm>
            <a:off x="10475013" y="1439519"/>
            <a:ext cx="651363" cy="636668"/>
            <a:chOff x="10127919" y="1491129"/>
            <a:chExt cx="660259" cy="60348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2" name="Elipse 11">
              <a:extLst>
                <a:ext uri="{FF2B5EF4-FFF2-40B4-BE49-F238E27FC236}">
                  <a16:creationId xmlns="" xmlns:a16="http://schemas.microsoft.com/office/drawing/2014/main" id="{8080F71F-A0BB-4FEF-B17F-C6BA893F8D13}"/>
                </a:ext>
              </a:extLst>
            </p:cNvPr>
            <p:cNvSpPr/>
            <p:nvPr/>
          </p:nvSpPr>
          <p:spPr>
            <a:xfrm>
              <a:off x="10127919" y="1491129"/>
              <a:ext cx="627321" cy="603485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E" sz="900" dirty="0">
                <a:solidFill>
                  <a:prstClr val="white"/>
                </a:solidFill>
              </a:endParaRPr>
            </a:p>
          </p:txBody>
        </p:sp>
        <p:sp>
          <p:nvSpPr>
            <p:cNvPr id="13" name="CuadroTexto 12">
              <a:extLst>
                <a:ext uri="{FF2B5EF4-FFF2-40B4-BE49-F238E27FC236}">
                  <a16:creationId xmlns="" xmlns:a16="http://schemas.microsoft.com/office/drawing/2014/main" id="{8A105BDD-187E-4CDE-AA3B-322C85CCA0F8}"/>
                </a:ext>
              </a:extLst>
            </p:cNvPr>
            <p:cNvSpPr txBox="1"/>
            <p:nvPr/>
          </p:nvSpPr>
          <p:spPr>
            <a:xfrm>
              <a:off x="10142899" y="1567733"/>
              <a:ext cx="645279" cy="466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PE" sz="1400" b="1" dirty="0">
                  <a:solidFill>
                    <a:prstClr val="white"/>
                  </a:solidFill>
                  <a:latin typeface="Candara" panose="020E0502030303020204" pitchFamily="34" charset="0"/>
                </a:rPr>
                <a:t>42.3% </a:t>
              </a:r>
              <a:r>
                <a:rPr lang="es-PE" sz="1200" b="1" dirty="0">
                  <a:solidFill>
                    <a:prstClr val="white"/>
                  </a:solidFill>
                  <a:latin typeface="Candara" panose="020E0502030303020204" pitchFamily="34" charset="0"/>
                </a:rPr>
                <a:t>del PBI</a:t>
              </a:r>
            </a:p>
          </p:txBody>
        </p:sp>
      </p:grpSp>
      <p:grpSp>
        <p:nvGrpSpPr>
          <p:cNvPr id="21" name="Grupo 20">
            <a:extLst>
              <a:ext uri="{FF2B5EF4-FFF2-40B4-BE49-F238E27FC236}">
                <a16:creationId xmlns="" xmlns:a16="http://schemas.microsoft.com/office/drawing/2014/main" id="{558EA34C-BEFF-4CB9-BCC6-14C94DD370C3}"/>
              </a:ext>
            </a:extLst>
          </p:cNvPr>
          <p:cNvGrpSpPr/>
          <p:nvPr/>
        </p:nvGrpSpPr>
        <p:grpSpPr>
          <a:xfrm>
            <a:off x="1678947" y="3990063"/>
            <a:ext cx="651363" cy="636668"/>
            <a:chOff x="10127919" y="1491129"/>
            <a:chExt cx="660259" cy="60348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2" name="Elipse 21">
              <a:extLst>
                <a:ext uri="{FF2B5EF4-FFF2-40B4-BE49-F238E27FC236}">
                  <a16:creationId xmlns="" xmlns:a16="http://schemas.microsoft.com/office/drawing/2014/main" id="{8080F71F-A0BB-4FEF-B17F-C6BA893F8D13}"/>
                </a:ext>
              </a:extLst>
            </p:cNvPr>
            <p:cNvSpPr/>
            <p:nvPr/>
          </p:nvSpPr>
          <p:spPr>
            <a:xfrm>
              <a:off x="10127919" y="1491129"/>
              <a:ext cx="627321" cy="603485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E" sz="900" dirty="0">
                <a:solidFill>
                  <a:prstClr val="white"/>
                </a:solidFill>
              </a:endParaRPr>
            </a:p>
          </p:txBody>
        </p:sp>
        <p:sp>
          <p:nvSpPr>
            <p:cNvPr id="23" name="CuadroTexto 22">
              <a:extLst>
                <a:ext uri="{FF2B5EF4-FFF2-40B4-BE49-F238E27FC236}">
                  <a16:creationId xmlns="" xmlns:a16="http://schemas.microsoft.com/office/drawing/2014/main" id="{8A105BDD-187E-4CDE-AA3B-322C85CCA0F8}"/>
                </a:ext>
              </a:extLst>
            </p:cNvPr>
            <p:cNvSpPr txBox="1"/>
            <p:nvPr/>
          </p:nvSpPr>
          <p:spPr>
            <a:xfrm>
              <a:off x="10142899" y="1567733"/>
              <a:ext cx="645279" cy="466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PE" sz="1400" b="1" dirty="0">
                  <a:solidFill>
                    <a:prstClr val="white"/>
                  </a:solidFill>
                  <a:latin typeface="Candara" panose="020E0502030303020204" pitchFamily="34" charset="0"/>
                </a:rPr>
                <a:t>30.4 % </a:t>
              </a:r>
              <a:r>
                <a:rPr lang="es-PE" sz="1200" b="1" dirty="0">
                  <a:solidFill>
                    <a:prstClr val="white"/>
                  </a:solidFill>
                  <a:latin typeface="Candara" panose="020E0502030303020204" pitchFamily="34" charset="0"/>
                </a:rPr>
                <a:t>del PBI</a:t>
              </a:r>
            </a:p>
          </p:txBody>
        </p:sp>
      </p:grpSp>
      <p:graphicFrame>
        <p:nvGraphicFramePr>
          <p:cNvPr id="10" name="9 Diagrama"/>
          <p:cNvGraphicFramePr/>
          <p:nvPr>
            <p:extLst>
              <p:ext uri="{D42A27DB-BD31-4B8C-83A1-F6EECF244321}">
                <p14:modId xmlns:p14="http://schemas.microsoft.com/office/powerpoint/2010/main" val="2801025795"/>
              </p:ext>
            </p:extLst>
          </p:nvPr>
        </p:nvGraphicFramePr>
        <p:xfrm>
          <a:off x="2601517" y="5989290"/>
          <a:ext cx="6930097" cy="59248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12131422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2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" dur="500" tmFilter="0, 0; .2, .5; .8, .5; 1, 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1" dur="250" autoRev="1" fill="hold"/>
                                        <p:tgtEl>
                                          <p:spTgt spid="1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ángulo 29">
            <a:extLst>
              <a:ext uri="{FF2B5EF4-FFF2-40B4-BE49-F238E27FC236}">
                <a16:creationId xmlns="" xmlns:a16="http://schemas.microsoft.com/office/drawing/2014/main" id="{5D56C70E-9323-4DA0-8BE6-B5B69FF1FDC6}"/>
              </a:ext>
            </a:extLst>
          </p:cNvPr>
          <p:cNvSpPr/>
          <p:nvPr/>
        </p:nvSpPr>
        <p:spPr>
          <a:xfrm>
            <a:off x="-2689" y="-1280"/>
            <a:ext cx="12194689" cy="6851906"/>
          </a:xfrm>
          <a:prstGeom prst="rect">
            <a:avLst/>
          </a:prstGeom>
          <a:gradFill flip="none" rotWithShape="1">
            <a:gsLst>
              <a:gs pos="0">
                <a:srgbClr val="A20000"/>
              </a:gs>
              <a:gs pos="50000">
                <a:srgbClr val="C00000">
                  <a:shade val="67500"/>
                  <a:satMod val="115000"/>
                </a:srgbClr>
              </a:gs>
              <a:gs pos="100000">
                <a:srgbClr val="C00000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2000" dirty="0">
              <a:solidFill>
                <a:prstClr val="white"/>
              </a:solidFill>
            </a:endParaRPr>
          </a:p>
        </p:txBody>
      </p:sp>
      <p:grpSp>
        <p:nvGrpSpPr>
          <p:cNvPr id="240" name="Grupo 239">
            <a:extLst>
              <a:ext uri="{FF2B5EF4-FFF2-40B4-BE49-F238E27FC236}">
                <a16:creationId xmlns="" xmlns:a16="http://schemas.microsoft.com/office/drawing/2014/main" id="{7DDC9831-B49B-4568-9838-79498E2F006D}"/>
              </a:ext>
            </a:extLst>
          </p:cNvPr>
          <p:cNvGrpSpPr/>
          <p:nvPr/>
        </p:nvGrpSpPr>
        <p:grpSpPr>
          <a:xfrm>
            <a:off x="433260" y="1354913"/>
            <a:ext cx="10744199" cy="5437570"/>
            <a:chOff x="562946" y="716094"/>
            <a:chExt cx="11068795" cy="6047170"/>
          </a:xfrm>
        </p:grpSpPr>
        <p:sp>
          <p:nvSpPr>
            <p:cNvPr id="241" name="Russia">
              <a:extLst>
                <a:ext uri="{FF2B5EF4-FFF2-40B4-BE49-F238E27FC236}">
                  <a16:creationId xmlns="" xmlns:a16="http://schemas.microsoft.com/office/drawing/2014/main" id="{1FACC8F1-A362-46F1-8979-C4D01B6F5AB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397612" y="716094"/>
              <a:ext cx="5234129" cy="2401169"/>
            </a:xfrm>
            <a:custGeom>
              <a:avLst/>
              <a:gdLst/>
              <a:ahLst/>
              <a:cxnLst>
                <a:cxn ang="0">
                  <a:pos x="1356" y="83"/>
                </a:cxn>
                <a:cxn ang="0">
                  <a:pos x="1488" y="62"/>
                </a:cxn>
                <a:cxn ang="0">
                  <a:pos x="1592" y="104"/>
                </a:cxn>
                <a:cxn ang="0">
                  <a:pos x="1606" y="178"/>
                </a:cxn>
                <a:cxn ang="0">
                  <a:pos x="1743" y="178"/>
                </a:cxn>
                <a:cxn ang="0">
                  <a:pos x="1913" y="187"/>
                </a:cxn>
                <a:cxn ang="0">
                  <a:pos x="2112" y="317"/>
                </a:cxn>
                <a:cxn ang="0">
                  <a:pos x="2329" y="279"/>
                </a:cxn>
                <a:cxn ang="0">
                  <a:pos x="2520" y="428"/>
                </a:cxn>
                <a:cxn ang="0">
                  <a:pos x="2802" y="404"/>
                </a:cxn>
                <a:cxn ang="0">
                  <a:pos x="2854" y="714"/>
                </a:cxn>
                <a:cxn ang="0">
                  <a:pos x="2551" y="882"/>
                </a:cxn>
                <a:cxn ang="0">
                  <a:pos x="2513" y="1064"/>
                </a:cxn>
                <a:cxn ang="0">
                  <a:pos x="2468" y="898"/>
                </a:cxn>
                <a:cxn ang="0">
                  <a:pos x="2464" y="763"/>
                </a:cxn>
                <a:cxn ang="0">
                  <a:pos x="2261" y="867"/>
                </a:cxn>
                <a:cxn ang="0">
                  <a:pos x="2128" y="1033"/>
                </a:cxn>
                <a:cxn ang="0">
                  <a:pos x="1984" y="1338"/>
                </a:cxn>
                <a:cxn ang="0">
                  <a:pos x="1949" y="1168"/>
                </a:cxn>
                <a:cxn ang="0">
                  <a:pos x="1746" y="1160"/>
                </a:cxn>
                <a:cxn ang="0">
                  <a:pos x="1403" y="1144"/>
                </a:cxn>
                <a:cxn ang="0">
                  <a:pos x="1162" y="1142"/>
                </a:cxn>
                <a:cxn ang="0">
                  <a:pos x="964" y="1026"/>
                </a:cxn>
                <a:cxn ang="0">
                  <a:pos x="744" y="1082"/>
                </a:cxn>
                <a:cxn ang="0">
                  <a:pos x="633" y="1123"/>
                </a:cxn>
                <a:cxn ang="0">
                  <a:pos x="522" y="1156"/>
                </a:cxn>
                <a:cxn ang="0">
                  <a:pos x="496" y="1293"/>
                </a:cxn>
                <a:cxn ang="0">
                  <a:pos x="470" y="1352"/>
                </a:cxn>
                <a:cxn ang="0">
                  <a:pos x="328" y="1248"/>
                </a:cxn>
                <a:cxn ang="0">
                  <a:pos x="295" y="1144"/>
                </a:cxn>
                <a:cxn ang="0">
                  <a:pos x="224" y="1038"/>
                </a:cxn>
                <a:cxn ang="0">
                  <a:pos x="156" y="934"/>
                </a:cxn>
                <a:cxn ang="0">
                  <a:pos x="198" y="667"/>
                </a:cxn>
                <a:cxn ang="0">
                  <a:pos x="161" y="430"/>
                </a:cxn>
                <a:cxn ang="0">
                  <a:pos x="378" y="499"/>
                </a:cxn>
                <a:cxn ang="0">
                  <a:pos x="222" y="544"/>
                </a:cxn>
                <a:cxn ang="0">
                  <a:pos x="319" y="655"/>
                </a:cxn>
                <a:cxn ang="0">
                  <a:pos x="454" y="548"/>
                </a:cxn>
                <a:cxn ang="0">
                  <a:pos x="513" y="541"/>
                </a:cxn>
                <a:cxn ang="0">
                  <a:pos x="647" y="463"/>
                </a:cxn>
                <a:cxn ang="0">
                  <a:pos x="865" y="485"/>
                </a:cxn>
                <a:cxn ang="0">
                  <a:pos x="891" y="218"/>
                </a:cxn>
                <a:cxn ang="0">
                  <a:pos x="940" y="525"/>
                </a:cxn>
                <a:cxn ang="0">
                  <a:pos x="1013" y="456"/>
                </a:cxn>
                <a:cxn ang="0">
                  <a:pos x="985" y="263"/>
                </a:cxn>
                <a:cxn ang="0">
                  <a:pos x="1106" y="289"/>
                </a:cxn>
                <a:cxn ang="0">
                  <a:pos x="1127" y="277"/>
                </a:cxn>
                <a:cxn ang="0">
                  <a:pos x="2190" y="1215"/>
                </a:cxn>
                <a:cxn ang="0">
                  <a:pos x="2183" y="1056"/>
                </a:cxn>
                <a:cxn ang="0">
                  <a:pos x="2206" y="116"/>
                </a:cxn>
                <a:cxn ang="0">
                  <a:pos x="2291" y="152"/>
                </a:cxn>
                <a:cxn ang="0">
                  <a:pos x="2180" y="196"/>
                </a:cxn>
                <a:cxn ang="0">
                  <a:pos x="2917" y="324"/>
                </a:cxn>
                <a:cxn ang="0">
                  <a:pos x="522" y="445"/>
                </a:cxn>
                <a:cxn ang="0">
                  <a:pos x="865" y="71"/>
                </a:cxn>
                <a:cxn ang="0">
                  <a:pos x="676" y="170"/>
                </a:cxn>
                <a:cxn ang="0">
                  <a:pos x="931" y="104"/>
                </a:cxn>
                <a:cxn ang="0">
                  <a:pos x="628" y="274"/>
                </a:cxn>
                <a:cxn ang="0">
                  <a:pos x="687" y="239"/>
                </a:cxn>
                <a:cxn ang="0">
                  <a:pos x="895" y="211"/>
                </a:cxn>
                <a:cxn ang="0">
                  <a:pos x="0" y="1014"/>
                </a:cxn>
              </a:cxnLst>
              <a:rect l="0" t="0" r="r" b="b"/>
              <a:pathLst>
                <a:path w="3031" h="1383">
                  <a:moveTo>
                    <a:pt x="1186" y="156"/>
                  </a:moveTo>
                  <a:lnTo>
                    <a:pt x="1181" y="149"/>
                  </a:lnTo>
                  <a:lnTo>
                    <a:pt x="1181" y="142"/>
                  </a:lnTo>
                  <a:lnTo>
                    <a:pt x="1186" y="140"/>
                  </a:lnTo>
                  <a:lnTo>
                    <a:pt x="1193" y="142"/>
                  </a:lnTo>
                  <a:lnTo>
                    <a:pt x="1207" y="128"/>
                  </a:lnTo>
                  <a:lnTo>
                    <a:pt x="1233" y="114"/>
                  </a:lnTo>
                  <a:lnTo>
                    <a:pt x="1261" y="104"/>
                  </a:lnTo>
                  <a:lnTo>
                    <a:pt x="1266" y="100"/>
                  </a:lnTo>
                  <a:lnTo>
                    <a:pt x="1294" y="92"/>
                  </a:lnTo>
                  <a:lnTo>
                    <a:pt x="1285" y="88"/>
                  </a:lnTo>
                  <a:lnTo>
                    <a:pt x="1283" y="83"/>
                  </a:lnTo>
                  <a:lnTo>
                    <a:pt x="1297" y="76"/>
                  </a:lnTo>
                  <a:lnTo>
                    <a:pt x="1316" y="74"/>
                  </a:lnTo>
                  <a:lnTo>
                    <a:pt x="1337" y="76"/>
                  </a:lnTo>
                  <a:lnTo>
                    <a:pt x="1332" y="85"/>
                  </a:lnTo>
                  <a:lnTo>
                    <a:pt x="1342" y="85"/>
                  </a:lnTo>
                  <a:lnTo>
                    <a:pt x="1356" y="83"/>
                  </a:lnTo>
                  <a:lnTo>
                    <a:pt x="1372" y="69"/>
                  </a:lnTo>
                  <a:lnTo>
                    <a:pt x="1370" y="57"/>
                  </a:lnTo>
                  <a:lnTo>
                    <a:pt x="1413" y="57"/>
                  </a:lnTo>
                  <a:lnTo>
                    <a:pt x="1406" y="50"/>
                  </a:lnTo>
                  <a:lnTo>
                    <a:pt x="1420" y="19"/>
                  </a:lnTo>
                  <a:lnTo>
                    <a:pt x="1439" y="10"/>
                  </a:lnTo>
                  <a:lnTo>
                    <a:pt x="1443" y="10"/>
                  </a:lnTo>
                  <a:lnTo>
                    <a:pt x="1453" y="3"/>
                  </a:lnTo>
                  <a:lnTo>
                    <a:pt x="1465" y="0"/>
                  </a:lnTo>
                  <a:lnTo>
                    <a:pt x="1472" y="7"/>
                  </a:lnTo>
                  <a:lnTo>
                    <a:pt x="1476" y="7"/>
                  </a:lnTo>
                  <a:lnTo>
                    <a:pt x="1486" y="17"/>
                  </a:lnTo>
                  <a:lnTo>
                    <a:pt x="1469" y="29"/>
                  </a:lnTo>
                  <a:lnTo>
                    <a:pt x="1493" y="36"/>
                  </a:lnTo>
                  <a:lnTo>
                    <a:pt x="1495" y="33"/>
                  </a:lnTo>
                  <a:lnTo>
                    <a:pt x="1500" y="38"/>
                  </a:lnTo>
                  <a:lnTo>
                    <a:pt x="1491" y="48"/>
                  </a:lnTo>
                  <a:lnTo>
                    <a:pt x="1488" y="62"/>
                  </a:lnTo>
                  <a:lnTo>
                    <a:pt x="1502" y="59"/>
                  </a:lnTo>
                  <a:lnTo>
                    <a:pt x="1514" y="48"/>
                  </a:lnTo>
                  <a:lnTo>
                    <a:pt x="1526" y="48"/>
                  </a:lnTo>
                  <a:lnTo>
                    <a:pt x="1535" y="43"/>
                  </a:lnTo>
                  <a:lnTo>
                    <a:pt x="1568" y="41"/>
                  </a:lnTo>
                  <a:lnTo>
                    <a:pt x="1566" y="45"/>
                  </a:lnTo>
                  <a:lnTo>
                    <a:pt x="1587" y="66"/>
                  </a:lnTo>
                  <a:lnTo>
                    <a:pt x="1592" y="66"/>
                  </a:lnTo>
                  <a:lnTo>
                    <a:pt x="1599" y="74"/>
                  </a:lnTo>
                  <a:lnTo>
                    <a:pt x="1594" y="76"/>
                  </a:lnTo>
                  <a:lnTo>
                    <a:pt x="1599" y="81"/>
                  </a:lnTo>
                  <a:lnTo>
                    <a:pt x="1594" y="97"/>
                  </a:lnTo>
                  <a:lnTo>
                    <a:pt x="1587" y="95"/>
                  </a:lnTo>
                  <a:lnTo>
                    <a:pt x="1585" y="95"/>
                  </a:lnTo>
                  <a:lnTo>
                    <a:pt x="1585" y="92"/>
                  </a:lnTo>
                  <a:lnTo>
                    <a:pt x="1583" y="92"/>
                  </a:lnTo>
                  <a:lnTo>
                    <a:pt x="1585" y="104"/>
                  </a:lnTo>
                  <a:lnTo>
                    <a:pt x="1592" y="104"/>
                  </a:lnTo>
                  <a:lnTo>
                    <a:pt x="1592" y="111"/>
                  </a:lnTo>
                  <a:lnTo>
                    <a:pt x="1580" y="133"/>
                  </a:lnTo>
                  <a:lnTo>
                    <a:pt x="1568" y="135"/>
                  </a:lnTo>
                  <a:lnTo>
                    <a:pt x="1557" y="159"/>
                  </a:lnTo>
                  <a:lnTo>
                    <a:pt x="1554" y="163"/>
                  </a:lnTo>
                  <a:lnTo>
                    <a:pt x="1547" y="166"/>
                  </a:lnTo>
                  <a:lnTo>
                    <a:pt x="1540" y="182"/>
                  </a:lnTo>
                  <a:lnTo>
                    <a:pt x="1531" y="189"/>
                  </a:lnTo>
                  <a:lnTo>
                    <a:pt x="1526" y="189"/>
                  </a:lnTo>
                  <a:lnTo>
                    <a:pt x="1524" y="194"/>
                  </a:lnTo>
                  <a:lnTo>
                    <a:pt x="1526" y="213"/>
                  </a:lnTo>
                  <a:lnTo>
                    <a:pt x="1540" y="218"/>
                  </a:lnTo>
                  <a:lnTo>
                    <a:pt x="1547" y="206"/>
                  </a:lnTo>
                  <a:lnTo>
                    <a:pt x="1583" y="201"/>
                  </a:lnTo>
                  <a:lnTo>
                    <a:pt x="1599" y="182"/>
                  </a:lnTo>
                  <a:lnTo>
                    <a:pt x="1609" y="187"/>
                  </a:lnTo>
                  <a:lnTo>
                    <a:pt x="1628" y="173"/>
                  </a:lnTo>
                  <a:lnTo>
                    <a:pt x="1606" y="178"/>
                  </a:lnTo>
                  <a:lnTo>
                    <a:pt x="1616" y="156"/>
                  </a:lnTo>
                  <a:lnTo>
                    <a:pt x="1625" y="159"/>
                  </a:lnTo>
                  <a:lnTo>
                    <a:pt x="1635" y="152"/>
                  </a:lnTo>
                  <a:lnTo>
                    <a:pt x="1632" y="163"/>
                  </a:lnTo>
                  <a:lnTo>
                    <a:pt x="1658" y="173"/>
                  </a:lnTo>
                  <a:lnTo>
                    <a:pt x="1663" y="156"/>
                  </a:lnTo>
                  <a:lnTo>
                    <a:pt x="1670" y="178"/>
                  </a:lnTo>
                  <a:lnTo>
                    <a:pt x="1668" y="194"/>
                  </a:lnTo>
                  <a:lnTo>
                    <a:pt x="1663" y="206"/>
                  </a:lnTo>
                  <a:lnTo>
                    <a:pt x="1670" y="222"/>
                  </a:lnTo>
                  <a:lnTo>
                    <a:pt x="1684" y="206"/>
                  </a:lnTo>
                  <a:lnTo>
                    <a:pt x="1672" y="194"/>
                  </a:lnTo>
                  <a:lnTo>
                    <a:pt x="1684" y="182"/>
                  </a:lnTo>
                  <a:lnTo>
                    <a:pt x="1701" y="175"/>
                  </a:lnTo>
                  <a:lnTo>
                    <a:pt x="1710" y="168"/>
                  </a:lnTo>
                  <a:lnTo>
                    <a:pt x="1720" y="173"/>
                  </a:lnTo>
                  <a:lnTo>
                    <a:pt x="1736" y="173"/>
                  </a:lnTo>
                  <a:lnTo>
                    <a:pt x="1743" y="178"/>
                  </a:lnTo>
                  <a:lnTo>
                    <a:pt x="1762" y="175"/>
                  </a:lnTo>
                  <a:lnTo>
                    <a:pt x="1769" y="182"/>
                  </a:lnTo>
                  <a:lnTo>
                    <a:pt x="1762" y="185"/>
                  </a:lnTo>
                  <a:lnTo>
                    <a:pt x="1762" y="201"/>
                  </a:lnTo>
                  <a:lnTo>
                    <a:pt x="1788" y="213"/>
                  </a:lnTo>
                  <a:lnTo>
                    <a:pt x="1802" y="215"/>
                  </a:lnTo>
                  <a:lnTo>
                    <a:pt x="1821" y="211"/>
                  </a:lnTo>
                  <a:lnTo>
                    <a:pt x="1838" y="220"/>
                  </a:lnTo>
                  <a:lnTo>
                    <a:pt x="1857" y="201"/>
                  </a:lnTo>
                  <a:lnTo>
                    <a:pt x="1840" y="189"/>
                  </a:lnTo>
                  <a:lnTo>
                    <a:pt x="1843" y="168"/>
                  </a:lnTo>
                  <a:lnTo>
                    <a:pt x="1850" y="168"/>
                  </a:lnTo>
                  <a:lnTo>
                    <a:pt x="1857" y="159"/>
                  </a:lnTo>
                  <a:lnTo>
                    <a:pt x="1880" y="166"/>
                  </a:lnTo>
                  <a:lnTo>
                    <a:pt x="1887" y="175"/>
                  </a:lnTo>
                  <a:lnTo>
                    <a:pt x="1904" y="182"/>
                  </a:lnTo>
                  <a:lnTo>
                    <a:pt x="1902" y="189"/>
                  </a:lnTo>
                  <a:lnTo>
                    <a:pt x="1913" y="187"/>
                  </a:lnTo>
                  <a:lnTo>
                    <a:pt x="1958" y="211"/>
                  </a:lnTo>
                  <a:lnTo>
                    <a:pt x="1954" y="237"/>
                  </a:lnTo>
                  <a:lnTo>
                    <a:pt x="1944" y="239"/>
                  </a:lnTo>
                  <a:lnTo>
                    <a:pt x="1951" y="246"/>
                  </a:lnTo>
                  <a:lnTo>
                    <a:pt x="1946" y="265"/>
                  </a:lnTo>
                  <a:lnTo>
                    <a:pt x="1935" y="260"/>
                  </a:lnTo>
                  <a:lnTo>
                    <a:pt x="1944" y="284"/>
                  </a:lnTo>
                  <a:lnTo>
                    <a:pt x="1954" y="284"/>
                  </a:lnTo>
                  <a:lnTo>
                    <a:pt x="1951" y="296"/>
                  </a:lnTo>
                  <a:lnTo>
                    <a:pt x="1998" y="357"/>
                  </a:lnTo>
                  <a:lnTo>
                    <a:pt x="2010" y="322"/>
                  </a:lnTo>
                  <a:lnTo>
                    <a:pt x="2017" y="274"/>
                  </a:lnTo>
                  <a:lnTo>
                    <a:pt x="2036" y="305"/>
                  </a:lnTo>
                  <a:lnTo>
                    <a:pt x="2062" y="303"/>
                  </a:lnTo>
                  <a:lnTo>
                    <a:pt x="2069" y="293"/>
                  </a:lnTo>
                  <a:lnTo>
                    <a:pt x="2079" y="300"/>
                  </a:lnTo>
                  <a:lnTo>
                    <a:pt x="2095" y="298"/>
                  </a:lnTo>
                  <a:lnTo>
                    <a:pt x="2112" y="317"/>
                  </a:lnTo>
                  <a:lnTo>
                    <a:pt x="2121" y="317"/>
                  </a:lnTo>
                  <a:lnTo>
                    <a:pt x="2121" y="298"/>
                  </a:lnTo>
                  <a:lnTo>
                    <a:pt x="2128" y="293"/>
                  </a:lnTo>
                  <a:lnTo>
                    <a:pt x="2138" y="303"/>
                  </a:lnTo>
                  <a:lnTo>
                    <a:pt x="2154" y="300"/>
                  </a:lnTo>
                  <a:lnTo>
                    <a:pt x="2140" y="272"/>
                  </a:lnTo>
                  <a:lnTo>
                    <a:pt x="2147" y="263"/>
                  </a:lnTo>
                  <a:lnTo>
                    <a:pt x="2138" y="258"/>
                  </a:lnTo>
                  <a:lnTo>
                    <a:pt x="2147" y="244"/>
                  </a:lnTo>
                  <a:lnTo>
                    <a:pt x="2157" y="244"/>
                  </a:lnTo>
                  <a:lnTo>
                    <a:pt x="2168" y="234"/>
                  </a:lnTo>
                  <a:lnTo>
                    <a:pt x="2161" y="225"/>
                  </a:lnTo>
                  <a:lnTo>
                    <a:pt x="2249" y="241"/>
                  </a:lnTo>
                  <a:lnTo>
                    <a:pt x="2275" y="248"/>
                  </a:lnTo>
                  <a:lnTo>
                    <a:pt x="2298" y="251"/>
                  </a:lnTo>
                  <a:lnTo>
                    <a:pt x="2317" y="256"/>
                  </a:lnTo>
                  <a:lnTo>
                    <a:pt x="2329" y="265"/>
                  </a:lnTo>
                  <a:lnTo>
                    <a:pt x="2329" y="279"/>
                  </a:lnTo>
                  <a:lnTo>
                    <a:pt x="2322" y="281"/>
                  </a:lnTo>
                  <a:lnTo>
                    <a:pt x="2317" y="277"/>
                  </a:lnTo>
                  <a:lnTo>
                    <a:pt x="2310" y="289"/>
                  </a:lnTo>
                  <a:lnTo>
                    <a:pt x="2324" y="293"/>
                  </a:lnTo>
                  <a:lnTo>
                    <a:pt x="2331" y="298"/>
                  </a:lnTo>
                  <a:lnTo>
                    <a:pt x="2339" y="310"/>
                  </a:lnTo>
                  <a:lnTo>
                    <a:pt x="2350" y="307"/>
                  </a:lnTo>
                  <a:lnTo>
                    <a:pt x="2362" y="324"/>
                  </a:lnTo>
                  <a:lnTo>
                    <a:pt x="2360" y="333"/>
                  </a:lnTo>
                  <a:lnTo>
                    <a:pt x="2381" y="345"/>
                  </a:lnTo>
                  <a:lnTo>
                    <a:pt x="2440" y="336"/>
                  </a:lnTo>
                  <a:lnTo>
                    <a:pt x="2468" y="329"/>
                  </a:lnTo>
                  <a:lnTo>
                    <a:pt x="2492" y="341"/>
                  </a:lnTo>
                  <a:lnTo>
                    <a:pt x="2506" y="352"/>
                  </a:lnTo>
                  <a:lnTo>
                    <a:pt x="2509" y="374"/>
                  </a:lnTo>
                  <a:lnTo>
                    <a:pt x="2502" y="383"/>
                  </a:lnTo>
                  <a:lnTo>
                    <a:pt x="2506" y="404"/>
                  </a:lnTo>
                  <a:lnTo>
                    <a:pt x="2520" y="428"/>
                  </a:lnTo>
                  <a:lnTo>
                    <a:pt x="2542" y="414"/>
                  </a:lnTo>
                  <a:lnTo>
                    <a:pt x="2579" y="414"/>
                  </a:lnTo>
                  <a:lnTo>
                    <a:pt x="2587" y="404"/>
                  </a:lnTo>
                  <a:lnTo>
                    <a:pt x="2594" y="414"/>
                  </a:lnTo>
                  <a:lnTo>
                    <a:pt x="2634" y="416"/>
                  </a:lnTo>
                  <a:lnTo>
                    <a:pt x="2650" y="404"/>
                  </a:lnTo>
                  <a:lnTo>
                    <a:pt x="2657" y="419"/>
                  </a:lnTo>
                  <a:lnTo>
                    <a:pt x="2657" y="430"/>
                  </a:lnTo>
                  <a:lnTo>
                    <a:pt x="2669" y="445"/>
                  </a:lnTo>
                  <a:lnTo>
                    <a:pt x="2669" y="456"/>
                  </a:lnTo>
                  <a:lnTo>
                    <a:pt x="2691" y="459"/>
                  </a:lnTo>
                  <a:lnTo>
                    <a:pt x="2709" y="445"/>
                  </a:lnTo>
                  <a:lnTo>
                    <a:pt x="2698" y="409"/>
                  </a:lnTo>
                  <a:lnTo>
                    <a:pt x="2691" y="407"/>
                  </a:lnTo>
                  <a:lnTo>
                    <a:pt x="2698" y="397"/>
                  </a:lnTo>
                  <a:lnTo>
                    <a:pt x="2695" y="385"/>
                  </a:lnTo>
                  <a:lnTo>
                    <a:pt x="2740" y="400"/>
                  </a:lnTo>
                  <a:lnTo>
                    <a:pt x="2802" y="404"/>
                  </a:lnTo>
                  <a:lnTo>
                    <a:pt x="2809" y="414"/>
                  </a:lnTo>
                  <a:lnTo>
                    <a:pt x="2828" y="423"/>
                  </a:lnTo>
                  <a:lnTo>
                    <a:pt x="2846" y="423"/>
                  </a:lnTo>
                  <a:lnTo>
                    <a:pt x="2910" y="482"/>
                  </a:lnTo>
                  <a:lnTo>
                    <a:pt x="2991" y="501"/>
                  </a:lnTo>
                  <a:lnTo>
                    <a:pt x="3031" y="553"/>
                  </a:lnTo>
                  <a:lnTo>
                    <a:pt x="2979" y="634"/>
                  </a:lnTo>
                  <a:lnTo>
                    <a:pt x="2920" y="612"/>
                  </a:lnTo>
                  <a:lnTo>
                    <a:pt x="2887" y="605"/>
                  </a:lnTo>
                  <a:lnTo>
                    <a:pt x="2851" y="652"/>
                  </a:lnTo>
                  <a:lnTo>
                    <a:pt x="2816" y="645"/>
                  </a:lnTo>
                  <a:lnTo>
                    <a:pt x="2823" y="664"/>
                  </a:lnTo>
                  <a:lnTo>
                    <a:pt x="2839" y="664"/>
                  </a:lnTo>
                  <a:lnTo>
                    <a:pt x="2839" y="693"/>
                  </a:lnTo>
                  <a:lnTo>
                    <a:pt x="2846" y="704"/>
                  </a:lnTo>
                  <a:lnTo>
                    <a:pt x="2849" y="704"/>
                  </a:lnTo>
                  <a:lnTo>
                    <a:pt x="2854" y="712"/>
                  </a:lnTo>
                  <a:lnTo>
                    <a:pt x="2854" y="714"/>
                  </a:lnTo>
                  <a:lnTo>
                    <a:pt x="2861" y="723"/>
                  </a:lnTo>
                  <a:lnTo>
                    <a:pt x="2854" y="730"/>
                  </a:lnTo>
                  <a:lnTo>
                    <a:pt x="2851" y="737"/>
                  </a:lnTo>
                  <a:lnTo>
                    <a:pt x="2832" y="730"/>
                  </a:lnTo>
                  <a:lnTo>
                    <a:pt x="2813" y="730"/>
                  </a:lnTo>
                  <a:lnTo>
                    <a:pt x="2724" y="789"/>
                  </a:lnTo>
                  <a:lnTo>
                    <a:pt x="2717" y="811"/>
                  </a:lnTo>
                  <a:lnTo>
                    <a:pt x="2709" y="815"/>
                  </a:lnTo>
                  <a:lnTo>
                    <a:pt x="2698" y="837"/>
                  </a:lnTo>
                  <a:lnTo>
                    <a:pt x="2691" y="834"/>
                  </a:lnTo>
                  <a:lnTo>
                    <a:pt x="2691" y="827"/>
                  </a:lnTo>
                  <a:lnTo>
                    <a:pt x="2683" y="811"/>
                  </a:lnTo>
                  <a:lnTo>
                    <a:pt x="2657" y="808"/>
                  </a:lnTo>
                  <a:lnTo>
                    <a:pt x="2620" y="841"/>
                  </a:lnTo>
                  <a:lnTo>
                    <a:pt x="2617" y="823"/>
                  </a:lnTo>
                  <a:lnTo>
                    <a:pt x="2598" y="841"/>
                  </a:lnTo>
                  <a:lnTo>
                    <a:pt x="2579" y="834"/>
                  </a:lnTo>
                  <a:lnTo>
                    <a:pt x="2551" y="882"/>
                  </a:lnTo>
                  <a:lnTo>
                    <a:pt x="2542" y="908"/>
                  </a:lnTo>
                  <a:lnTo>
                    <a:pt x="2558" y="908"/>
                  </a:lnTo>
                  <a:lnTo>
                    <a:pt x="2565" y="915"/>
                  </a:lnTo>
                  <a:lnTo>
                    <a:pt x="2558" y="922"/>
                  </a:lnTo>
                  <a:lnTo>
                    <a:pt x="2558" y="945"/>
                  </a:lnTo>
                  <a:lnTo>
                    <a:pt x="2565" y="945"/>
                  </a:lnTo>
                  <a:lnTo>
                    <a:pt x="2565" y="964"/>
                  </a:lnTo>
                  <a:lnTo>
                    <a:pt x="2558" y="974"/>
                  </a:lnTo>
                  <a:lnTo>
                    <a:pt x="2546" y="960"/>
                  </a:lnTo>
                  <a:lnTo>
                    <a:pt x="2539" y="978"/>
                  </a:lnTo>
                  <a:lnTo>
                    <a:pt x="2539" y="997"/>
                  </a:lnTo>
                  <a:lnTo>
                    <a:pt x="2546" y="1012"/>
                  </a:lnTo>
                  <a:lnTo>
                    <a:pt x="2532" y="1023"/>
                  </a:lnTo>
                  <a:lnTo>
                    <a:pt x="2532" y="1016"/>
                  </a:lnTo>
                  <a:lnTo>
                    <a:pt x="2516" y="1023"/>
                  </a:lnTo>
                  <a:lnTo>
                    <a:pt x="2506" y="1042"/>
                  </a:lnTo>
                  <a:lnTo>
                    <a:pt x="2513" y="1052"/>
                  </a:lnTo>
                  <a:lnTo>
                    <a:pt x="2513" y="1064"/>
                  </a:lnTo>
                  <a:lnTo>
                    <a:pt x="2499" y="1056"/>
                  </a:lnTo>
                  <a:lnTo>
                    <a:pt x="2480" y="1075"/>
                  </a:lnTo>
                  <a:lnTo>
                    <a:pt x="2483" y="1085"/>
                  </a:lnTo>
                  <a:lnTo>
                    <a:pt x="2454" y="1130"/>
                  </a:lnTo>
                  <a:lnTo>
                    <a:pt x="2447" y="1111"/>
                  </a:lnTo>
                  <a:lnTo>
                    <a:pt x="2447" y="1097"/>
                  </a:lnTo>
                  <a:lnTo>
                    <a:pt x="2440" y="1075"/>
                  </a:lnTo>
                  <a:lnTo>
                    <a:pt x="2438" y="1052"/>
                  </a:lnTo>
                  <a:lnTo>
                    <a:pt x="2428" y="997"/>
                  </a:lnTo>
                  <a:lnTo>
                    <a:pt x="2428" y="967"/>
                  </a:lnTo>
                  <a:lnTo>
                    <a:pt x="2435" y="948"/>
                  </a:lnTo>
                  <a:lnTo>
                    <a:pt x="2435" y="938"/>
                  </a:lnTo>
                  <a:lnTo>
                    <a:pt x="2442" y="938"/>
                  </a:lnTo>
                  <a:lnTo>
                    <a:pt x="2454" y="915"/>
                  </a:lnTo>
                  <a:lnTo>
                    <a:pt x="2450" y="908"/>
                  </a:lnTo>
                  <a:lnTo>
                    <a:pt x="2454" y="903"/>
                  </a:lnTo>
                  <a:lnTo>
                    <a:pt x="2468" y="908"/>
                  </a:lnTo>
                  <a:lnTo>
                    <a:pt x="2468" y="898"/>
                  </a:lnTo>
                  <a:lnTo>
                    <a:pt x="2476" y="898"/>
                  </a:lnTo>
                  <a:lnTo>
                    <a:pt x="2506" y="870"/>
                  </a:lnTo>
                  <a:lnTo>
                    <a:pt x="2509" y="860"/>
                  </a:lnTo>
                  <a:lnTo>
                    <a:pt x="2572" y="797"/>
                  </a:lnTo>
                  <a:lnTo>
                    <a:pt x="2579" y="745"/>
                  </a:lnTo>
                  <a:lnTo>
                    <a:pt x="2594" y="737"/>
                  </a:lnTo>
                  <a:lnTo>
                    <a:pt x="2587" y="723"/>
                  </a:lnTo>
                  <a:lnTo>
                    <a:pt x="2565" y="730"/>
                  </a:lnTo>
                  <a:lnTo>
                    <a:pt x="2565" y="766"/>
                  </a:lnTo>
                  <a:lnTo>
                    <a:pt x="2549" y="768"/>
                  </a:lnTo>
                  <a:lnTo>
                    <a:pt x="2523" y="808"/>
                  </a:lnTo>
                  <a:lnTo>
                    <a:pt x="2513" y="815"/>
                  </a:lnTo>
                  <a:lnTo>
                    <a:pt x="2516" y="797"/>
                  </a:lnTo>
                  <a:lnTo>
                    <a:pt x="2506" y="792"/>
                  </a:lnTo>
                  <a:lnTo>
                    <a:pt x="2520" y="759"/>
                  </a:lnTo>
                  <a:lnTo>
                    <a:pt x="2506" y="768"/>
                  </a:lnTo>
                  <a:lnTo>
                    <a:pt x="2499" y="759"/>
                  </a:lnTo>
                  <a:lnTo>
                    <a:pt x="2464" y="763"/>
                  </a:lnTo>
                  <a:lnTo>
                    <a:pt x="2447" y="778"/>
                  </a:lnTo>
                  <a:lnTo>
                    <a:pt x="2447" y="789"/>
                  </a:lnTo>
                  <a:lnTo>
                    <a:pt x="2409" y="830"/>
                  </a:lnTo>
                  <a:lnTo>
                    <a:pt x="2402" y="849"/>
                  </a:lnTo>
                  <a:lnTo>
                    <a:pt x="2424" y="856"/>
                  </a:lnTo>
                  <a:lnTo>
                    <a:pt x="2424" y="867"/>
                  </a:lnTo>
                  <a:lnTo>
                    <a:pt x="2350" y="879"/>
                  </a:lnTo>
                  <a:lnTo>
                    <a:pt x="2350" y="870"/>
                  </a:lnTo>
                  <a:lnTo>
                    <a:pt x="2365" y="863"/>
                  </a:lnTo>
                  <a:lnTo>
                    <a:pt x="2357" y="853"/>
                  </a:lnTo>
                  <a:lnTo>
                    <a:pt x="2343" y="856"/>
                  </a:lnTo>
                  <a:lnTo>
                    <a:pt x="2313" y="846"/>
                  </a:lnTo>
                  <a:lnTo>
                    <a:pt x="2310" y="863"/>
                  </a:lnTo>
                  <a:lnTo>
                    <a:pt x="2301" y="863"/>
                  </a:lnTo>
                  <a:lnTo>
                    <a:pt x="2298" y="856"/>
                  </a:lnTo>
                  <a:lnTo>
                    <a:pt x="2280" y="863"/>
                  </a:lnTo>
                  <a:lnTo>
                    <a:pt x="2265" y="856"/>
                  </a:lnTo>
                  <a:lnTo>
                    <a:pt x="2261" y="867"/>
                  </a:lnTo>
                  <a:lnTo>
                    <a:pt x="2239" y="860"/>
                  </a:lnTo>
                  <a:lnTo>
                    <a:pt x="2199" y="860"/>
                  </a:lnTo>
                  <a:lnTo>
                    <a:pt x="2173" y="886"/>
                  </a:lnTo>
                  <a:lnTo>
                    <a:pt x="2098" y="978"/>
                  </a:lnTo>
                  <a:lnTo>
                    <a:pt x="2098" y="986"/>
                  </a:lnTo>
                  <a:lnTo>
                    <a:pt x="2091" y="986"/>
                  </a:lnTo>
                  <a:lnTo>
                    <a:pt x="2086" y="997"/>
                  </a:lnTo>
                  <a:lnTo>
                    <a:pt x="2069" y="1004"/>
                  </a:lnTo>
                  <a:lnTo>
                    <a:pt x="2069" y="1012"/>
                  </a:lnTo>
                  <a:lnTo>
                    <a:pt x="2083" y="1016"/>
                  </a:lnTo>
                  <a:lnTo>
                    <a:pt x="2095" y="1016"/>
                  </a:lnTo>
                  <a:lnTo>
                    <a:pt x="2095" y="1030"/>
                  </a:lnTo>
                  <a:lnTo>
                    <a:pt x="2102" y="1030"/>
                  </a:lnTo>
                  <a:lnTo>
                    <a:pt x="2109" y="1033"/>
                  </a:lnTo>
                  <a:lnTo>
                    <a:pt x="2098" y="1045"/>
                  </a:lnTo>
                  <a:lnTo>
                    <a:pt x="2109" y="1045"/>
                  </a:lnTo>
                  <a:lnTo>
                    <a:pt x="2121" y="1045"/>
                  </a:lnTo>
                  <a:lnTo>
                    <a:pt x="2128" y="1033"/>
                  </a:lnTo>
                  <a:lnTo>
                    <a:pt x="2133" y="1023"/>
                  </a:lnTo>
                  <a:lnTo>
                    <a:pt x="2147" y="1030"/>
                  </a:lnTo>
                  <a:lnTo>
                    <a:pt x="2173" y="1052"/>
                  </a:lnTo>
                  <a:lnTo>
                    <a:pt x="2168" y="1071"/>
                  </a:lnTo>
                  <a:lnTo>
                    <a:pt x="2173" y="1097"/>
                  </a:lnTo>
                  <a:lnTo>
                    <a:pt x="2168" y="1120"/>
                  </a:lnTo>
                  <a:lnTo>
                    <a:pt x="2168" y="1156"/>
                  </a:lnTo>
                  <a:lnTo>
                    <a:pt x="2161" y="1168"/>
                  </a:lnTo>
                  <a:lnTo>
                    <a:pt x="2161" y="1196"/>
                  </a:lnTo>
                  <a:lnTo>
                    <a:pt x="2140" y="1234"/>
                  </a:lnTo>
                  <a:lnTo>
                    <a:pt x="2069" y="1326"/>
                  </a:lnTo>
                  <a:lnTo>
                    <a:pt x="2046" y="1338"/>
                  </a:lnTo>
                  <a:lnTo>
                    <a:pt x="2036" y="1342"/>
                  </a:lnTo>
                  <a:lnTo>
                    <a:pt x="2031" y="1345"/>
                  </a:lnTo>
                  <a:lnTo>
                    <a:pt x="2010" y="1335"/>
                  </a:lnTo>
                  <a:lnTo>
                    <a:pt x="1994" y="1349"/>
                  </a:lnTo>
                  <a:lnTo>
                    <a:pt x="1984" y="1345"/>
                  </a:lnTo>
                  <a:lnTo>
                    <a:pt x="1984" y="1338"/>
                  </a:lnTo>
                  <a:lnTo>
                    <a:pt x="1991" y="1335"/>
                  </a:lnTo>
                  <a:lnTo>
                    <a:pt x="1998" y="1323"/>
                  </a:lnTo>
                  <a:lnTo>
                    <a:pt x="1994" y="1293"/>
                  </a:lnTo>
                  <a:lnTo>
                    <a:pt x="2010" y="1286"/>
                  </a:lnTo>
                  <a:lnTo>
                    <a:pt x="2022" y="1286"/>
                  </a:lnTo>
                  <a:lnTo>
                    <a:pt x="2046" y="1257"/>
                  </a:lnTo>
                  <a:lnTo>
                    <a:pt x="2062" y="1222"/>
                  </a:lnTo>
                  <a:lnTo>
                    <a:pt x="2057" y="1201"/>
                  </a:lnTo>
                  <a:lnTo>
                    <a:pt x="2050" y="1201"/>
                  </a:lnTo>
                  <a:lnTo>
                    <a:pt x="2036" y="1208"/>
                  </a:lnTo>
                  <a:lnTo>
                    <a:pt x="2024" y="1219"/>
                  </a:lnTo>
                  <a:lnTo>
                    <a:pt x="2001" y="1219"/>
                  </a:lnTo>
                  <a:lnTo>
                    <a:pt x="1991" y="1212"/>
                  </a:lnTo>
                  <a:lnTo>
                    <a:pt x="1984" y="1186"/>
                  </a:lnTo>
                  <a:lnTo>
                    <a:pt x="1972" y="1182"/>
                  </a:lnTo>
                  <a:lnTo>
                    <a:pt x="1965" y="1170"/>
                  </a:lnTo>
                  <a:lnTo>
                    <a:pt x="1958" y="1175"/>
                  </a:lnTo>
                  <a:lnTo>
                    <a:pt x="1949" y="1168"/>
                  </a:lnTo>
                  <a:lnTo>
                    <a:pt x="1932" y="1168"/>
                  </a:lnTo>
                  <a:lnTo>
                    <a:pt x="1909" y="1097"/>
                  </a:lnTo>
                  <a:lnTo>
                    <a:pt x="1904" y="1082"/>
                  </a:lnTo>
                  <a:lnTo>
                    <a:pt x="1894" y="1064"/>
                  </a:lnTo>
                  <a:lnTo>
                    <a:pt x="1880" y="1059"/>
                  </a:lnTo>
                  <a:lnTo>
                    <a:pt x="1868" y="1052"/>
                  </a:lnTo>
                  <a:lnTo>
                    <a:pt x="1845" y="1045"/>
                  </a:lnTo>
                  <a:lnTo>
                    <a:pt x="1821" y="1052"/>
                  </a:lnTo>
                  <a:lnTo>
                    <a:pt x="1809" y="1052"/>
                  </a:lnTo>
                  <a:lnTo>
                    <a:pt x="1795" y="1068"/>
                  </a:lnTo>
                  <a:lnTo>
                    <a:pt x="1805" y="1075"/>
                  </a:lnTo>
                  <a:lnTo>
                    <a:pt x="1802" y="1097"/>
                  </a:lnTo>
                  <a:lnTo>
                    <a:pt x="1776" y="1137"/>
                  </a:lnTo>
                  <a:lnTo>
                    <a:pt x="1783" y="1149"/>
                  </a:lnTo>
                  <a:lnTo>
                    <a:pt x="1779" y="1156"/>
                  </a:lnTo>
                  <a:lnTo>
                    <a:pt x="1769" y="1156"/>
                  </a:lnTo>
                  <a:lnTo>
                    <a:pt x="1755" y="1168"/>
                  </a:lnTo>
                  <a:lnTo>
                    <a:pt x="1746" y="1160"/>
                  </a:lnTo>
                  <a:lnTo>
                    <a:pt x="1736" y="1160"/>
                  </a:lnTo>
                  <a:lnTo>
                    <a:pt x="1731" y="1156"/>
                  </a:lnTo>
                  <a:lnTo>
                    <a:pt x="1715" y="1156"/>
                  </a:lnTo>
                  <a:lnTo>
                    <a:pt x="1701" y="1144"/>
                  </a:lnTo>
                  <a:lnTo>
                    <a:pt x="1672" y="1163"/>
                  </a:lnTo>
                  <a:lnTo>
                    <a:pt x="1651" y="1170"/>
                  </a:lnTo>
                  <a:lnTo>
                    <a:pt x="1611" y="1175"/>
                  </a:lnTo>
                  <a:lnTo>
                    <a:pt x="1590" y="1168"/>
                  </a:lnTo>
                  <a:lnTo>
                    <a:pt x="1573" y="1160"/>
                  </a:lnTo>
                  <a:lnTo>
                    <a:pt x="1564" y="1144"/>
                  </a:lnTo>
                  <a:lnTo>
                    <a:pt x="1550" y="1142"/>
                  </a:lnTo>
                  <a:lnTo>
                    <a:pt x="1491" y="1149"/>
                  </a:lnTo>
                  <a:lnTo>
                    <a:pt x="1476" y="1130"/>
                  </a:lnTo>
                  <a:lnTo>
                    <a:pt x="1472" y="1108"/>
                  </a:lnTo>
                  <a:lnTo>
                    <a:pt x="1434" y="1097"/>
                  </a:lnTo>
                  <a:lnTo>
                    <a:pt x="1410" y="1116"/>
                  </a:lnTo>
                  <a:lnTo>
                    <a:pt x="1410" y="1134"/>
                  </a:lnTo>
                  <a:lnTo>
                    <a:pt x="1403" y="1144"/>
                  </a:lnTo>
                  <a:lnTo>
                    <a:pt x="1403" y="1156"/>
                  </a:lnTo>
                  <a:lnTo>
                    <a:pt x="1387" y="1163"/>
                  </a:lnTo>
                  <a:lnTo>
                    <a:pt x="1370" y="1156"/>
                  </a:lnTo>
                  <a:lnTo>
                    <a:pt x="1354" y="1160"/>
                  </a:lnTo>
                  <a:lnTo>
                    <a:pt x="1335" y="1149"/>
                  </a:lnTo>
                  <a:lnTo>
                    <a:pt x="1320" y="1149"/>
                  </a:lnTo>
                  <a:lnTo>
                    <a:pt x="1304" y="1134"/>
                  </a:lnTo>
                  <a:lnTo>
                    <a:pt x="1292" y="1134"/>
                  </a:lnTo>
                  <a:lnTo>
                    <a:pt x="1254" y="1153"/>
                  </a:lnTo>
                  <a:lnTo>
                    <a:pt x="1254" y="1163"/>
                  </a:lnTo>
                  <a:lnTo>
                    <a:pt x="1228" y="1170"/>
                  </a:lnTo>
                  <a:lnTo>
                    <a:pt x="1224" y="1182"/>
                  </a:lnTo>
                  <a:lnTo>
                    <a:pt x="1217" y="1182"/>
                  </a:lnTo>
                  <a:lnTo>
                    <a:pt x="1214" y="1168"/>
                  </a:lnTo>
                  <a:lnTo>
                    <a:pt x="1198" y="1156"/>
                  </a:lnTo>
                  <a:lnTo>
                    <a:pt x="1179" y="1156"/>
                  </a:lnTo>
                  <a:lnTo>
                    <a:pt x="1169" y="1142"/>
                  </a:lnTo>
                  <a:lnTo>
                    <a:pt x="1162" y="1142"/>
                  </a:lnTo>
                  <a:lnTo>
                    <a:pt x="1157" y="1134"/>
                  </a:lnTo>
                  <a:lnTo>
                    <a:pt x="1141" y="1116"/>
                  </a:lnTo>
                  <a:lnTo>
                    <a:pt x="1132" y="1116"/>
                  </a:lnTo>
                  <a:lnTo>
                    <a:pt x="1122" y="1127"/>
                  </a:lnTo>
                  <a:lnTo>
                    <a:pt x="1106" y="1127"/>
                  </a:lnTo>
                  <a:lnTo>
                    <a:pt x="1094" y="1116"/>
                  </a:lnTo>
                  <a:lnTo>
                    <a:pt x="1077" y="1127"/>
                  </a:lnTo>
                  <a:lnTo>
                    <a:pt x="1068" y="1111"/>
                  </a:lnTo>
                  <a:lnTo>
                    <a:pt x="1061" y="1094"/>
                  </a:lnTo>
                  <a:lnTo>
                    <a:pt x="1046" y="1075"/>
                  </a:lnTo>
                  <a:lnTo>
                    <a:pt x="1032" y="1049"/>
                  </a:lnTo>
                  <a:lnTo>
                    <a:pt x="1011" y="1033"/>
                  </a:lnTo>
                  <a:lnTo>
                    <a:pt x="1002" y="1023"/>
                  </a:lnTo>
                  <a:lnTo>
                    <a:pt x="1006" y="1012"/>
                  </a:lnTo>
                  <a:lnTo>
                    <a:pt x="997" y="1012"/>
                  </a:lnTo>
                  <a:lnTo>
                    <a:pt x="973" y="1038"/>
                  </a:lnTo>
                  <a:lnTo>
                    <a:pt x="961" y="1038"/>
                  </a:lnTo>
                  <a:lnTo>
                    <a:pt x="964" y="1026"/>
                  </a:lnTo>
                  <a:lnTo>
                    <a:pt x="943" y="1023"/>
                  </a:lnTo>
                  <a:lnTo>
                    <a:pt x="940" y="1012"/>
                  </a:lnTo>
                  <a:lnTo>
                    <a:pt x="924" y="1023"/>
                  </a:lnTo>
                  <a:lnTo>
                    <a:pt x="914" y="1016"/>
                  </a:lnTo>
                  <a:lnTo>
                    <a:pt x="924" y="1012"/>
                  </a:lnTo>
                  <a:lnTo>
                    <a:pt x="914" y="1004"/>
                  </a:lnTo>
                  <a:lnTo>
                    <a:pt x="917" y="986"/>
                  </a:lnTo>
                  <a:lnTo>
                    <a:pt x="898" y="997"/>
                  </a:lnTo>
                  <a:lnTo>
                    <a:pt x="881" y="993"/>
                  </a:lnTo>
                  <a:lnTo>
                    <a:pt x="869" y="997"/>
                  </a:lnTo>
                  <a:lnTo>
                    <a:pt x="841" y="1004"/>
                  </a:lnTo>
                  <a:lnTo>
                    <a:pt x="813" y="1023"/>
                  </a:lnTo>
                  <a:lnTo>
                    <a:pt x="780" y="1023"/>
                  </a:lnTo>
                  <a:lnTo>
                    <a:pt x="754" y="1023"/>
                  </a:lnTo>
                  <a:lnTo>
                    <a:pt x="746" y="1049"/>
                  </a:lnTo>
                  <a:lnTo>
                    <a:pt x="749" y="1056"/>
                  </a:lnTo>
                  <a:lnTo>
                    <a:pt x="739" y="1068"/>
                  </a:lnTo>
                  <a:lnTo>
                    <a:pt x="744" y="1082"/>
                  </a:lnTo>
                  <a:lnTo>
                    <a:pt x="735" y="1082"/>
                  </a:lnTo>
                  <a:lnTo>
                    <a:pt x="718" y="1097"/>
                  </a:lnTo>
                  <a:lnTo>
                    <a:pt x="718" y="1104"/>
                  </a:lnTo>
                  <a:lnTo>
                    <a:pt x="739" y="1108"/>
                  </a:lnTo>
                  <a:lnTo>
                    <a:pt x="756" y="1108"/>
                  </a:lnTo>
                  <a:lnTo>
                    <a:pt x="756" y="1123"/>
                  </a:lnTo>
                  <a:lnTo>
                    <a:pt x="749" y="1127"/>
                  </a:lnTo>
                  <a:lnTo>
                    <a:pt x="730" y="1123"/>
                  </a:lnTo>
                  <a:lnTo>
                    <a:pt x="706" y="1130"/>
                  </a:lnTo>
                  <a:lnTo>
                    <a:pt x="704" y="1123"/>
                  </a:lnTo>
                  <a:lnTo>
                    <a:pt x="692" y="1116"/>
                  </a:lnTo>
                  <a:lnTo>
                    <a:pt x="683" y="1127"/>
                  </a:lnTo>
                  <a:lnTo>
                    <a:pt x="673" y="1123"/>
                  </a:lnTo>
                  <a:lnTo>
                    <a:pt x="664" y="1123"/>
                  </a:lnTo>
                  <a:lnTo>
                    <a:pt x="657" y="1134"/>
                  </a:lnTo>
                  <a:lnTo>
                    <a:pt x="643" y="1134"/>
                  </a:lnTo>
                  <a:lnTo>
                    <a:pt x="635" y="1120"/>
                  </a:lnTo>
                  <a:lnTo>
                    <a:pt x="633" y="1123"/>
                  </a:lnTo>
                  <a:lnTo>
                    <a:pt x="633" y="1134"/>
                  </a:lnTo>
                  <a:lnTo>
                    <a:pt x="628" y="1142"/>
                  </a:lnTo>
                  <a:lnTo>
                    <a:pt x="624" y="1134"/>
                  </a:lnTo>
                  <a:lnTo>
                    <a:pt x="624" y="1123"/>
                  </a:lnTo>
                  <a:lnTo>
                    <a:pt x="612" y="1108"/>
                  </a:lnTo>
                  <a:lnTo>
                    <a:pt x="598" y="1116"/>
                  </a:lnTo>
                  <a:lnTo>
                    <a:pt x="595" y="1097"/>
                  </a:lnTo>
                  <a:lnTo>
                    <a:pt x="583" y="1097"/>
                  </a:lnTo>
                  <a:lnTo>
                    <a:pt x="576" y="1111"/>
                  </a:lnTo>
                  <a:lnTo>
                    <a:pt x="572" y="1104"/>
                  </a:lnTo>
                  <a:lnTo>
                    <a:pt x="562" y="1097"/>
                  </a:lnTo>
                  <a:lnTo>
                    <a:pt x="550" y="1123"/>
                  </a:lnTo>
                  <a:lnTo>
                    <a:pt x="539" y="1123"/>
                  </a:lnTo>
                  <a:lnTo>
                    <a:pt x="541" y="1130"/>
                  </a:lnTo>
                  <a:lnTo>
                    <a:pt x="524" y="1137"/>
                  </a:lnTo>
                  <a:lnTo>
                    <a:pt x="532" y="1153"/>
                  </a:lnTo>
                  <a:lnTo>
                    <a:pt x="527" y="1160"/>
                  </a:lnTo>
                  <a:lnTo>
                    <a:pt x="522" y="1156"/>
                  </a:lnTo>
                  <a:lnTo>
                    <a:pt x="517" y="1149"/>
                  </a:lnTo>
                  <a:lnTo>
                    <a:pt x="508" y="1142"/>
                  </a:lnTo>
                  <a:lnTo>
                    <a:pt x="503" y="1149"/>
                  </a:lnTo>
                  <a:lnTo>
                    <a:pt x="496" y="1156"/>
                  </a:lnTo>
                  <a:lnTo>
                    <a:pt x="491" y="1168"/>
                  </a:lnTo>
                  <a:lnTo>
                    <a:pt x="491" y="1175"/>
                  </a:lnTo>
                  <a:lnTo>
                    <a:pt x="496" y="1182"/>
                  </a:lnTo>
                  <a:lnTo>
                    <a:pt x="489" y="1201"/>
                  </a:lnTo>
                  <a:lnTo>
                    <a:pt x="498" y="1201"/>
                  </a:lnTo>
                  <a:lnTo>
                    <a:pt x="503" y="1212"/>
                  </a:lnTo>
                  <a:lnTo>
                    <a:pt x="517" y="1215"/>
                  </a:lnTo>
                  <a:lnTo>
                    <a:pt x="532" y="1238"/>
                  </a:lnTo>
                  <a:lnTo>
                    <a:pt x="529" y="1245"/>
                  </a:lnTo>
                  <a:lnTo>
                    <a:pt x="524" y="1264"/>
                  </a:lnTo>
                  <a:lnTo>
                    <a:pt x="522" y="1271"/>
                  </a:lnTo>
                  <a:lnTo>
                    <a:pt x="513" y="1274"/>
                  </a:lnTo>
                  <a:lnTo>
                    <a:pt x="506" y="1271"/>
                  </a:lnTo>
                  <a:lnTo>
                    <a:pt x="496" y="1293"/>
                  </a:lnTo>
                  <a:lnTo>
                    <a:pt x="496" y="1305"/>
                  </a:lnTo>
                  <a:lnTo>
                    <a:pt x="496" y="1312"/>
                  </a:lnTo>
                  <a:lnTo>
                    <a:pt x="503" y="1312"/>
                  </a:lnTo>
                  <a:lnTo>
                    <a:pt x="506" y="1326"/>
                  </a:lnTo>
                  <a:lnTo>
                    <a:pt x="503" y="1342"/>
                  </a:lnTo>
                  <a:lnTo>
                    <a:pt x="510" y="1352"/>
                  </a:lnTo>
                  <a:lnTo>
                    <a:pt x="527" y="1371"/>
                  </a:lnTo>
                  <a:lnTo>
                    <a:pt x="522" y="1378"/>
                  </a:lnTo>
                  <a:lnTo>
                    <a:pt x="517" y="1383"/>
                  </a:lnTo>
                  <a:lnTo>
                    <a:pt x="513" y="1383"/>
                  </a:lnTo>
                  <a:lnTo>
                    <a:pt x="503" y="1378"/>
                  </a:lnTo>
                  <a:lnTo>
                    <a:pt x="503" y="1371"/>
                  </a:lnTo>
                  <a:lnTo>
                    <a:pt x="496" y="1371"/>
                  </a:lnTo>
                  <a:lnTo>
                    <a:pt x="489" y="1364"/>
                  </a:lnTo>
                  <a:lnTo>
                    <a:pt x="482" y="1368"/>
                  </a:lnTo>
                  <a:lnTo>
                    <a:pt x="465" y="1364"/>
                  </a:lnTo>
                  <a:lnTo>
                    <a:pt x="470" y="1357"/>
                  </a:lnTo>
                  <a:lnTo>
                    <a:pt x="470" y="1352"/>
                  </a:lnTo>
                  <a:lnTo>
                    <a:pt x="463" y="1345"/>
                  </a:lnTo>
                  <a:lnTo>
                    <a:pt x="458" y="1345"/>
                  </a:lnTo>
                  <a:lnTo>
                    <a:pt x="451" y="1342"/>
                  </a:lnTo>
                  <a:lnTo>
                    <a:pt x="446" y="1345"/>
                  </a:lnTo>
                  <a:lnTo>
                    <a:pt x="444" y="1338"/>
                  </a:lnTo>
                  <a:lnTo>
                    <a:pt x="430" y="1335"/>
                  </a:lnTo>
                  <a:lnTo>
                    <a:pt x="425" y="1326"/>
                  </a:lnTo>
                  <a:lnTo>
                    <a:pt x="418" y="1331"/>
                  </a:lnTo>
                  <a:lnTo>
                    <a:pt x="390" y="1326"/>
                  </a:lnTo>
                  <a:lnTo>
                    <a:pt x="376" y="1326"/>
                  </a:lnTo>
                  <a:lnTo>
                    <a:pt x="373" y="1333"/>
                  </a:lnTo>
                  <a:lnTo>
                    <a:pt x="366" y="1331"/>
                  </a:lnTo>
                  <a:lnTo>
                    <a:pt x="359" y="1316"/>
                  </a:lnTo>
                  <a:lnTo>
                    <a:pt x="314" y="1286"/>
                  </a:lnTo>
                  <a:lnTo>
                    <a:pt x="314" y="1279"/>
                  </a:lnTo>
                  <a:lnTo>
                    <a:pt x="333" y="1279"/>
                  </a:lnTo>
                  <a:lnTo>
                    <a:pt x="335" y="1260"/>
                  </a:lnTo>
                  <a:lnTo>
                    <a:pt x="328" y="1248"/>
                  </a:lnTo>
                  <a:lnTo>
                    <a:pt x="343" y="1245"/>
                  </a:lnTo>
                  <a:lnTo>
                    <a:pt x="354" y="1234"/>
                  </a:lnTo>
                  <a:lnTo>
                    <a:pt x="343" y="1227"/>
                  </a:lnTo>
                  <a:lnTo>
                    <a:pt x="343" y="1219"/>
                  </a:lnTo>
                  <a:lnTo>
                    <a:pt x="357" y="1212"/>
                  </a:lnTo>
                  <a:lnTo>
                    <a:pt x="369" y="1208"/>
                  </a:lnTo>
                  <a:lnTo>
                    <a:pt x="373" y="1196"/>
                  </a:lnTo>
                  <a:lnTo>
                    <a:pt x="364" y="1186"/>
                  </a:lnTo>
                  <a:lnTo>
                    <a:pt x="364" y="1182"/>
                  </a:lnTo>
                  <a:lnTo>
                    <a:pt x="378" y="1175"/>
                  </a:lnTo>
                  <a:lnTo>
                    <a:pt x="378" y="1163"/>
                  </a:lnTo>
                  <a:lnTo>
                    <a:pt x="369" y="1163"/>
                  </a:lnTo>
                  <a:lnTo>
                    <a:pt x="345" y="1149"/>
                  </a:lnTo>
                  <a:lnTo>
                    <a:pt x="333" y="1149"/>
                  </a:lnTo>
                  <a:lnTo>
                    <a:pt x="333" y="1137"/>
                  </a:lnTo>
                  <a:lnTo>
                    <a:pt x="314" y="1149"/>
                  </a:lnTo>
                  <a:lnTo>
                    <a:pt x="302" y="1142"/>
                  </a:lnTo>
                  <a:lnTo>
                    <a:pt x="295" y="1144"/>
                  </a:lnTo>
                  <a:lnTo>
                    <a:pt x="291" y="1134"/>
                  </a:lnTo>
                  <a:lnTo>
                    <a:pt x="293" y="1134"/>
                  </a:lnTo>
                  <a:lnTo>
                    <a:pt x="295" y="1123"/>
                  </a:lnTo>
                  <a:lnTo>
                    <a:pt x="288" y="1116"/>
                  </a:lnTo>
                  <a:lnTo>
                    <a:pt x="274" y="1116"/>
                  </a:lnTo>
                  <a:lnTo>
                    <a:pt x="269" y="1104"/>
                  </a:lnTo>
                  <a:lnTo>
                    <a:pt x="274" y="1101"/>
                  </a:lnTo>
                  <a:lnTo>
                    <a:pt x="267" y="1078"/>
                  </a:lnTo>
                  <a:lnTo>
                    <a:pt x="258" y="1075"/>
                  </a:lnTo>
                  <a:lnTo>
                    <a:pt x="246" y="1082"/>
                  </a:lnTo>
                  <a:lnTo>
                    <a:pt x="224" y="1082"/>
                  </a:lnTo>
                  <a:lnTo>
                    <a:pt x="227" y="1068"/>
                  </a:lnTo>
                  <a:lnTo>
                    <a:pt x="220" y="1056"/>
                  </a:lnTo>
                  <a:lnTo>
                    <a:pt x="222" y="1052"/>
                  </a:lnTo>
                  <a:lnTo>
                    <a:pt x="234" y="1052"/>
                  </a:lnTo>
                  <a:lnTo>
                    <a:pt x="239" y="1045"/>
                  </a:lnTo>
                  <a:lnTo>
                    <a:pt x="234" y="1038"/>
                  </a:lnTo>
                  <a:lnTo>
                    <a:pt x="224" y="1038"/>
                  </a:lnTo>
                  <a:lnTo>
                    <a:pt x="227" y="1030"/>
                  </a:lnTo>
                  <a:lnTo>
                    <a:pt x="217" y="1019"/>
                  </a:lnTo>
                  <a:lnTo>
                    <a:pt x="213" y="1016"/>
                  </a:lnTo>
                  <a:lnTo>
                    <a:pt x="215" y="1012"/>
                  </a:lnTo>
                  <a:lnTo>
                    <a:pt x="210" y="1000"/>
                  </a:lnTo>
                  <a:lnTo>
                    <a:pt x="213" y="997"/>
                  </a:lnTo>
                  <a:lnTo>
                    <a:pt x="208" y="986"/>
                  </a:lnTo>
                  <a:lnTo>
                    <a:pt x="210" y="978"/>
                  </a:lnTo>
                  <a:lnTo>
                    <a:pt x="196" y="964"/>
                  </a:lnTo>
                  <a:lnTo>
                    <a:pt x="182" y="971"/>
                  </a:lnTo>
                  <a:lnTo>
                    <a:pt x="184" y="960"/>
                  </a:lnTo>
                  <a:lnTo>
                    <a:pt x="175" y="957"/>
                  </a:lnTo>
                  <a:lnTo>
                    <a:pt x="170" y="964"/>
                  </a:lnTo>
                  <a:lnTo>
                    <a:pt x="165" y="957"/>
                  </a:lnTo>
                  <a:lnTo>
                    <a:pt x="158" y="957"/>
                  </a:lnTo>
                  <a:lnTo>
                    <a:pt x="161" y="945"/>
                  </a:lnTo>
                  <a:lnTo>
                    <a:pt x="154" y="945"/>
                  </a:lnTo>
                  <a:lnTo>
                    <a:pt x="156" y="934"/>
                  </a:lnTo>
                  <a:lnTo>
                    <a:pt x="151" y="922"/>
                  </a:lnTo>
                  <a:lnTo>
                    <a:pt x="146" y="875"/>
                  </a:lnTo>
                  <a:lnTo>
                    <a:pt x="158" y="849"/>
                  </a:lnTo>
                  <a:lnTo>
                    <a:pt x="175" y="834"/>
                  </a:lnTo>
                  <a:lnTo>
                    <a:pt x="187" y="841"/>
                  </a:lnTo>
                  <a:lnTo>
                    <a:pt x="194" y="834"/>
                  </a:lnTo>
                  <a:lnTo>
                    <a:pt x="187" y="827"/>
                  </a:lnTo>
                  <a:lnTo>
                    <a:pt x="172" y="827"/>
                  </a:lnTo>
                  <a:lnTo>
                    <a:pt x="168" y="811"/>
                  </a:lnTo>
                  <a:lnTo>
                    <a:pt x="156" y="815"/>
                  </a:lnTo>
                  <a:lnTo>
                    <a:pt x="156" y="804"/>
                  </a:lnTo>
                  <a:lnTo>
                    <a:pt x="168" y="804"/>
                  </a:lnTo>
                  <a:lnTo>
                    <a:pt x="220" y="730"/>
                  </a:lnTo>
                  <a:lnTo>
                    <a:pt x="217" y="719"/>
                  </a:lnTo>
                  <a:lnTo>
                    <a:pt x="210" y="712"/>
                  </a:lnTo>
                  <a:lnTo>
                    <a:pt x="210" y="704"/>
                  </a:lnTo>
                  <a:lnTo>
                    <a:pt x="189" y="688"/>
                  </a:lnTo>
                  <a:lnTo>
                    <a:pt x="198" y="667"/>
                  </a:lnTo>
                  <a:lnTo>
                    <a:pt x="194" y="652"/>
                  </a:lnTo>
                  <a:lnTo>
                    <a:pt x="198" y="652"/>
                  </a:lnTo>
                  <a:lnTo>
                    <a:pt x="194" y="645"/>
                  </a:lnTo>
                  <a:lnTo>
                    <a:pt x="189" y="645"/>
                  </a:lnTo>
                  <a:lnTo>
                    <a:pt x="184" y="626"/>
                  </a:lnTo>
                  <a:lnTo>
                    <a:pt x="189" y="619"/>
                  </a:lnTo>
                  <a:lnTo>
                    <a:pt x="187" y="612"/>
                  </a:lnTo>
                  <a:lnTo>
                    <a:pt x="189" y="600"/>
                  </a:lnTo>
                  <a:lnTo>
                    <a:pt x="189" y="586"/>
                  </a:lnTo>
                  <a:lnTo>
                    <a:pt x="198" y="582"/>
                  </a:lnTo>
                  <a:lnTo>
                    <a:pt x="187" y="567"/>
                  </a:lnTo>
                  <a:lnTo>
                    <a:pt x="180" y="541"/>
                  </a:lnTo>
                  <a:lnTo>
                    <a:pt x="170" y="530"/>
                  </a:lnTo>
                  <a:lnTo>
                    <a:pt x="189" y="482"/>
                  </a:lnTo>
                  <a:lnTo>
                    <a:pt x="172" y="468"/>
                  </a:lnTo>
                  <a:lnTo>
                    <a:pt x="165" y="445"/>
                  </a:lnTo>
                  <a:lnTo>
                    <a:pt x="170" y="433"/>
                  </a:lnTo>
                  <a:lnTo>
                    <a:pt x="161" y="430"/>
                  </a:lnTo>
                  <a:lnTo>
                    <a:pt x="168" y="423"/>
                  </a:lnTo>
                  <a:lnTo>
                    <a:pt x="175" y="423"/>
                  </a:lnTo>
                  <a:lnTo>
                    <a:pt x="194" y="397"/>
                  </a:lnTo>
                  <a:lnTo>
                    <a:pt x="213" y="404"/>
                  </a:lnTo>
                  <a:lnTo>
                    <a:pt x="222" y="390"/>
                  </a:lnTo>
                  <a:lnTo>
                    <a:pt x="243" y="400"/>
                  </a:lnTo>
                  <a:lnTo>
                    <a:pt x="239" y="407"/>
                  </a:lnTo>
                  <a:lnTo>
                    <a:pt x="224" y="409"/>
                  </a:lnTo>
                  <a:lnTo>
                    <a:pt x="241" y="423"/>
                  </a:lnTo>
                  <a:lnTo>
                    <a:pt x="253" y="419"/>
                  </a:lnTo>
                  <a:lnTo>
                    <a:pt x="250" y="430"/>
                  </a:lnTo>
                  <a:lnTo>
                    <a:pt x="283" y="428"/>
                  </a:lnTo>
                  <a:lnTo>
                    <a:pt x="312" y="442"/>
                  </a:lnTo>
                  <a:lnTo>
                    <a:pt x="340" y="468"/>
                  </a:lnTo>
                  <a:lnTo>
                    <a:pt x="347" y="468"/>
                  </a:lnTo>
                  <a:lnTo>
                    <a:pt x="366" y="485"/>
                  </a:lnTo>
                  <a:lnTo>
                    <a:pt x="378" y="489"/>
                  </a:lnTo>
                  <a:lnTo>
                    <a:pt x="378" y="499"/>
                  </a:lnTo>
                  <a:lnTo>
                    <a:pt x="385" y="501"/>
                  </a:lnTo>
                  <a:lnTo>
                    <a:pt x="390" y="508"/>
                  </a:lnTo>
                  <a:lnTo>
                    <a:pt x="390" y="530"/>
                  </a:lnTo>
                  <a:lnTo>
                    <a:pt x="390" y="539"/>
                  </a:lnTo>
                  <a:lnTo>
                    <a:pt x="378" y="567"/>
                  </a:lnTo>
                  <a:lnTo>
                    <a:pt x="373" y="574"/>
                  </a:lnTo>
                  <a:lnTo>
                    <a:pt x="347" y="586"/>
                  </a:lnTo>
                  <a:lnTo>
                    <a:pt x="309" y="574"/>
                  </a:lnTo>
                  <a:lnTo>
                    <a:pt x="279" y="560"/>
                  </a:lnTo>
                  <a:lnTo>
                    <a:pt x="274" y="567"/>
                  </a:lnTo>
                  <a:lnTo>
                    <a:pt x="269" y="556"/>
                  </a:lnTo>
                  <a:lnTo>
                    <a:pt x="253" y="553"/>
                  </a:lnTo>
                  <a:lnTo>
                    <a:pt x="241" y="537"/>
                  </a:lnTo>
                  <a:lnTo>
                    <a:pt x="232" y="534"/>
                  </a:lnTo>
                  <a:lnTo>
                    <a:pt x="229" y="539"/>
                  </a:lnTo>
                  <a:lnTo>
                    <a:pt x="239" y="546"/>
                  </a:lnTo>
                  <a:lnTo>
                    <a:pt x="229" y="548"/>
                  </a:lnTo>
                  <a:lnTo>
                    <a:pt x="222" y="544"/>
                  </a:lnTo>
                  <a:lnTo>
                    <a:pt x="215" y="548"/>
                  </a:lnTo>
                  <a:lnTo>
                    <a:pt x="229" y="560"/>
                  </a:lnTo>
                  <a:lnTo>
                    <a:pt x="241" y="560"/>
                  </a:lnTo>
                  <a:lnTo>
                    <a:pt x="248" y="567"/>
                  </a:lnTo>
                  <a:lnTo>
                    <a:pt x="258" y="574"/>
                  </a:lnTo>
                  <a:lnTo>
                    <a:pt x="276" y="582"/>
                  </a:lnTo>
                  <a:lnTo>
                    <a:pt x="281" y="598"/>
                  </a:lnTo>
                  <a:lnTo>
                    <a:pt x="274" y="619"/>
                  </a:lnTo>
                  <a:lnTo>
                    <a:pt x="281" y="638"/>
                  </a:lnTo>
                  <a:lnTo>
                    <a:pt x="276" y="652"/>
                  </a:lnTo>
                  <a:lnTo>
                    <a:pt x="281" y="657"/>
                  </a:lnTo>
                  <a:lnTo>
                    <a:pt x="291" y="657"/>
                  </a:lnTo>
                  <a:lnTo>
                    <a:pt x="307" y="671"/>
                  </a:lnTo>
                  <a:lnTo>
                    <a:pt x="324" y="678"/>
                  </a:lnTo>
                  <a:lnTo>
                    <a:pt x="333" y="674"/>
                  </a:lnTo>
                  <a:lnTo>
                    <a:pt x="335" y="664"/>
                  </a:lnTo>
                  <a:lnTo>
                    <a:pt x="333" y="655"/>
                  </a:lnTo>
                  <a:lnTo>
                    <a:pt x="319" y="655"/>
                  </a:lnTo>
                  <a:lnTo>
                    <a:pt x="309" y="638"/>
                  </a:lnTo>
                  <a:lnTo>
                    <a:pt x="317" y="634"/>
                  </a:lnTo>
                  <a:lnTo>
                    <a:pt x="317" y="626"/>
                  </a:lnTo>
                  <a:lnTo>
                    <a:pt x="338" y="638"/>
                  </a:lnTo>
                  <a:lnTo>
                    <a:pt x="338" y="652"/>
                  </a:lnTo>
                  <a:lnTo>
                    <a:pt x="345" y="645"/>
                  </a:lnTo>
                  <a:lnTo>
                    <a:pt x="364" y="648"/>
                  </a:lnTo>
                  <a:lnTo>
                    <a:pt x="378" y="645"/>
                  </a:lnTo>
                  <a:lnTo>
                    <a:pt x="376" y="634"/>
                  </a:lnTo>
                  <a:lnTo>
                    <a:pt x="366" y="626"/>
                  </a:lnTo>
                  <a:lnTo>
                    <a:pt x="366" y="612"/>
                  </a:lnTo>
                  <a:lnTo>
                    <a:pt x="385" y="589"/>
                  </a:lnTo>
                  <a:lnTo>
                    <a:pt x="395" y="589"/>
                  </a:lnTo>
                  <a:lnTo>
                    <a:pt x="411" y="567"/>
                  </a:lnTo>
                  <a:lnTo>
                    <a:pt x="430" y="570"/>
                  </a:lnTo>
                  <a:lnTo>
                    <a:pt x="444" y="586"/>
                  </a:lnTo>
                  <a:lnTo>
                    <a:pt x="449" y="563"/>
                  </a:lnTo>
                  <a:lnTo>
                    <a:pt x="454" y="548"/>
                  </a:lnTo>
                  <a:lnTo>
                    <a:pt x="451" y="527"/>
                  </a:lnTo>
                  <a:lnTo>
                    <a:pt x="437" y="525"/>
                  </a:lnTo>
                  <a:lnTo>
                    <a:pt x="437" y="496"/>
                  </a:lnTo>
                  <a:lnTo>
                    <a:pt x="444" y="485"/>
                  </a:lnTo>
                  <a:lnTo>
                    <a:pt x="437" y="466"/>
                  </a:lnTo>
                  <a:lnTo>
                    <a:pt x="428" y="459"/>
                  </a:lnTo>
                  <a:lnTo>
                    <a:pt x="430" y="456"/>
                  </a:lnTo>
                  <a:lnTo>
                    <a:pt x="446" y="463"/>
                  </a:lnTo>
                  <a:lnTo>
                    <a:pt x="461" y="463"/>
                  </a:lnTo>
                  <a:lnTo>
                    <a:pt x="489" y="482"/>
                  </a:lnTo>
                  <a:lnTo>
                    <a:pt x="491" y="492"/>
                  </a:lnTo>
                  <a:lnTo>
                    <a:pt x="477" y="499"/>
                  </a:lnTo>
                  <a:lnTo>
                    <a:pt x="470" y="499"/>
                  </a:lnTo>
                  <a:lnTo>
                    <a:pt x="463" y="522"/>
                  </a:lnTo>
                  <a:lnTo>
                    <a:pt x="472" y="525"/>
                  </a:lnTo>
                  <a:lnTo>
                    <a:pt x="480" y="546"/>
                  </a:lnTo>
                  <a:lnTo>
                    <a:pt x="496" y="546"/>
                  </a:lnTo>
                  <a:lnTo>
                    <a:pt x="513" y="541"/>
                  </a:lnTo>
                  <a:lnTo>
                    <a:pt x="515" y="504"/>
                  </a:lnTo>
                  <a:lnTo>
                    <a:pt x="536" y="494"/>
                  </a:lnTo>
                  <a:lnTo>
                    <a:pt x="546" y="482"/>
                  </a:lnTo>
                  <a:lnTo>
                    <a:pt x="553" y="475"/>
                  </a:lnTo>
                  <a:lnTo>
                    <a:pt x="557" y="473"/>
                  </a:lnTo>
                  <a:lnTo>
                    <a:pt x="572" y="473"/>
                  </a:lnTo>
                  <a:lnTo>
                    <a:pt x="586" y="463"/>
                  </a:lnTo>
                  <a:lnTo>
                    <a:pt x="595" y="478"/>
                  </a:lnTo>
                  <a:lnTo>
                    <a:pt x="593" y="463"/>
                  </a:lnTo>
                  <a:lnTo>
                    <a:pt x="609" y="442"/>
                  </a:lnTo>
                  <a:lnTo>
                    <a:pt x="619" y="449"/>
                  </a:lnTo>
                  <a:lnTo>
                    <a:pt x="614" y="456"/>
                  </a:lnTo>
                  <a:lnTo>
                    <a:pt x="619" y="468"/>
                  </a:lnTo>
                  <a:lnTo>
                    <a:pt x="607" y="478"/>
                  </a:lnTo>
                  <a:lnTo>
                    <a:pt x="621" y="482"/>
                  </a:lnTo>
                  <a:lnTo>
                    <a:pt x="635" y="471"/>
                  </a:lnTo>
                  <a:lnTo>
                    <a:pt x="643" y="466"/>
                  </a:lnTo>
                  <a:lnTo>
                    <a:pt x="647" y="463"/>
                  </a:lnTo>
                  <a:lnTo>
                    <a:pt x="647" y="463"/>
                  </a:lnTo>
                  <a:lnTo>
                    <a:pt x="673" y="463"/>
                  </a:lnTo>
                  <a:lnTo>
                    <a:pt x="695" y="445"/>
                  </a:lnTo>
                  <a:lnTo>
                    <a:pt x="706" y="445"/>
                  </a:lnTo>
                  <a:lnTo>
                    <a:pt x="704" y="466"/>
                  </a:lnTo>
                  <a:lnTo>
                    <a:pt x="718" y="471"/>
                  </a:lnTo>
                  <a:lnTo>
                    <a:pt x="720" y="459"/>
                  </a:lnTo>
                  <a:lnTo>
                    <a:pt x="730" y="459"/>
                  </a:lnTo>
                  <a:lnTo>
                    <a:pt x="739" y="449"/>
                  </a:lnTo>
                  <a:lnTo>
                    <a:pt x="728" y="423"/>
                  </a:lnTo>
                  <a:lnTo>
                    <a:pt x="735" y="411"/>
                  </a:lnTo>
                  <a:lnTo>
                    <a:pt x="737" y="404"/>
                  </a:lnTo>
                  <a:lnTo>
                    <a:pt x="761" y="407"/>
                  </a:lnTo>
                  <a:lnTo>
                    <a:pt x="768" y="404"/>
                  </a:lnTo>
                  <a:lnTo>
                    <a:pt x="817" y="435"/>
                  </a:lnTo>
                  <a:lnTo>
                    <a:pt x="855" y="463"/>
                  </a:lnTo>
                  <a:lnTo>
                    <a:pt x="855" y="468"/>
                  </a:lnTo>
                  <a:lnTo>
                    <a:pt x="865" y="485"/>
                  </a:lnTo>
                  <a:lnTo>
                    <a:pt x="874" y="459"/>
                  </a:lnTo>
                  <a:lnTo>
                    <a:pt x="881" y="452"/>
                  </a:lnTo>
                  <a:lnTo>
                    <a:pt x="869" y="452"/>
                  </a:lnTo>
                  <a:lnTo>
                    <a:pt x="857" y="430"/>
                  </a:lnTo>
                  <a:lnTo>
                    <a:pt x="862" y="423"/>
                  </a:lnTo>
                  <a:lnTo>
                    <a:pt x="857" y="414"/>
                  </a:lnTo>
                  <a:lnTo>
                    <a:pt x="855" y="416"/>
                  </a:lnTo>
                  <a:lnTo>
                    <a:pt x="841" y="411"/>
                  </a:lnTo>
                  <a:lnTo>
                    <a:pt x="841" y="385"/>
                  </a:lnTo>
                  <a:lnTo>
                    <a:pt x="848" y="369"/>
                  </a:lnTo>
                  <a:lnTo>
                    <a:pt x="846" y="352"/>
                  </a:lnTo>
                  <a:lnTo>
                    <a:pt x="841" y="352"/>
                  </a:lnTo>
                  <a:lnTo>
                    <a:pt x="841" y="331"/>
                  </a:lnTo>
                  <a:lnTo>
                    <a:pt x="848" y="317"/>
                  </a:lnTo>
                  <a:lnTo>
                    <a:pt x="862" y="312"/>
                  </a:lnTo>
                  <a:lnTo>
                    <a:pt x="869" y="279"/>
                  </a:lnTo>
                  <a:lnTo>
                    <a:pt x="874" y="237"/>
                  </a:lnTo>
                  <a:lnTo>
                    <a:pt x="891" y="218"/>
                  </a:lnTo>
                  <a:lnTo>
                    <a:pt x="898" y="222"/>
                  </a:lnTo>
                  <a:lnTo>
                    <a:pt x="907" y="218"/>
                  </a:lnTo>
                  <a:lnTo>
                    <a:pt x="917" y="222"/>
                  </a:lnTo>
                  <a:lnTo>
                    <a:pt x="926" y="222"/>
                  </a:lnTo>
                  <a:lnTo>
                    <a:pt x="938" y="227"/>
                  </a:lnTo>
                  <a:lnTo>
                    <a:pt x="938" y="267"/>
                  </a:lnTo>
                  <a:lnTo>
                    <a:pt x="935" y="293"/>
                  </a:lnTo>
                  <a:lnTo>
                    <a:pt x="924" y="296"/>
                  </a:lnTo>
                  <a:lnTo>
                    <a:pt x="933" y="310"/>
                  </a:lnTo>
                  <a:lnTo>
                    <a:pt x="933" y="319"/>
                  </a:lnTo>
                  <a:lnTo>
                    <a:pt x="947" y="331"/>
                  </a:lnTo>
                  <a:lnTo>
                    <a:pt x="947" y="348"/>
                  </a:lnTo>
                  <a:lnTo>
                    <a:pt x="943" y="381"/>
                  </a:lnTo>
                  <a:lnTo>
                    <a:pt x="938" y="435"/>
                  </a:lnTo>
                  <a:lnTo>
                    <a:pt x="959" y="468"/>
                  </a:lnTo>
                  <a:lnTo>
                    <a:pt x="952" y="475"/>
                  </a:lnTo>
                  <a:lnTo>
                    <a:pt x="950" y="508"/>
                  </a:lnTo>
                  <a:lnTo>
                    <a:pt x="940" y="525"/>
                  </a:lnTo>
                  <a:lnTo>
                    <a:pt x="931" y="539"/>
                  </a:lnTo>
                  <a:lnTo>
                    <a:pt x="921" y="539"/>
                  </a:lnTo>
                  <a:lnTo>
                    <a:pt x="907" y="546"/>
                  </a:lnTo>
                  <a:lnTo>
                    <a:pt x="891" y="544"/>
                  </a:lnTo>
                  <a:lnTo>
                    <a:pt x="876" y="548"/>
                  </a:lnTo>
                  <a:lnTo>
                    <a:pt x="888" y="567"/>
                  </a:lnTo>
                  <a:lnTo>
                    <a:pt x="902" y="574"/>
                  </a:lnTo>
                  <a:lnTo>
                    <a:pt x="933" y="574"/>
                  </a:lnTo>
                  <a:lnTo>
                    <a:pt x="950" y="600"/>
                  </a:lnTo>
                  <a:lnTo>
                    <a:pt x="959" y="598"/>
                  </a:lnTo>
                  <a:lnTo>
                    <a:pt x="945" y="560"/>
                  </a:lnTo>
                  <a:lnTo>
                    <a:pt x="964" y="541"/>
                  </a:lnTo>
                  <a:lnTo>
                    <a:pt x="973" y="511"/>
                  </a:lnTo>
                  <a:lnTo>
                    <a:pt x="983" y="494"/>
                  </a:lnTo>
                  <a:lnTo>
                    <a:pt x="976" y="485"/>
                  </a:lnTo>
                  <a:lnTo>
                    <a:pt x="980" y="463"/>
                  </a:lnTo>
                  <a:lnTo>
                    <a:pt x="999" y="452"/>
                  </a:lnTo>
                  <a:lnTo>
                    <a:pt x="1013" y="456"/>
                  </a:lnTo>
                  <a:lnTo>
                    <a:pt x="1020" y="475"/>
                  </a:lnTo>
                  <a:lnTo>
                    <a:pt x="1023" y="501"/>
                  </a:lnTo>
                  <a:lnTo>
                    <a:pt x="1032" y="515"/>
                  </a:lnTo>
                  <a:lnTo>
                    <a:pt x="1044" y="515"/>
                  </a:lnTo>
                  <a:lnTo>
                    <a:pt x="1061" y="522"/>
                  </a:lnTo>
                  <a:lnTo>
                    <a:pt x="1063" y="508"/>
                  </a:lnTo>
                  <a:lnTo>
                    <a:pt x="1039" y="499"/>
                  </a:lnTo>
                  <a:lnTo>
                    <a:pt x="1037" y="482"/>
                  </a:lnTo>
                  <a:lnTo>
                    <a:pt x="1037" y="459"/>
                  </a:lnTo>
                  <a:lnTo>
                    <a:pt x="1009" y="435"/>
                  </a:lnTo>
                  <a:lnTo>
                    <a:pt x="961" y="442"/>
                  </a:lnTo>
                  <a:lnTo>
                    <a:pt x="964" y="404"/>
                  </a:lnTo>
                  <a:lnTo>
                    <a:pt x="959" y="385"/>
                  </a:lnTo>
                  <a:lnTo>
                    <a:pt x="969" y="355"/>
                  </a:lnTo>
                  <a:lnTo>
                    <a:pt x="961" y="341"/>
                  </a:lnTo>
                  <a:lnTo>
                    <a:pt x="952" y="307"/>
                  </a:lnTo>
                  <a:lnTo>
                    <a:pt x="961" y="284"/>
                  </a:lnTo>
                  <a:lnTo>
                    <a:pt x="985" y="263"/>
                  </a:lnTo>
                  <a:lnTo>
                    <a:pt x="985" y="227"/>
                  </a:lnTo>
                  <a:lnTo>
                    <a:pt x="994" y="239"/>
                  </a:lnTo>
                  <a:lnTo>
                    <a:pt x="999" y="260"/>
                  </a:lnTo>
                  <a:lnTo>
                    <a:pt x="994" y="277"/>
                  </a:lnTo>
                  <a:lnTo>
                    <a:pt x="992" y="317"/>
                  </a:lnTo>
                  <a:lnTo>
                    <a:pt x="1032" y="322"/>
                  </a:lnTo>
                  <a:lnTo>
                    <a:pt x="1035" y="312"/>
                  </a:lnTo>
                  <a:lnTo>
                    <a:pt x="1011" y="300"/>
                  </a:lnTo>
                  <a:lnTo>
                    <a:pt x="1004" y="284"/>
                  </a:lnTo>
                  <a:lnTo>
                    <a:pt x="1016" y="277"/>
                  </a:lnTo>
                  <a:lnTo>
                    <a:pt x="1037" y="284"/>
                  </a:lnTo>
                  <a:lnTo>
                    <a:pt x="1046" y="267"/>
                  </a:lnTo>
                  <a:lnTo>
                    <a:pt x="1030" y="267"/>
                  </a:lnTo>
                  <a:lnTo>
                    <a:pt x="1030" y="260"/>
                  </a:lnTo>
                  <a:lnTo>
                    <a:pt x="1046" y="246"/>
                  </a:lnTo>
                  <a:lnTo>
                    <a:pt x="1061" y="251"/>
                  </a:lnTo>
                  <a:lnTo>
                    <a:pt x="1089" y="265"/>
                  </a:lnTo>
                  <a:lnTo>
                    <a:pt x="1106" y="289"/>
                  </a:lnTo>
                  <a:lnTo>
                    <a:pt x="1124" y="284"/>
                  </a:lnTo>
                  <a:lnTo>
                    <a:pt x="1132" y="289"/>
                  </a:lnTo>
                  <a:lnTo>
                    <a:pt x="1127" y="305"/>
                  </a:lnTo>
                  <a:lnTo>
                    <a:pt x="1115" y="315"/>
                  </a:lnTo>
                  <a:lnTo>
                    <a:pt x="1108" y="371"/>
                  </a:lnTo>
                  <a:lnTo>
                    <a:pt x="1113" y="369"/>
                  </a:lnTo>
                  <a:lnTo>
                    <a:pt x="1122" y="348"/>
                  </a:lnTo>
                  <a:lnTo>
                    <a:pt x="1127" y="348"/>
                  </a:lnTo>
                  <a:lnTo>
                    <a:pt x="1129" y="367"/>
                  </a:lnTo>
                  <a:lnTo>
                    <a:pt x="1122" y="376"/>
                  </a:lnTo>
                  <a:lnTo>
                    <a:pt x="1127" y="393"/>
                  </a:lnTo>
                  <a:lnTo>
                    <a:pt x="1136" y="390"/>
                  </a:lnTo>
                  <a:lnTo>
                    <a:pt x="1141" y="364"/>
                  </a:lnTo>
                  <a:lnTo>
                    <a:pt x="1132" y="329"/>
                  </a:lnTo>
                  <a:lnTo>
                    <a:pt x="1129" y="319"/>
                  </a:lnTo>
                  <a:lnTo>
                    <a:pt x="1141" y="293"/>
                  </a:lnTo>
                  <a:lnTo>
                    <a:pt x="1136" y="279"/>
                  </a:lnTo>
                  <a:lnTo>
                    <a:pt x="1127" y="277"/>
                  </a:lnTo>
                  <a:lnTo>
                    <a:pt x="1120" y="263"/>
                  </a:lnTo>
                  <a:lnTo>
                    <a:pt x="1122" y="258"/>
                  </a:lnTo>
                  <a:lnTo>
                    <a:pt x="1103" y="248"/>
                  </a:lnTo>
                  <a:lnTo>
                    <a:pt x="1089" y="230"/>
                  </a:lnTo>
                  <a:lnTo>
                    <a:pt x="1094" y="215"/>
                  </a:lnTo>
                  <a:lnTo>
                    <a:pt x="1087" y="196"/>
                  </a:lnTo>
                  <a:lnTo>
                    <a:pt x="1094" y="170"/>
                  </a:lnTo>
                  <a:lnTo>
                    <a:pt x="1157" y="163"/>
                  </a:lnTo>
                  <a:lnTo>
                    <a:pt x="1174" y="168"/>
                  </a:lnTo>
                  <a:lnTo>
                    <a:pt x="1183" y="163"/>
                  </a:lnTo>
                  <a:lnTo>
                    <a:pt x="1186" y="156"/>
                  </a:lnTo>
                  <a:lnTo>
                    <a:pt x="1186" y="156"/>
                  </a:lnTo>
                  <a:close/>
                  <a:moveTo>
                    <a:pt x="2183" y="1056"/>
                  </a:moveTo>
                  <a:lnTo>
                    <a:pt x="2180" y="1097"/>
                  </a:lnTo>
                  <a:lnTo>
                    <a:pt x="2190" y="1123"/>
                  </a:lnTo>
                  <a:lnTo>
                    <a:pt x="2187" y="1149"/>
                  </a:lnTo>
                  <a:lnTo>
                    <a:pt x="2183" y="1189"/>
                  </a:lnTo>
                  <a:lnTo>
                    <a:pt x="2190" y="1215"/>
                  </a:lnTo>
                  <a:lnTo>
                    <a:pt x="2187" y="1245"/>
                  </a:lnTo>
                  <a:lnTo>
                    <a:pt x="2187" y="1260"/>
                  </a:lnTo>
                  <a:lnTo>
                    <a:pt x="2199" y="1245"/>
                  </a:lnTo>
                  <a:lnTo>
                    <a:pt x="2209" y="1245"/>
                  </a:lnTo>
                  <a:lnTo>
                    <a:pt x="2213" y="1260"/>
                  </a:lnTo>
                  <a:lnTo>
                    <a:pt x="2216" y="1245"/>
                  </a:lnTo>
                  <a:lnTo>
                    <a:pt x="2213" y="1238"/>
                  </a:lnTo>
                  <a:lnTo>
                    <a:pt x="2206" y="1234"/>
                  </a:lnTo>
                  <a:lnTo>
                    <a:pt x="2197" y="1212"/>
                  </a:lnTo>
                  <a:lnTo>
                    <a:pt x="2197" y="1189"/>
                  </a:lnTo>
                  <a:lnTo>
                    <a:pt x="2213" y="1168"/>
                  </a:lnTo>
                  <a:lnTo>
                    <a:pt x="2232" y="1179"/>
                  </a:lnTo>
                  <a:lnTo>
                    <a:pt x="2209" y="1104"/>
                  </a:lnTo>
                  <a:lnTo>
                    <a:pt x="2213" y="1071"/>
                  </a:lnTo>
                  <a:lnTo>
                    <a:pt x="2199" y="1023"/>
                  </a:lnTo>
                  <a:lnTo>
                    <a:pt x="2194" y="1023"/>
                  </a:lnTo>
                  <a:lnTo>
                    <a:pt x="2192" y="1045"/>
                  </a:lnTo>
                  <a:lnTo>
                    <a:pt x="2183" y="1056"/>
                  </a:lnTo>
                  <a:lnTo>
                    <a:pt x="2183" y="1056"/>
                  </a:lnTo>
                  <a:close/>
                  <a:moveTo>
                    <a:pt x="2128" y="78"/>
                  </a:moveTo>
                  <a:lnTo>
                    <a:pt x="2114" y="85"/>
                  </a:lnTo>
                  <a:lnTo>
                    <a:pt x="2114" y="92"/>
                  </a:lnTo>
                  <a:lnTo>
                    <a:pt x="2105" y="104"/>
                  </a:lnTo>
                  <a:lnTo>
                    <a:pt x="2105" y="109"/>
                  </a:lnTo>
                  <a:lnTo>
                    <a:pt x="2102" y="109"/>
                  </a:lnTo>
                  <a:lnTo>
                    <a:pt x="2102" y="126"/>
                  </a:lnTo>
                  <a:lnTo>
                    <a:pt x="2114" y="144"/>
                  </a:lnTo>
                  <a:lnTo>
                    <a:pt x="2117" y="152"/>
                  </a:lnTo>
                  <a:lnTo>
                    <a:pt x="2138" y="163"/>
                  </a:lnTo>
                  <a:lnTo>
                    <a:pt x="2147" y="149"/>
                  </a:lnTo>
                  <a:lnTo>
                    <a:pt x="2150" y="156"/>
                  </a:lnTo>
                  <a:lnTo>
                    <a:pt x="2173" y="144"/>
                  </a:lnTo>
                  <a:lnTo>
                    <a:pt x="2173" y="149"/>
                  </a:lnTo>
                  <a:lnTo>
                    <a:pt x="2194" y="140"/>
                  </a:lnTo>
                  <a:lnTo>
                    <a:pt x="2209" y="126"/>
                  </a:lnTo>
                  <a:lnTo>
                    <a:pt x="2206" y="116"/>
                  </a:lnTo>
                  <a:lnTo>
                    <a:pt x="2213" y="107"/>
                  </a:lnTo>
                  <a:lnTo>
                    <a:pt x="2194" y="90"/>
                  </a:lnTo>
                  <a:lnTo>
                    <a:pt x="2187" y="90"/>
                  </a:lnTo>
                  <a:lnTo>
                    <a:pt x="2173" y="74"/>
                  </a:lnTo>
                  <a:lnTo>
                    <a:pt x="2161" y="76"/>
                  </a:lnTo>
                  <a:lnTo>
                    <a:pt x="2161" y="100"/>
                  </a:lnTo>
                  <a:lnTo>
                    <a:pt x="2154" y="97"/>
                  </a:lnTo>
                  <a:lnTo>
                    <a:pt x="2147" y="88"/>
                  </a:lnTo>
                  <a:lnTo>
                    <a:pt x="2138" y="71"/>
                  </a:lnTo>
                  <a:lnTo>
                    <a:pt x="2128" y="78"/>
                  </a:lnTo>
                  <a:lnTo>
                    <a:pt x="2128" y="78"/>
                  </a:lnTo>
                  <a:close/>
                  <a:moveTo>
                    <a:pt x="2232" y="116"/>
                  </a:moveTo>
                  <a:lnTo>
                    <a:pt x="2232" y="130"/>
                  </a:lnTo>
                  <a:lnTo>
                    <a:pt x="2235" y="135"/>
                  </a:lnTo>
                  <a:lnTo>
                    <a:pt x="2251" y="149"/>
                  </a:lnTo>
                  <a:lnTo>
                    <a:pt x="2272" y="163"/>
                  </a:lnTo>
                  <a:lnTo>
                    <a:pt x="2284" y="156"/>
                  </a:lnTo>
                  <a:lnTo>
                    <a:pt x="2291" y="152"/>
                  </a:lnTo>
                  <a:lnTo>
                    <a:pt x="2291" y="144"/>
                  </a:lnTo>
                  <a:lnTo>
                    <a:pt x="2294" y="135"/>
                  </a:lnTo>
                  <a:lnTo>
                    <a:pt x="2287" y="135"/>
                  </a:lnTo>
                  <a:lnTo>
                    <a:pt x="2280" y="126"/>
                  </a:lnTo>
                  <a:lnTo>
                    <a:pt x="2268" y="126"/>
                  </a:lnTo>
                  <a:lnTo>
                    <a:pt x="2261" y="121"/>
                  </a:lnTo>
                  <a:lnTo>
                    <a:pt x="2258" y="121"/>
                  </a:lnTo>
                  <a:lnTo>
                    <a:pt x="2258" y="118"/>
                  </a:lnTo>
                  <a:lnTo>
                    <a:pt x="2251" y="116"/>
                  </a:lnTo>
                  <a:lnTo>
                    <a:pt x="2251" y="114"/>
                  </a:lnTo>
                  <a:lnTo>
                    <a:pt x="2246" y="114"/>
                  </a:lnTo>
                  <a:lnTo>
                    <a:pt x="2242" y="116"/>
                  </a:lnTo>
                  <a:lnTo>
                    <a:pt x="2232" y="107"/>
                  </a:lnTo>
                  <a:lnTo>
                    <a:pt x="2232" y="116"/>
                  </a:lnTo>
                  <a:lnTo>
                    <a:pt x="2232" y="116"/>
                  </a:lnTo>
                  <a:close/>
                  <a:moveTo>
                    <a:pt x="2154" y="194"/>
                  </a:moveTo>
                  <a:lnTo>
                    <a:pt x="2161" y="192"/>
                  </a:lnTo>
                  <a:lnTo>
                    <a:pt x="2180" y="196"/>
                  </a:lnTo>
                  <a:lnTo>
                    <a:pt x="2190" y="196"/>
                  </a:lnTo>
                  <a:lnTo>
                    <a:pt x="2199" y="199"/>
                  </a:lnTo>
                  <a:lnTo>
                    <a:pt x="2199" y="182"/>
                  </a:lnTo>
                  <a:lnTo>
                    <a:pt x="2180" y="168"/>
                  </a:lnTo>
                  <a:lnTo>
                    <a:pt x="2168" y="170"/>
                  </a:lnTo>
                  <a:lnTo>
                    <a:pt x="2161" y="182"/>
                  </a:lnTo>
                  <a:lnTo>
                    <a:pt x="2147" y="192"/>
                  </a:lnTo>
                  <a:lnTo>
                    <a:pt x="2154" y="194"/>
                  </a:lnTo>
                  <a:lnTo>
                    <a:pt x="2154" y="194"/>
                  </a:lnTo>
                  <a:close/>
                  <a:moveTo>
                    <a:pt x="2839" y="329"/>
                  </a:moveTo>
                  <a:lnTo>
                    <a:pt x="2846" y="331"/>
                  </a:lnTo>
                  <a:lnTo>
                    <a:pt x="2842" y="333"/>
                  </a:lnTo>
                  <a:lnTo>
                    <a:pt x="2846" y="341"/>
                  </a:lnTo>
                  <a:lnTo>
                    <a:pt x="2858" y="336"/>
                  </a:lnTo>
                  <a:lnTo>
                    <a:pt x="2872" y="331"/>
                  </a:lnTo>
                  <a:lnTo>
                    <a:pt x="2891" y="333"/>
                  </a:lnTo>
                  <a:lnTo>
                    <a:pt x="2905" y="329"/>
                  </a:lnTo>
                  <a:lnTo>
                    <a:pt x="2917" y="324"/>
                  </a:lnTo>
                  <a:lnTo>
                    <a:pt x="2917" y="319"/>
                  </a:lnTo>
                  <a:lnTo>
                    <a:pt x="2917" y="317"/>
                  </a:lnTo>
                  <a:lnTo>
                    <a:pt x="2910" y="310"/>
                  </a:lnTo>
                  <a:lnTo>
                    <a:pt x="2905" y="303"/>
                  </a:lnTo>
                  <a:lnTo>
                    <a:pt x="2894" y="300"/>
                  </a:lnTo>
                  <a:lnTo>
                    <a:pt x="2865" y="298"/>
                  </a:lnTo>
                  <a:lnTo>
                    <a:pt x="2858" y="305"/>
                  </a:lnTo>
                  <a:lnTo>
                    <a:pt x="2839" y="324"/>
                  </a:lnTo>
                  <a:lnTo>
                    <a:pt x="2839" y="329"/>
                  </a:lnTo>
                  <a:lnTo>
                    <a:pt x="2839" y="329"/>
                  </a:lnTo>
                  <a:close/>
                  <a:moveTo>
                    <a:pt x="522" y="445"/>
                  </a:moveTo>
                  <a:lnTo>
                    <a:pt x="524" y="452"/>
                  </a:lnTo>
                  <a:lnTo>
                    <a:pt x="534" y="452"/>
                  </a:lnTo>
                  <a:lnTo>
                    <a:pt x="541" y="445"/>
                  </a:lnTo>
                  <a:lnTo>
                    <a:pt x="548" y="428"/>
                  </a:lnTo>
                  <a:lnTo>
                    <a:pt x="536" y="423"/>
                  </a:lnTo>
                  <a:lnTo>
                    <a:pt x="527" y="423"/>
                  </a:lnTo>
                  <a:lnTo>
                    <a:pt x="522" y="445"/>
                  </a:lnTo>
                  <a:lnTo>
                    <a:pt x="522" y="445"/>
                  </a:lnTo>
                  <a:close/>
                  <a:moveTo>
                    <a:pt x="695" y="385"/>
                  </a:moveTo>
                  <a:lnTo>
                    <a:pt x="709" y="404"/>
                  </a:lnTo>
                  <a:lnTo>
                    <a:pt x="709" y="397"/>
                  </a:lnTo>
                  <a:lnTo>
                    <a:pt x="718" y="397"/>
                  </a:lnTo>
                  <a:lnTo>
                    <a:pt x="718" y="409"/>
                  </a:lnTo>
                  <a:lnTo>
                    <a:pt x="725" y="409"/>
                  </a:lnTo>
                  <a:lnTo>
                    <a:pt x="735" y="404"/>
                  </a:lnTo>
                  <a:lnTo>
                    <a:pt x="728" y="385"/>
                  </a:lnTo>
                  <a:lnTo>
                    <a:pt x="720" y="381"/>
                  </a:lnTo>
                  <a:lnTo>
                    <a:pt x="706" y="357"/>
                  </a:lnTo>
                  <a:lnTo>
                    <a:pt x="702" y="364"/>
                  </a:lnTo>
                  <a:lnTo>
                    <a:pt x="692" y="364"/>
                  </a:lnTo>
                  <a:lnTo>
                    <a:pt x="695" y="385"/>
                  </a:lnTo>
                  <a:lnTo>
                    <a:pt x="695" y="385"/>
                  </a:lnTo>
                  <a:close/>
                  <a:moveTo>
                    <a:pt x="900" y="64"/>
                  </a:moveTo>
                  <a:lnTo>
                    <a:pt x="872" y="76"/>
                  </a:lnTo>
                  <a:lnTo>
                    <a:pt x="865" y="71"/>
                  </a:lnTo>
                  <a:lnTo>
                    <a:pt x="855" y="71"/>
                  </a:lnTo>
                  <a:lnTo>
                    <a:pt x="848" y="78"/>
                  </a:lnTo>
                  <a:lnTo>
                    <a:pt x="841" y="76"/>
                  </a:lnTo>
                  <a:lnTo>
                    <a:pt x="824" y="74"/>
                  </a:lnTo>
                  <a:lnTo>
                    <a:pt x="822" y="81"/>
                  </a:lnTo>
                  <a:lnTo>
                    <a:pt x="810" y="83"/>
                  </a:lnTo>
                  <a:lnTo>
                    <a:pt x="775" y="97"/>
                  </a:lnTo>
                  <a:lnTo>
                    <a:pt x="761" y="111"/>
                  </a:lnTo>
                  <a:lnTo>
                    <a:pt x="746" y="114"/>
                  </a:lnTo>
                  <a:lnTo>
                    <a:pt x="737" y="116"/>
                  </a:lnTo>
                  <a:lnTo>
                    <a:pt x="730" y="111"/>
                  </a:lnTo>
                  <a:lnTo>
                    <a:pt x="718" y="123"/>
                  </a:lnTo>
                  <a:lnTo>
                    <a:pt x="732" y="128"/>
                  </a:lnTo>
                  <a:lnTo>
                    <a:pt x="720" y="137"/>
                  </a:lnTo>
                  <a:lnTo>
                    <a:pt x="713" y="156"/>
                  </a:lnTo>
                  <a:lnTo>
                    <a:pt x="697" y="163"/>
                  </a:lnTo>
                  <a:lnTo>
                    <a:pt x="695" y="166"/>
                  </a:lnTo>
                  <a:lnTo>
                    <a:pt x="676" y="170"/>
                  </a:lnTo>
                  <a:lnTo>
                    <a:pt x="685" y="182"/>
                  </a:lnTo>
                  <a:lnTo>
                    <a:pt x="695" y="185"/>
                  </a:lnTo>
                  <a:lnTo>
                    <a:pt x="683" y="194"/>
                  </a:lnTo>
                  <a:lnTo>
                    <a:pt x="697" y="199"/>
                  </a:lnTo>
                  <a:lnTo>
                    <a:pt x="711" y="211"/>
                  </a:lnTo>
                  <a:lnTo>
                    <a:pt x="725" y="196"/>
                  </a:lnTo>
                  <a:lnTo>
                    <a:pt x="716" y="187"/>
                  </a:lnTo>
                  <a:lnTo>
                    <a:pt x="730" y="192"/>
                  </a:lnTo>
                  <a:lnTo>
                    <a:pt x="737" y="185"/>
                  </a:lnTo>
                  <a:lnTo>
                    <a:pt x="754" y="173"/>
                  </a:lnTo>
                  <a:lnTo>
                    <a:pt x="758" y="163"/>
                  </a:lnTo>
                  <a:lnTo>
                    <a:pt x="763" y="159"/>
                  </a:lnTo>
                  <a:lnTo>
                    <a:pt x="765" y="152"/>
                  </a:lnTo>
                  <a:lnTo>
                    <a:pt x="777" y="159"/>
                  </a:lnTo>
                  <a:lnTo>
                    <a:pt x="791" y="149"/>
                  </a:lnTo>
                  <a:lnTo>
                    <a:pt x="791" y="144"/>
                  </a:lnTo>
                  <a:lnTo>
                    <a:pt x="924" y="100"/>
                  </a:lnTo>
                  <a:lnTo>
                    <a:pt x="931" y="104"/>
                  </a:lnTo>
                  <a:lnTo>
                    <a:pt x="933" y="97"/>
                  </a:lnTo>
                  <a:lnTo>
                    <a:pt x="945" y="88"/>
                  </a:lnTo>
                  <a:lnTo>
                    <a:pt x="940" y="83"/>
                  </a:lnTo>
                  <a:lnTo>
                    <a:pt x="947" y="78"/>
                  </a:lnTo>
                  <a:lnTo>
                    <a:pt x="945" y="64"/>
                  </a:lnTo>
                  <a:lnTo>
                    <a:pt x="947" y="59"/>
                  </a:lnTo>
                  <a:lnTo>
                    <a:pt x="933" y="57"/>
                  </a:lnTo>
                  <a:lnTo>
                    <a:pt x="909" y="55"/>
                  </a:lnTo>
                  <a:lnTo>
                    <a:pt x="900" y="64"/>
                  </a:lnTo>
                  <a:lnTo>
                    <a:pt x="900" y="64"/>
                  </a:lnTo>
                  <a:close/>
                  <a:moveTo>
                    <a:pt x="657" y="204"/>
                  </a:moveTo>
                  <a:lnTo>
                    <a:pt x="659" y="211"/>
                  </a:lnTo>
                  <a:lnTo>
                    <a:pt x="647" y="211"/>
                  </a:lnTo>
                  <a:lnTo>
                    <a:pt x="640" y="218"/>
                  </a:lnTo>
                  <a:lnTo>
                    <a:pt x="638" y="227"/>
                  </a:lnTo>
                  <a:lnTo>
                    <a:pt x="628" y="241"/>
                  </a:lnTo>
                  <a:lnTo>
                    <a:pt x="619" y="260"/>
                  </a:lnTo>
                  <a:lnTo>
                    <a:pt x="628" y="274"/>
                  </a:lnTo>
                  <a:lnTo>
                    <a:pt x="633" y="272"/>
                  </a:lnTo>
                  <a:lnTo>
                    <a:pt x="638" y="281"/>
                  </a:lnTo>
                  <a:lnTo>
                    <a:pt x="645" y="279"/>
                  </a:lnTo>
                  <a:lnTo>
                    <a:pt x="643" y="298"/>
                  </a:lnTo>
                  <a:lnTo>
                    <a:pt x="647" y="310"/>
                  </a:lnTo>
                  <a:lnTo>
                    <a:pt x="640" y="310"/>
                  </a:lnTo>
                  <a:lnTo>
                    <a:pt x="635" y="317"/>
                  </a:lnTo>
                  <a:lnTo>
                    <a:pt x="657" y="338"/>
                  </a:lnTo>
                  <a:lnTo>
                    <a:pt x="659" y="331"/>
                  </a:lnTo>
                  <a:lnTo>
                    <a:pt x="673" y="341"/>
                  </a:lnTo>
                  <a:lnTo>
                    <a:pt x="673" y="326"/>
                  </a:lnTo>
                  <a:lnTo>
                    <a:pt x="683" y="338"/>
                  </a:lnTo>
                  <a:lnTo>
                    <a:pt x="692" y="331"/>
                  </a:lnTo>
                  <a:lnTo>
                    <a:pt x="683" y="322"/>
                  </a:lnTo>
                  <a:lnTo>
                    <a:pt x="678" y="293"/>
                  </a:lnTo>
                  <a:lnTo>
                    <a:pt x="683" y="270"/>
                  </a:lnTo>
                  <a:lnTo>
                    <a:pt x="676" y="265"/>
                  </a:lnTo>
                  <a:lnTo>
                    <a:pt x="687" y="239"/>
                  </a:lnTo>
                  <a:lnTo>
                    <a:pt x="697" y="227"/>
                  </a:lnTo>
                  <a:lnTo>
                    <a:pt x="704" y="218"/>
                  </a:lnTo>
                  <a:lnTo>
                    <a:pt x="704" y="215"/>
                  </a:lnTo>
                  <a:lnTo>
                    <a:pt x="704" y="213"/>
                  </a:lnTo>
                  <a:lnTo>
                    <a:pt x="699" y="208"/>
                  </a:lnTo>
                  <a:lnTo>
                    <a:pt x="692" y="201"/>
                  </a:lnTo>
                  <a:lnTo>
                    <a:pt x="676" y="204"/>
                  </a:lnTo>
                  <a:lnTo>
                    <a:pt x="664" y="199"/>
                  </a:lnTo>
                  <a:lnTo>
                    <a:pt x="657" y="204"/>
                  </a:lnTo>
                  <a:lnTo>
                    <a:pt x="657" y="204"/>
                  </a:lnTo>
                  <a:close/>
                  <a:moveTo>
                    <a:pt x="902" y="211"/>
                  </a:moveTo>
                  <a:lnTo>
                    <a:pt x="914" y="206"/>
                  </a:lnTo>
                  <a:lnTo>
                    <a:pt x="921" y="206"/>
                  </a:lnTo>
                  <a:lnTo>
                    <a:pt x="928" y="199"/>
                  </a:lnTo>
                  <a:lnTo>
                    <a:pt x="919" y="187"/>
                  </a:lnTo>
                  <a:lnTo>
                    <a:pt x="907" y="187"/>
                  </a:lnTo>
                  <a:lnTo>
                    <a:pt x="898" y="187"/>
                  </a:lnTo>
                  <a:lnTo>
                    <a:pt x="895" y="211"/>
                  </a:lnTo>
                  <a:lnTo>
                    <a:pt x="902" y="211"/>
                  </a:lnTo>
                  <a:lnTo>
                    <a:pt x="902" y="211"/>
                  </a:lnTo>
                  <a:close/>
                  <a:moveTo>
                    <a:pt x="0" y="1014"/>
                  </a:moveTo>
                  <a:lnTo>
                    <a:pt x="12" y="1016"/>
                  </a:lnTo>
                  <a:lnTo>
                    <a:pt x="28" y="1019"/>
                  </a:lnTo>
                  <a:lnTo>
                    <a:pt x="52" y="1016"/>
                  </a:lnTo>
                  <a:lnTo>
                    <a:pt x="64" y="1016"/>
                  </a:lnTo>
                  <a:lnTo>
                    <a:pt x="64" y="1009"/>
                  </a:lnTo>
                  <a:lnTo>
                    <a:pt x="71" y="1002"/>
                  </a:lnTo>
                  <a:lnTo>
                    <a:pt x="54" y="1000"/>
                  </a:lnTo>
                  <a:lnTo>
                    <a:pt x="31" y="988"/>
                  </a:lnTo>
                  <a:lnTo>
                    <a:pt x="31" y="1004"/>
                  </a:lnTo>
                  <a:lnTo>
                    <a:pt x="24" y="1004"/>
                  </a:lnTo>
                  <a:lnTo>
                    <a:pt x="19" y="1000"/>
                  </a:lnTo>
                  <a:lnTo>
                    <a:pt x="9" y="1004"/>
                  </a:lnTo>
                  <a:lnTo>
                    <a:pt x="7" y="1012"/>
                  </a:lnTo>
                  <a:lnTo>
                    <a:pt x="0" y="1014"/>
                  </a:lnTo>
                  <a:lnTo>
                    <a:pt x="0" y="1014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srgbClr val="FF0000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42" name="Afghanistan">
              <a:extLst>
                <a:ext uri="{FF2B5EF4-FFF2-40B4-BE49-F238E27FC236}">
                  <a16:creationId xmlns="" xmlns:a16="http://schemas.microsoft.com/office/drawing/2014/main" id="{C17805C7-C9B1-4DB0-A5A9-BAE7BA5F8121}"/>
                </a:ext>
              </a:extLst>
            </p:cNvPr>
            <p:cNvSpPr>
              <a:spLocks/>
            </p:cNvSpPr>
            <p:nvPr/>
          </p:nvSpPr>
          <p:spPr bwMode="gray">
            <a:xfrm>
              <a:off x="7669334" y="3241156"/>
              <a:ext cx="437316" cy="353980"/>
            </a:xfrm>
            <a:custGeom>
              <a:avLst/>
              <a:gdLst/>
              <a:ahLst/>
              <a:cxnLst>
                <a:cxn ang="0">
                  <a:pos x="532" y="48"/>
                </a:cxn>
                <a:cxn ang="0">
                  <a:pos x="482" y="52"/>
                </a:cxn>
                <a:cxn ang="0">
                  <a:pos x="436" y="74"/>
                </a:cxn>
                <a:cxn ang="0">
                  <a:pos x="406" y="84"/>
                </a:cxn>
                <a:cxn ang="0">
                  <a:pos x="412" y="32"/>
                </a:cxn>
                <a:cxn ang="0">
                  <a:pos x="410" y="10"/>
                </a:cxn>
                <a:cxn ang="0">
                  <a:pos x="384" y="2"/>
                </a:cxn>
                <a:cxn ang="0">
                  <a:pos x="354" y="38"/>
                </a:cxn>
                <a:cxn ang="0">
                  <a:pos x="326" y="40"/>
                </a:cxn>
                <a:cxn ang="0">
                  <a:pos x="288" y="62"/>
                </a:cxn>
                <a:cxn ang="0">
                  <a:pos x="256" y="66"/>
                </a:cxn>
                <a:cxn ang="0">
                  <a:pos x="168" y="58"/>
                </a:cxn>
                <a:cxn ang="0">
                  <a:pos x="152" y="86"/>
                </a:cxn>
                <a:cxn ang="0">
                  <a:pos x="116" y="128"/>
                </a:cxn>
                <a:cxn ang="0">
                  <a:pos x="68" y="156"/>
                </a:cxn>
                <a:cxn ang="0">
                  <a:pos x="22" y="126"/>
                </a:cxn>
                <a:cxn ang="0">
                  <a:pos x="6" y="192"/>
                </a:cxn>
                <a:cxn ang="0">
                  <a:pos x="0" y="232"/>
                </a:cxn>
                <a:cxn ang="0">
                  <a:pos x="6" y="254"/>
                </a:cxn>
                <a:cxn ang="0">
                  <a:pos x="32" y="330"/>
                </a:cxn>
                <a:cxn ang="0">
                  <a:pos x="44" y="352"/>
                </a:cxn>
                <a:cxn ang="0">
                  <a:pos x="40" y="424"/>
                </a:cxn>
                <a:cxn ang="0">
                  <a:pos x="80" y="432"/>
                </a:cxn>
                <a:cxn ang="0">
                  <a:pos x="124" y="424"/>
                </a:cxn>
                <a:cxn ang="0">
                  <a:pos x="188" y="422"/>
                </a:cxn>
                <a:cxn ang="0">
                  <a:pos x="206" y="388"/>
                </a:cxn>
                <a:cxn ang="0">
                  <a:pos x="212" y="358"/>
                </a:cxn>
                <a:cxn ang="0">
                  <a:pos x="232" y="344"/>
                </a:cxn>
                <a:cxn ang="0">
                  <a:pos x="254" y="336"/>
                </a:cxn>
                <a:cxn ang="0">
                  <a:pos x="286" y="318"/>
                </a:cxn>
                <a:cxn ang="0">
                  <a:pos x="332" y="306"/>
                </a:cxn>
                <a:cxn ang="0">
                  <a:pos x="340" y="252"/>
                </a:cxn>
                <a:cxn ang="0">
                  <a:pos x="342" y="212"/>
                </a:cxn>
                <a:cxn ang="0">
                  <a:pos x="378" y="208"/>
                </a:cxn>
                <a:cxn ang="0">
                  <a:pos x="400" y="170"/>
                </a:cxn>
                <a:cxn ang="0">
                  <a:pos x="412" y="138"/>
                </a:cxn>
                <a:cxn ang="0">
                  <a:pos x="414" y="102"/>
                </a:cxn>
                <a:cxn ang="0">
                  <a:pos x="456" y="76"/>
                </a:cxn>
                <a:cxn ang="0">
                  <a:pos x="506" y="76"/>
                </a:cxn>
                <a:cxn ang="0">
                  <a:pos x="532" y="68"/>
                </a:cxn>
              </a:cxnLst>
              <a:rect l="0" t="0" r="r" b="b"/>
              <a:pathLst>
                <a:path w="540" h="432">
                  <a:moveTo>
                    <a:pt x="540" y="58"/>
                  </a:moveTo>
                  <a:lnTo>
                    <a:pt x="532" y="48"/>
                  </a:lnTo>
                  <a:lnTo>
                    <a:pt x="506" y="60"/>
                  </a:lnTo>
                  <a:lnTo>
                    <a:pt x="482" y="52"/>
                  </a:lnTo>
                  <a:lnTo>
                    <a:pt x="460" y="56"/>
                  </a:lnTo>
                  <a:lnTo>
                    <a:pt x="436" y="74"/>
                  </a:lnTo>
                  <a:lnTo>
                    <a:pt x="416" y="88"/>
                  </a:lnTo>
                  <a:lnTo>
                    <a:pt x="406" y="84"/>
                  </a:lnTo>
                  <a:lnTo>
                    <a:pt x="404" y="74"/>
                  </a:lnTo>
                  <a:lnTo>
                    <a:pt x="412" y="32"/>
                  </a:lnTo>
                  <a:lnTo>
                    <a:pt x="404" y="26"/>
                  </a:lnTo>
                  <a:lnTo>
                    <a:pt x="410" y="10"/>
                  </a:lnTo>
                  <a:lnTo>
                    <a:pt x="396" y="0"/>
                  </a:lnTo>
                  <a:lnTo>
                    <a:pt x="384" y="2"/>
                  </a:lnTo>
                  <a:lnTo>
                    <a:pt x="358" y="22"/>
                  </a:lnTo>
                  <a:lnTo>
                    <a:pt x="354" y="38"/>
                  </a:lnTo>
                  <a:lnTo>
                    <a:pt x="340" y="34"/>
                  </a:lnTo>
                  <a:lnTo>
                    <a:pt x="326" y="40"/>
                  </a:lnTo>
                  <a:lnTo>
                    <a:pt x="316" y="60"/>
                  </a:lnTo>
                  <a:lnTo>
                    <a:pt x="288" y="62"/>
                  </a:lnTo>
                  <a:lnTo>
                    <a:pt x="276" y="70"/>
                  </a:lnTo>
                  <a:lnTo>
                    <a:pt x="256" y="66"/>
                  </a:lnTo>
                  <a:lnTo>
                    <a:pt x="188" y="44"/>
                  </a:lnTo>
                  <a:lnTo>
                    <a:pt x="168" y="58"/>
                  </a:lnTo>
                  <a:lnTo>
                    <a:pt x="164" y="72"/>
                  </a:lnTo>
                  <a:lnTo>
                    <a:pt x="152" y="86"/>
                  </a:lnTo>
                  <a:lnTo>
                    <a:pt x="150" y="102"/>
                  </a:lnTo>
                  <a:lnTo>
                    <a:pt x="116" y="128"/>
                  </a:lnTo>
                  <a:lnTo>
                    <a:pt x="100" y="128"/>
                  </a:lnTo>
                  <a:lnTo>
                    <a:pt x="68" y="156"/>
                  </a:lnTo>
                  <a:lnTo>
                    <a:pt x="62" y="138"/>
                  </a:lnTo>
                  <a:lnTo>
                    <a:pt x="22" y="126"/>
                  </a:lnTo>
                  <a:lnTo>
                    <a:pt x="22" y="156"/>
                  </a:lnTo>
                  <a:lnTo>
                    <a:pt x="6" y="192"/>
                  </a:lnTo>
                  <a:lnTo>
                    <a:pt x="0" y="194"/>
                  </a:lnTo>
                  <a:lnTo>
                    <a:pt x="0" y="232"/>
                  </a:lnTo>
                  <a:lnTo>
                    <a:pt x="16" y="238"/>
                  </a:lnTo>
                  <a:lnTo>
                    <a:pt x="6" y="254"/>
                  </a:lnTo>
                  <a:lnTo>
                    <a:pt x="12" y="326"/>
                  </a:lnTo>
                  <a:lnTo>
                    <a:pt x="32" y="330"/>
                  </a:lnTo>
                  <a:lnTo>
                    <a:pt x="44" y="334"/>
                  </a:lnTo>
                  <a:lnTo>
                    <a:pt x="44" y="352"/>
                  </a:lnTo>
                  <a:lnTo>
                    <a:pt x="12" y="406"/>
                  </a:lnTo>
                  <a:lnTo>
                    <a:pt x="40" y="424"/>
                  </a:lnTo>
                  <a:lnTo>
                    <a:pt x="58" y="428"/>
                  </a:lnTo>
                  <a:lnTo>
                    <a:pt x="80" y="432"/>
                  </a:lnTo>
                  <a:lnTo>
                    <a:pt x="100" y="422"/>
                  </a:lnTo>
                  <a:lnTo>
                    <a:pt x="124" y="424"/>
                  </a:lnTo>
                  <a:lnTo>
                    <a:pt x="146" y="420"/>
                  </a:lnTo>
                  <a:lnTo>
                    <a:pt x="188" y="422"/>
                  </a:lnTo>
                  <a:lnTo>
                    <a:pt x="214" y="406"/>
                  </a:lnTo>
                  <a:lnTo>
                    <a:pt x="206" y="388"/>
                  </a:lnTo>
                  <a:lnTo>
                    <a:pt x="212" y="372"/>
                  </a:lnTo>
                  <a:lnTo>
                    <a:pt x="212" y="358"/>
                  </a:lnTo>
                  <a:lnTo>
                    <a:pt x="218" y="344"/>
                  </a:lnTo>
                  <a:lnTo>
                    <a:pt x="232" y="344"/>
                  </a:lnTo>
                  <a:lnTo>
                    <a:pt x="246" y="328"/>
                  </a:lnTo>
                  <a:lnTo>
                    <a:pt x="254" y="336"/>
                  </a:lnTo>
                  <a:lnTo>
                    <a:pt x="270" y="326"/>
                  </a:lnTo>
                  <a:lnTo>
                    <a:pt x="286" y="318"/>
                  </a:lnTo>
                  <a:lnTo>
                    <a:pt x="316" y="318"/>
                  </a:lnTo>
                  <a:lnTo>
                    <a:pt x="332" y="306"/>
                  </a:lnTo>
                  <a:lnTo>
                    <a:pt x="330" y="282"/>
                  </a:lnTo>
                  <a:lnTo>
                    <a:pt x="340" y="252"/>
                  </a:lnTo>
                  <a:lnTo>
                    <a:pt x="368" y="238"/>
                  </a:lnTo>
                  <a:lnTo>
                    <a:pt x="342" y="212"/>
                  </a:lnTo>
                  <a:lnTo>
                    <a:pt x="348" y="204"/>
                  </a:lnTo>
                  <a:lnTo>
                    <a:pt x="378" y="208"/>
                  </a:lnTo>
                  <a:lnTo>
                    <a:pt x="398" y="188"/>
                  </a:lnTo>
                  <a:lnTo>
                    <a:pt x="400" y="170"/>
                  </a:lnTo>
                  <a:lnTo>
                    <a:pt x="414" y="156"/>
                  </a:lnTo>
                  <a:lnTo>
                    <a:pt x="412" y="138"/>
                  </a:lnTo>
                  <a:lnTo>
                    <a:pt x="398" y="124"/>
                  </a:lnTo>
                  <a:lnTo>
                    <a:pt x="414" y="102"/>
                  </a:lnTo>
                  <a:lnTo>
                    <a:pt x="426" y="106"/>
                  </a:lnTo>
                  <a:lnTo>
                    <a:pt x="456" y="76"/>
                  </a:lnTo>
                  <a:lnTo>
                    <a:pt x="494" y="74"/>
                  </a:lnTo>
                  <a:lnTo>
                    <a:pt x="506" y="76"/>
                  </a:lnTo>
                  <a:lnTo>
                    <a:pt x="518" y="68"/>
                  </a:lnTo>
                  <a:lnTo>
                    <a:pt x="532" y="68"/>
                  </a:lnTo>
                  <a:lnTo>
                    <a:pt x="540" y="58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43" name="Albania">
              <a:extLst>
                <a:ext uri="{FF2B5EF4-FFF2-40B4-BE49-F238E27FC236}">
                  <a16:creationId xmlns="" xmlns:a16="http://schemas.microsoft.com/office/drawing/2014/main" id="{4C949392-7521-4741-99B2-388F7334C0E0}"/>
                </a:ext>
              </a:extLst>
            </p:cNvPr>
            <p:cNvSpPr>
              <a:spLocks/>
            </p:cNvSpPr>
            <p:nvPr/>
          </p:nvSpPr>
          <p:spPr bwMode="gray">
            <a:xfrm>
              <a:off x="6400336" y="3060232"/>
              <a:ext cx="54664" cy="127826"/>
            </a:xfrm>
            <a:custGeom>
              <a:avLst/>
              <a:gdLst/>
              <a:ahLst/>
              <a:cxnLst>
                <a:cxn ang="0">
                  <a:pos x="52" y="64"/>
                </a:cxn>
                <a:cxn ang="0">
                  <a:pos x="54" y="78"/>
                </a:cxn>
                <a:cxn ang="0">
                  <a:pos x="62" y="84"/>
                </a:cxn>
                <a:cxn ang="0">
                  <a:pos x="68" y="92"/>
                </a:cxn>
                <a:cxn ang="0">
                  <a:pos x="68" y="110"/>
                </a:cxn>
                <a:cxn ang="0">
                  <a:pos x="54" y="118"/>
                </a:cxn>
                <a:cxn ang="0">
                  <a:pos x="42" y="134"/>
                </a:cxn>
                <a:cxn ang="0">
                  <a:pos x="42" y="144"/>
                </a:cxn>
                <a:cxn ang="0">
                  <a:pos x="30" y="156"/>
                </a:cxn>
                <a:cxn ang="0">
                  <a:pos x="18" y="142"/>
                </a:cxn>
                <a:cxn ang="0">
                  <a:pos x="2" y="120"/>
                </a:cxn>
                <a:cxn ang="0">
                  <a:pos x="2" y="108"/>
                </a:cxn>
                <a:cxn ang="0">
                  <a:pos x="6" y="100"/>
                </a:cxn>
                <a:cxn ang="0">
                  <a:pos x="4" y="74"/>
                </a:cxn>
                <a:cxn ang="0">
                  <a:pos x="6" y="58"/>
                </a:cxn>
                <a:cxn ang="0">
                  <a:pos x="6" y="36"/>
                </a:cxn>
                <a:cxn ang="0">
                  <a:pos x="0" y="32"/>
                </a:cxn>
                <a:cxn ang="0">
                  <a:pos x="2" y="14"/>
                </a:cxn>
                <a:cxn ang="0">
                  <a:pos x="14" y="0"/>
                </a:cxn>
                <a:cxn ang="0">
                  <a:pos x="26" y="8"/>
                </a:cxn>
                <a:cxn ang="0">
                  <a:pos x="38" y="10"/>
                </a:cxn>
                <a:cxn ang="0">
                  <a:pos x="44" y="44"/>
                </a:cxn>
                <a:cxn ang="0">
                  <a:pos x="52" y="64"/>
                </a:cxn>
              </a:cxnLst>
              <a:rect l="0" t="0" r="r" b="b"/>
              <a:pathLst>
                <a:path w="68" h="156">
                  <a:moveTo>
                    <a:pt x="52" y="64"/>
                  </a:moveTo>
                  <a:lnTo>
                    <a:pt x="54" y="78"/>
                  </a:lnTo>
                  <a:lnTo>
                    <a:pt x="62" y="84"/>
                  </a:lnTo>
                  <a:lnTo>
                    <a:pt x="68" y="92"/>
                  </a:lnTo>
                  <a:lnTo>
                    <a:pt x="68" y="110"/>
                  </a:lnTo>
                  <a:lnTo>
                    <a:pt x="54" y="118"/>
                  </a:lnTo>
                  <a:lnTo>
                    <a:pt x="42" y="134"/>
                  </a:lnTo>
                  <a:lnTo>
                    <a:pt x="42" y="144"/>
                  </a:lnTo>
                  <a:lnTo>
                    <a:pt x="30" y="156"/>
                  </a:lnTo>
                  <a:lnTo>
                    <a:pt x="18" y="142"/>
                  </a:lnTo>
                  <a:lnTo>
                    <a:pt x="2" y="120"/>
                  </a:lnTo>
                  <a:lnTo>
                    <a:pt x="2" y="108"/>
                  </a:lnTo>
                  <a:lnTo>
                    <a:pt x="6" y="100"/>
                  </a:lnTo>
                  <a:lnTo>
                    <a:pt x="4" y="74"/>
                  </a:lnTo>
                  <a:lnTo>
                    <a:pt x="6" y="58"/>
                  </a:lnTo>
                  <a:lnTo>
                    <a:pt x="6" y="36"/>
                  </a:lnTo>
                  <a:lnTo>
                    <a:pt x="0" y="32"/>
                  </a:lnTo>
                  <a:lnTo>
                    <a:pt x="2" y="14"/>
                  </a:lnTo>
                  <a:lnTo>
                    <a:pt x="14" y="0"/>
                  </a:lnTo>
                  <a:lnTo>
                    <a:pt x="26" y="8"/>
                  </a:lnTo>
                  <a:lnTo>
                    <a:pt x="38" y="10"/>
                  </a:lnTo>
                  <a:lnTo>
                    <a:pt x="44" y="44"/>
                  </a:lnTo>
                  <a:lnTo>
                    <a:pt x="52" y="64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44" name="Algeria">
              <a:extLst>
                <a:ext uri="{FF2B5EF4-FFF2-40B4-BE49-F238E27FC236}">
                  <a16:creationId xmlns="" xmlns:a16="http://schemas.microsoft.com/office/drawing/2014/main" id="{01E11216-BF4D-4E0B-B504-B3EBCDF775B0}"/>
                </a:ext>
              </a:extLst>
            </p:cNvPr>
            <p:cNvSpPr>
              <a:spLocks/>
            </p:cNvSpPr>
            <p:nvPr/>
          </p:nvSpPr>
          <p:spPr bwMode="gray">
            <a:xfrm>
              <a:off x="5535464" y="3282453"/>
              <a:ext cx="652070" cy="662731"/>
            </a:xfrm>
            <a:custGeom>
              <a:avLst/>
              <a:gdLst/>
              <a:ahLst/>
              <a:cxnLst>
                <a:cxn ang="0">
                  <a:pos x="362" y="723"/>
                </a:cxn>
                <a:cxn ang="0">
                  <a:pos x="374" y="743"/>
                </a:cxn>
                <a:cxn ang="0">
                  <a:pos x="388" y="743"/>
                </a:cxn>
                <a:cxn ang="0">
                  <a:pos x="412" y="763"/>
                </a:cxn>
                <a:cxn ang="0">
                  <a:pos x="426" y="755"/>
                </a:cxn>
                <a:cxn ang="0">
                  <a:pos x="452" y="769"/>
                </a:cxn>
                <a:cxn ang="0">
                  <a:pos x="454" y="803"/>
                </a:cxn>
                <a:cxn ang="0">
                  <a:pos x="466" y="809"/>
                </a:cxn>
                <a:cxn ang="0">
                  <a:pos x="492" y="803"/>
                </a:cxn>
                <a:cxn ang="0">
                  <a:pos x="580" y="769"/>
                </a:cxn>
                <a:cxn ang="0">
                  <a:pos x="800" y="627"/>
                </a:cxn>
                <a:cxn ang="0">
                  <a:pos x="772" y="587"/>
                </a:cxn>
                <a:cxn ang="0">
                  <a:pos x="748" y="569"/>
                </a:cxn>
                <a:cxn ang="0">
                  <a:pos x="728" y="569"/>
                </a:cxn>
                <a:cxn ang="0">
                  <a:pos x="712" y="555"/>
                </a:cxn>
                <a:cxn ang="0">
                  <a:pos x="718" y="547"/>
                </a:cxn>
                <a:cxn ang="0">
                  <a:pos x="696" y="509"/>
                </a:cxn>
                <a:cxn ang="0">
                  <a:pos x="714" y="487"/>
                </a:cxn>
                <a:cxn ang="0">
                  <a:pos x="706" y="467"/>
                </a:cxn>
                <a:cxn ang="0">
                  <a:pos x="712" y="439"/>
                </a:cxn>
                <a:cxn ang="0">
                  <a:pos x="704" y="346"/>
                </a:cxn>
                <a:cxn ang="0">
                  <a:pos x="684" y="252"/>
                </a:cxn>
                <a:cxn ang="0">
                  <a:pos x="656" y="234"/>
                </a:cxn>
                <a:cxn ang="0">
                  <a:pos x="654" y="218"/>
                </a:cxn>
                <a:cxn ang="0">
                  <a:pos x="628" y="198"/>
                </a:cxn>
                <a:cxn ang="0">
                  <a:pos x="614" y="158"/>
                </a:cxn>
                <a:cxn ang="0">
                  <a:pos x="620" y="144"/>
                </a:cxn>
                <a:cxn ang="0">
                  <a:pos x="648" y="106"/>
                </a:cxn>
                <a:cxn ang="0">
                  <a:pos x="648" y="30"/>
                </a:cxn>
                <a:cxn ang="0">
                  <a:pos x="654" y="10"/>
                </a:cxn>
                <a:cxn ang="0">
                  <a:pos x="624" y="12"/>
                </a:cxn>
                <a:cxn ang="0">
                  <a:pos x="606" y="0"/>
                </a:cxn>
                <a:cxn ang="0">
                  <a:pos x="598" y="10"/>
                </a:cxn>
                <a:cxn ang="0">
                  <a:pos x="572" y="10"/>
                </a:cxn>
                <a:cxn ang="0">
                  <a:pos x="560" y="18"/>
                </a:cxn>
                <a:cxn ang="0">
                  <a:pos x="544" y="20"/>
                </a:cxn>
                <a:cxn ang="0">
                  <a:pos x="534" y="28"/>
                </a:cxn>
                <a:cxn ang="0">
                  <a:pos x="516" y="18"/>
                </a:cxn>
                <a:cxn ang="0">
                  <a:pos x="492" y="14"/>
                </a:cxn>
                <a:cxn ang="0">
                  <a:pos x="438" y="32"/>
                </a:cxn>
                <a:cxn ang="0">
                  <a:pos x="368" y="42"/>
                </a:cxn>
                <a:cxn ang="0">
                  <a:pos x="320" y="78"/>
                </a:cxn>
                <a:cxn ang="0">
                  <a:pos x="288" y="86"/>
                </a:cxn>
                <a:cxn ang="0">
                  <a:pos x="260" y="102"/>
                </a:cxn>
                <a:cxn ang="0">
                  <a:pos x="244" y="104"/>
                </a:cxn>
                <a:cxn ang="0">
                  <a:pos x="254" y="138"/>
                </a:cxn>
                <a:cxn ang="0">
                  <a:pos x="254" y="174"/>
                </a:cxn>
                <a:cxn ang="0">
                  <a:pos x="264" y="204"/>
                </a:cxn>
                <a:cxn ang="0">
                  <a:pos x="282" y="220"/>
                </a:cxn>
                <a:cxn ang="0">
                  <a:pos x="274" y="246"/>
                </a:cxn>
                <a:cxn ang="0">
                  <a:pos x="230" y="240"/>
                </a:cxn>
                <a:cxn ang="0">
                  <a:pos x="214" y="256"/>
                </a:cxn>
                <a:cxn ang="0">
                  <a:pos x="214" y="276"/>
                </a:cxn>
                <a:cxn ang="0">
                  <a:pos x="106" y="356"/>
                </a:cxn>
                <a:cxn ang="0">
                  <a:pos x="94" y="373"/>
                </a:cxn>
                <a:cxn ang="0">
                  <a:pos x="64" y="377"/>
                </a:cxn>
                <a:cxn ang="0">
                  <a:pos x="20" y="397"/>
                </a:cxn>
                <a:cxn ang="0">
                  <a:pos x="0" y="421"/>
                </a:cxn>
                <a:cxn ang="0">
                  <a:pos x="0" y="439"/>
                </a:cxn>
                <a:cxn ang="0">
                  <a:pos x="0" y="465"/>
                </a:cxn>
                <a:cxn ang="0">
                  <a:pos x="134" y="559"/>
                </a:cxn>
                <a:cxn ang="0">
                  <a:pos x="362" y="723"/>
                </a:cxn>
              </a:cxnLst>
              <a:rect l="0" t="0" r="r" b="b"/>
              <a:pathLst>
                <a:path w="800" h="809">
                  <a:moveTo>
                    <a:pt x="362" y="723"/>
                  </a:moveTo>
                  <a:lnTo>
                    <a:pt x="374" y="743"/>
                  </a:lnTo>
                  <a:lnTo>
                    <a:pt x="388" y="743"/>
                  </a:lnTo>
                  <a:lnTo>
                    <a:pt x="412" y="763"/>
                  </a:lnTo>
                  <a:lnTo>
                    <a:pt x="426" y="755"/>
                  </a:lnTo>
                  <a:lnTo>
                    <a:pt x="452" y="769"/>
                  </a:lnTo>
                  <a:lnTo>
                    <a:pt x="454" y="803"/>
                  </a:lnTo>
                  <a:lnTo>
                    <a:pt x="466" y="809"/>
                  </a:lnTo>
                  <a:lnTo>
                    <a:pt x="492" y="803"/>
                  </a:lnTo>
                  <a:lnTo>
                    <a:pt x="580" y="769"/>
                  </a:lnTo>
                  <a:lnTo>
                    <a:pt x="800" y="627"/>
                  </a:lnTo>
                  <a:lnTo>
                    <a:pt x="772" y="587"/>
                  </a:lnTo>
                  <a:lnTo>
                    <a:pt x="748" y="569"/>
                  </a:lnTo>
                  <a:lnTo>
                    <a:pt x="728" y="569"/>
                  </a:lnTo>
                  <a:lnTo>
                    <a:pt x="712" y="555"/>
                  </a:lnTo>
                  <a:lnTo>
                    <a:pt x="718" y="547"/>
                  </a:lnTo>
                  <a:lnTo>
                    <a:pt x="696" y="509"/>
                  </a:lnTo>
                  <a:lnTo>
                    <a:pt x="714" y="487"/>
                  </a:lnTo>
                  <a:lnTo>
                    <a:pt x="706" y="467"/>
                  </a:lnTo>
                  <a:lnTo>
                    <a:pt x="712" y="439"/>
                  </a:lnTo>
                  <a:lnTo>
                    <a:pt x="704" y="346"/>
                  </a:lnTo>
                  <a:lnTo>
                    <a:pt x="684" y="252"/>
                  </a:lnTo>
                  <a:lnTo>
                    <a:pt x="656" y="234"/>
                  </a:lnTo>
                  <a:lnTo>
                    <a:pt x="654" y="218"/>
                  </a:lnTo>
                  <a:lnTo>
                    <a:pt x="628" y="198"/>
                  </a:lnTo>
                  <a:lnTo>
                    <a:pt x="614" y="158"/>
                  </a:lnTo>
                  <a:lnTo>
                    <a:pt x="620" y="144"/>
                  </a:lnTo>
                  <a:lnTo>
                    <a:pt x="648" y="106"/>
                  </a:lnTo>
                  <a:lnTo>
                    <a:pt x="648" y="30"/>
                  </a:lnTo>
                  <a:lnTo>
                    <a:pt x="654" y="10"/>
                  </a:lnTo>
                  <a:lnTo>
                    <a:pt x="624" y="12"/>
                  </a:lnTo>
                  <a:lnTo>
                    <a:pt x="606" y="0"/>
                  </a:lnTo>
                  <a:lnTo>
                    <a:pt x="598" y="10"/>
                  </a:lnTo>
                  <a:lnTo>
                    <a:pt x="572" y="10"/>
                  </a:lnTo>
                  <a:lnTo>
                    <a:pt x="560" y="18"/>
                  </a:lnTo>
                  <a:lnTo>
                    <a:pt x="544" y="20"/>
                  </a:lnTo>
                  <a:lnTo>
                    <a:pt x="534" y="28"/>
                  </a:lnTo>
                  <a:lnTo>
                    <a:pt x="516" y="18"/>
                  </a:lnTo>
                  <a:lnTo>
                    <a:pt x="492" y="14"/>
                  </a:lnTo>
                  <a:lnTo>
                    <a:pt x="438" y="32"/>
                  </a:lnTo>
                  <a:lnTo>
                    <a:pt x="368" y="42"/>
                  </a:lnTo>
                  <a:lnTo>
                    <a:pt x="320" y="78"/>
                  </a:lnTo>
                  <a:lnTo>
                    <a:pt x="288" y="86"/>
                  </a:lnTo>
                  <a:lnTo>
                    <a:pt x="260" y="102"/>
                  </a:lnTo>
                  <a:lnTo>
                    <a:pt x="244" y="104"/>
                  </a:lnTo>
                  <a:lnTo>
                    <a:pt x="254" y="138"/>
                  </a:lnTo>
                  <a:lnTo>
                    <a:pt x="254" y="174"/>
                  </a:lnTo>
                  <a:lnTo>
                    <a:pt x="264" y="204"/>
                  </a:lnTo>
                  <a:lnTo>
                    <a:pt x="282" y="220"/>
                  </a:lnTo>
                  <a:lnTo>
                    <a:pt x="274" y="246"/>
                  </a:lnTo>
                  <a:lnTo>
                    <a:pt x="230" y="240"/>
                  </a:lnTo>
                  <a:lnTo>
                    <a:pt x="214" y="256"/>
                  </a:lnTo>
                  <a:lnTo>
                    <a:pt x="214" y="276"/>
                  </a:lnTo>
                  <a:lnTo>
                    <a:pt x="106" y="356"/>
                  </a:lnTo>
                  <a:lnTo>
                    <a:pt x="94" y="373"/>
                  </a:lnTo>
                  <a:lnTo>
                    <a:pt x="64" y="377"/>
                  </a:lnTo>
                  <a:lnTo>
                    <a:pt x="20" y="397"/>
                  </a:lnTo>
                  <a:lnTo>
                    <a:pt x="0" y="421"/>
                  </a:lnTo>
                  <a:lnTo>
                    <a:pt x="0" y="439"/>
                  </a:lnTo>
                  <a:lnTo>
                    <a:pt x="0" y="465"/>
                  </a:lnTo>
                  <a:lnTo>
                    <a:pt x="134" y="559"/>
                  </a:lnTo>
                  <a:lnTo>
                    <a:pt x="362" y="723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45" name="Andorra">
              <a:extLst>
                <a:ext uri="{FF2B5EF4-FFF2-40B4-BE49-F238E27FC236}">
                  <a16:creationId xmlns="" xmlns:a16="http://schemas.microsoft.com/office/drawing/2014/main" id="{D8B9B229-3B16-4360-831E-9454327EEB60}"/>
                </a:ext>
              </a:extLst>
            </p:cNvPr>
            <p:cNvSpPr>
              <a:spLocks/>
            </p:cNvSpPr>
            <p:nvPr/>
          </p:nvSpPr>
          <p:spPr bwMode="gray">
            <a:xfrm>
              <a:off x="5845881" y="3052368"/>
              <a:ext cx="23427" cy="19666"/>
            </a:xfrm>
            <a:custGeom>
              <a:avLst/>
              <a:gdLst/>
              <a:ahLst/>
              <a:cxnLst>
                <a:cxn ang="0">
                  <a:pos x="26" y="16"/>
                </a:cxn>
                <a:cxn ang="0">
                  <a:pos x="22" y="6"/>
                </a:cxn>
                <a:cxn ang="0">
                  <a:pos x="4" y="0"/>
                </a:cxn>
                <a:cxn ang="0">
                  <a:pos x="4" y="8"/>
                </a:cxn>
                <a:cxn ang="0">
                  <a:pos x="0" y="18"/>
                </a:cxn>
                <a:cxn ang="0">
                  <a:pos x="14" y="26"/>
                </a:cxn>
                <a:cxn ang="0">
                  <a:pos x="26" y="16"/>
                </a:cxn>
              </a:cxnLst>
              <a:rect l="0" t="0" r="r" b="b"/>
              <a:pathLst>
                <a:path w="26" h="26">
                  <a:moveTo>
                    <a:pt x="26" y="16"/>
                  </a:moveTo>
                  <a:lnTo>
                    <a:pt x="22" y="6"/>
                  </a:lnTo>
                  <a:lnTo>
                    <a:pt x="4" y="0"/>
                  </a:lnTo>
                  <a:lnTo>
                    <a:pt x="4" y="8"/>
                  </a:lnTo>
                  <a:lnTo>
                    <a:pt x="0" y="18"/>
                  </a:lnTo>
                  <a:lnTo>
                    <a:pt x="14" y="26"/>
                  </a:lnTo>
                  <a:lnTo>
                    <a:pt x="26" y="16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46" name="Angola">
              <a:extLst>
                <a:ext uri="{FF2B5EF4-FFF2-40B4-BE49-F238E27FC236}">
                  <a16:creationId xmlns="" xmlns:a16="http://schemas.microsoft.com/office/drawing/2014/main" id="{8A2E2508-0D3F-4DBF-BA0B-9B189DE7D02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162155" y="4704277"/>
              <a:ext cx="394366" cy="440509"/>
            </a:xfrm>
            <a:custGeom>
              <a:avLst/>
              <a:gdLst/>
              <a:ahLst/>
              <a:cxnLst>
                <a:cxn ang="0">
                  <a:pos x="22" y="64"/>
                </a:cxn>
                <a:cxn ang="0">
                  <a:pos x="62" y="54"/>
                </a:cxn>
                <a:cxn ang="0">
                  <a:pos x="198" y="54"/>
                </a:cxn>
                <a:cxn ang="0">
                  <a:pos x="214" y="118"/>
                </a:cxn>
                <a:cxn ang="0">
                  <a:pos x="296" y="144"/>
                </a:cxn>
                <a:cxn ang="0">
                  <a:pos x="349" y="104"/>
                </a:cxn>
                <a:cxn ang="0">
                  <a:pos x="397" y="116"/>
                </a:cxn>
                <a:cxn ang="0">
                  <a:pos x="409" y="224"/>
                </a:cxn>
                <a:cxn ang="0">
                  <a:pos x="479" y="252"/>
                </a:cxn>
                <a:cxn ang="0">
                  <a:pos x="479" y="334"/>
                </a:cxn>
                <a:cxn ang="0">
                  <a:pos x="405" y="351"/>
                </a:cxn>
                <a:cxn ang="0">
                  <a:pos x="427" y="489"/>
                </a:cxn>
                <a:cxn ang="0">
                  <a:pos x="377" y="535"/>
                </a:cxn>
                <a:cxn ang="0">
                  <a:pos x="314" y="537"/>
                </a:cxn>
                <a:cxn ang="0">
                  <a:pos x="262" y="509"/>
                </a:cxn>
                <a:cxn ang="0">
                  <a:pos x="92" y="519"/>
                </a:cxn>
                <a:cxn ang="0">
                  <a:pos x="56" y="499"/>
                </a:cxn>
                <a:cxn ang="0">
                  <a:pos x="6" y="509"/>
                </a:cxn>
                <a:cxn ang="0">
                  <a:pos x="6" y="483"/>
                </a:cxn>
                <a:cxn ang="0">
                  <a:pos x="0" y="445"/>
                </a:cxn>
                <a:cxn ang="0">
                  <a:pos x="10" y="411"/>
                </a:cxn>
                <a:cxn ang="0">
                  <a:pos x="30" y="359"/>
                </a:cxn>
                <a:cxn ang="0">
                  <a:pos x="46" y="322"/>
                </a:cxn>
                <a:cxn ang="0">
                  <a:pos x="70" y="310"/>
                </a:cxn>
                <a:cxn ang="0">
                  <a:pos x="84" y="252"/>
                </a:cxn>
                <a:cxn ang="0">
                  <a:pos x="62" y="200"/>
                </a:cxn>
                <a:cxn ang="0">
                  <a:pos x="56" y="176"/>
                </a:cxn>
                <a:cxn ang="0">
                  <a:pos x="68" y="152"/>
                </a:cxn>
                <a:cxn ang="0">
                  <a:pos x="36" y="94"/>
                </a:cxn>
                <a:cxn ang="0">
                  <a:pos x="32" y="46"/>
                </a:cxn>
                <a:cxn ang="0">
                  <a:pos x="48" y="28"/>
                </a:cxn>
                <a:cxn ang="0">
                  <a:pos x="46" y="0"/>
                </a:cxn>
                <a:cxn ang="0">
                  <a:pos x="12" y="30"/>
                </a:cxn>
                <a:cxn ang="0">
                  <a:pos x="18" y="52"/>
                </a:cxn>
              </a:cxnLst>
              <a:rect l="0" t="0" r="r" b="b"/>
              <a:pathLst>
                <a:path w="483" h="539">
                  <a:moveTo>
                    <a:pt x="36" y="94"/>
                  </a:moveTo>
                  <a:lnTo>
                    <a:pt x="22" y="64"/>
                  </a:lnTo>
                  <a:lnTo>
                    <a:pt x="44" y="56"/>
                  </a:lnTo>
                  <a:lnTo>
                    <a:pt x="62" y="54"/>
                  </a:lnTo>
                  <a:lnTo>
                    <a:pt x="142" y="56"/>
                  </a:lnTo>
                  <a:lnTo>
                    <a:pt x="198" y="54"/>
                  </a:lnTo>
                  <a:lnTo>
                    <a:pt x="210" y="98"/>
                  </a:lnTo>
                  <a:lnTo>
                    <a:pt x="214" y="118"/>
                  </a:lnTo>
                  <a:lnTo>
                    <a:pt x="234" y="148"/>
                  </a:lnTo>
                  <a:lnTo>
                    <a:pt x="296" y="144"/>
                  </a:lnTo>
                  <a:lnTo>
                    <a:pt x="306" y="108"/>
                  </a:lnTo>
                  <a:lnTo>
                    <a:pt x="349" y="104"/>
                  </a:lnTo>
                  <a:lnTo>
                    <a:pt x="349" y="116"/>
                  </a:lnTo>
                  <a:lnTo>
                    <a:pt x="397" y="116"/>
                  </a:lnTo>
                  <a:lnTo>
                    <a:pt x="395" y="196"/>
                  </a:lnTo>
                  <a:lnTo>
                    <a:pt x="409" y="224"/>
                  </a:lnTo>
                  <a:lnTo>
                    <a:pt x="409" y="262"/>
                  </a:lnTo>
                  <a:lnTo>
                    <a:pt x="479" y="252"/>
                  </a:lnTo>
                  <a:lnTo>
                    <a:pt x="483" y="320"/>
                  </a:lnTo>
                  <a:lnTo>
                    <a:pt x="479" y="334"/>
                  </a:lnTo>
                  <a:lnTo>
                    <a:pt x="479" y="351"/>
                  </a:lnTo>
                  <a:lnTo>
                    <a:pt x="405" y="351"/>
                  </a:lnTo>
                  <a:lnTo>
                    <a:pt x="405" y="467"/>
                  </a:lnTo>
                  <a:lnTo>
                    <a:pt x="427" y="489"/>
                  </a:lnTo>
                  <a:lnTo>
                    <a:pt x="447" y="519"/>
                  </a:lnTo>
                  <a:lnTo>
                    <a:pt x="377" y="535"/>
                  </a:lnTo>
                  <a:lnTo>
                    <a:pt x="331" y="539"/>
                  </a:lnTo>
                  <a:lnTo>
                    <a:pt x="314" y="537"/>
                  </a:lnTo>
                  <a:lnTo>
                    <a:pt x="286" y="527"/>
                  </a:lnTo>
                  <a:lnTo>
                    <a:pt x="262" y="509"/>
                  </a:lnTo>
                  <a:lnTo>
                    <a:pt x="108" y="513"/>
                  </a:lnTo>
                  <a:lnTo>
                    <a:pt x="92" y="519"/>
                  </a:lnTo>
                  <a:lnTo>
                    <a:pt x="70" y="501"/>
                  </a:lnTo>
                  <a:lnTo>
                    <a:pt x="56" y="499"/>
                  </a:lnTo>
                  <a:lnTo>
                    <a:pt x="30" y="503"/>
                  </a:lnTo>
                  <a:lnTo>
                    <a:pt x="6" y="509"/>
                  </a:lnTo>
                  <a:lnTo>
                    <a:pt x="0" y="491"/>
                  </a:lnTo>
                  <a:lnTo>
                    <a:pt x="6" y="483"/>
                  </a:lnTo>
                  <a:lnTo>
                    <a:pt x="4" y="457"/>
                  </a:lnTo>
                  <a:lnTo>
                    <a:pt x="0" y="445"/>
                  </a:lnTo>
                  <a:lnTo>
                    <a:pt x="10" y="427"/>
                  </a:lnTo>
                  <a:lnTo>
                    <a:pt x="10" y="411"/>
                  </a:lnTo>
                  <a:lnTo>
                    <a:pt x="26" y="375"/>
                  </a:lnTo>
                  <a:lnTo>
                    <a:pt x="30" y="359"/>
                  </a:lnTo>
                  <a:lnTo>
                    <a:pt x="54" y="324"/>
                  </a:lnTo>
                  <a:lnTo>
                    <a:pt x="46" y="322"/>
                  </a:lnTo>
                  <a:lnTo>
                    <a:pt x="56" y="312"/>
                  </a:lnTo>
                  <a:lnTo>
                    <a:pt x="70" y="310"/>
                  </a:lnTo>
                  <a:lnTo>
                    <a:pt x="86" y="284"/>
                  </a:lnTo>
                  <a:lnTo>
                    <a:pt x="84" y="252"/>
                  </a:lnTo>
                  <a:lnTo>
                    <a:pt x="66" y="214"/>
                  </a:lnTo>
                  <a:lnTo>
                    <a:pt x="62" y="200"/>
                  </a:lnTo>
                  <a:lnTo>
                    <a:pt x="54" y="192"/>
                  </a:lnTo>
                  <a:lnTo>
                    <a:pt x="56" y="176"/>
                  </a:lnTo>
                  <a:lnTo>
                    <a:pt x="70" y="166"/>
                  </a:lnTo>
                  <a:lnTo>
                    <a:pt x="68" y="152"/>
                  </a:lnTo>
                  <a:lnTo>
                    <a:pt x="58" y="144"/>
                  </a:lnTo>
                  <a:lnTo>
                    <a:pt x="36" y="94"/>
                  </a:lnTo>
                  <a:close/>
                  <a:moveTo>
                    <a:pt x="18" y="52"/>
                  </a:moveTo>
                  <a:lnTo>
                    <a:pt x="32" y="46"/>
                  </a:lnTo>
                  <a:lnTo>
                    <a:pt x="34" y="30"/>
                  </a:lnTo>
                  <a:lnTo>
                    <a:pt x="48" y="28"/>
                  </a:lnTo>
                  <a:lnTo>
                    <a:pt x="60" y="12"/>
                  </a:lnTo>
                  <a:lnTo>
                    <a:pt x="46" y="0"/>
                  </a:lnTo>
                  <a:lnTo>
                    <a:pt x="28" y="18"/>
                  </a:lnTo>
                  <a:lnTo>
                    <a:pt x="12" y="30"/>
                  </a:lnTo>
                  <a:lnTo>
                    <a:pt x="12" y="40"/>
                  </a:lnTo>
                  <a:lnTo>
                    <a:pt x="18" y="52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47" name="Argentina">
              <a:extLst>
                <a:ext uri="{FF2B5EF4-FFF2-40B4-BE49-F238E27FC236}">
                  <a16:creationId xmlns="" xmlns:a16="http://schemas.microsoft.com/office/drawing/2014/main" id="{BC9C0061-41A6-454D-8EDC-C0A7A0DCF1FA}"/>
                </a:ext>
              </a:extLst>
            </p:cNvPr>
            <p:cNvSpPr>
              <a:spLocks noChangeAspect="1" noEditPoints="1"/>
            </p:cNvSpPr>
            <p:nvPr/>
          </p:nvSpPr>
          <p:spPr bwMode="gray">
            <a:xfrm>
              <a:off x="3425024" y="5327676"/>
              <a:ext cx="620831" cy="1400191"/>
            </a:xfrm>
            <a:custGeom>
              <a:avLst/>
              <a:gdLst/>
              <a:ahLst/>
              <a:cxnLst>
                <a:cxn ang="0">
                  <a:pos x="296" y="16"/>
                </a:cxn>
                <a:cxn ang="0">
                  <a:pos x="407" y="28"/>
                </a:cxn>
                <a:cxn ang="0">
                  <a:pos x="501" y="42"/>
                </a:cxn>
                <a:cxn ang="0">
                  <a:pos x="600" y="128"/>
                </a:cxn>
                <a:cxn ang="0">
                  <a:pos x="730" y="172"/>
                </a:cxn>
                <a:cxn ang="0">
                  <a:pos x="735" y="286"/>
                </a:cxn>
                <a:cxn ang="0">
                  <a:pos x="851" y="234"/>
                </a:cxn>
                <a:cxn ang="0">
                  <a:pos x="903" y="234"/>
                </a:cxn>
                <a:cxn ang="0">
                  <a:pos x="818" y="342"/>
                </a:cxn>
                <a:cxn ang="0">
                  <a:pos x="735" y="432"/>
                </a:cxn>
                <a:cxn ang="0">
                  <a:pos x="699" y="595"/>
                </a:cxn>
                <a:cxn ang="0">
                  <a:pos x="756" y="716"/>
                </a:cxn>
                <a:cxn ang="0">
                  <a:pos x="773" y="782"/>
                </a:cxn>
                <a:cxn ang="0">
                  <a:pos x="725" y="895"/>
                </a:cxn>
                <a:cxn ang="0">
                  <a:pos x="553" y="935"/>
                </a:cxn>
                <a:cxn ang="0">
                  <a:pos x="532" y="968"/>
                </a:cxn>
                <a:cxn ang="0">
                  <a:pos x="529" y="1027"/>
                </a:cxn>
                <a:cxn ang="0">
                  <a:pos x="454" y="1068"/>
                </a:cxn>
                <a:cxn ang="0">
                  <a:pos x="397" y="1039"/>
                </a:cxn>
                <a:cxn ang="0">
                  <a:pos x="418" y="1138"/>
                </a:cxn>
                <a:cxn ang="0">
                  <a:pos x="433" y="1129"/>
                </a:cxn>
                <a:cxn ang="0">
                  <a:pos x="468" y="1131"/>
                </a:cxn>
                <a:cxn ang="0">
                  <a:pos x="437" y="1150"/>
                </a:cxn>
                <a:cxn ang="0">
                  <a:pos x="414" y="1174"/>
                </a:cxn>
                <a:cxn ang="0">
                  <a:pos x="395" y="1221"/>
                </a:cxn>
                <a:cxn ang="0">
                  <a:pos x="369" y="1308"/>
                </a:cxn>
                <a:cxn ang="0">
                  <a:pos x="312" y="1323"/>
                </a:cxn>
                <a:cxn ang="0">
                  <a:pos x="288" y="1410"/>
                </a:cxn>
                <a:cxn ang="0">
                  <a:pos x="355" y="1445"/>
                </a:cxn>
                <a:cxn ang="0">
                  <a:pos x="366" y="1500"/>
                </a:cxn>
                <a:cxn ang="0">
                  <a:pos x="274" y="1597"/>
                </a:cxn>
                <a:cxn ang="0">
                  <a:pos x="251" y="1644"/>
                </a:cxn>
                <a:cxn ang="0">
                  <a:pos x="246" y="1649"/>
                </a:cxn>
                <a:cxn ang="0">
                  <a:pos x="215" y="1741"/>
                </a:cxn>
                <a:cxn ang="0">
                  <a:pos x="227" y="1778"/>
                </a:cxn>
                <a:cxn ang="0">
                  <a:pos x="220" y="1795"/>
                </a:cxn>
                <a:cxn ang="0">
                  <a:pos x="55" y="1726"/>
                </a:cxn>
                <a:cxn ang="0">
                  <a:pos x="14" y="1682"/>
                </a:cxn>
                <a:cxn ang="0">
                  <a:pos x="38" y="1566"/>
                </a:cxn>
                <a:cxn ang="0">
                  <a:pos x="50" y="1478"/>
                </a:cxn>
                <a:cxn ang="0">
                  <a:pos x="92" y="1367"/>
                </a:cxn>
                <a:cxn ang="0">
                  <a:pos x="100" y="1306"/>
                </a:cxn>
                <a:cxn ang="0">
                  <a:pos x="116" y="1292"/>
                </a:cxn>
                <a:cxn ang="0">
                  <a:pos x="85" y="1181"/>
                </a:cxn>
                <a:cxn ang="0">
                  <a:pos x="90" y="1094"/>
                </a:cxn>
                <a:cxn ang="0">
                  <a:pos x="102" y="957"/>
                </a:cxn>
                <a:cxn ang="0">
                  <a:pos x="123" y="841"/>
                </a:cxn>
                <a:cxn ang="0">
                  <a:pos x="149" y="758"/>
                </a:cxn>
                <a:cxn ang="0">
                  <a:pos x="170" y="574"/>
                </a:cxn>
                <a:cxn ang="0">
                  <a:pos x="159" y="465"/>
                </a:cxn>
                <a:cxn ang="0">
                  <a:pos x="180" y="378"/>
                </a:cxn>
                <a:cxn ang="0">
                  <a:pos x="229" y="293"/>
                </a:cxn>
                <a:cxn ang="0">
                  <a:pos x="234" y="196"/>
                </a:cxn>
                <a:cxn ang="0">
                  <a:pos x="281" y="125"/>
                </a:cxn>
                <a:cxn ang="0">
                  <a:pos x="284" y="2008"/>
                </a:cxn>
                <a:cxn ang="0">
                  <a:pos x="362" y="2019"/>
                </a:cxn>
                <a:cxn ang="0">
                  <a:pos x="343" y="1982"/>
                </a:cxn>
                <a:cxn ang="0">
                  <a:pos x="258" y="1889"/>
                </a:cxn>
                <a:cxn ang="0">
                  <a:pos x="237" y="1845"/>
                </a:cxn>
              </a:cxnLst>
              <a:rect l="0" t="0" r="r" b="b"/>
              <a:pathLst>
                <a:path w="905" h="2022">
                  <a:moveTo>
                    <a:pt x="293" y="111"/>
                  </a:moveTo>
                  <a:lnTo>
                    <a:pt x="303" y="76"/>
                  </a:lnTo>
                  <a:lnTo>
                    <a:pt x="303" y="45"/>
                  </a:lnTo>
                  <a:lnTo>
                    <a:pt x="296" y="16"/>
                  </a:lnTo>
                  <a:lnTo>
                    <a:pt x="317" y="12"/>
                  </a:lnTo>
                  <a:lnTo>
                    <a:pt x="329" y="0"/>
                  </a:lnTo>
                  <a:lnTo>
                    <a:pt x="352" y="21"/>
                  </a:lnTo>
                  <a:lnTo>
                    <a:pt x="407" y="28"/>
                  </a:lnTo>
                  <a:lnTo>
                    <a:pt x="430" y="59"/>
                  </a:lnTo>
                  <a:lnTo>
                    <a:pt x="451" y="14"/>
                  </a:lnTo>
                  <a:lnTo>
                    <a:pt x="494" y="24"/>
                  </a:lnTo>
                  <a:lnTo>
                    <a:pt x="501" y="42"/>
                  </a:lnTo>
                  <a:lnTo>
                    <a:pt x="518" y="57"/>
                  </a:lnTo>
                  <a:lnTo>
                    <a:pt x="527" y="57"/>
                  </a:lnTo>
                  <a:lnTo>
                    <a:pt x="529" y="68"/>
                  </a:lnTo>
                  <a:lnTo>
                    <a:pt x="600" y="128"/>
                  </a:lnTo>
                  <a:lnTo>
                    <a:pt x="645" y="125"/>
                  </a:lnTo>
                  <a:lnTo>
                    <a:pt x="669" y="142"/>
                  </a:lnTo>
                  <a:lnTo>
                    <a:pt x="688" y="144"/>
                  </a:lnTo>
                  <a:lnTo>
                    <a:pt x="730" y="172"/>
                  </a:lnTo>
                  <a:lnTo>
                    <a:pt x="690" y="262"/>
                  </a:lnTo>
                  <a:lnTo>
                    <a:pt x="697" y="274"/>
                  </a:lnTo>
                  <a:lnTo>
                    <a:pt x="714" y="276"/>
                  </a:lnTo>
                  <a:lnTo>
                    <a:pt x="735" y="286"/>
                  </a:lnTo>
                  <a:lnTo>
                    <a:pt x="754" y="293"/>
                  </a:lnTo>
                  <a:lnTo>
                    <a:pt x="813" y="288"/>
                  </a:lnTo>
                  <a:lnTo>
                    <a:pt x="844" y="260"/>
                  </a:lnTo>
                  <a:lnTo>
                    <a:pt x="851" y="234"/>
                  </a:lnTo>
                  <a:lnTo>
                    <a:pt x="860" y="194"/>
                  </a:lnTo>
                  <a:lnTo>
                    <a:pt x="886" y="196"/>
                  </a:lnTo>
                  <a:lnTo>
                    <a:pt x="905" y="210"/>
                  </a:lnTo>
                  <a:lnTo>
                    <a:pt x="903" y="234"/>
                  </a:lnTo>
                  <a:lnTo>
                    <a:pt x="891" y="279"/>
                  </a:lnTo>
                  <a:lnTo>
                    <a:pt x="877" y="281"/>
                  </a:lnTo>
                  <a:lnTo>
                    <a:pt x="820" y="335"/>
                  </a:lnTo>
                  <a:lnTo>
                    <a:pt x="818" y="342"/>
                  </a:lnTo>
                  <a:lnTo>
                    <a:pt x="808" y="342"/>
                  </a:lnTo>
                  <a:lnTo>
                    <a:pt x="768" y="385"/>
                  </a:lnTo>
                  <a:lnTo>
                    <a:pt x="761" y="404"/>
                  </a:lnTo>
                  <a:lnTo>
                    <a:pt x="735" y="432"/>
                  </a:lnTo>
                  <a:lnTo>
                    <a:pt x="714" y="484"/>
                  </a:lnTo>
                  <a:lnTo>
                    <a:pt x="707" y="515"/>
                  </a:lnTo>
                  <a:lnTo>
                    <a:pt x="702" y="557"/>
                  </a:lnTo>
                  <a:lnTo>
                    <a:pt x="699" y="595"/>
                  </a:lnTo>
                  <a:lnTo>
                    <a:pt x="692" y="607"/>
                  </a:lnTo>
                  <a:lnTo>
                    <a:pt x="690" y="635"/>
                  </a:lnTo>
                  <a:lnTo>
                    <a:pt x="692" y="675"/>
                  </a:lnTo>
                  <a:lnTo>
                    <a:pt x="756" y="716"/>
                  </a:lnTo>
                  <a:lnTo>
                    <a:pt x="759" y="737"/>
                  </a:lnTo>
                  <a:lnTo>
                    <a:pt x="747" y="753"/>
                  </a:lnTo>
                  <a:lnTo>
                    <a:pt x="754" y="772"/>
                  </a:lnTo>
                  <a:lnTo>
                    <a:pt x="773" y="782"/>
                  </a:lnTo>
                  <a:lnTo>
                    <a:pt x="773" y="817"/>
                  </a:lnTo>
                  <a:lnTo>
                    <a:pt x="744" y="864"/>
                  </a:lnTo>
                  <a:lnTo>
                    <a:pt x="742" y="879"/>
                  </a:lnTo>
                  <a:lnTo>
                    <a:pt x="725" y="895"/>
                  </a:lnTo>
                  <a:lnTo>
                    <a:pt x="652" y="923"/>
                  </a:lnTo>
                  <a:lnTo>
                    <a:pt x="605" y="926"/>
                  </a:lnTo>
                  <a:lnTo>
                    <a:pt x="586" y="935"/>
                  </a:lnTo>
                  <a:lnTo>
                    <a:pt x="553" y="935"/>
                  </a:lnTo>
                  <a:lnTo>
                    <a:pt x="520" y="916"/>
                  </a:lnTo>
                  <a:lnTo>
                    <a:pt x="515" y="919"/>
                  </a:lnTo>
                  <a:lnTo>
                    <a:pt x="515" y="935"/>
                  </a:lnTo>
                  <a:lnTo>
                    <a:pt x="532" y="968"/>
                  </a:lnTo>
                  <a:lnTo>
                    <a:pt x="529" y="990"/>
                  </a:lnTo>
                  <a:lnTo>
                    <a:pt x="515" y="1023"/>
                  </a:lnTo>
                  <a:lnTo>
                    <a:pt x="518" y="1032"/>
                  </a:lnTo>
                  <a:lnTo>
                    <a:pt x="529" y="1027"/>
                  </a:lnTo>
                  <a:lnTo>
                    <a:pt x="529" y="1034"/>
                  </a:lnTo>
                  <a:lnTo>
                    <a:pt x="503" y="1060"/>
                  </a:lnTo>
                  <a:lnTo>
                    <a:pt x="487" y="1070"/>
                  </a:lnTo>
                  <a:lnTo>
                    <a:pt x="454" y="1068"/>
                  </a:lnTo>
                  <a:lnTo>
                    <a:pt x="423" y="1051"/>
                  </a:lnTo>
                  <a:lnTo>
                    <a:pt x="409" y="1046"/>
                  </a:lnTo>
                  <a:lnTo>
                    <a:pt x="407" y="1032"/>
                  </a:lnTo>
                  <a:lnTo>
                    <a:pt x="397" y="1039"/>
                  </a:lnTo>
                  <a:lnTo>
                    <a:pt x="402" y="1089"/>
                  </a:lnTo>
                  <a:lnTo>
                    <a:pt x="397" y="1117"/>
                  </a:lnTo>
                  <a:lnTo>
                    <a:pt x="418" y="1124"/>
                  </a:lnTo>
                  <a:lnTo>
                    <a:pt x="418" y="1138"/>
                  </a:lnTo>
                  <a:lnTo>
                    <a:pt x="433" y="1141"/>
                  </a:lnTo>
                  <a:lnTo>
                    <a:pt x="444" y="1138"/>
                  </a:lnTo>
                  <a:lnTo>
                    <a:pt x="447" y="1131"/>
                  </a:lnTo>
                  <a:lnTo>
                    <a:pt x="433" y="1129"/>
                  </a:lnTo>
                  <a:lnTo>
                    <a:pt x="433" y="1122"/>
                  </a:lnTo>
                  <a:lnTo>
                    <a:pt x="454" y="1115"/>
                  </a:lnTo>
                  <a:lnTo>
                    <a:pt x="463" y="1127"/>
                  </a:lnTo>
                  <a:lnTo>
                    <a:pt x="468" y="1131"/>
                  </a:lnTo>
                  <a:lnTo>
                    <a:pt x="470" y="1164"/>
                  </a:lnTo>
                  <a:lnTo>
                    <a:pt x="459" y="1171"/>
                  </a:lnTo>
                  <a:lnTo>
                    <a:pt x="442" y="1171"/>
                  </a:lnTo>
                  <a:lnTo>
                    <a:pt x="437" y="1150"/>
                  </a:lnTo>
                  <a:lnTo>
                    <a:pt x="418" y="1145"/>
                  </a:lnTo>
                  <a:lnTo>
                    <a:pt x="409" y="1153"/>
                  </a:lnTo>
                  <a:lnTo>
                    <a:pt x="404" y="1162"/>
                  </a:lnTo>
                  <a:lnTo>
                    <a:pt x="414" y="1174"/>
                  </a:lnTo>
                  <a:lnTo>
                    <a:pt x="430" y="1176"/>
                  </a:lnTo>
                  <a:lnTo>
                    <a:pt x="418" y="1183"/>
                  </a:lnTo>
                  <a:lnTo>
                    <a:pt x="397" y="1205"/>
                  </a:lnTo>
                  <a:lnTo>
                    <a:pt x="395" y="1221"/>
                  </a:lnTo>
                  <a:lnTo>
                    <a:pt x="388" y="1261"/>
                  </a:lnTo>
                  <a:lnTo>
                    <a:pt x="390" y="1271"/>
                  </a:lnTo>
                  <a:lnTo>
                    <a:pt x="366" y="1294"/>
                  </a:lnTo>
                  <a:lnTo>
                    <a:pt x="369" y="1308"/>
                  </a:lnTo>
                  <a:lnTo>
                    <a:pt x="352" y="1311"/>
                  </a:lnTo>
                  <a:lnTo>
                    <a:pt x="340" y="1306"/>
                  </a:lnTo>
                  <a:lnTo>
                    <a:pt x="329" y="1323"/>
                  </a:lnTo>
                  <a:lnTo>
                    <a:pt x="312" y="1323"/>
                  </a:lnTo>
                  <a:lnTo>
                    <a:pt x="296" y="1346"/>
                  </a:lnTo>
                  <a:lnTo>
                    <a:pt x="281" y="1372"/>
                  </a:lnTo>
                  <a:lnTo>
                    <a:pt x="281" y="1398"/>
                  </a:lnTo>
                  <a:lnTo>
                    <a:pt x="288" y="1410"/>
                  </a:lnTo>
                  <a:lnTo>
                    <a:pt x="310" y="1424"/>
                  </a:lnTo>
                  <a:lnTo>
                    <a:pt x="312" y="1434"/>
                  </a:lnTo>
                  <a:lnTo>
                    <a:pt x="331" y="1443"/>
                  </a:lnTo>
                  <a:lnTo>
                    <a:pt x="355" y="1445"/>
                  </a:lnTo>
                  <a:lnTo>
                    <a:pt x="366" y="1445"/>
                  </a:lnTo>
                  <a:lnTo>
                    <a:pt x="371" y="1462"/>
                  </a:lnTo>
                  <a:lnTo>
                    <a:pt x="359" y="1481"/>
                  </a:lnTo>
                  <a:lnTo>
                    <a:pt x="366" y="1500"/>
                  </a:lnTo>
                  <a:lnTo>
                    <a:pt x="355" y="1519"/>
                  </a:lnTo>
                  <a:lnTo>
                    <a:pt x="322" y="1538"/>
                  </a:lnTo>
                  <a:lnTo>
                    <a:pt x="286" y="1573"/>
                  </a:lnTo>
                  <a:lnTo>
                    <a:pt x="274" y="1597"/>
                  </a:lnTo>
                  <a:lnTo>
                    <a:pt x="284" y="1599"/>
                  </a:lnTo>
                  <a:lnTo>
                    <a:pt x="281" y="1625"/>
                  </a:lnTo>
                  <a:lnTo>
                    <a:pt x="258" y="1646"/>
                  </a:lnTo>
                  <a:lnTo>
                    <a:pt x="251" y="1644"/>
                  </a:lnTo>
                  <a:lnTo>
                    <a:pt x="237" y="1630"/>
                  </a:lnTo>
                  <a:lnTo>
                    <a:pt x="229" y="1634"/>
                  </a:lnTo>
                  <a:lnTo>
                    <a:pt x="227" y="1641"/>
                  </a:lnTo>
                  <a:lnTo>
                    <a:pt x="246" y="1649"/>
                  </a:lnTo>
                  <a:lnTo>
                    <a:pt x="241" y="1660"/>
                  </a:lnTo>
                  <a:lnTo>
                    <a:pt x="220" y="1670"/>
                  </a:lnTo>
                  <a:lnTo>
                    <a:pt x="211" y="1705"/>
                  </a:lnTo>
                  <a:lnTo>
                    <a:pt x="215" y="1741"/>
                  </a:lnTo>
                  <a:lnTo>
                    <a:pt x="218" y="1755"/>
                  </a:lnTo>
                  <a:lnTo>
                    <a:pt x="203" y="1762"/>
                  </a:lnTo>
                  <a:lnTo>
                    <a:pt x="220" y="1762"/>
                  </a:lnTo>
                  <a:lnTo>
                    <a:pt x="227" y="1778"/>
                  </a:lnTo>
                  <a:lnTo>
                    <a:pt x="253" y="1812"/>
                  </a:lnTo>
                  <a:lnTo>
                    <a:pt x="248" y="1814"/>
                  </a:lnTo>
                  <a:lnTo>
                    <a:pt x="234" y="1814"/>
                  </a:lnTo>
                  <a:lnTo>
                    <a:pt x="220" y="1795"/>
                  </a:lnTo>
                  <a:lnTo>
                    <a:pt x="78" y="1795"/>
                  </a:lnTo>
                  <a:lnTo>
                    <a:pt x="57" y="1760"/>
                  </a:lnTo>
                  <a:lnTo>
                    <a:pt x="59" y="1743"/>
                  </a:lnTo>
                  <a:lnTo>
                    <a:pt x="55" y="1726"/>
                  </a:lnTo>
                  <a:lnTo>
                    <a:pt x="55" y="1691"/>
                  </a:lnTo>
                  <a:lnTo>
                    <a:pt x="38" y="1691"/>
                  </a:lnTo>
                  <a:lnTo>
                    <a:pt x="22" y="1703"/>
                  </a:lnTo>
                  <a:lnTo>
                    <a:pt x="14" y="1682"/>
                  </a:lnTo>
                  <a:lnTo>
                    <a:pt x="3" y="1665"/>
                  </a:lnTo>
                  <a:lnTo>
                    <a:pt x="0" y="1649"/>
                  </a:lnTo>
                  <a:lnTo>
                    <a:pt x="10" y="1611"/>
                  </a:lnTo>
                  <a:lnTo>
                    <a:pt x="38" y="1566"/>
                  </a:lnTo>
                  <a:lnTo>
                    <a:pt x="48" y="1545"/>
                  </a:lnTo>
                  <a:lnTo>
                    <a:pt x="57" y="1519"/>
                  </a:lnTo>
                  <a:lnTo>
                    <a:pt x="50" y="1493"/>
                  </a:lnTo>
                  <a:lnTo>
                    <a:pt x="50" y="1478"/>
                  </a:lnTo>
                  <a:lnTo>
                    <a:pt x="83" y="1445"/>
                  </a:lnTo>
                  <a:lnTo>
                    <a:pt x="85" y="1415"/>
                  </a:lnTo>
                  <a:lnTo>
                    <a:pt x="92" y="1408"/>
                  </a:lnTo>
                  <a:lnTo>
                    <a:pt x="92" y="1367"/>
                  </a:lnTo>
                  <a:lnTo>
                    <a:pt x="97" y="1356"/>
                  </a:lnTo>
                  <a:lnTo>
                    <a:pt x="92" y="1344"/>
                  </a:lnTo>
                  <a:lnTo>
                    <a:pt x="111" y="1320"/>
                  </a:lnTo>
                  <a:lnTo>
                    <a:pt x="100" y="1306"/>
                  </a:lnTo>
                  <a:lnTo>
                    <a:pt x="83" y="1301"/>
                  </a:lnTo>
                  <a:lnTo>
                    <a:pt x="81" y="1299"/>
                  </a:lnTo>
                  <a:lnTo>
                    <a:pt x="88" y="1290"/>
                  </a:lnTo>
                  <a:lnTo>
                    <a:pt x="116" y="1292"/>
                  </a:lnTo>
                  <a:lnTo>
                    <a:pt x="116" y="1278"/>
                  </a:lnTo>
                  <a:lnTo>
                    <a:pt x="88" y="1264"/>
                  </a:lnTo>
                  <a:lnTo>
                    <a:pt x="90" y="1216"/>
                  </a:lnTo>
                  <a:lnTo>
                    <a:pt x="85" y="1181"/>
                  </a:lnTo>
                  <a:lnTo>
                    <a:pt x="69" y="1157"/>
                  </a:lnTo>
                  <a:lnTo>
                    <a:pt x="71" y="1145"/>
                  </a:lnTo>
                  <a:lnTo>
                    <a:pt x="97" y="1134"/>
                  </a:lnTo>
                  <a:lnTo>
                    <a:pt x="90" y="1094"/>
                  </a:lnTo>
                  <a:lnTo>
                    <a:pt x="85" y="1039"/>
                  </a:lnTo>
                  <a:lnTo>
                    <a:pt x="95" y="1018"/>
                  </a:lnTo>
                  <a:lnTo>
                    <a:pt x="90" y="1001"/>
                  </a:lnTo>
                  <a:lnTo>
                    <a:pt x="102" y="957"/>
                  </a:lnTo>
                  <a:lnTo>
                    <a:pt x="116" y="928"/>
                  </a:lnTo>
                  <a:lnTo>
                    <a:pt x="128" y="928"/>
                  </a:lnTo>
                  <a:lnTo>
                    <a:pt x="130" y="897"/>
                  </a:lnTo>
                  <a:lnTo>
                    <a:pt x="123" y="841"/>
                  </a:lnTo>
                  <a:lnTo>
                    <a:pt x="123" y="796"/>
                  </a:lnTo>
                  <a:lnTo>
                    <a:pt x="135" y="786"/>
                  </a:lnTo>
                  <a:lnTo>
                    <a:pt x="137" y="770"/>
                  </a:lnTo>
                  <a:lnTo>
                    <a:pt x="149" y="758"/>
                  </a:lnTo>
                  <a:lnTo>
                    <a:pt x="161" y="706"/>
                  </a:lnTo>
                  <a:lnTo>
                    <a:pt x="175" y="657"/>
                  </a:lnTo>
                  <a:lnTo>
                    <a:pt x="177" y="612"/>
                  </a:lnTo>
                  <a:lnTo>
                    <a:pt x="170" y="574"/>
                  </a:lnTo>
                  <a:lnTo>
                    <a:pt x="151" y="527"/>
                  </a:lnTo>
                  <a:lnTo>
                    <a:pt x="149" y="498"/>
                  </a:lnTo>
                  <a:lnTo>
                    <a:pt x="161" y="491"/>
                  </a:lnTo>
                  <a:lnTo>
                    <a:pt x="159" y="465"/>
                  </a:lnTo>
                  <a:lnTo>
                    <a:pt x="170" y="463"/>
                  </a:lnTo>
                  <a:lnTo>
                    <a:pt x="180" y="449"/>
                  </a:lnTo>
                  <a:lnTo>
                    <a:pt x="177" y="401"/>
                  </a:lnTo>
                  <a:lnTo>
                    <a:pt x="180" y="378"/>
                  </a:lnTo>
                  <a:lnTo>
                    <a:pt x="196" y="345"/>
                  </a:lnTo>
                  <a:lnTo>
                    <a:pt x="213" y="331"/>
                  </a:lnTo>
                  <a:lnTo>
                    <a:pt x="218" y="312"/>
                  </a:lnTo>
                  <a:lnTo>
                    <a:pt x="229" y="293"/>
                  </a:lnTo>
                  <a:lnTo>
                    <a:pt x="248" y="276"/>
                  </a:lnTo>
                  <a:lnTo>
                    <a:pt x="239" y="257"/>
                  </a:lnTo>
                  <a:lnTo>
                    <a:pt x="239" y="217"/>
                  </a:lnTo>
                  <a:lnTo>
                    <a:pt x="234" y="196"/>
                  </a:lnTo>
                  <a:lnTo>
                    <a:pt x="246" y="170"/>
                  </a:lnTo>
                  <a:lnTo>
                    <a:pt x="246" y="151"/>
                  </a:lnTo>
                  <a:lnTo>
                    <a:pt x="253" y="144"/>
                  </a:lnTo>
                  <a:lnTo>
                    <a:pt x="281" y="125"/>
                  </a:lnTo>
                  <a:lnTo>
                    <a:pt x="293" y="111"/>
                  </a:lnTo>
                  <a:close/>
                  <a:moveTo>
                    <a:pt x="234" y="1937"/>
                  </a:moveTo>
                  <a:lnTo>
                    <a:pt x="234" y="2005"/>
                  </a:lnTo>
                  <a:lnTo>
                    <a:pt x="284" y="2008"/>
                  </a:lnTo>
                  <a:lnTo>
                    <a:pt x="303" y="2012"/>
                  </a:lnTo>
                  <a:lnTo>
                    <a:pt x="314" y="2012"/>
                  </a:lnTo>
                  <a:lnTo>
                    <a:pt x="333" y="2022"/>
                  </a:lnTo>
                  <a:lnTo>
                    <a:pt x="362" y="2019"/>
                  </a:lnTo>
                  <a:lnTo>
                    <a:pt x="364" y="2012"/>
                  </a:lnTo>
                  <a:lnTo>
                    <a:pt x="378" y="2015"/>
                  </a:lnTo>
                  <a:lnTo>
                    <a:pt x="395" y="1996"/>
                  </a:lnTo>
                  <a:lnTo>
                    <a:pt x="343" y="1982"/>
                  </a:lnTo>
                  <a:lnTo>
                    <a:pt x="303" y="1944"/>
                  </a:lnTo>
                  <a:lnTo>
                    <a:pt x="286" y="1934"/>
                  </a:lnTo>
                  <a:lnTo>
                    <a:pt x="258" y="1918"/>
                  </a:lnTo>
                  <a:lnTo>
                    <a:pt x="258" y="1889"/>
                  </a:lnTo>
                  <a:lnTo>
                    <a:pt x="241" y="1882"/>
                  </a:lnTo>
                  <a:lnTo>
                    <a:pt x="241" y="1875"/>
                  </a:lnTo>
                  <a:lnTo>
                    <a:pt x="255" y="1868"/>
                  </a:lnTo>
                  <a:lnTo>
                    <a:pt x="237" y="1845"/>
                  </a:lnTo>
                  <a:lnTo>
                    <a:pt x="234" y="1937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8001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48" name="Armenia">
              <a:extLst>
                <a:ext uri="{FF2B5EF4-FFF2-40B4-BE49-F238E27FC236}">
                  <a16:creationId xmlns="" xmlns:a16="http://schemas.microsoft.com/office/drawing/2014/main" id="{40CCE0F2-0108-4412-B9D6-A23ACC367631}"/>
                </a:ext>
              </a:extLst>
            </p:cNvPr>
            <p:cNvSpPr>
              <a:spLocks/>
            </p:cNvSpPr>
            <p:nvPr/>
          </p:nvSpPr>
          <p:spPr bwMode="gray">
            <a:xfrm>
              <a:off x="7148067" y="3121196"/>
              <a:ext cx="97614" cy="104228"/>
            </a:xfrm>
            <a:custGeom>
              <a:avLst/>
              <a:gdLst/>
              <a:ahLst/>
              <a:cxnLst>
                <a:cxn ang="0">
                  <a:pos x="98" y="118"/>
                </a:cxn>
                <a:cxn ang="0">
                  <a:pos x="102" y="126"/>
                </a:cxn>
                <a:cxn ang="0">
                  <a:pos x="120" y="124"/>
                </a:cxn>
                <a:cxn ang="0">
                  <a:pos x="118" y="110"/>
                </a:cxn>
                <a:cxn ang="0">
                  <a:pos x="122" y="100"/>
                </a:cxn>
                <a:cxn ang="0">
                  <a:pos x="120" y="94"/>
                </a:cxn>
                <a:cxn ang="0">
                  <a:pos x="88" y="64"/>
                </a:cxn>
                <a:cxn ang="0">
                  <a:pos x="96" y="42"/>
                </a:cxn>
                <a:cxn ang="0">
                  <a:pos x="80" y="42"/>
                </a:cxn>
                <a:cxn ang="0">
                  <a:pos x="68" y="34"/>
                </a:cxn>
                <a:cxn ang="0">
                  <a:pos x="64" y="28"/>
                </a:cxn>
                <a:cxn ang="0">
                  <a:pos x="70" y="14"/>
                </a:cxn>
                <a:cxn ang="0">
                  <a:pos x="56" y="12"/>
                </a:cxn>
                <a:cxn ang="0">
                  <a:pos x="46" y="0"/>
                </a:cxn>
                <a:cxn ang="0">
                  <a:pos x="0" y="2"/>
                </a:cxn>
                <a:cxn ang="0">
                  <a:pos x="2" y="16"/>
                </a:cxn>
                <a:cxn ang="0">
                  <a:pos x="2" y="34"/>
                </a:cxn>
                <a:cxn ang="0">
                  <a:pos x="6" y="50"/>
                </a:cxn>
                <a:cxn ang="0">
                  <a:pos x="16" y="64"/>
                </a:cxn>
                <a:cxn ang="0">
                  <a:pos x="26" y="62"/>
                </a:cxn>
                <a:cxn ang="0">
                  <a:pos x="40" y="82"/>
                </a:cxn>
                <a:cxn ang="0">
                  <a:pos x="60" y="82"/>
                </a:cxn>
                <a:cxn ang="0">
                  <a:pos x="70" y="84"/>
                </a:cxn>
                <a:cxn ang="0">
                  <a:pos x="80" y="84"/>
                </a:cxn>
                <a:cxn ang="0">
                  <a:pos x="90" y="88"/>
                </a:cxn>
                <a:cxn ang="0">
                  <a:pos x="94" y="96"/>
                </a:cxn>
                <a:cxn ang="0">
                  <a:pos x="96" y="104"/>
                </a:cxn>
                <a:cxn ang="0">
                  <a:pos x="102" y="106"/>
                </a:cxn>
                <a:cxn ang="0">
                  <a:pos x="98" y="118"/>
                </a:cxn>
              </a:cxnLst>
              <a:rect l="0" t="0" r="r" b="b"/>
              <a:pathLst>
                <a:path w="122" h="126">
                  <a:moveTo>
                    <a:pt x="98" y="118"/>
                  </a:moveTo>
                  <a:lnTo>
                    <a:pt x="102" y="126"/>
                  </a:lnTo>
                  <a:lnTo>
                    <a:pt x="120" y="124"/>
                  </a:lnTo>
                  <a:lnTo>
                    <a:pt x="118" y="110"/>
                  </a:lnTo>
                  <a:lnTo>
                    <a:pt x="122" y="100"/>
                  </a:lnTo>
                  <a:lnTo>
                    <a:pt x="120" y="94"/>
                  </a:lnTo>
                  <a:lnTo>
                    <a:pt x="88" y="64"/>
                  </a:lnTo>
                  <a:lnTo>
                    <a:pt x="96" y="42"/>
                  </a:lnTo>
                  <a:lnTo>
                    <a:pt x="80" y="42"/>
                  </a:lnTo>
                  <a:lnTo>
                    <a:pt x="68" y="34"/>
                  </a:lnTo>
                  <a:lnTo>
                    <a:pt x="64" y="28"/>
                  </a:lnTo>
                  <a:lnTo>
                    <a:pt x="70" y="14"/>
                  </a:lnTo>
                  <a:lnTo>
                    <a:pt x="56" y="12"/>
                  </a:lnTo>
                  <a:lnTo>
                    <a:pt x="46" y="0"/>
                  </a:lnTo>
                  <a:lnTo>
                    <a:pt x="0" y="2"/>
                  </a:lnTo>
                  <a:lnTo>
                    <a:pt x="2" y="16"/>
                  </a:lnTo>
                  <a:lnTo>
                    <a:pt x="2" y="34"/>
                  </a:lnTo>
                  <a:lnTo>
                    <a:pt x="6" y="50"/>
                  </a:lnTo>
                  <a:lnTo>
                    <a:pt x="16" y="64"/>
                  </a:lnTo>
                  <a:lnTo>
                    <a:pt x="26" y="62"/>
                  </a:lnTo>
                  <a:lnTo>
                    <a:pt x="40" y="82"/>
                  </a:lnTo>
                  <a:lnTo>
                    <a:pt x="60" y="82"/>
                  </a:lnTo>
                  <a:lnTo>
                    <a:pt x="70" y="84"/>
                  </a:lnTo>
                  <a:lnTo>
                    <a:pt x="80" y="84"/>
                  </a:lnTo>
                  <a:lnTo>
                    <a:pt x="90" y="88"/>
                  </a:lnTo>
                  <a:lnTo>
                    <a:pt x="94" y="96"/>
                  </a:lnTo>
                  <a:lnTo>
                    <a:pt x="96" y="104"/>
                  </a:lnTo>
                  <a:lnTo>
                    <a:pt x="102" y="106"/>
                  </a:lnTo>
                  <a:lnTo>
                    <a:pt x="98" y="118"/>
                  </a:lnTo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49" name="Australia">
              <a:extLst>
                <a:ext uri="{FF2B5EF4-FFF2-40B4-BE49-F238E27FC236}">
                  <a16:creationId xmlns="" xmlns:a16="http://schemas.microsoft.com/office/drawing/2014/main" id="{4AF9CF14-DA85-41F6-BB62-AC905B4F9DA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303412" y="4885200"/>
              <a:ext cx="1247524" cy="1205501"/>
            </a:xfrm>
            <a:custGeom>
              <a:avLst/>
              <a:gdLst/>
              <a:ahLst/>
              <a:cxnLst>
                <a:cxn ang="0">
                  <a:pos x="869" y="68"/>
                </a:cxn>
                <a:cxn ang="0">
                  <a:pos x="861" y="110"/>
                </a:cxn>
                <a:cxn ang="0">
                  <a:pos x="975" y="251"/>
                </a:cxn>
                <a:cxn ang="0">
                  <a:pos x="1073" y="98"/>
                </a:cxn>
                <a:cxn ang="0">
                  <a:pos x="1113" y="10"/>
                </a:cxn>
                <a:cxn ang="0">
                  <a:pos x="1151" y="88"/>
                </a:cxn>
                <a:cxn ang="0">
                  <a:pos x="1209" y="165"/>
                </a:cxn>
                <a:cxn ang="0">
                  <a:pos x="1241" y="247"/>
                </a:cxn>
                <a:cxn ang="0">
                  <a:pos x="1321" y="373"/>
                </a:cxn>
                <a:cxn ang="0">
                  <a:pos x="1379" y="455"/>
                </a:cxn>
                <a:cxn ang="0">
                  <a:pos x="1424" y="525"/>
                </a:cxn>
                <a:cxn ang="0">
                  <a:pos x="1522" y="629"/>
                </a:cxn>
                <a:cxn ang="0">
                  <a:pos x="1518" y="829"/>
                </a:cxn>
                <a:cxn ang="0">
                  <a:pos x="1480" y="943"/>
                </a:cxn>
                <a:cxn ang="0">
                  <a:pos x="1430" y="1058"/>
                </a:cxn>
                <a:cxn ang="0">
                  <a:pos x="1399" y="1166"/>
                </a:cxn>
                <a:cxn ang="0">
                  <a:pos x="1289" y="1210"/>
                </a:cxn>
                <a:cxn ang="0">
                  <a:pos x="1259" y="1258"/>
                </a:cxn>
                <a:cxn ang="0">
                  <a:pos x="1173" y="1216"/>
                </a:cxn>
                <a:cxn ang="0">
                  <a:pos x="1081" y="1212"/>
                </a:cxn>
                <a:cxn ang="0">
                  <a:pos x="1013" y="1160"/>
                </a:cxn>
                <a:cxn ang="0">
                  <a:pos x="963" y="1076"/>
                </a:cxn>
                <a:cxn ang="0">
                  <a:pos x="933" y="1026"/>
                </a:cxn>
                <a:cxn ang="0">
                  <a:pos x="905" y="1034"/>
                </a:cxn>
                <a:cxn ang="0">
                  <a:pos x="909" y="984"/>
                </a:cxn>
                <a:cxn ang="0">
                  <a:pos x="861" y="1042"/>
                </a:cxn>
                <a:cxn ang="0">
                  <a:pos x="827" y="973"/>
                </a:cxn>
                <a:cxn ang="0">
                  <a:pos x="769" y="897"/>
                </a:cxn>
                <a:cxn ang="0">
                  <a:pos x="585" y="883"/>
                </a:cxn>
                <a:cxn ang="0">
                  <a:pos x="415" y="945"/>
                </a:cxn>
                <a:cxn ang="0">
                  <a:pos x="275" y="979"/>
                </a:cxn>
                <a:cxn ang="0">
                  <a:pos x="191" y="1046"/>
                </a:cxn>
                <a:cxn ang="0">
                  <a:pos x="94" y="1026"/>
                </a:cxn>
                <a:cxn ang="0">
                  <a:pos x="96" y="887"/>
                </a:cxn>
                <a:cxn ang="0">
                  <a:pos x="44" y="747"/>
                </a:cxn>
                <a:cxn ang="0">
                  <a:pos x="2" y="619"/>
                </a:cxn>
                <a:cxn ang="0">
                  <a:pos x="2" y="549"/>
                </a:cxn>
                <a:cxn ang="0">
                  <a:pos x="20" y="455"/>
                </a:cxn>
                <a:cxn ang="0">
                  <a:pos x="102" y="423"/>
                </a:cxn>
                <a:cxn ang="0">
                  <a:pos x="183" y="407"/>
                </a:cxn>
                <a:cxn ang="0">
                  <a:pos x="309" y="351"/>
                </a:cxn>
                <a:cxn ang="0">
                  <a:pos x="345" y="245"/>
                </a:cxn>
                <a:cxn ang="0">
                  <a:pos x="435" y="193"/>
                </a:cxn>
                <a:cxn ang="0">
                  <a:pos x="551" y="157"/>
                </a:cxn>
                <a:cxn ang="0">
                  <a:pos x="631" y="165"/>
                </a:cxn>
                <a:cxn ang="0">
                  <a:pos x="645" y="90"/>
                </a:cxn>
                <a:cxn ang="0">
                  <a:pos x="721" y="72"/>
                </a:cxn>
                <a:cxn ang="0">
                  <a:pos x="703" y="24"/>
                </a:cxn>
                <a:cxn ang="0">
                  <a:pos x="1189" y="1346"/>
                </a:cxn>
                <a:cxn ang="0">
                  <a:pos x="1221" y="1414"/>
                </a:cxn>
                <a:cxn ang="0">
                  <a:pos x="1251" y="1472"/>
                </a:cxn>
                <a:cxn ang="0">
                  <a:pos x="1307" y="1450"/>
                </a:cxn>
                <a:cxn ang="0">
                  <a:pos x="1325" y="1402"/>
                </a:cxn>
                <a:cxn ang="0">
                  <a:pos x="1337" y="1350"/>
                </a:cxn>
                <a:cxn ang="0">
                  <a:pos x="1279" y="1336"/>
                </a:cxn>
                <a:cxn ang="0">
                  <a:pos x="1207" y="1326"/>
                </a:cxn>
              </a:cxnLst>
              <a:rect l="0" t="0" r="r" b="b"/>
              <a:pathLst>
                <a:path w="1536" h="1474">
                  <a:moveTo>
                    <a:pt x="741" y="32"/>
                  </a:moveTo>
                  <a:lnTo>
                    <a:pt x="773" y="50"/>
                  </a:lnTo>
                  <a:lnTo>
                    <a:pt x="803" y="60"/>
                  </a:lnTo>
                  <a:lnTo>
                    <a:pt x="843" y="68"/>
                  </a:lnTo>
                  <a:lnTo>
                    <a:pt x="869" y="68"/>
                  </a:lnTo>
                  <a:lnTo>
                    <a:pt x="883" y="58"/>
                  </a:lnTo>
                  <a:lnTo>
                    <a:pt x="895" y="64"/>
                  </a:lnTo>
                  <a:lnTo>
                    <a:pt x="881" y="96"/>
                  </a:lnTo>
                  <a:lnTo>
                    <a:pt x="877" y="104"/>
                  </a:lnTo>
                  <a:lnTo>
                    <a:pt x="861" y="110"/>
                  </a:lnTo>
                  <a:lnTo>
                    <a:pt x="855" y="151"/>
                  </a:lnTo>
                  <a:lnTo>
                    <a:pt x="841" y="169"/>
                  </a:lnTo>
                  <a:lnTo>
                    <a:pt x="857" y="185"/>
                  </a:lnTo>
                  <a:lnTo>
                    <a:pt x="931" y="225"/>
                  </a:lnTo>
                  <a:lnTo>
                    <a:pt x="975" y="251"/>
                  </a:lnTo>
                  <a:lnTo>
                    <a:pt x="1011" y="281"/>
                  </a:lnTo>
                  <a:lnTo>
                    <a:pt x="1039" y="275"/>
                  </a:lnTo>
                  <a:lnTo>
                    <a:pt x="1055" y="245"/>
                  </a:lnTo>
                  <a:lnTo>
                    <a:pt x="1077" y="189"/>
                  </a:lnTo>
                  <a:lnTo>
                    <a:pt x="1073" y="98"/>
                  </a:lnTo>
                  <a:lnTo>
                    <a:pt x="1073" y="62"/>
                  </a:lnTo>
                  <a:lnTo>
                    <a:pt x="1087" y="12"/>
                  </a:lnTo>
                  <a:lnTo>
                    <a:pt x="1099" y="2"/>
                  </a:lnTo>
                  <a:lnTo>
                    <a:pt x="1111" y="0"/>
                  </a:lnTo>
                  <a:lnTo>
                    <a:pt x="1113" y="10"/>
                  </a:lnTo>
                  <a:lnTo>
                    <a:pt x="1119" y="18"/>
                  </a:lnTo>
                  <a:lnTo>
                    <a:pt x="1123" y="46"/>
                  </a:lnTo>
                  <a:lnTo>
                    <a:pt x="1135" y="56"/>
                  </a:lnTo>
                  <a:lnTo>
                    <a:pt x="1141" y="82"/>
                  </a:lnTo>
                  <a:lnTo>
                    <a:pt x="1151" y="88"/>
                  </a:lnTo>
                  <a:lnTo>
                    <a:pt x="1151" y="122"/>
                  </a:lnTo>
                  <a:lnTo>
                    <a:pt x="1163" y="149"/>
                  </a:lnTo>
                  <a:lnTo>
                    <a:pt x="1179" y="147"/>
                  </a:lnTo>
                  <a:lnTo>
                    <a:pt x="1191" y="139"/>
                  </a:lnTo>
                  <a:lnTo>
                    <a:pt x="1209" y="165"/>
                  </a:lnTo>
                  <a:lnTo>
                    <a:pt x="1223" y="171"/>
                  </a:lnTo>
                  <a:lnTo>
                    <a:pt x="1221" y="201"/>
                  </a:lnTo>
                  <a:lnTo>
                    <a:pt x="1227" y="213"/>
                  </a:lnTo>
                  <a:lnTo>
                    <a:pt x="1231" y="241"/>
                  </a:lnTo>
                  <a:lnTo>
                    <a:pt x="1241" y="247"/>
                  </a:lnTo>
                  <a:lnTo>
                    <a:pt x="1253" y="273"/>
                  </a:lnTo>
                  <a:lnTo>
                    <a:pt x="1249" y="307"/>
                  </a:lnTo>
                  <a:lnTo>
                    <a:pt x="1263" y="345"/>
                  </a:lnTo>
                  <a:lnTo>
                    <a:pt x="1291" y="365"/>
                  </a:lnTo>
                  <a:lnTo>
                    <a:pt x="1321" y="373"/>
                  </a:lnTo>
                  <a:lnTo>
                    <a:pt x="1341" y="391"/>
                  </a:lnTo>
                  <a:lnTo>
                    <a:pt x="1353" y="407"/>
                  </a:lnTo>
                  <a:lnTo>
                    <a:pt x="1353" y="429"/>
                  </a:lnTo>
                  <a:lnTo>
                    <a:pt x="1373" y="437"/>
                  </a:lnTo>
                  <a:lnTo>
                    <a:pt x="1379" y="455"/>
                  </a:lnTo>
                  <a:lnTo>
                    <a:pt x="1377" y="467"/>
                  </a:lnTo>
                  <a:lnTo>
                    <a:pt x="1385" y="481"/>
                  </a:lnTo>
                  <a:lnTo>
                    <a:pt x="1395" y="471"/>
                  </a:lnTo>
                  <a:lnTo>
                    <a:pt x="1426" y="485"/>
                  </a:lnTo>
                  <a:lnTo>
                    <a:pt x="1424" y="525"/>
                  </a:lnTo>
                  <a:lnTo>
                    <a:pt x="1454" y="549"/>
                  </a:lnTo>
                  <a:lnTo>
                    <a:pt x="1474" y="549"/>
                  </a:lnTo>
                  <a:lnTo>
                    <a:pt x="1482" y="567"/>
                  </a:lnTo>
                  <a:lnTo>
                    <a:pt x="1510" y="625"/>
                  </a:lnTo>
                  <a:lnTo>
                    <a:pt x="1522" y="629"/>
                  </a:lnTo>
                  <a:lnTo>
                    <a:pt x="1520" y="695"/>
                  </a:lnTo>
                  <a:lnTo>
                    <a:pt x="1536" y="739"/>
                  </a:lnTo>
                  <a:lnTo>
                    <a:pt x="1534" y="771"/>
                  </a:lnTo>
                  <a:lnTo>
                    <a:pt x="1530" y="809"/>
                  </a:lnTo>
                  <a:lnTo>
                    <a:pt x="1518" y="829"/>
                  </a:lnTo>
                  <a:lnTo>
                    <a:pt x="1520" y="865"/>
                  </a:lnTo>
                  <a:lnTo>
                    <a:pt x="1510" y="899"/>
                  </a:lnTo>
                  <a:lnTo>
                    <a:pt x="1510" y="919"/>
                  </a:lnTo>
                  <a:lnTo>
                    <a:pt x="1484" y="931"/>
                  </a:lnTo>
                  <a:lnTo>
                    <a:pt x="1480" y="943"/>
                  </a:lnTo>
                  <a:lnTo>
                    <a:pt x="1468" y="947"/>
                  </a:lnTo>
                  <a:lnTo>
                    <a:pt x="1458" y="992"/>
                  </a:lnTo>
                  <a:lnTo>
                    <a:pt x="1450" y="1014"/>
                  </a:lnTo>
                  <a:lnTo>
                    <a:pt x="1444" y="1042"/>
                  </a:lnTo>
                  <a:lnTo>
                    <a:pt x="1430" y="1058"/>
                  </a:lnTo>
                  <a:lnTo>
                    <a:pt x="1415" y="1084"/>
                  </a:lnTo>
                  <a:lnTo>
                    <a:pt x="1407" y="1114"/>
                  </a:lnTo>
                  <a:lnTo>
                    <a:pt x="1401" y="1136"/>
                  </a:lnTo>
                  <a:lnTo>
                    <a:pt x="1407" y="1148"/>
                  </a:lnTo>
                  <a:lnTo>
                    <a:pt x="1399" y="1166"/>
                  </a:lnTo>
                  <a:lnTo>
                    <a:pt x="1365" y="1186"/>
                  </a:lnTo>
                  <a:lnTo>
                    <a:pt x="1349" y="1182"/>
                  </a:lnTo>
                  <a:lnTo>
                    <a:pt x="1309" y="1200"/>
                  </a:lnTo>
                  <a:lnTo>
                    <a:pt x="1289" y="1202"/>
                  </a:lnTo>
                  <a:lnTo>
                    <a:pt x="1289" y="1210"/>
                  </a:lnTo>
                  <a:lnTo>
                    <a:pt x="1283" y="1218"/>
                  </a:lnTo>
                  <a:lnTo>
                    <a:pt x="1267" y="1226"/>
                  </a:lnTo>
                  <a:lnTo>
                    <a:pt x="1267" y="1238"/>
                  </a:lnTo>
                  <a:lnTo>
                    <a:pt x="1265" y="1252"/>
                  </a:lnTo>
                  <a:lnTo>
                    <a:pt x="1259" y="1258"/>
                  </a:lnTo>
                  <a:lnTo>
                    <a:pt x="1249" y="1240"/>
                  </a:lnTo>
                  <a:lnTo>
                    <a:pt x="1235" y="1232"/>
                  </a:lnTo>
                  <a:lnTo>
                    <a:pt x="1213" y="1228"/>
                  </a:lnTo>
                  <a:lnTo>
                    <a:pt x="1185" y="1206"/>
                  </a:lnTo>
                  <a:lnTo>
                    <a:pt x="1173" y="1216"/>
                  </a:lnTo>
                  <a:lnTo>
                    <a:pt x="1157" y="1228"/>
                  </a:lnTo>
                  <a:lnTo>
                    <a:pt x="1137" y="1218"/>
                  </a:lnTo>
                  <a:lnTo>
                    <a:pt x="1111" y="1216"/>
                  </a:lnTo>
                  <a:lnTo>
                    <a:pt x="1095" y="1208"/>
                  </a:lnTo>
                  <a:lnTo>
                    <a:pt x="1081" y="1212"/>
                  </a:lnTo>
                  <a:lnTo>
                    <a:pt x="1069" y="1196"/>
                  </a:lnTo>
                  <a:lnTo>
                    <a:pt x="1053" y="1196"/>
                  </a:lnTo>
                  <a:lnTo>
                    <a:pt x="1027" y="1174"/>
                  </a:lnTo>
                  <a:lnTo>
                    <a:pt x="1025" y="1164"/>
                  </a:lnTo>
                  <a:lnTo>
                    <a:pt x="1013" y="1160"/>
                  </a:lnTo>
                  <a:lnTo>
                    <a:pt x="1009" y="1150"/>
                  </a:lnTo>
                  <a:lnTo>
                    <a:pt x="1015" y="1132"/>
                  </a:lnTo>
                  <a:lnTo>
                    <a:pt x="989" y="1098"/>
                  </a:lnTo>
                  <a:lnTo>
                    <a:pt x="981" y="1062"/>
                  </a:lnTo>
                  <a:lnTo>
                    <a:pt x="963" y="1076"/>
                  </a:lnTo>
                  <a:lnTo>
                    <a:pt x="941" y="1076"/>
                  </a:lnTo>
                  <a:lnTo>
                    <a:pt x="947" y="1062"/>
                  </a:lnTo>
                  <a:lnTo>
                    <a:pt x="959" y="1052"/>
                  </a:lnTo>
                  <a:lnTo>
                    <a:pt x="939" y="1016"/>
                  </a:lnTo>
                  <a:lnTo>
                    <a:pt x="933" y="1026"/>
                  </a:lnTo>
                  <a:lnTo>
                    <a:pt x="933" y="1046"/>
                  </a:lnTo>
                  <a:lnTo>
                    <a:pt x="917" y="1054"/>
                  </a:lnTo>
                  <a:lnTo>
                    <a:pt x="899" y="1056"/>
                  </a:lnTo>
                  <a:lnTo>
                    <a:pt x="897" y="1046"/>
                  </a:lnTo>
                  <a:lnTo>
                    <a:pt x="905" y="1034"/>
                  </a:lnTo>
                  <a:lnTo>
                    <a:pt x="919" y="1034"/>
                  </a:lnTo>
                  <a:lnTo>
                    <a:pt x="923" y="1002"/>
                  </a:lnTo>
                  <a:lnTo>
                    <a:pt x="943" y="949"/>
                  </a:lnTo>
                  <a:lnTo>
                    <a:pt x="929" y="949"/>
                  </a:lnTo>
                  <a:lnTo>
                    <a:pt x="909" y="984"/>
                  </a:lnTo>
                  <a:lnTo>
                    <a:pt x="879" y="1000"/>
                  </a:lnTo>
                  <a:lnTo>
                    <a:pt x="879" y="1020"/>
                  </a:lnTo>
                  <a:lnTo>
                    <a:pt x="871" y="1030"/>
                  </a:lnTo>
                  <a:lnTo>
                    <a:pt x="869" y="1040"/>
                  </a:lnTo>
                  <a:lnTo>
                    <a:pt x="861" y="1042"/>
                  </a:lnTo>
                  <a:lnTo>
                    <a:pt x="853" y="1028"/>
                  </a:lnTo>
                  <a:lnTo>
                    <a:pt x="843" y="1018"/>
                  </a:lnTo>
                  <a:lnTo>
                    <a:pt x="853" y="1014"/>
                  </a:lnTo>
                  <a:lnTo>
                    <a:pt x="839" y="986"/>
                  </a:lnTo>
                  <a:lnTo>
                    <a:pt x="827" y="973"/>
                  </a:lnTo>
                  <a:lnTo>
                    <a:pt x="829" y="951"/>
                  </a:lnTo>
                  <a:lnTo>
                    <a:pt x="815" y="939"/>
                  </a:lnTo>
                  <a:lnTo>
                    <a:pt x="799" y="941"/>
                  </a:lnTo>
                  <a:lnTo>
                    <a:pt x="789" y="905"/>
                  </a:lnTo>
                  <a:lnTo>
                    <a:pt x="769" y="897"/>
                  </a:lnTo>
                  <a:lnTo>
                    <a:pt x="759" y="907"/>
                  </a:lnTo>
                  <a:lnTo>
                    <a:pt x="729" y="889"/>
                  </a:lnTo>
                  <a:lnTo>
                    <a:pt x="719" y="901"/>
                  </a:lnTo>
                  <a:lnTo>
                    <a:pt x="677" y="877"/>
                  </a:lnTo>
                  <a:lnTo>
                    <a:pt x="585" y="883"/>
                  </a:lnTo>
                  <a:lnTo>
                    <a:pt x="569" y="893"/>
                  </a:lnTo>
                  <a:lnTo>
                    <a:pt x="507" y="917"/>
                  </a:lnTo>
                  <a:lnTo>
                    <a:pt x="485" y="913"/>
                  </a:lnTo>
                  <a:lnTo>
                    <a:pt x="459" y="933"/>
                  </a:lnTo>
                  <a:lnTo>
                    <a:pt x="415" y="945"/>
                  </a:lnTo>
                  <a:lnTo>
                    <a:pt x="389" y="977"/>
                  </a:lnTo>
                  <a:lnTo>
                    <a:pt x="345" y="979"/>
                  </a:lnTo>
                  <a:lnTo>
                    <a:pt x="327" y="988"/>
                  </a:lnTo>
                  <a:lnTo>
                    <a:pt x="305" y="979"/>
                  </a:lnTo>
                  <a:lnTo>
                    <a:pt x="275" y="979"/>
                  </a:lnTo>
                  <a:lnTo>
                    <a:pt x="259" y="992"/>
                  </a:lnTo>
                  <a:lnTo>
                    <a:pt x="247" y="992"/>
                  </a:lnTo>
                  <a:lnTo>
                    <a:pt x="233" y="1016"/>
                  </a:lnTo>
                  <a:lnTo>
                    <a:pt x="213" y="1016"/>
                  </a:lnTo>
                  <a:lnTo>
                    <a:pt x="191" y="1046"/>
                  </a:lnTo>
                  <a:lnTo>
                    <a:pt x="174" y="1042"/>
                  </a:lnTo>
                  <a:lnTo>
                    <a:pt x="138" y="1044"/>
                  </a:lnTo>
                  <a:lnTo>
                    <a:pt x="124" y="1046"/>
                  </a:lnTo>
                  <a:lnTo>
                    <a:pt x="112" y="1030"/>
                  </a:lnTo>
                  <a:lnTo>
                    <a:pt x="94" y="1026"/>
                  </a:lnTo>
                  <a:lnTo>
                    <a:pt x="82" y="1010"/>
                  </a:lnTo>
                  <a:lnTo>
                    <a:pt x="70" y="1010"/>
                  </a:lnTo>
                  <a:lnTo>
                    <a:pt x="68" y="971"/>
                  </a:lnTo>
                  <a:lnTo>
                    <a:pt x="84" y="961"/>
                  </a:lnTo>
                  <a:lnTo>
                    <a:pt x="96" y="887"/>
                  </a:lnTo>
                  <a:lnTo>
                    <a:pt x="74" y="837"/>
                  </a:lnTo>
                  <a:lnTo>
                    <a:pt x="74" y="821"/>
                  </a:lnTo>
                  <a:lnTo>
                    <a:pt x="66" y="813"/>
                  </a:lnTo>
                  <a:lnTo>
                    <a:pt x="66" y="787"/>
                  </a:lnTo>
                  <a:lnTo>
                    <a:pt x="44" y="747"/>
                  </a:lnTo>
                  <a:lnTo>
                    <a:pt x="30" y="721"/>
                  </a:lnTo>
                  <a:lnTo>
                    <a:pt x="28" y="699"/>
                  </a:lnTo>
                  <a:lnTo>
                    <a:pt x="2" y="657"/>
                  </a:lnTo>
                  <a:lnTo>
                    <a:pt x="0" y="643"/>
                  </a:lnTo>
                  <a:lnTo>
                    <a:pt x="2" y="619"/>
                  </a:lnTo>
                  <a:lnTo>
                    <a:pt x="16" y="623"/>
                  </a:lnTo>
                  <a:lnTo>
                    <a:pt x="26" y="617"/>
                  </a:lnTo>
                  <a:lnTo>
                    <a:pt x="18" y="601"/>
                  </a:lnTo>
                  <a:lnTo>
                    <a:pt x="10" y="575"/>
                  </a:lnTo>
                  <a:lnTo>
                    <a:pt x="2" y="549"/>
                  </a:lnTo>
                  <a:lnTo>
                    <a:pt x="10" y="529"/>
                  </a:lnTo>
                  <a:lnTo>
                    <a:pt x="16" y="507"/>
                  </a:lnTo>
                  <a:lnTo>
                    <a:pt x="8" y="485"/>
                  </a:lnTo>
                  <a:lnTo>
                    <a:pt x="20" y="469"/>
                  </a:lnTo>
                  <a:lnTo>
                    <a:pt x="20" y="455"/>
                  </a:lnTo>
                  <a:lnTo>
                    <a:pt x="30" y="453"/>
                  </a:lnTo>
                  <a:lnTo>
                    <a:pt x="36" y="467"/>
                  </a:lnTo>
                  <a:lnTo>
                    <a:pt x="50" y="455"/>
                  </a:lnTo>
                  <a:lnTo>
                    <a:pt x="78" y="433"/>
                  </a:lnTo>
                  <a:lnTo>
                    <a:pt x="102" y="423"/>
                  </a:lnTo>
                  <a:lnTo>
                    <a:pt x="116" y="421"/>
                  </a:lnTo>
                  <a:lnTo>
                    <a:pt x="132" y="409"/>
                  </a:lnTo>
                  <a:lnTo>
                    <a:pt x="142" y="417"/>
                  </a:lnTo>
                  <a:lnTo>
                    <a:pt x="154" y="411"/>
                  </a:lnTo>
                  <a:lnTo>
                    <a:pt x="183" y="407"/>
                  </a:lnTo>
                  <a:lnTo>
                    <a:pt x="205" y="385"/>
                  </a:lnTo>
                  <a:lnTo>
                    <a:pt x="225" y="385"/>
                  </a:lnTo>
                  <a:lnTo>
                    <a:pt x="243" y="387"/>
                  </a:lnTo>
                  <a:lnTo>
                    <a:pt x="285" y="377"/>
                  </a:lnTo>
                  <a:lnTo>
                    <a:pt x="309" y="351"/>
                  </a:lnTo>
                  <a:lnTo>
                    <a:pt x="319" y="321"/>
                  </a:lnTo>
                  <a:lnTo>
                    <a:pt x="339" y="297"/>
                  </a:lnTo>
                  <a:lnTo>
                    <a:pt x="331" y="287"/>
                  </a:lnTo>
                  <a:lnTo>
                    <a:pt x="333" y="263"/>
                  </a:lnTo>
                  <a:lnTo>
                    <a:pt x="345" y="245"/>
                  </a:lnTo>
                  <a:lnTo>
                    <a:pt x="353" y="223"/>
                  </a:lnTo>
                  <a:lnTo>
                    <a:pt x="377" y="237"/>
                  </a:lnTo>
                  <a:lnTo>
                    <a:pt x="381" y="223"/>
                  </a:lnTo>
                  <a:lnTo>
                    <a:pt x="417" y="227"/>
                  </a:lnTo>
                  <a:lnTo>
                    <a:pt x="435" y="193"/>
                  </a:lnTo>
                  <a:lnTo>
                    <a:pt x="457" y="157"/>
                  </a:lnTo>
                  <a:lnTo>
                    <a:pt x="487" y="127"/>
                  </a:lnTo>
                  <a:lnTo>
                    <a:pt x="509" y="122"/>
                  </a:lnTo>
                  <a:lnTo>
                    <a:pt x="531" y="131"/>
                  </a:lnTo>
                  <a:lnTo>
                    <a:pt x="551" y="157"/>
                  </a:lnTo>
                  <a:lnTo>
                    <a:pt x="561" y="173"/>
                  </a:lnTo>
                  <a:lnTo>
                    <a:pt x="575" y="169"/>
                  </a:lnTo>
                  <a:lnTo>
                    <a:pt x="597" y="169"/>
                  </a:lnTo>
                  <a:lnTo>
                    <a:pt x="611" y="183"/>
                  </a:lnTo>
                  <a:lnTo>
                    <a:pt x="631" y="165"/>
                  </a:lnTo>
                  <a:lnTo>
                    <a:pt x="609" y="155"/>
                  </a:lnTo>
                  <a:lnTo>
                    <a:pt x="621" y="135"/>
                  </a:lnTo>
                  <a:lnTo>
                    <a:pt x="619" y="112"/>
                  </a:lnTo>
                  <a:lnTo>
                    <a:pt x="649" y="106"/>
                  </a:lnTo>
                  <a:lnTo>
                    <a:pt x="645" y="90"/>
                  </a:lnTo>
                  <a:lnTo>
                    <a:pt x="663" y="78"/>
                  </a:lnTo>
                  <a:lnTo>
                    <a:pt x="677" y="58"/>
                  </a:lnTo>
                  <a:lnTo>
                    <a:pt x="695" y="66"/>
                  </a:lnTo>
                  <a:lnTo>
                    <a:pt x="705" y="64"/>
                  </a:lnTo>
                  <a:lnTo>
                    <a:pt x="721" y="72"/>
                  </a:lnTo>
                  <a:lnTo>
                    <a:pt x="735" y="56"/>
                  </a:lnTo>
                  <a:lnTo>
                    <a:pt x="721" y="46"/>
                  </a:lnTo>
                  <a:lnTo>
                    <a:pt x="703" y="44"/>
                  </a:lnTo>
                  <a:lnTo>
                    <a:pt x="691" y="30"/>
                  </a:lnTo>
                  <a:lnTo>
                    <a:pt x="703" y="24"/>
                  </a:lnTo>
                  <a:lnTo>
                    <a:pt x="717" y="32"/>
                  </a:lnTo>
                  <a:lnTo>
                    <a:pt x="729" y="34"/>
                  </a:lnTo>
                  <a:lnTo>
                    <a:pt x="741" y="32"/>
                  </a:lnTo>
                  <a:close/>
                  <a:moveTo>
                    <a:pt x="1189" y="1326"/>
                  </a:moveTo>
                  <a:lnTo>
                    <a:pt x="1189" y="1346"/>
                  </a:lnTo>
                  <a:lnTo>
                    <a:pt x="1199" y="1364"/>
                  </a:lnTo>
                  <a:lnTo>
                    <a:pt x="1209" y="1388"/>
                  </a:lnTo>
                  <a:lnTo>
                    <a:pt x="1219" y="1392"/>
                  </a:lnTo>
                  <a:lnTo>
                    <a:pt x="1225" y="1406"/>
                  </a:lnTo>
                  <a:lnTo>
                    <a:pt x="1221" y="1414"/>
                  </a:lnTo>
                  <a:lnTo>
                    <a:pt x="1223" y="1436"/>
                  </a:lnTo>
                  <a:lnTo>
                    <a:pt x="1239" y="1450"/>
                  </a:lnTo>
                  <a:lnTo>
                    <a:pt x="1253" y="1460"/>
                  </a:lnTo>
                  <a:lnTo>
                    <a:pt x="1251" y="1466"/>
                  </a:lnTo>
                  <a:lnTo>
                    <a:pt x="1251" y="1472"/>
                  </a:lnTo>
                  <a:lnTo>
                    <a:pt x="1283" y="1474"/>
                  </a:lnTo>
                  <a:lnTo>
                    <a:pt x="1283" y="1460"/>
                  </a:lnTo>
                  <a:lnTo>
                    <a:pt x="1289" y="1460"/>
                  </a:lnTo>
                  <a:lnTo>
                    <a:pt x="1295" y="1444"/>
                  </a:lnTo>
                  <a:lnTo>
                    <a:pt x="1307" y="1450"/>
                  </a:lnTo>
                  <a:lnTo>
                    <a:pt x="1309" y="1442"/>
                  </a:lnTo>
                  <a:lnTo>
                    <a:pt x="1315" y="1440"/>
                  </a:lnTo>
                  <a:lnTo>
                    <a:pt x="1317" y="1424"/>
                  </a:lnTo>
                  <a:lnTo>
                    <a:pt x="1321" y="1414"/>
                  </a:lnTo>
                  <a:lnTo>
                    <a:pt x="1325" y="1402"/>
                  </a:lnTo>
                  <a:lnTo>
                    <a:pt x="1339" y="1402"/>
                  </a:lnTo>
                  <a:lnTo>
                    <a:pt x="1341" y="1394"/>
                  </a:lnTo>
                  <a:lnTo>
                    <a:pt x="1337" y="1378"/>
                  </a:lnTo>
                  <a:lnTo>
                    <a:pt x="1341" y="1358"/>
                  </a:lnTo>
                  <a:lnTo>
                    <a:pt x="1337" y="1350"/>
                  </a:lnTo>
                  <a:lnTo>
                    <a:pt x="1339" y="1332"/>
                  </a:lnTo>
                  <a:lnTo>
                    <a:pt x="1327" y="1324"/>
                  </a:lnTo>
                  <a:lnTo>
                    <a:pt x="1313" y="1328"/>
                  </a:lnTo>
                  <a:lnTo>
                    <a:pt x="1297" y="1332"/>
                  </a:lnTo>
                  <a:lnTo>
                    <a:pt x="1279" y="1336"/>
                  </a:lnTo>
                  <a:lnTo>
                    <a:pt x="1277" y="1344"/>
                  </a:lnTo>
                  <a:lnTo>
                    <a:pt x="1259" y="1342"/>
                  </a:lnTo>
                  <a:lnTo>
                    <a:pt x="1231" y="1338"/>
                  </a:lnTo>
                  <a:lnTo>
                    <a:pt x="1215" y="1334"/>
                  </a:lnTo>
                  <a:lnTo>
                    <a:pt x="1207" y="1326"/>
                  </a:lnTo>
                  <a:lnTo>
                    <a:pt x="1191" y="1324"/>
                  </a:lnTo>
                  <a:lnTo>
                    <a:pt x="1189" y="1326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50" name="Austria">
              <a:extLst>
                <a:ext uri="{FF2B5EF4-FFF2-40B4-BE49-F238E27FC236}">
                  <a16:creationId xmlns="" xmlns:a16="http://schemas.microsoft.com/office/drawing/2014/main" id="{E78556C1-9D20-44C4-AA4C-40FE2D752496}"/>
                </a:ext>
              </a:extLst>
            </p:cNvPr>
            <p:cNvSpPr>
              <a:spLocks/>
            </p:cNvSpPr>
            <p:nvPr/>
          </p:nvSpPr>
          <p:spPr bwMode="gray">
            <a:xfrm>
              <a:off x="6097728" y="2765248"/>
              <a:ext cx="238181" cy="121926"/>
            </a:xfrm>
            <a:custGeom>
              <a:avLst/>
              <a:gdLst/>
              <a:ahLst/>
              <a:cxnLst>
                <a:cxn ang="0">
                  <a:pos x="42" y="124"/>
                </a:cxn>
                <a:cxn ang="0">
                  <a:pos x="32" y="116"/>
                </a:cxn>
                <a:cxn ang="0">
                  <a:pos x="18" y="120"/>
                </a:cxn>
                <a:cxn ang="0">
                  <a:pos x="4" y="114"/>
                </a:cxn>
                <a:cxn ang="0">
                  <a:pos x="0" y="100"/>
                </a:cxn>
                <a:cxn ang="0">
                  <a:pos x="6" y="86"/>
                </a:cxn>
                <a:cxn ang="0">
                  <a:pos x="92" y="82"/>
                </a:cxn>
                <a:cxn ang="0">
                  <a:pos x="108" y="74"/>
                </a:cxn>
                <a:cxn ang="0">
                  <a:pos x="126" y="84"/>
                </a:cxn>
                <a:cxn ang="0">
                  <a:pos x="138" y="78"/>
                </a:cxn>
                <a:cxn ang="0">
                  <a:pos x="122" y="60"/>
                </a:cxn>
                <a:cxn ang="0">
                  <a:pos x="120" y="46"/>
                </a:cxn>
                <a:cxn ang="0">
                  <a:pos x="138" y="36"/>
                </a:cxn>
                <a:cxn ang="0">
                  <a:pos x="154" y="22"/>
                </a:cxn>
                <a:cxn ang="0">
                  <a:pos x="172" y="20"/>
                </a:cxn>
                <a:cxn ang="0">
                  <a:pos x="176" y="26"/>
                </a:cxn>
                <a:cxn ang="0">
                  <a:pos x="192" y="24"/>
                </a:cxn>
                <a:cxn ang="0">
                  <a:pos x="208" y="0"/>
                </a:cxn>
                <a:cxn ang="0">
                  <a:pos x="230" y="4"/>
                </a:cxn>
                <a:cxn ang="0">
                  <a:pos x="252" y="8"/>
                </a:cxn>
                <a:cxn ang="0">
                  <a:pos x="270" y="8"/>
                </a:cxn>
                <a:cxn ang="0">
                  <a:pos x="286" y="18"/>
                </a:cxn>
                <a:cxn ang="0">
                  <a:pos x="280" y="36"/>
                </a:cxn>
                <a:cxn ang="0">
                  <a:pos x="294" y="48"/>
                </a:cxn>
                <a:cxn ang="0">
                  <a:pos x="286" y="60"/>
                </a:cxn>
                <a:cxn ang="0">
                  <a:pos x="282" y="80"/>
                </a:cxn>
                <a:cxn ang="0">
                  <a:pos x="264" y="74"/>
                </a:cxn>
                <a:cxn ang="0">
                  <a:pos x="258" y="88"/>
                </a:cxn>
                <a:cxn ang="0">
                  <a:pos x="252" y="106"/>
                </a:cxn>
                <a:cxn ang="0">
                  <a:pos x="248" y="124"/>
                </a:cxn>
                <a:cxn ang="0">
                  <a:pos x="236" y="122"/>
                </a:cxn>
                <a:cxn ang="0">
                  <a:pos x="222" y="134"/>
                </a:cxn>
                <a:cxn ang="0">
                  <a:pos x="214" y="130"/>
                </a:cxn>
                <a:cxn ang="0">
                  <a:pos x="200" y="138"/>
                </a:cxn>
                <a:cxn ang="0">
                  <a:pos x="188" y="148"/>
                </a:cxn>
                <a:cxn ang="0">
                  <a:pos x="150" y="146"/>
                </a:cxn>
                <a:cxn ang="0">
                  <a:pos x="124" y="140"/>
                </a:cxn>
                <a:cxn ang="0">
                  <a:pos x="102" y="126"/>
                </a:cxn>
                <a:cxn ang="0">
                  <a:pos x="98" y="112"/>
                </a:cxn>
                <a:cxn ang="0">
                  <a:pos x="66" y="112"/>
                </a:cxn>
                <a:cxn ang="0">
                  <a:pos x="42" y="124"/>
                </a:cxn>
              </a:cxnLst>
              <a:rect l="0" t="0" r="r" b="b"/>
              <a:pathLst>
                <a:path w="294" h="148">
                  <a:moveTo>
                    <a:pt x="42" y="124"/>
                  </a:moveTo>
                  <a:lnTo>
                    <a:pt x="32" y="116"/>
                  </a:lnTo>
                  <a:lnTo>
                    <a:pt x="18" y="120"/>
                  </a:lnTo>
                  <a:lnTo>
                    <a:pt x="4" y="114"/>
                  </a:lnTo>
                  <a:lnTo>
                    <a:pt x="0" y="100"/>
                  </a:lnTo>
                  <a:lnTo>
                    <a:pt x="6" y="86"/>
                  </a:lnTo>
                  <a:lnTo>
                    <a:pt x="92" y="82"/>
                  </a:lnTo>
                  <a:lnTo>
                    <a:pt x="108" y="74"/>
                  </a:lnTo>
                  <a:lnTo>
                    <a:pt x="126" y="84"/>
                  </a:lnTo>
                  <a:lnTo>
                    <a:pt x="138" y="78"/>
                  </a:lnTo>
                  <a:lnTo>
                    <a:pt x="122" y="60"/>
                  </a:lnTo>
                  <a:lnTo>
                    <a:pt x="120" y="46"/>
                  </a:lnTo>
                  <a:lnTo>
                    <a:pt x="138" y="36"/>
                  </a:lnTo>
                  <a:lnTo>
                    <a:pt x="154" y="22"/>
                  </a:lnTo>
                  <a:lnTo>
                    <a:pt x="172" y="20"/>
                  </a:lnTo>
                  <a:lnTo>
                    <a:pt x="176" y="26"/>
                  </a:lnTo>
                  <a:lnTo>
                    <a:pt x="192" y="24"/>
                  </a:lnTo>
                  <a:lnTo>
                    <a:pt x="208" y="0"/>
                  </a:lnTo>
                  <a:lnTo>
                    <a:pt x="230" y="4"/>
                  </a:lnTo>
                  <a:lnTo>
                    <a:pt x="252" y="8"/>
                  </a:lnTo>
                  <a:lnTo>
                    <a:pt x="270" y="8"/>
                  </a:lnTo>
                  <a:lnTo>
                    <a:pt x="286" y="18"/>
                  </a:lnTo>
                  <a:lnTo>
                    <a:pt x="280" y="36"/>
                  </a:lnTo>
                  <a:lnTo>
                    <a:pt x="294" y="48"/>
                  </a:lnTo>
                  <a:lnTo>
                    <a:pt x="286" y="60"/>
                  </a:lnTo>
                  <a:lnTo>
                    <a:pt x="282" y="80"/>
                  </a:lnTo>
                  <a:lnTo>
                    <a:pt x="264" y="74"/>
                  </a:lnTo>
                  <a:lnTo>
                    <a:pt x="258" y="88"/>
                  </a:lnTo>
                  <a:lnTo>
                    <a:pt x="252" y="106"/>
                  </a:lnTo>
                  <a:lnTo>
                    <a:pt x="248" y="124"/>
                  </a:lnTo>
                  <a:lnTo>
                    <a:pt x="236" y="122"/>
                  </a:lnTo>
                  <a:lnTo>
                    <a:pt x="222" y="134"/>
                  </a:lnTo>
                  <a:lnTo>
                    <a:pt x="214" y="130"/>
                  </a:lnTo>
                  <a:lnTo>
                    <a:pt x="200" y="138"/>
                  </a:lnTo>
                  <a:lnTo>
                    <a:pt x="188" y="148"/>
                  </a:lnTo>
                  <a:lnTo>
                    <a:pt x="150" y="146"/>
                  </a:lnTo>
                  <a:lnTo>
                    <a:pt x="124" y="140"/>
                  </a:lnTo>
                  <a:lnTo>
                    <a:pt x="102" y="126"/>
                  </a:lnTo>
                  <a:lnTo>
                    <a:pt x="98" y="112"/>
                  </a:lnTo>
                  <a:lnTo>
                    <a:pt x="66" y="112"/>
                  </a:lnTo>
                  <a:lnTo>
                    <a:pt x="42" y="124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51" name="Azerbaijan">
              <a:extLst>
                <a:ext uri="{FF2B5EF4-FFF2-40B4-BE49-F238E27FC236}">
                  <a16:creationId xmlns="" xmlns:a16="http://schemas.microsoft.com/office/drawing/2014/main" id="{1DEFC69D-3012-4AC8-BE7A-A82873A9350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179304" y="3087764"/>
              <a:ext cx="169851" cy="159290"/>
            </a:xfrm>
            <a:custGeom>
              <a:avLst/>
              <a:gdLst/>
              <a:ahLst/>
              <a:cxnLst>
                <a:cxn ang="0">
                  <a:pos x="208" y="229"/>
                </a:cxn>
                <a:cxn ang="0">
                  <a:pos x="180" y="215"/>
                </a:cxn>
                <a:cxn ang="0">
                  <a:pos x="161" y="201"/>
                </a:cxn>
                <a:cxn ang="0">
                  <a:pos x="173" y="182"/>
                </a:cxn>
                <a:cxn ang="0">
                  <a:pos x="159" y="151"/>
                </a:cxn>
                <a:cxn ang="0">
                  <a:pos x="126" y="173"/>
                </a:cxn>
                <a:cxn ang="0">
                  <a:pos x="95" y="196"/>
                </a:cxn>
                <a:cxn ang="0">
                  <a:pos x="92" y="180"/>
                </a:cxn>
                <a:cxn ang="0">
                  <a:pos x="97" y="168"/>
                </a:cxn>
                <a:cxn ang="0">
                  <a:pos x="95" y="161"/>
                </a:cxn>
                <a:cxn ang="0">
                  <a:pos x="57" y="125"/>
                </a:cxn>
                <a:cxn ang="0">
                  <a:pos x="66" y="99"/>
                </a:cxn>
                <a:cxn ang="0">
                  <a:pos x="48" y="99"/>
                </a:cxn>
                <a:cxn ang="0">
                  <a:pos x="33" y="90"/>
                </a:cxn>
                <a:cxn ang="0">
                  <a:pos x="29" y="83"/>
                </a:cxn>
                <a:cxn ang="0">
                  <a:pos x="36" y="66"/>
                </a:cxn>
                <a:cxn ang="0">
                  <a:pos x="19" y="64"/>
                </a:cxn>
                <a:cxn ang="0">
                  <a:pos x="7" y="50"/>
                </a:cxn>
                <a:cxn ang="0">
                  <a:pos x="19" y="40"/>
                </a:cxn>
                <a:cxn ang="0">
                  <a:pos x="36" y="38"/>
                </a:cxn>
                <a:cxn ang="0">
                  <a:pos x="50" y="52"/>
                </a:cxn>
                <a:cxn ang="0">
                  <a:pos x="83" y="50"/>
                </a:cxn>
                <a:cxn ang="0">
                  <a:pos x="81" y="40"/>
                </a:cxn>
                <a:cxn ang="0">
                  <a:pos x="69" y="31"/>
                </a:cxn>
                <a:cxn ang="0">
                  <a:pos x="76" y="7"/>
                </a:cxn>
                <a:cxn ang="0">
                  <a:pos x="92" y="0"/>
                </a:cxn>
                <a:cxn ang="0">
                  <a:pos x="107" y="17"/>
                </a:cxn>
                <a:cxn ang="0">
                  <a:pos x="123" y="21"/>
                </a:cxn>
                <a:cxn ang="0">
                  <a:pos x="130" y="38"/>
                </a:cxn>
                <a:cxn ang="0">
                  <a:pos x="156" y="45"/>
                </a:cxn>
                <a:cxn ang="0">
                  <a:pos x="166" y="45"/>
                </a:cxn>
                <a:cxn ang="0">
                  <a:pos x="170" y="31"/>
                </a:cxn>
                <a:cxn ang="0">
                  <a:pos x="192" y="21"/>
                </a:cxn>
                <a:cxn ang="0">
                  <a:pos x="208" y="50"/>
                </a:cxn>
                <a:cxn ang="0">
                  <a:pos x="208" y="69"/>
                </a:cxn>
                <a:cxn ang="0">
                  <a:pos x="218" y="73"/>
                </a:cxn>
                <a:cxn ang="0">
                  <a:pos x="232" y="95"/>
                </a:cxn>
                <a:cxn ang="0">
                  <a:pos x="253" y="97"/>
                </a:cxn>
                <a:cxn ang="0">
                  <a:pos x="253" y="104"/>
                </a:cxn>
                <a:cxn ang="0">
                  <a:pos x="229" y="121"/>
                </a:cxn>
                <a:cxn ang="0">
                  <a:pos x="225" y="180"/>
                </a:cxn>
                <a:cxn ang="0">
                  <a:pos x="218" y="168"/>
                </a:cxn>
                <a:cxn ang="0">
                  <a:pos x="208" y="170"/>
                </a:cxn>
                <a:cxn ang="0">
                  <a:pos x="208" y="229"/>
                </a:cxn>
                <a:cxn ang="0">
                  <a:pos x="69" y="189"/>
                </a:cxn>
                <a:cxn ang="0">
                  <a:pos x="74" y="175"/>
                </a:cxn>
                <a:cxn ang="0">
                  <a:pos x="66" y="173"/>
                </a:cxn>
                <a:cxn ang="0">
                  <a:pos x="64" y="163"/>
                </a:cxn>
                <a:cxn ang="0">
                  <a:pos x="59" y="154"/>
                </a:cxn>
                <a:cxn ang="0">
                  <a:pos x="48" y="149"/>
                </a:cxn>
                <a:cxn ang="0">
                  <a:pos x="36" y="149"/>
                </a:cxn>
                <a:cxn ang="0">
                  <a:pos x="24" y="147"/>
                </a:cxn>
                <a:cxn ang="0">
                  <a:pos x="0" y="147"/>
                </a:cxn>
                <a:cxn ang="0">
                  <a:pos x="12" y="156"/>
                </a:cxn>
                <a:cxn ang="0">
                  <a:pos x="50" y="191"/>
                </a:cxn>
                <a:cxn ang="0">
                  <a:pos x="59" y="194"/>
                </a:cxn>
                <a:cxn ang="0">
                  <a:pos x="74" y="199"/>
                </a:cxn>
                <a:cxn ang="0">
                  <a:pos x="69" y="189"/>
                </a:cxn>
              </a:cxnLst>
              <a:rect l="0" t="0" r="r" b="b"/>
              <a:pathLst>
                <a:path w="253" h="229">
                  <a:moveTo>
                    <a:pt x="208" y="229"/>
                  </a:moveTo>
                  <a:lnTo>
                    <a:pt x="180" y="215"/>
                  </a:lnTo>
                  <a:lnTo>
                    <a:pt x="161" y="201"/>
                  </a:lnTo>
                  <a:lnTo>
                    <a:pt x="173" y="182"/>
                  </a:lnTo>
                  <a:lnTo>
                    <a:pt x="159" y="151"/>
                  </a:lnTo>
                  <a:lnTo>
                    <a:pt x="126" y="173"/>
                  </a:lnTo>
                  <a:lnTo>
                    <a:pt x="95" y="196"/>
                  </a:lnTo>
                  <a:lnTo>
                    <a:pt x="92" y="180"/>
                  </a:lnTo>
                  <a:lnTo>
                    <a:pt x="97" y="168"/>
                  </a:lnTo>
                  <a:lnTo>
                    <a:pt x="95" y="161"/>
                  </a:lnTo>
                  <a:lnTo>
                    <a:pt x="57" y="125"/>
                  </a:lnTo>
                  <a:lnTo>
                    <a:pt x="66" y="99"/>
                  </a:lnTo>
                  <a:lnTo>
                    <a:pt x="48" y="99"/>
                  </a:lnTo>
                  <a:lnTo>
                    <a:pt x="33" y="90"/>
                  </a:lnTo>
                  <a:lnTo>
                    <a:pt x="29" y="83"/>
                  </a:lnTo>
                  <a:lnTo>
                    <a:pt x="36" y="66"/>
                  </a:lnTo>
                  <a:lnTo>
                    <a:pt x="19" y="64"/>
                  </a:lnTo>
                  <a:lnTo>
                    <a:pt x="7" y="50"/>
                  </a:lnTo>
                  <a:lnTo>
                    <a:pt x="19" y="40"/>
                  </a:lnTo>
                  <a:lnTo>
                    <a:pt x="36" y="38"/>
                  </a:lnTo>
                  <a:lnTo>
                    <a:pt x="50" y="52"/>
                  </a:lnTo>
                  <a:lnTo>
                    <a:pt x="83" y="50"/>
                  </a:lnTo>
                  <a:lnTo>
                    <a:pt x="81" y="40"/>
                  </a:lnTo>
                  <a:lnTo>
                    <a:pt x="69" y="31"/>
                  </a:lnTo>
                  <a:lnTo>
                    <a:pt x="76" y="7"/>
                  </a:lnTo>
                  <a:lnTo>
                    <a:pt x="92" y="0"/>
                  </a:lnTo>
                  <a:lnTo>
                    <a:pt x="107" y="17"/>
                  </a:lnTo>
                  <a:lnTo>
                    <a:pt x="123" y="21"/>
                  </a:lnTo>
                  <a:lnTo>
                    <a:pt x="130" y="38"/>
                  </a:lnTo>
                  <a:lnTo>
                    <a:pt x="156" y="45"/>
                  </a:lnTo>
                  <a:lnTo>
                    <a:pt x="166" y="45"/>
                  </a:lnTo>
                  <a:lnTo>
                    <a:pt x="170" y="31"/>
                  </a:lnTo>
                  <a:lnTo>
                    <a:pt x="192" y="21"/>
                  </a:lnTo>
                  <a:lnTo>
                    <a:pt x="208" y="50"/>
                  </a:lnTo>
                  <a:lnTo>
                    <a:pt x="208" y="69"/>
                  </a:lnTo>
                  <a:lnTo>
                    <a:pt x="218" y="73"/>
                  </a:lnTo>
                  <a:lnTo>
                    <a:pt x="232" y="95"/>
                  </a:lnTo>
                  <a:lnTo>
                    <a:pt x="253" y="97"/>
                  </a:lnTo>
                  <a:lnTo>
                    <a:pt x="253" y="104"/>
                  </a:lnTo>
                  <a:lnTo>
                    <a:pt x="229" y="121"/>
                  </a:lnTo>
                  <a:lnTo>
                    <a:pt x="225" y="180"/>
                  </a:lnTo>
                  <a:lnTo>
                    <a:pt x="218" y="168"/>
                  </a:lnTo>
                  <a:lnTo>
                    <a:pt x="208" y="170"/>
                  </a:lnTo>
                  <a:lnTo>
                    <a:pt x="208" y="229"/>
                  </a:lnTo>
                  <a:moveTo>
                    <a:pt x="69" y="189"/>
                  </a:moveTo>
                  <a:lnTo>
                    <a:pt x="74" y="175"/>
                  </a:lnTo>
                  <a:lnTo>
                    <a:pt x="66" y="173"/>
                  </a:lnTo>
                  <a:lnTo>
                    <a:pt x="64" y="163"/>
                  </a:lnTo>
                  <a:lnTo>
                    <a:pt x="59" y="154"/>
                  </a:lnTo>
                  <a:lnTo>
                    <a:pt x="48" y="149"/>
                  </a:lnTo>
                  <a:lnTo>
                    <a:pt x="36" y="149"/>
                  </a:lnTo>
                  <a:lnTo>
                    <a:pt x="24" y="147"/>
                  </a:lnTo>
                  <a:lnTo>
                    <a:pt x="0" y="147"/>
                  </a:lnTo>
                  <a:lnTo>
                    <a:pt x="12" y="156"/>
                  </a:lnTo>
                  <a:lnTo>
                    <a:pt x="50" y="191"/>
                  </a:lnTo>
                  <a:lnTo>
                    <a:pt x="59" y="194"/>
                  </a:lnTo>
                  <a:lnTo>
                    <a:pt x="74" y="199"/>
                  </a:lnTo>
                  <a:lnTo>
                    <a:pt x="69" y="189"/>
                  </a:lnTo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 cmpd="sng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52" name="Bahrain">
              <a:extLst>
                <a:ext uri="{FF2B5EF4-FFF2-40B4-BE49-F238E27FC236}">
                  <a16:creationId xmlns="" xmlns:a16="http://schemas.microsoft.com/office/drawing/2014/main" id="{DE97C7CD-13E1-4259-8849-145BABF8361E}"/>
                </a:ext>
              </a:extLst>
            </p:cNvPr>
            <p:cNvSpPr>
              <a:spLocks/>
            </p:cNvSpPr>
            <p:nvPr/>
          </p:nvSpPr>
          <p:spPr bwMode="gray">
            <a:xfrm>
              <a:off x="7360869" y="3689531"/>
              <a:ext cx="11715" cy="17698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4" y="0"/>
                </a:cxn>
                <a:cxn ang="0">
                  <a:pos x="12" y="2"/>
                </a:cxn>
                <a:cxn ang="0">
                  <a:pos x="10" y="24"/>
                </a:cxn>
                <a:cxn ang="0">
                  <a:pos x="2" y="16"/>
                </a:cxn>
                <a:cxn ang="0">
                  <a:pos x="2" y="10"/>
                </a:cxn>
                <a:cxn ang="0">
                  <a:pos x="0" y="2"/>
                </a:cxn>
              </a:cxnLst>
              <a:rect l="0" t="0" r="r" b="b"/>
              <a:pathLst>
                <a:path w="12" h="24">
                  <a:moveTo>
                    <a:pt x="0" y="2"/>
                  </a:moveTo>
                  <a:lnTo>
                    <a:pt x="4" y="0"/>
                  </a:lnTo>
                  <a:lnTo>
                    <a:pt x="12" y="2"/>
                  </a:lnTo>
                  <a:lnTo>
                    <a:pt x="10" y="24"/>
                  </a:lnTo>
                  <a:lnTo>
                    <a:pt x="2" y="16"/>
                  </a:lnTo>
                  <a:lnTo>
                    <a:pt x="2" y="1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53" name="Bangladesh">
              <a:extLst>
                <a:ext uri="{FF2B5EF4-FFF2-40B4-BE49-F238E27FC236}">
                  <a16:creationId xmlns="" xmlns:a16="http://schemas.microsoft.com/office/drawing/2014/main" id="{EC201309-ABE0-4AFC-B3DD-8C958C816ECD}"/>
                </a:ext>
              </a:extLst>
            </p:cNvPr>
            <p:cNvSpPr>
              <a:spLocks/>
            </p:cNvSpPr>
            <p:nvPr/>
          </p:nvSpPr>
          <p:spPr bwMode="gray">
            <a:xfrm>
              <a:off x="8518584" y="3691497"/>
              <a:ext cx="150328" cy="202557"/>
            </a:xfrm>
            <a:custGeom>
              <a:avLst/>
              <a:gdLst/>
              <a:ahLst/>
              <a:cxnLst>
                <a:cxn ang="0">
                  <a:pos x="178" y="216"/>
                </a:cxn>
                <a:cxn ang="0">
                  <a:pos x="174" y="192"/>
                </a:cxn>
                <a:cxn ang="0">
                  <a:pos x="172" y="170"/>
                </a:cxn>
                <a:cxn ang="0">
                  <a:pos x="168" y="118"/>
                </a:cxn>
                <a:cxn ang="0">
                  <a:pos x="158" y="112"/>
                </a:cxn>
                <a:cxn ang="0">
                  <a:pos x="150" y="118"/>
                </a:cxn>
                <a:cxn ang="0">
                  <a:pos x="146" y="134"/>
                </a:cxn>
                <a:cxn ang="0">
                  <a:pos x="128" y="124"/>
                </a:cxn>
                <a:cxn ang="0">
                  <a:pos x="130" y="114"/>
                </a:cxn>
                <a:cxn ang="0">
                  <a:pos x="136" y="102"/>
                </a:cxn>
                <a:cxn ang="0">
                  <a:pos x="150" y="94"/>
                </a:cxn>
                <a:cxn ang="0">
                  <a:pos x="162" y="84"/>
                </a:cxn>
                <a:cxn ang="0">
                  <a:pos x="180" y="58"/>
                </a:cxn>
                <a:cxn ang="0">
                  <a:pos x="182" y="42"/>
                </a:cxn>
                <a:cxn ang="0">
                  <a:pos x="104" y="40"/>
                </a:cxn>
                <a:cxn ang="0">
                  <a:pos x="86" y="44"/>
                </a:cxn>
                <a:cxn ang="0">
                  <a:pos x="72" y="38"/>
                </a:cxn>
                <a:cxn ang="0">
                  <a:pos x="70" y="24"/>
                </a:cxn>
                <a:cxn ang="0">
                  <a:pos x="62" y="12"/>
                </a:cxn>
                <a:cxn ang="0">
                  <a:pos x="52" y="12"/>
                </a:cxn>
                <a:cxn ang="0">
                  <a:pos x="44" y="0"/>
                </a:cxn>
                <a:cxn ang="0">
                  <a:pos x="30" y="8"/>
                </a:cxn>
                <a:cxn ang="0">
                  <a:pos x="20" y="2"/>
                </a:cxn>
                <a:cxn ang="0">
                  <a:pos x="6" y="4"/>
                </a:cxn>
                <a:cxn ang="0">
                  <a:pos x="8" y="18"/>
                </a:cxn>
                <a:cxn ang="0">
                  <a:pos x="0" y="32"/>
                </a:cxn>
                <a:cxn ang="0">
                  <a:pos x="16" y="48"/>
                </a:cxn>
                <a:cxn ang="0">
                  <a:pos x="22" y="46"/>
                </a:cxn>
                <a:cxn ang="0">
                  <a:pos x="32" y="56"/>
                </a:cxn>
                <a:cxn ang="0">
                  <a:pos x="24" y="72"/>
                </a:cxn>
                <a:cxn ang="0">
                  <a:pos x="14" y="72"/>
                </a:cxn>
                <a:cxn ang="0">
                  <a:pos x="8" y="84"/>
                </a:cxn>
                <a:cxn ang="0">
                  <a:pos x="30" y="102"/>
                </a:cxn>
                <a:cxn ang="0">
                  <a:pos x="24" y="116"/>
                </a:cxn>
                <a:cxn ang="0">
                  <a:pos x="42" y="156"/>
                </a:cxn>
                <a:cxn ang="0">
                  <a:pos x="56" y="202"/>
                </a:cxn>
                <a:cxn ang="0">
                  <a:pos x="70" y="190"/>
                </a:cxn>
                <a:cxn ang="0">
                  <a:pos x="80" y="196"/>
                </a:cxn>
                <a:cxn ang="0">
                  <a:pos x="92" y="180"/>
                </a:cxn>
                <a:cxn ang="0">
                  <a:pos x="96" y="142"/>
                </a:cxn>
                <a:cxn ang="0">
                  <a:pos x="134" y="170"/>
                </a:cxn>
                <a:cxn ang="0">
                  <a:pos x="142" y="188"/>
                </a:cxn>
                <a:cxn ang="0">
                  <a:pos x="144" y="222"/>
                </a:cxn>
                <a:cxn ang="0">
                  <a:pos x="156" y="236"/>
                </a:cxn>
                <a:cxn ang="0">
                  <a:pos x="172" y="250"/>
                </a:cxn>
                <a:cxn ang="0">
                  <a:pos x="174" y="220"/>
                </a:cxn>
                <a:cxn ang="0">
                  <a:pos x="178" y="216"/>
                </a:cxn>
              </a:cxnLst>
              <a:rect l="0" t="0" r="r" b="b"/>
              <a:pathLst>
                <a:path w="182" h="250">
                  <a:moveTo>
                    <a:pt x="178" y="216"/>
                  </a:moveTo>
                  <a:lnTo>
                    <a:pt x="174" y="192"/>
                  </a:lnTo>
                  <a:lnTo>
                    <a:pt x="172" y="170"/>
                  </a:lnTo>
                  <a:lnTo>
                    <a:pt x="168" y="118"/>
                  </a:lnTo>
                  <a:lnTo>
                    <a:pt x="158" y="112"/>
                  </a:lnTo>
                  <a:lnTo>
                    <a:pt x="150" y="118"/>
                  </a:lnTo>
                  <a:lnTo>
                    <a:pt x="146" y="134"/>
                  </a:lnTo>
                  <a:lnTo>
                    <a:pt x="128" y="124"/>
                  </a:lnTo>
                  <a:lnTo>
                    <a:pt x="130" y="114"/>
                  </a:lnTo>
                  <a:lnTo>
                    <a:pt x="136" y="102"/>
                  </a:lnTo>
                  <a:lnTo>
                    <a:pt x="150" y="94"/>
                  </a:lnTo>
                  <a:lnTo>
                    <a:pt x="162" y="84"/>
                  </a:lnTo>
                  <a:lnTo>
                    <a:pt x="180" y="58"/>
                  </a:lnTo>
                  <a:lnTo>
                    <a:pt x="182" y="42"/>
                  </a:lnTo>
                  <a:lnTo>
                    <a:pt x="104" y="40"/>
                  </a:lnTo>
                  <a:lnTo>
                    <a:pt x="86" y="44"/>
                  </a:lnTo>
                  <a:lnTo>
                    <a:pt x="72" y="38"/>
                  </a:lnTo>
                  <a:lnTo>
                    <a:pt x="70" y="24"/>
                  </a:lnTo>
                  <a:lnTo>
                    <a:pt x="62" y="12"/>
                  </a:lnTo>
                  <a:lnTo>
                    <a:pt x="52" y="12"/>
                  </a:lnTo>
                  <a:lnTo>
                    <a:pt x="44" y="0"/>
                  </a:lnTo>
                  <a:lnTo>
                    <a:pt x="30" y="8"/>
                  </a:lnTo>
                  <a:lnTo>
                    <a:pt x="20" y="2"/>
                  </a:lnTo>
                  <a:lnTo>
                    <a:pt x="6" y="4"/>
                  </a:lnTo>
                  <a:lnTo>
                    <a:pt x="8" y="18"/>
                  </a:lnTo>
                  <a:lnTo>
                    <a:pt x="0" y="32"/>
                  </a:lnTo>
                  <a:lnTo>
                    <a:pt x="16" y="48"/>
                  </a:lnTo>
                  <a:lnTo>
                    <a:pt x="22" y="46"/>
                  </a:lnTo>
                  <a:lnTo>
                    <a:pt x="32" y="56"/>
                  </a:lnTo>
                  <a:lnTo>
                    <a:pt x="24" y="72"/>
                  </a:lnTo>
                  <a:lnTo>
                    <a:pt x="14" y="72"/>
                  </a:lnTo>
                  <a:lnTo>
                    <a:pt x="8" y="84"/>
                  </a:lnTo>
                  <a:lnTo>
                    <a:pt x="30" y="102"/>
                  </a:lnTo>
                  <a:lnTo>
                    <a:pt x="24" y="116"/>
                  </a:lnTo>
                  <a:lnTo>
                    <a:pt x="42" y="156"/>
                  </a:lnTo>
                  <a:lnTo>
                    <a:pt x="56" y="202"/>
                  </a:lnTo>
                  <a:lnTo>
                    <a:pt x="70" y="190"/>
                  </a:lnTo>
                  <a:lnTo>
                    <a:pt x="80" y="196"/>
                  </a:lnTo>
                  <a:lnTo>
                    <a:pt x="92" y="180"/>
                  </a:lnTo>
                  <a:lnTo>
                    <a:pt x="96" y="142"/>
                  </a:lnTo>
                  <a:lnTo>
                    <a:pt x="134" y="170"/>
                  </a:lnTo>
                  <a:lnTo>
                    <a:pt x="142" y="188"/>
                  </a:lnTo>
                  <a:lnTo>
                    <a:pt x="144" y="222"/>
                  </a:lnTo>
                  <a:lnTo>
                    <a:pt x="156" y="236"/>
                  </a:lnTo>
                  <a:lnTo>
                    <a:pt x="172" y="250"/>
                  </a:lnTo>
                  <a:lnTo>
                    <a:pt x="174" y="220"/>
                  </a:lnTo>
                  <a:lnTo>
                    <a:pt x="178" y="216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54" name="Belarus">
              <a:extLst>
                <a:ext uri="{FF2B5EF4-FFF2-40B4-BE49-F238E27FC236}">
                  <a16:creationId xmlns="" xmlns:a16="http://schemas.microsoft.com/office/drawing/2014/main" id="{A48D1ADF-DCDD-4C9A-B9B0-7FCB0896FFE5}"/>
                </a:ext>
              </a:extLst>
            </p:cNvPr>
            <p:cNvSpPr>
              <a:spLocks/>
            </p:cNvSpPr>
            <p:nvPr/>
          </p:nvSpPr>
          <p:spPr bwMode="gray">
            <a:xfrm>
              <a:off x="6517474" y="2381769"/>
              <a:ext cx="294797" cy="269419"/>
            </a:xfrm>
            <a:custGeom>
              <a:avLst/>
              <a:gdLst/>
              <a:ahLst/>
              <a:cxnLst>
                <a:cxn ang="0">
                  <a:pos x="330" y="268"/>
                </a:cxn>
                <a:cxn ang="0">
                  <a:pos x="322" y="210"/>
                </a:cxn>
                <a:cxn ang="0">
                  <a:pos x="352" y="202"/>
                </a:cxn>
                <a:cxn ang="0">
                  <a:pos x="352" y="174"/>
                </a:cxn>
                <a:cxn ang="0">
                  <a:pos x="336" y="154"/>
                </a:cxn>
                <a:cxn ang="0">
                  <a:pos x="304" y="128"/>
                </a:cxn>
                <a:cxn ang="0">
                  <a:pos x="300" y="92"/>
                </a:cxn>
                <a:cxn ang="0">
                  <a:pos x="298" y="62"/>
                </a:cxn>
                <a:cxn ang="0">
                  <a:pos x="270" y="16"/>
                </a:cxn>
                <a:cxn ang="0">
                  <a:pos x="244" y="8"/>
                </a:cxn>
                <a:cxn ang="0">
                  <a:pos x="216" y="10"/>
                </a:cxn>
                <a:cxn ang="0">
                  <a:pos x="190" y="0"/>
                </a:cxn>
                <a:cxn ang="0">
                  <a:pos x="174" y="50"/>
                </a:cxn>
                <a:cxn ang="0">
                  <a:pos x="152" y="46"/>
                </a:cxn>
                <a:cxn ang="0">
                  <a:pos x="136" y="74"/>
                </a:cxn>
                <a:cxn ang="0">
                  <a:pos x="104" y="116"/>
                </a:cxn>
                <a:cxn ang="0">
                  <a:pos x="106" y="152"/>
                </a:cxn>
                <a:cxn ang="0">
                  <a:pos x="66" y="140"/>
                </a:cxn>
                <a:cxn ang="0">
                  <a:pos x="18" y="162"/>
                </a:cxn>
                <a:cxn ang="0">
                  <a:pos x="28" y="214"/>
                </a:cxn>
                <a:cxn ang="0">
                  <a:pos x="22" y="250"/>
                </a:cxn>
                <a:cxn ang="0">
                  <a:pos x="0" y="268"/>
                </a:cxn>
                <a:cxn ang="0">
                  <a:pos x="18" y="304"/>
                </a:cxn>
                <a:cxn ang="0">
                  <a:pos x="52" y="296"/>
                </a:cxn>
                <a:cxn ang="0">
                  <a:pos x="108" y="294"/>
                </a:cxn>
                <a:cxn ang="0">
                  <a:pos x="134" y="304"/>
                </a:cxn>
                <a:cxn ang="0">
                  <a:pos x="160" y="302"/>
                </a:cxn>
                <a:cxn ang="0">
                  <a:pos x="198" y="306"/>
                </a:cxn>
                <a:cxn ang="0">
                  <a:pos x="226" y="308"/>
                </a:cxn>
                <a:cxn ang="0">
                  <a:pos x="242" y="330"/>
                </a:cxn>
                <a:cxn ang="0">
                  <a:pos x="282" y="328"/>
                </a:cxn>
                <a:cxn ang="0">
                  <a:pos x="300" y="276"/>
                </a:cxn>
              </a:cxnLst>
              <a:rect l="0" t="0" r="r" b="b"/>
              <a:pathLst>
                <a:path w="364" h="330">
                  <a:moveTo>
                    <a:pt x="300" y="276"/>
                  </a:moveTo>
                  <a:lnTo>
                    <a:pt x="330" y="268"/>
                  </a:lnTo>
                  <a:lnTo>
                    <a:pt x="336" y="236"/>
                  </a:lnTo>
                  <a:lnTo>
                    <a:pt x="322" y="210"/>
                  </a:lnTo>
                  <a:lnTo>
                    <a:pt x="328" y="200"/>
                  </a:lnTo>
                  <a:lnTo>
                    <a:pt x="352" y="202"/>
                  </a:lnTo>
                  <a:lnTo>
                    <a:pt x="364" y="186"/>
                  </a:lnTo>
                  <a:lnTo>
                    <a:pt x="352" y="174"/>
                  </a:lnTo>
                  <a:lnTo>
                    <a:pt x="330" y="172"/>
                  </a:lnTo>
                  <a:lnTo>
                    <a:pt x="336" y="154"/>
                  </a:lnTo>
                  <a:lnTo>
                    <a:pt x="318" y="134"/>
                  </a:lnTo>
                  <a:lnTo>
                    <a:pt x="304" y="128"/>
                  </a:lnTo>
                  <a:lnTo>
                    <a:pt x="310" y="110"/>
                  </a:lnTo>
                  <a:lnTo>
                    <a:pt x="300" y="92"/>
                  </a:lnTo>
                  <a:lnTo>
                    <a:pt x="308" y="84"/>
                  </a:lnTo>
                  <a:lnTo>
                    <a:pt x="298" y="62"/>
                  </a:lnTo>
                  <a:lnTo>
                    <a:pt x="302" y="40"/>
                  </a:lnTo>
                  <a:lnTo>
                    <a:pt x="270" y="16"/>
                  </a:lnTo>
                  <a:lnTo>
                    <a:pt x="242" y="28"/>
                  </a:lnTo>
                  <a:lnTo>
                    <a:pt x="244" y="8"/>
                  </a:lnTo>
                  <a:lnTo>
                    <a:pt x="226" y="2"/>
                  </a:lnTo>
                  <a:lnTo>
                    <a:pt x="216" y="10"/>
                  </a:lnTo>
                  <a:lnTo>
                    <a:pt x="208" y="0"/>
                  </a:lnTo>
                  <a:lnTo>
                    <a:pt x="190" y="0"/>
                  </a:lnTo>
                  <a:lnTo>
                    <a:pt x="176" y="34"/>
                  </a:lnTo>
                  <a:lnTo>
                    <a:pt x="174" y="50"/>
                  </a:lnTo>
                  <a:lnTo>
                    <a:pt x="164" y="56"/>
                  </a:lnTo>
                  <a:lnTo>
                    <a:pt x="152" y="46"/>
                  </a:lnTo>
                  <a:lnTo>
                    <a:pt x="130" y="54"/>
                  </a:lnTo>
                  <a:lnTo>
                    <a:pt x="136" y="74"/>
                  </a:lnTo>
                  <a:lnTo>
                    <a:pt x="122" y="80"/>
                  </a:lnTo>
                  <a:lnTo>
                    <a:pt x="104" y="116"/>
                  </a:lnTo>
                  <a:lnTo>
                    <a:pt x="110" y="138"/>
                  </a:lnTo>
                  <a:lnTo>
                    <a:pt x="106" y="152"/>
                  </a:lnTo>
                  <a:lnTo>
                    <a:pt x="80" y="140"/>
                  </a:lnTo>
                  <a:lnTo>
                    <a:pt x="66" y="140"/>
                  </a:lnTo>
                  <a:lnTo>
                    <a:pt x="58" y="162"/>
                  </a:lnTo>
                  <a:lnTo>
                    <a:pt x="18" y="162"/>
                  </a:lnTo>
                  <a:lnTo>
                    <a:pt x="20" y="194"/>
                  </a:lnTo>
                  <a:lnTo>
                    <a:pt x="28" y="214"/>
                  </a:lnTo>
                  <a:lnTo>
                    <a:pt x="28" y="238"/>
                  </a:lnTo>
                  <a:lnTo>
                    <a:pt x="22" y="250"/>
                  </a:lnTo>
                  <a:lnTo>
                    <a:pt x="8" y="248"/>
                  </a:lnTo>
                  <a:lnTo>
                    <a:pt x="0" y="268"/>
                  </a:lnTo>
                  <a:lnTo>
                    <a:pt x="22" y="282"/>
                  </a:lnTo>
                  <a:lnTo>
                    <a:pt x="18" y="304"/>
                  </a:lnTo>
                  <a:lnTo>
                    <a:pt x="36" y="304"/>
                  </a:lnTo>
                  <a:lnTo>
                    <a:pt x="52" y="296"/>
                  </a:lnTo>
                  <a:lnTo>
                    <a:pt x="96" y="292"/>
                  </a:lnTo>
                  <a:lnTo>
                    <a:pt x="108" y="294"/>
                  </a:lnTo>
                  <a:lnTo>
                    <a:pt x="122" y="294"/>
                  </a:lnTo>
                  <a:lnTo>
                    <a:pt x="134" y="304"/>
                  </a:lnTo>
                  <a:lnTo>
                    <a:pt x="148" y="304"/>
                  </a:lnTo>
                  <a:lnTo>
                    <a:pt x="160" y="302"/>
                  </a:lnTo>
                  <a:lnTo>
                    <a:pt x="182" y="318"/>
                  </a:lnTo>
                  <a:lnTo>
                    <a:pt x="198" y="306"/>
                  </a:lnTo>
                  <a:lnTo>
                    <a:pt x="216" y="316"/>
                  </a:lnTo>
                  <a:lnTo>
                    <a:pt x="226" y="308"/>
                  </a:lnTo>
                  <a:lnTo>
                    <a:pt x="238" y="312"/>
                  </a:lnTo>
                  <a:lnTo>
                    <a:pt x="242" y="330"/>
                  </a:lnTo>
                  <a:lnTo>
                    <a:pt x="266" y="326"/>
                  </a:lnTo>
                  <a:lnTo>
                    <a:pt x="282" y="328"/>
                  </a:lnTo>
                  <a:lnTo>
                    <a:pt x="286" y="302"/>
                  </a:lnTo>
                  <a:lnTo>
                    <a:pt x="300" y="276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55" name="Belgium">
              <a:extLst>
                <a:ext uri="{FF2B5EF4-FFF2-40B4-BE49-F238E27FC236}">
                  <a16:creationId xmlns="" xmlns:a16="http://schemas.microsoft.com/office/drawing/2014/main" id="{B59E287A-54FA-46C9-B2DB-1A723B51D2F7}"/>
                </a:ext>
              </a:extLst>
            </p:cNvPr>
            <p:cNvSpPr>
              <a:spLocks/>
            </p:cNvSpPr>
            <p:nvPr/>
          </p:nvSpPr>
          <p:spPr bwMode="gray">
            <a:xfrm>
              <a:off x="5879069" y="2641355"/>
              <a:ext cx="121043" cy="100295"/>
            </a:xfrm>
            <a:custGeom>
              <a:avLst/>
              <a:gdLst/>
              <a:ahLst/>
              <a:cxnLst>
                <a:cxn ang="0">
                  <a:pos x="0" y="22"/>
                </a:cxn>
                <a:cxn ang="0">
                  <a:pos x="26" y="6"/>
                </a:cxn>
                <a:cxn ang="0">
                  <a:pos x="32" y="20"/>
                </a:cxn>
                <a:cxn ang="0">
                  <a:pos x="60" y="18"/>
                </a:cxn>
                <a:cxn ang="0">
                  <a:pos x="68" y="6"/>
                </a:cxn>
                <a:cxn ang="0">
                  <a:pos x="78" y="0"/>
                </a:cxn>
                <a:cxn ang="0">
                  <a:pos x="98" y="10"/>
                </a:cxn>
                <a:cxn ang="0">
                  <a:pos x="114" y="12"/>
                </a:cxn>
                <a:cxn ang="0">
                  <a:pos x="126" y="20"/>
                </a:cxn>
                <a:cxn ang="0">
                  <a:pos x="126" y="34"/>
                </a:cxn>
                <a:cxn ang="0">
                  <a:pos x="120" y="44"/>
                </a:cxn>
                <a:cxn ang="0">
                  <a:pos x="124" y="48"/>
                </a:cxn>
                <a:cxn ang="0">
                  <a:pos x="136" y="48"/>
                </a:cxn>
                <a:cxn ang="0">
                  <a:pos x="148" y="70"/>
                </a:cxn>
                <a:cxn ang="0">
                  <a:pos x="138" y="84"/>
                </a:cxn>
                <a:cxn ang="0">
                  <a:pos x="130" y="92"/>
                </a:cxn>
                <a:cxn ang="0">
                  <a:pos x="126" y="100"/>
                </a:cxn>
                <a:cxn ang="0">
                  <a:pos x="130" y="106"/>
                </a:cxn>
                <a:cxn ang="0">
                  <a:pos x="126" y="124"/>
                </a:cxn>
                <a:cxn ang="0">
                  <a:pos x="116" y="124"/>
                </a:cxn>
                <a:cxn ang="0">
                  <a:pos x="90" y="100"/>
                </a:cxn>
                <a:cxn ang="0">
                  <a:pos x="86" y="84"/>
                </a:cxn>
                <a:cxn ang="0">
                  <a:pos x="72" y="92"/>
                </a:cxn>
                <a:cxn ang="0">
                  <a:pos x="60" y="86"/>
                </a:cxn>
                <a:cxn ang="0">
                  <a:pos x="54" y="78"/>
                </a:cxn>
                <a:cxn ang="0">
                  <a:pos x="52" y="64"/>
                </a:cxn>
                <a:cxn ang="0">
                  <a:pos x="40" y="64"/>
                </a:cxn>
                <a:cxn ang="0">
                  <a:pos x="26" y="54"/>
                </a:cxn>
                <a:cxn ang="0">
                  <a:pos x="20" y="44"/>
                </a:cxn>
                <a:cxn ang="0">
                  <a:pos x="8" y="36"/>
                </a:cxn>
                <a:cxn ang="0">
                  <a:pos x="0" y="22"/>
                </a:cxn>
              </a:cxnLst>
              <a:rect l="0" t="0" r="r" b="b"/>
              <a:pathLst>
                <a:path w="148" h="124">
                  <a:moveTo>
                    <a:pt x="0" y="22"/>
                  </a:moveTo>
                  <a:lnTo>
                    <a:pt x="26" y="6"/>
                  </a:lnTo>
                  <a:lnTo>
                    <a:pt x="32" y="20"/>
                  </a:lnTo>
                  <a:lnTo>
                    <a:pt x="60" y="18"/>
                  </a:lnTo>
                  <a:lnTo>
                    <a:pt x="68" y="6"/>
                  </a:lnTo>
                  <a:lnTo>
                    <a:pt x="78" y="0"/>
                  </a:lnTo>
                  <a:lnTo>
                    <a:pt x="98" y="10"/>
                  </a:lnTo>
                  <a:lnTo>
                    <a:pt x="114" y="12"/>
                  </a:lnTo>
                  <a:lnTo>
                    <a:pt x="126" y="20"/>
                  </a:lnTo>
                  <a:lnTo>
                    <a:pt x="126" y="34"/>
                  </a:lnTo>
                  <a:lnTo>
                    <a:pt x="120" y="44"/>
                  </a:lnTo>
                  <a:lnTo>
                    <a:pt x="124" y="48"/>
                  </a:lnTo>
                  <a:lnTo>
                    <a:pt x="136" y="48"/>
                  </a:lnTo>
                  <a:lnTo>
                    <a:pt x="148" y="70"/>
                  </a:lnTo>
                  <a:lnTo>
                    <a:pt x="138" y="84"/>
                  </a:lnTo>
                  <a:lnTo>
                    <a:pt x="130" y="92"/>
                  </a:lnTo>
                  <a:lnTo>
                    <a:pt x="126" y="100"/>
                  </a:lnTo>
                  <a:lnTo>
                    <a:pt x="130" y="106"/>
                  </a:lnTo>
                  <a:lnTo>
                    <a:pt x="126" y="124"/>
                  </a:lnTo>
                  <a:lnTo>
                    <a:pt x="116" y="124"/>
                  </a:lnTo>
                  <a:lnTo>
                    <a:pt x="90" y="100"/>
                  </a:lnTo>
                  <a:lnTo>
                    <a:pt x="86" y="84"/>
                  </a:lnTo>
                  <a:lnTo>
                    <a:pt x="72" y="92"/>
                  </a:lnTo>
                  <a:lnTo>
                    <a:pt x="60" y="86"/>
                  </a:lnTo>
                  <a:lnTo>
                    <a:pt x="54" y="78"/>
                  </a:lnTo>
                  <a:lnTo>
                    <a:pt x="52" y="64"/>
                  </a:lnTo>
                  <a:lnTo>
                    <a:pt x="40" y="64"/>
                  </a:lnTo>
                  <a:lnTo>
                    <a:pt x="26" y="54"/>
                  </a:lnTo>
                  <a:lnTo>
                    <a:pt x="20" y="44"/>
                  </a:lnTo>
                  <a:lnTo>
                    <a:pt x="8" y="36"/>
                  </a:lnTo>
                  <a:lnTo>
                    <a:pt x="0" y="22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56" name="Benin">
              <a:extLst>
                <a:ext uri="{FF2B5EF4-FFF2-40B4-BE49-F238E27FC236}">
                  <a16:creationId xmlns="" xmlns:a16="http://schemas.microsoft.com/office/drawing/2014/main" id="{53B73F48-C662-4306-8E34-67F536CD0424}"/>
                </a:ext>
              </a:extLst>
            </p:cNvPr>
            <p:cNvSpPr>
              <a:spLocks/>
            </p:cNvSpPr>
            <p:nvPr/>
          </p:nvSpPr>
          <p:spPr bwMode="gray">
            <a:xfrm>
              <a:off x="5830263" y="4161506"/>
              <a:ext cx="95663" cy="202556"/>
            </a:xfrm>
            <a:custGeom>
              <a:avLst/>
              <a:gdLst/>
              <a:ahLst/>
              <a:cxnLst>
                <a:cxn ang="0">
                  <a:pos x="70" y="247"/>
                </a:cxn>
                <a:cxn ang="0">
                  <a:pos x="44" y="245"/>
                </a:cxn>
                <a:cxn ang="0">
                  <a:pos x="40" y="233"/>
                </a:cxn>
                <a:cxn ang="0">
                  <a:pos x="36" y="140"/>
                </a:cxn>
                <a:cxn ang="0">
                  <a:pos x="22" y="126"/>
                </a:cxn>
                <a:cxn ang="0">
                  <a:pos x="22" y="98"/>
                </a:cxn>
                <a:cxn ang="0">
                  <a:pos x="0" y="66"/>
                </a:cxn>
                <a:cxn ang="0">
                  <a:pos x="24" y="42"/>
                </a:cxn>
                <a:cxn ang="0">
                  <a:pos x="44" y="44"/>
                </a:cxn>
                <a:cxn ang="0">
                  <a:pos x="54" y="26"/>
                </a:cxn>
                <a:cxn ang="0">
                  <a:pos x="62" y="2"/>
                </a:cxn>
                <a:cxn ang="0">
                  <a:pos x="72" y="0"/>
                </a:cxn>
                <a:cxn ang="0">
                  <a:pos x="108" y="16"/>
                </a:cxn>
                <a:cxn ang="0">
                  <a:pos x="118" y="56"/>
                </a:cxn>
                <a:cxn ang="0">
                  <a:pos x="118" y="88"/>
                </a:cxn>
                <a:cxn ang="0">
                  <a:pos x="104" y="120"/>
                </a:cxn>
                <a:cxn ang="0">
                  <a:pos x="94" y="136"/>
                </a:cxn>
                <a:cxn ang="0">
                  <a:pos x="84" y="138"/>
                </a:cxn>
                <a:cxn ang="0">
                  <a:pos x="84" y="203"/>
                </a:cxn>
                <a:cxn ang="0">
                  <a:pos x="92" y="217"/>
                </a:cxn>
                <a:cxn ang="0">
                  <a:pos x="92" y="239"/>
                </a:cxn>
                <a:cxn ang="0">
                  <a:pos x="70" y="247"/>
                </a:cxn>
              </a:cxnLst>
              <a:rect l="0" t="0" r="r" b="b"/>
              <a:pathLst>
                <a:path w="118" h="247">
                  <a:moveTo>
                    <a:pt x="70" y="247"/>
                  </a:moveTo>
                  <a:lnTo>
                    <a:pt x="44" y="245"/>
                  </a:lnTo>
                  <a:lnTo>
                    <a:pt x="40" y="233"/>
                  </a:lnTo>
                  <a:lnTo>
                    <a:pt x="36" y="140"/>
                  </a:lnTo>
                  <a:lnTo>
                    <a:pt x="22" y="126"/>
                  </a:lnTo>
                  <a:lnTo>
                    <a:pt x="22" y="98"/>
                  </a:lnTo>
                  <a:lnTo>
                    <a:pt x="0" y="66"/>
                  </a:lnTo>
                  <a:lnTo>
                    <a:pt x="24" y="42"/>
                  </a:lnTo>
                  <a:lnTo>
                    <a:pt x="44" y="44"/>
                  </a:lnTo>
                  <a:lnTo>
                    <a:pt x="54" y="26"/>
                  </a:lnTo>
                  <a:lnTo>
                    <a:pt x="62" y="2"/>
                  </a:lnTo>
                  <a:lnTo>
                    <a:pt x="72" y="0"/>
                  </a:lnTo>
                  <a:lnTo>
                    <a:pt x="108" y="16"/>
                  </a:lnTo>
                  <a:lnTo>
                    <a:pt x="118" y="56"/>
                  </a:lnTo>
                  <a:lnTo>
                    <a:pt x="118" y="88"/>
                  </a:lnTo>
                  <a:lnTo>
                    <a:pt x="104" y="120"/>
                  </a:lnTo>
                  <a:lnTo>
                    <a:pt x="94" y="136"/>
                  </a:lnTo>
                  <a:lnTo>
                    <a:pt x="84" y="138"/>
                  </a:lnTo>
                  <a:lnTo>
                    <a:pt x="84" y="203"/>
                  </a:lnTo>
                  <a:lnTo>
                    <a:pt x="92" y="217"/>
                  </a:lnTo>
                  <a:lnTo>
                    <a:pt x="92" y="239"/>
                  </a:lnTo>
                  <a:lnTo>
                    <a:pt x="70" y="247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57" name="Bhutan">
              <a:extLst>
                <a:ext uri="{FF2B5EF4-FFF2-40B4-BE49-F238E27FC236}">
                  <a16:creationId xmlns="" xmlns:a16="http://schemas.microsoft.com/office/drawing/2014/main" id="{9D810168-817C-4FF8-8613-70B1D58C4EDC}"/>
                </a:ext>
              </a:extLst>
            </p:cNvPr>
            <p:cNvSpPr>
              <a:spLocks/>
            </p:cNvSpPr>
            <p:nvPr/>
          </p:nvSpPr>
          <p:spPr bwMode="gray">
            <a:xfrm>
              <a:off x="8551774" y="3632502"/>
              <a:ext cx="89806" cy="49165"/>
            </a:xfrm>
            <a:custGeom>
              <a:avLst/>
              <a:gdLst/>
              <a:ahLst/>
              <a:cxnLst>
                <a:cxn ang="0">
                  <a:pos x="102" y="4"/>
                </a:cxn>
                <a:cxn ang="0">
                  <a:pos x="60" y="6"/>
                </a:cxn>
                <a:cxn ang="0">
                  <a:pos x="34" y="0"/>
                </a:cxn>
                <a:cxn ang="0">
                  <a:pos x="16" y="16"/>
                </a:cxn>
                <a:cxn ang="0">
                  <a:pos x="0" y="42"/>
                </a:cxn>
                <a:cxn ang="0">
                  <a:pos x="2" y="60"/>
                </a:cxn>
                <a:cxn ang="0">
                  <a:pos x="28" y="60"/>
                </a:cxn>
                <a:cxn ang="0">
                  <a:pos x="48" y="54"/>
                </a:cxn>
                <a:cxn ang="0">
                  <a:pos x="78" y="54"/>
                </a:cxn>
                <a:cxn ang="0">
                  <a:pos x="100" y="54"/>
                </a:cxn>
                <a:cxn ang="0">
                  <a:pos x="112" y="40"/>
                </a:cxn>
                <a:cxn ang="0">
                  <a:pos x="104" y="28"/>
                </a:cxn>
                <a:cxn ang="0">
                  <a:pos x="94" y="24"/>
                </a:cxn>
                <a:cxn ang="0">
                  <a:pos x="102" y="4"/>
                </a:cxn>
              </a:cxnLst>
              <a:rect l="0" t="0" r="r" b="b"/>
              <a:pathLst>
                <a:path w="112" h="60">
                  <a:moveTo>
                    <a:pt x="102" y="4"/>
                  </a:moveTo>
                  <a:lnTo>
                    <a:pt x="60" y="6"/>
                  </a:lnTo>
                  <a:lnTo>
                    <a:pt x="34" y="0"/>
                  </a:lnTo>
                  <a:lnTo>
                    <a:pt x="16" y="16"/>
                  </a:lnTo>
                  <a:lnTo>
                    <a:pt x="0" y="42"/>
                  </a:lnTo>
                  <a:lnTo>
                    <a:pt x="2" y="60"/>
                  </a:lnTo>
                  <a:lnTo>
                    <a:pt x="28" y="60"/>
                  </a:lnTo>
                  <a:lnTo>
                    <a:pt x="48" y="54"/>
                  </a:lnTo>
                  <a:lnTo>
                    <a:pt x="78" y="54"/>
                  </a:lnTo>
                  <a:lnTo>
                    <a:pt x="100" y="54"/>
                  </a:lnTo>
                  <a:lnTo>
                    <a:pt x="112" y="40"/>
                  </a:lnTo>
                  <a:lnTo>
                    <a:pt x="104" y="28"/>
                  </a:lnTo>
                  <a:lnTo>
                    <a:pt x="94" y="24"/>
                  </a:lnTo>
                  <a:lnTo>
                    <a:pt x="102" y="4"/>
                  </a:lnTo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58" name="Bolivia">
              <a:extLst>
                <a:ext uri="{FF2B5EF4-FFF2-40B4-BE49-F238E27FC236}">
                  <a16:creationId xmlns="" xmlns:a16="http://schemas.microsoft.com/office/drawing/2014/main" id="{5F9FBDFC-587B-44D9-9DE6-F2F871686446}"/>
                </a:ext>
              </a:extLst>
            </p:cNvPr>
            <p:cNvSpPr>
              <a:spLocks/>
            </p:cNvSpPr>
            <p:nvPr/>
          </p:nvSpPr>
          <p:spPr bwMode="gray">
            <a:xfrm>
              <a:off x="3549972" y="4934364"/>
              <a:ext cx="376794" cy="446410"/>
            </a:xfrm>
            <a:custGeom>
              <a:avLst/>
              <a:gdLst/>
              <a:ahLst/>
              <a:cxnLst>
                <a:cxn ang="0">
                  <a:pos x="6" y="315"/>
                </a:cxn>
                <a:cxn ang="0">
                  <a:pos x="0" y="295"/>
                </a:cxn>
                <a:cxn ang="0">
                  <a:pos x="24" y="279"/>
                </a:cxn>
                <a:cxn ang="0">
                  <a:pos x="36" y="265"/>
                </a:cxn>
                <a:cxn ang="0">
                  <a:pos x="14" y="243"/>
                </a:cxn>
                <a:cxn ang="0">
                  <a:pos x="22" y="217"/>
                </a:cxn>
                <a:cxn ang="0">
                  <a:pos x="12" y="201"/>
                </a:cxn>
                <a:cxn ang="0">
                  <a:pos x="42" y="110"/>
                </a:cxn>
                <a:cxn ang="0">
                  <a:pos x="6" y="52"/>
                </a:cxn>
                <a:cxn ang="0">
                  <a:pos x="44" y="50"/>
                </a:cxn>
                <a:cxn ang="0">
                  <a:pos x="70" y="30"/>
                </a:cxn>
                <a:cxn ang="0">
                  <a:pos x="92" y="24"/>
                </a:cxn>
                <a:cxn ang="0">
                  <a:pos x="114" y="8"/>
                </a:cxn>
                <a:cxn ang="0">
                  <a:pos x="158" y="0"/>
                </a:cxn>
                <a:cxn ang="0">
                  <a:pos x="166" y="20"/>
                </a:cxn>
                <a:cxn ang="0">
                  <a:pos x="160" y="42"/>
                </a:cxn>
                <a:cxn ang="0">
                  <a:pos x="172" y="90"/>
                </a:cxn>
                <a:cxn ang="0">
                  <a:pos x="202" y="106"/>
                </a:cxn>
                <a:cxn ang="0">
                  <a:pos x="228" y="112"/>
                </a:cxn>
                <a:cxn ang="0">
                  <a:pos x="298" y="147"/>
                </a:cxn>
                <a:cxn ang="0">
                  <a:pos x="350" y="161"/>
                </a:cxn>
                <a:cxn ang="0">
                  <a:pos x="356" y="201"/>
                </a:cxn>
                <a:cxn ang="0">
                  <a:pos x="348" y="225"/>
                </a:cxn>
                <a:cxn ang="0">
                  <a:pos x="372" y="261"/>
                </a:cxn>
                <a:cxn ang="0">
                  <a:pos x="430" y="263"/>
                </a:cxn>
                <a:cxn ang="0">
                  <a:pos x="434" y="297"/>
                </a:cxn>
                <a:cxn ang="0">
                  <a:pos x="454" y="307"/>
                </a:cxn>
                <a:cxn ang="0">
                  <a:pos x="464" y="323"/>
                </a:cxn>
                <a:cxn ang="0">
                  <a:pos x="456" y="355"/>
                </a:cxn>
                <a:cxn ang="0">
                  <a:pos x="456" y="375"/>
                </a:cxn>
                <a:cxn ang="0">
                  <a:pos x="438" y="407"/>
                </a:cxn>
                <a:cxn ang="0">
                  <a:pos x="408" y="389"/>
                </a:cxn>
                <a:cxn ang="0">
                  <a:pos x="362" y="395"/>
                </a:cxn>
                <a:cxn ang="0">
                  <a:pos x="330" y="397"/>
                </a:cxn>
                <a:cxn ang="0">
                  <a:pos x="296" y="395"/>
                </a:cxn>
                <a:cxn ang="0">
                  <a:pos x="278" y="429"/>
                </a:cxn>
                <a:cxn ang="0">
                  <a:pos x="278" y="449"/>
                </a:cxn>
                <a:cxn ang="0">
                  <a:pos x="264" y="501"/>
                </a:cxn>
                <a:cxn ang="0">
                  <a:pos x="228" y="493"/>
                </a:cxn>
                <a:cxn ang="0">
                  <a:pos x="210" y="531"/>
                </a:cxn>
                <a:cxn ang="0">
                  <a:pos x="190" y="505"/>
                </a:cxn>
                <a:cxn ang="0">
                  <a:pos x="144" y="499"/>
                </a:cxn>
                <a:cxn ang="0">
                  <a:pos x="124" y="481"/>
                </a:cxn>
                <a:cxn ang="0">
                  <a:pos x="114" y="491"/>
                </a:cxn>
                <a:cxn ang="0">
                  <a:pos x="96" y="495"/>
                </a:cxn>
                <a:cxn ang="0">
                  <a:pos x="102" y="519"/>
                </a:cxn>
                <a:cxn ang="0">
                  <a:pos x="102" y="545"/>
                </a:cxn>
                <a:cxn ang="0">
                  <a:pos x="60" y="527"/>
                </a:cxn>
                <a:cxn ang="0">
                  <a:pos x="54" y="475"/>
                </a:cxn>
                <a:cxn ang="0">
                  <a:pos x="48" y="463"/>
                </a:cxn>
                <a:cxn ang="0">
                  <a:pos x="38" y="457"/>
                </a:cxn>
                <a:cxn ang="0">
                  <a:pos x="38" y="417"/>
                </a:cxn>
                <a:cxn ang="0">
                  <a:pos x="32" y="407"/>
                </a:cxn>
                <a:cxn ang="0">
                  <a:pos x="32" y="391"/>
                </a:cxn>
                <a:cxn ang="0">
                  <a:pos x="6" y="315"/>
                </a:cxn>
              </a:cxnLst>
              <a:rect l="0" t="0" r="r" b="b"/>
              <a:pathLst>
                <a:path w="464" h="545">
                  <a:moveTo>
                    <a:pt x="6" y="315"/>
                  </a:moveTo>
                  <a:lnTo>
                    <a:pt x="0" y="295"/>
                  </a:lnTo>
                  <a:lnTo>
                    <a:pt x="24" y="279"/>
                  </a:lnTo>
                  <a:lnTo>
                    <a:pt x="36" y="265"/>
                  </a:lnTo>
                  <a:lnTo>
                    <a:pt x="14" y="243"/>
                  </a:lnTo>
                  <a:lnTo>
                    <a:pt x="22" y="217"/>
                  </a:lnTo>
                  <a:lnTo>
                    <a:pt x="12" y="201"/>
                  </a:lnTo>
                  <a:lnTo>
                    <a:pt x="42" y="110"/>
                  </a:lnTo>
                  <a:lnTo>
                    <a:pt x="6" y="52"/>
                  </a:lnTo>
                  <a:lnTo>
                    <a:pt x="44" y="50"/>
                  </a:lnTo>
                  <a:lnTo>
                    <a:pt x="70" y="30"/>
                  </a:lnTo>
                  <a:lnTo>
                    <a:pt x="92" y="24"/>
                  </a:lnTo>
                  <a:lnTo>
                    <a:pt x="114" y="8"/>
                  </a:lnTo>
                  <a:lnTo>
                    <a:pt x="158" y="0"/>
                  </a:lnTo>
                  <a:lnTo>
                    <a:pt x="166" y="20"/>
                  </a:lnTo>
                  <a:lnTo>
                    <a:pt x="160" y="42"/>
                  </a:lnTo>
                  <a:lnTo>
                    <a:pt x="172" y="90"/>
                  </a:lnTo>
                  <a:lnTo>
                    <a:pt x="202" y="106"/>
                  </a:lnTo>
                  <a:lnTo>
                    <a:pt x="228" y="112"/>
                  </a:lnTo>
                  <a:lnTo>
                    <a:pt x="298" y="147"/>
                  </a:lnTo>
                  <a:lnTo>
                    <a:pt x="350" y="161"/>
                  </a:lnTo>
                  <a:lnTo>
                    <a:pt x="356" y="201"/>
                  </a:lnTo>
                  <a:lnTo>
                    <a:pt x="348" y="225"/>
                  </a:lnTo>
                  <a:lnTo>
                    <a:pt x="372" y="261"/>
                  </a:lnTo>
                  <a:lnTo>
                    <a:pt x="430" y="263"/>
                  </a:lnTo>
                  <a:lnTo>
                    <a:pt x="434" y="297"/>
                  </a:lnTo>
                  <a:lnTo>
                    <a:pt x="454" y="307"/>
                  </a:lnTo>
                  <a:lnTo>
                    <a:pt x="464" y="323"/>
                  </a:lnTo>
                  <a:lnTo>
                    <a:pt x="456" y="355"/>
                  </a:lnTo>
                  <a:lnTo>
                    <a:pt x="456" y="375"/>
                  </a:lnTo>
                  <a:lnTo>
                    <a:pt x="438" y="407"/>
                  </a:lnTo>
                  <a:lnTo>
                    <a:pt x="408" y="389"/>
                  </a:lnTo>
                  <a:lnTo>
                    <a:pt x="362" y="395"/>
                  </a:lnTo>
                  <a:lnTo>
                    <a:pt x="330" y="397"/>
                  </a:lnTo>
                  <a:lnTo>
                    <a:pt x="296" y="395"/>
                  </a:lnTo>
                  <a:lnTo>
                    <a:pt x="278" y="429"/>
                  </a:lnTo>
                  <a:lnTo>
                    <a:pt x="278" y="449"/>
                  </a:lnTo>
                  <a:lnTo>
                    <a:pt x="264" y="501"/>
                  </a:lnTo>
                  <a:lnTo>
                    <a:pt x="228" y="493"/>
                  </a:lnTo>
                  <a:lnTo>
                    <a:pt x="210" y="531"/>
                  </a:lnTo>
                  <a:lnTo>
                    <a:pt x="190" y="505"/>
                  </a:lnTo>
                  <a:lnTo>
                    <a:pt x="144" y="499"/>
                  </a:lnTo>
                  <a:lnTo>
                    <a:pt x="124" y="481"/>
                  </a:lnTo>
                  <a:lnTo>
                    <a:pt x="114" y="491"/>
                  </a:lnTo>
                  <a:lnTo>
                    <a:pt x="96" y="495"/>
                  </a:lnTo>
                  <a:lnTo>
                    <a:pt x="102" y="519"/>
                  </a:lnTo>
                  <a:lnTo>
                    <a:pt x="102" y="545"/>
                  </a:lnTo>
                  <a:lnTo>
                    <a:pt x="60" y="527"/>
                  </a:lnTo>
                  <a:lnTo>
                    <a:pt x="54" y="475"/>
                  </a:lnTo>
                  <a:lnTo>
                    <a:pt x="48" y="463"/>
                  </a:lnTo>
                  <a:lnTo>
                    <a:pt x="38" y="457"/>
                  </a:lnTo>
                  <a:lnTo>
                    <a:pt x="38" y="417"/>
                  </a:lnTo>
                  <a:lnTo>
                    <a:pt x="32" y="407"/>
                  </a:lnTo>
                  <a:lnTo>
                    <a:pt x="32" y="391"/>
                  </a:lnTo>
                  <a:lnTo>
                    <a:pt x="6" y="315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59" name="Bosnia Herzegovina">
              <a:extLst>
                <a:ext uri="{FF2B5EF4-FFF2-40B4-BE49-F238E27FC236}">
                  <a16:creationId xmlns="" xmlns:a16="http://schemas.microsoft.com/office/drawing/2014/main" id="{3E0C0083-AC5A-4197-B862-F0234D23682B}"/>
                </a:ext>
              </a:extLst>
            </p:cNvPr>
            <p:cNvSpPr>
              <a:spLocks/>
            </p:cNvSpPr>
            <p:nvPr/>
          </p:nvSpPr>
          <p:spPr bwMode="gray">
            <a:xfrm>
              <a:off x="6292958" y="2938306"/>
              <a:ext cx="107378" cy="119959"/>
            </a:xfrm>
            <a:custGeom>
              <a:avLst/>
              <a:gdLst/>
              <a:ahLst/>
              <a:cxnLst>
                <a:cxn ang="0">
                  <a:pos x="74" y="126"/>
                </a:cxn>
                <a:cxn ang="0">
                  <a:pos x="66" y="102"/>
                </a:cxn>
                <a:cxn ang="0">
                  <a:pos x="62" y="90"/>
                </a:cxn>
                <a:cxn ang="0">
                  <a:pos x="36" y="74"/>
                </a:cxn>
                <a:cxn ang="0">
                  <a:pos x="16" y="44"/>
                </a:cxn>
                <a:cxn ang="0">
                  <a:pos x="0" y="22"/>
                </a:cxn>
                <a:cxn ang="0">
                  <a:pos x="2" y="0"/>
                </a:cxn>
                <a:cxn ang="0">
                  <a:pos x="22" y="12"/>
                </a:cxn>
                <a:cxn ang="0">
                  <a:pos x="38" y="8"/>
                </a:cxn>
                <a:cxn ang="0">
                  <a:pos x="52" y="16"/>
                </a:cxn>
                <a:cxn ang="0">
                  <a:pos x="104" y="16"/>
                </a:cxn>
                <a:cxn ang="0">
                  <a:pos x="116" y="22"/>
                </a:cxn>
                <a:cxn ang="0">
                  <a:pos x="124" y="26"/>
                </a:cxn>
                <a:cxn ang="0">
                  <a:pos x="118" y="48"/>
                </a:cxn>
                <a:cxn ang="0">
                  <a:pos x="122" y="60"/>
                </a:cxn>
                <a:cxn ang="0">
                  <a:pos x="132" y="68"/>
                </a:cxn>
                <a:cxn ang="0">
                  <a:pos x="122" y="78"/>
                </a:cxn>
                <a:cxn ang="0">
                  <a:pos x="130" y="98"/>
                </a:cxn>
                <a:cxn ang="0">
                  <a:pos x="124" y="116"/>
                </a:cxn>
                <a:cxn ang="0">
                  <a:pos x="104" y="134"/>
                </a:cxn>
                <a:cxn ang="0">
                  <a:pos x="96" y="146"/>
                </a:cxn>
                <a:cxn ang="0">
                  <a:pos x="74" y="126"/>
                </a:cxn>
              </a:cxnLst>
              <a:rect l="0" t="0" r="r" b="b"/>
              <a:pathLst>
                <a:path w="132" h="146">
                  <a:moveTo>
                    <a:pt x="74" y="126"/>
                  </a:moveTo>
                  <a:lnTo>
                    <a:pt x="66" y="102"/>
                  </a:lnTo>
                  <a:lnTo>
                    <a:pt x="62" y="90"/>
                  </a:lnTo>
                  <a:lnTo>
                    <a:pt x="36" y="74"/>
                  </a:lnTo>
                  <a:lnTo>
                    <a:pt x="16" y="44"/>
                  </a:lnTo>
                  <a:lnTo>
                    <a:pt x="0" y="22"/>
                  </a:lnTo>
                  <a:lnTo>
                    <a:pt x="2" y="0"/>
                  </a:lnTo>
                  <a:lnTo>
                    <a:pt x="22" y="12"/>
                  </a:lnTo>
                  <a:lnTo>
                    <a:pt x="38" y="8"/>
                  </a:lnTo>
                  <a:lnTo>
                    <a:pt x="52" y="16"/>
                  </a:lnTo>
                  <a:lnTo>
                    <a:pt x="104" y="16"/>
                  </a:lnTo>
                  <a:lnTo>
                    <a:pt x="116" y="22"/>
                  </a:lnTo>
                  <a:lnTo>
                    <a:pt x="124" y="26"/>
                  </a:lnTo>
                  <a:lnTo>
                    <a:pt x="118" y="48"/>
                  </a:lnTo>
                  <a:lnTo>
                    <a:pt x="122" y="60"/>
                  </a:lnTo>
                  <a:lnTo>
                    <a:pt x="132" y="68"/>
                  </a:lnTo>
                  <a:lnTo>
                    <a:pt x="122" y="78"/>
                  </a:lnTo>
                  <a:lnTo>
                    <a:pt x="130" y="98"/>
                  </a:lnTo>
                  <a:lnTo>
                    <a:pt x="124" y="116"/>
                  </a:lnTo>
                  <a:lnTo>
                    <a:pt x="104" y="134"/>
                  </a:lnTo>
                  <a:lnTo>
                    <a:pt x="96" y="146"/>
                  </a:lnTo>
                  <a:lnTo>
                    <a:pt x="74" y="126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60" name="Botswana">
              <a:extLst>
                <a:ext uri="{FF2B5EF4-FFF2-40B4-BE49-F238E27FC236}">
                  <a16:creationId xmlns="" xmlns:a16="http://schemas.microsoft.com/office/drawing/2014/main" id="{21A97902-E844-4BDB-B4E9-778926271664}"/>
                </a:ext>
              </a:extLst>
            </p:cNvPr>
            <p:cNvSpPr>
              <a:spLocks/>
            </p:cNvSpPr>
            <p:nvPr/>
          </p:nvSpPr>
          <p:spPr bwMode="gray">
            <a:xfrm>
              <a:off x="6423763" y="5136921"/>
              <a:ext cx="296750" cy="322516"/>
            </a:xfrm>
            <a:custGeom>
              <a:avLst/>
              <a:gdLst/>
              <a:ahLst/>
              <a:cxnLst>
                <a:cxn ang="0">
                  <a:pos x="171" y="16"/>
                </a:cxn>
                <a:cxn ang="0">
                  <a:pos x="191" y="0"/>
                </a:cxn>
                <a:cxn ang="0">
                  <a:pos x="189" y="22"/>
                </a:cxn>
                <a:cxn ang="0">
                  <a:pos x="213" y="40"/>
                </a:cxn>
                <a:cxn ang="0">
                  <a:pos x="215" y="56"/>
                </a:cxn>
                <a:cxn ang="0">
                  <a:pos x="273" y="112"/>
                </a:cxn>
                <a:cxn ang="0">
                  <a:pos x="273" y="130"/>
                </a:cxn>
                <a:cxn ang="0">
                  <a:pos x="291" y="128"/>
                </a:cxn>
                <a:cxn ang="0">
                  <a:pos x="299" y="150"/>
                </a:cxn>
                <a:cxn ang="0">
                  <a:pos x="319" y="166"/>
                </a:cxn>
                <a:cxn ang="0">
                  <a:pos x="339" y="168"/>
                </a:cxn>
                <a:cxn ang="0">
                  <a:pos x="365" y="186"/>
                </a:cxn>
                <a:cxn ang="0">
                  <a:pos x="351" y="192"/>
                </a:cxn>
                <a:cxn ang="0">
                  <a:pos x="331" y="206"/>
                </a:cxn>
                <a:cxn ang="0">
                  <a:pos x="319" y="210"/>
                </a:cxn>
                <a:cxn ang="0">
                  <a:pos x="311" y="220"/>
                </a:cxn>
                <a:cxn ang="0">
                  <a:pos x="289" y="226"/>
                </a:cxn>
                <a:cxn ang="0">
                  <a:pos x="263" y="256"/>
                </a:cxn>
                <a:cxn ang="0">
                  <a:pos x="257" y="280"/>
                </a:cxn>
                <a:cxn ang="0">
                  <a:pos x="243" y="288"/>
                </a:cxn>
                <a:cxn ang="0">
                  <a:pos x="225" y="294"/>
                </a:cxn>
                <a:cxn ang="0">
                  <a:pos x="211" y="334"/>
                </a:cxn>
                <a:cxn ang="0">
                  <a:pos x="163" y="346"/>
                </a:cxn>
                <a:cxn ang="0">
                  <a:pos x="135" y="334"/>
                </a:cxn>
                <a:cxn ang="0">
                  <a:pos x="119" y="334"/>
                </a:cxn>
                <a:cxn ang="0">
                  <a:pos x="101" y="362"/>
                </a:cxn>
                <a:cxn ang="0">
                  <a:pos x="67" y="390"/>
                </a:cxn>
                <a:cxn ang="0">
                  <a:pos x="27" y="394"/>
                </a:cxn>
                <a:cxn ang="0">
                  <a:pos x="15" y="368"/>
                </a:cxn>
                <a:cxn ang="0">
                  <a:pos x="19" y="340"/>
                </a:cxn>
                <a:cxn ang="0">
                  <a:pos x="2" y="310"/>
                </a:cxn>
                <a:cxn ang="0">
                  <a:pos x="0" y="196"/>
                </a:cxn>
                <a:cxn ang="0">
                  <a:pos x="39" y="194"/>
                </a:cxn>
                <a:cxn ang="0">
                  <a:pos x="41" y="24"/>
                </a:cxn>
                <a:cxn ang="0">
                  <a:pos x="123" y="2"/>
                </a:cxn>
                <a:cxn ang="0">
                  <a:pos x="127" y="22"/>
                </a:cxn>
                <a:cxn ang="0">
                  <a:pos x="139" y="30"/>
                </a:cxn>
                <a:cxn ang="0">
                  <a:pos x="149" y="18"/>
                </a:cxn>
                <a:cxn ang="0">
                  <a:pos x="161" y="14"/>
                </a:cxn>
                <a:cxn ang="0">
                  <a:pos x="171" y="16"/>
                </a:cxn>
              </a:cxnLst>
              <a:rect l="0" t="0" r="r" b="b"/>
              <a:pathLst>
                <a:path w="365" h="394">
                  <a:moveTo>
                    <a:pt x="171" y="16"/>
                  </a:moveTo>
                  <a:lnTo>
                    <a:pt x="191" y="0"/>
                  </a:lnTo>
                  <a:lnTo>
                    <a:pt x="189" y="22"/>
                  </a:lnTo>
                  <a:lnTo>
                    <a:pt x="213" y="40"/>
                  </a:lnTo>
                  <a:lnTo>
                    <a:pt x="215" y="56"/>
                  </a:lnTo>
                  <a:lnTo>
                    <a:pt x="273" y="112"/>
                  </a:lnTo>
                  <a:lnTo>
                    <a:pt x="273" y="130"/>
                  </a:lnTo>
                  <a:lnTo>
                    <a:pt x="291" y="128"/>
                  </a:lnTo>
                  <a:lnTo>
                    <a:pt x="299" y="150"/>
                  </a:lnTo>
                  <a:lnTo>
                    <a:pt x="319" y="166"/>
                  </a:lnTo>
                  <a:lnTo>
                    <a:pt x="339" y="168"/>
                  </a:lnTo>
                  <a:lnTo>
                    <a:pt x="365" y="186"/>
                  </a:lnTo>
                  <a:lnTo>
                    <a:pt x="351" y="192"/>
                  </a:lnTo>
                  <a:lnTo>
                    <a:pt x="331" y="206"/>
                  </a:lnTo>
                  <a:lnTo>
                    <a:pt x="319" y="210"/>
                  </a:lnTo>
                  <a:lnTo>
                    <a:pt x="311" y="220"/>
                  </a:lnTo>
                  <a:lnTo>
                    <a:pt x="289" y="226"/>
                  </a:lnTo>
                  <a:lnTo>
                    <a:pt x="263" y="256"/>
                  </a:lnTo>
                  <a:lnTo>
                    <a:pt x="257" y="280"/>
                  </a:lnTo>
                  <a:lnTo>
                    <a:pt x="243" y="288"/>
                  </a:lnTo>
                  <a:lnTo>
                    <a:pt x="225" y="294"/>
                  </a:lnTo>
                  <a:lnTo>
                    <a:pt x="211" y="334"/>
                  </a:lnTo>
                  <a:lnTo>
                    <a:pt x="163" y="346"/>
                  </a:lnTo>
                  <a:lnTo>
                    <a:pt x="135" y="334"/>
                  </a:lnTo>
                  <a:lnTo>
                    <a:pt x="119" y="334"/>
                  </a:lnTo>
                  <a:lnTo>
                    <a:pt x="101" y="362"/>
                  </a:lnTo>
                  <a:lnTo>
                    <a:pt x="67" y="390"/>
                  </a:lnTo>
                  <a:lnTo>
                    <a:pt x="27" y="394"/>
                  </a:lnTo>
                  <a:lnTo>
                    <a:pt x="15" y="368"/>
                  </a:lnTo>
                  <a:lnTo>
                    <a:pt x="19" y="340"/>
                  </a:lnTo>
                  <a:lnTo>
                    <a:pt x="2" y="310"/>
                  </a:lnTo>
                  <a:lnTo>
                    <a:pt x="0" y="196"/>
                  </a:lnTo>
                  <a:lnTo>
                    <a:pt x="39" y="194"/>
                  </a:lnTo>
                  <a:lnTo>
                    <a:pt x="41" y="24"/>
                  </a:lnTo>
                  <a:lnTo>
                    <a:pt x="123" y="2"/>
                  </a:lnTo>
                  <a:lnTo>
                    <a:pt x="127" y="22"/>
                  </a:lnTo>
                  <a:lnTo>
                    <a:pt x="139" y="30"/>
                  </a:lnTo>
                  <a:lnTo>
                    <a:pt x="149" y="18"/>
                  </a:lnTo>
                  <a:lnTo>
                    <a:pt x="161" y="14"/>
                  </a:lnTo>
                  <a:lnTo>
                    <a:pt x="171" y="16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61" name="Brazil">
              <a:extLst>
                <a:ext uri="{FF2B5EF4-FFF2-40B4-BE49-F238E27FC236}">
                  <a16:creationId xmlns="" xmlns:a16="http://schemas.microsoft.com/office/drawing/2014/main" id="{AB21B2DB-FF8A-493A-8F2E-16677FF6CE85}"/>
                </a:ext>
              </a:extLst>
            </p:cNvPr>
            <p:cNvSpPr>
              <a:spLocks/>
            </p:cNvSpPr>
            <p:nvPr/>
          </p:nvSpPr>
          <p:spPr bwMode="gray">
            <a:xfrm>
              <a:off x="3419166" y="4456490"/>
              <a:ext cx="1214334" cy="1307761"/>
            </a:xfrm>
            <a:custGeom>
              <a:avLst/>
              <a:gdLst/>
              <a:ahLst/>
              <a:cxnLst>
                <a:cxn ang="0">
                  <a:pos x="28" y="440"/>
                </a:cxn>
                <a:cxn ang="0">
                  <a:pos x="130" y="368"/>
                </a:cxn>
                <a:cxn ang="0">
                  <a:pos x="168" y="202"/>
                </a:cxn>
                <a:cxn ang="0">
                  <a:pos x="148" y="154"/>
                </a:cxn>
                <a:cxn ang="0">
                  <a:pos x="242" y="120"/>
                </a:cxn>
                <a:cxn ang="0">
                  <a:pos x="356" y="136"/>
                </a:cxn>
                <a:cxn ang="0">
                  <a:pos x="362" y="92"/>
                </a:cxn>
                <a:cxn ang="0">
                  <a:pos x="394" y="50"/>
                </a:cxn>
                <a:cxn ang="0">
                  <a:pos x="488" y="30"/>
                </a:cxn>
                <a:cxn ang="0">
                  <a:pos x="552" y="42"/>
                </a:cxn>
                <a:cxn ang="0">
                  <a:pos x="536" y="126"/>
                </a:cxn>
                <a:cxn ang="0">
                  <a:pos x="648" y="122"/>
                </a:cxn>
                <a:cxn ang="0">
                  <a:pos x="722" y="94"/>
                </a:cxn>
                <a:cxn ang="0">
                  <a:pos x="796" y="122"/>
                </a:cxn>
                <a:cxn ang="0">
                  <a:pos x="854" y="28"/>
                </a:cxn>
                <a:cxn ang="0">
                  <a:pos x="890" y="98"/>
                </a:cxn>
                <a:cxn ang="0">
                  <a:pos x="904" y="174"/>
                </a:cxn>
                <a:cxn ang="0">
                  <a:pos x="828" y="256"/>
                </a:cxn>
                <a:cxn ang="0">
                  <a:pos x="888" y="222"/>
                </a:cxn>
                <a:cxn ang="0">
                  <a:pos x="972" y="230"/>
                </a:cxn>
                <a:cxn ang="0">
                  <a:pos x="948" y="274"/>
                </a:cxn>
                <a:cxn ang="0">
                  <a:pos x="1020" y="222"/>
                </a:cxn>
                <a:cxn ang="0">
                  <a:pos x="1096" y="248"/>
                </a:cxn>
                <a:cxn ang="0">
                  <a:pos x="1122" y="282"/>
                </a:cxn>
                <a:cxn ang="0">
                  <a:pos x="1189" y="284"/>
                </a:cxn>
                <a:cxn ang="0">
                  <a:pos x="1329" y="326"/>
                </a:cxn>
                <a:cxn ang="0">
                  <a:pos x="1451" y="392"/>
                </a:cxn>
                <a:cxn ang="0">
                  <a:pos x="1497" y="510"/>
                </a:cxn>
                <a:cxn ang="0">
                  <a:pos x="1411" y="624"/>
                </a:cxn>
                <a:cxn ang="0">
                  <a:pos x="1345" y="700"/>
                </a:cxn>
                <a:cxn ang="0">
                  <a:pos x="1333" y="853"/>
                </a:cxn>
                <a:cxn ang="0">
                  <a:pos x="1275" y="1029"/>
                </a:cxn>
                <a:cxn ang="0">
                  <a:pos x="1219" y="1101"/>
                </a:cxn>
                <a:cxn ang="0">
                  <a:pos x="1161" y="1111"/>
                </a:cxn>
                <a:cxn ang="0">
                  <a:pos x="1084" y="1155"/>
                </a:cxn>
                <a:cxn ang="0">
                  <a:pos x="992" y="1213"/>
                </a:cxn>
                <a:cxn ang="0">
                  <a:pos x="968" y="1279"/>
                </a:cxn>
                <a:cxn ang="0">
                  <a:pos x="954" y="1371"/>
                </a:cxn>
                <a:cxn ang="0">
                  <a:pos x="840" y="1515"/>
                </a:cxn>
                <a:cxn ang="0">
                  <a:pos x="812" y="1541"/>
                </a:cxn>
                <a:cxn ang="0">
                  <a:pos x="796" y="1592"/>
                </a:cxn>
                <a:cxn ang="0">
                  <a:pos x="788" y="1537"/>
                </a:cxn>
                <a:cxn ang="0">
                  <a:pos x="698" y="1461"/>
                </a:cxn>
                <a:cxn ang="0">
                  <a:pos x="692" y="1357"/>
                </a:cxn>
                <a:cxn ang="0">
                  <a:pos x="772" y="1265"/>
                </a:cxn>
                <a:cxn ang="0">
                  <a:pos x="740" y="1159"/>
                </a:cxn>
                <a:cxn ang="0">
                  <a:pos x="680" y="1089"/>
                </a:cxn>
                <a:cxn ang="0">
                  <a:pos x="600" y="993"/>
                </a:cxn>
                <a:cxn ang="0">
                  <a:pos x="596" y="883"/>
                </a:cxn>
                <a:cxn ang="0">
                  <a:pos x="512" y="747"/>
                </a:cxn>
                <a:cxn ang="0">
                  <a:pos x="322" y="628"/>
                </a:cxn>
                <a:cxn ang="0">
                  <a:pos x="232" y="616"/>
                </a:cxn>
                <a:cxn ang="0">
                  <a:pos x="120" y="564"/>
                </a:cxn>
                <a:cxn ang="0">
                  <a:pos x="12" y="540"/>
                </a:cxn>
              </a:cxnLst>
              <a:rect l="0" t="0" r="r" b="b"/>
              <a:pathLst>
                <a:path w="1497" h="1600">
                  <a:moveTo>
                    <a:pt x="0" y="496"/>
                  </a:moveTo>
                  <a:lnTo>
                    <a:pt x="2" y="480"/>
                  </a:lnTo>
                  <a:lnTo>
                    <a:pt x="14" y="462"/>
                  </a:lnTo>
                  <a:lnTo>
                    <a:pt x="28" y="458"/>
                  </a:lnTo>
                  <a:lnTo>
                    <a:pt x="28" y="440"/>
                  </a:lnTo>
                  <a:lnTo>
                    <a:pt x="42" y="402"/>
                  </a:lnTo>
                  <a:lnTo>
                    <a:pt x="58" y="390"/>
                  </a:lnTo>
                  <a:lnTo>
                    <a:pt x="72" y="378"/>
                  </a:lnTo>
                  <a:lnTo>
                    <a:pt x="90" y="376"/>
                  </a:lnTo>
                  <a:lnTo>
                    <a:pt x="130" y="368"/>
                  </a:lnTo>
                  <a:lnTo>
                    <a:pt x="146" y="376"/>
                  </a:lnTo>
                  <a:lnTo>
                    <a:pt x="150" y="364"/>
                  </a:lnTo>
                  <a:lnTo>
                    <a:pt x="170" y="250"/>
                  </a:lnTo>
                  <a:lnTo>
                    <a:pt x="166" y="224"/>
                  </a:lnTo>
                  <a:lnTo>
                    <a:pt x="168" y="202"/>
                  </a:lnTo>
                  <a:lnTo>
                    <a:pt x="142" y="194"/>
                  </a:lnTo>
                  <a:lnTo>
                    <a:pt x="146" y="172"/>
                  </a:lnTo>
                  <a:lnTo>
                    <a:pt x="174" y="172"/>
                  </a:lnTo>
                  <a:lnTo>
                    <a:pt x="174" y="160"/>
                  </a:lnTo>
                  <a:lnTo>
                    <a:pt x="148" y="154"/>
                  </a:lnTo>
                  <a:lnTo>
                    <a:pt x="148" y="130"/>
                  </a:lnTo>
                  <a:lnTo>
                    <a:pt x="196" y="130"/>
                  </a:lnTo>
                  <a:lnTo>
                    <a:pt x="208" y="122"/>
                  </a:lnTo>
                  <a:lnTo>
                    <a:pt x="224" y="126"/>
                  </a:lnTo>
                  <a:lnTo>
                    <a:pt x="242" y="120"/>
                  </a:lnTo>
                  <a:lnTo>
                    <a:pt x="252" y="136"/>
                  </a:lnTo>
                  <a:lnTo>
                    <a:pt x="256" y="152"/>
                  </a:lnTo>
                  <a:lnTo>
                    <a:pt x="264" y="146"/>
                  </a:lnTo>
                  <a:lnTo>
                    <a:pt x="296" y="172"/>
                  </a:lnTo>
                  <a:lnTo>
                    <a:pt x="356" y="136"/>
                  </a:lnTo>
                  <a:lnTo>
                    <a:pt x="366" y="146"/>
                  </a:lnTo>
                  <a:lnTo>
                    <a:pt x="404" y="114"/>
                  </a:lnTo>
                  <a:lnTo>
                    <a:pt x="402" y="102"/>
                  </a:lnTo>
                  <a:lnTo>
                    <a:pt x="376" y="108"/>
                  </a:lnTo>
                  <a:lnTo>
                    <a:pt x="362" y="92"/>
                  </a:lnTo>
                  <a:lnTo>
                    <a:pt x="366" y="60"/>
                  </a:lnTo>
                  <a:lnTo>
                    <a:pt x="342" y="52"/>
                  </a:lnTo>
                  <a:lnTo>
                    <a:pt x="342" y="34"/>
                  </a:lnTo>
                  <a:lnTo>
                    <a:pt x="378" y="50"/>
                  </a:lnTo>
                  <a:lnTo>
                    <a:pt x="394" y="50"/>
                  </a:lnTo>
                  <a:lnTo>
                    <a:pt x="420" y="56"/>
                  </a:lnTo>
                  <a:lnTo>
                    <a:pt x="436" y="36"/>
                  </a:lnTo>
                  <a:lnTo>
                    <a:pt x="448" y="44"/>
                  </a:lnTo>
                  <a:lnTo>
                    <a:pt x="472" y="30"/>
                  </a:lnTo>
                  <a:lnTo>
                    <a:pt x="488" y="30"/>
                  </a:lnTo>
                  <a:lnTo>
                    <a:pt x="506" y="2"/>
                  </a:lnTo>
                  <a:lnTo>
                    <a:pt x="534" y="0"/>
                  </a:lnTo>
                  <a:lnTo>
                    <a:pt x="526" y="18"/>
                  </a:lnTo>
                  <a:lnTo>
                    <a:pt x="536" y="30"/>
                  </a:lnTo>
                  <a:lnTo>
                    <a:pt x="552" y="42"/>
                  </a:lnTo>
                  <a:lnTo>
                    <a:pt x="540" y="62"/>
                  </a:lnTo>
                  <a:lnTo>
                    <a:pt x="540" y="76"/>
                  </a:lnTo>
                  <a:lnTo>
                    <a:pt x="532" y="100"/>
                  </a:lnTo>
                  <a:lnTo>
                    <a:pt x="546" y="114"/>
                  </a:lnTo>
                  <a:lnTo>
                    <a:pt x="536" y="126"/>
                  </a:lnTo>
                  <a:lnTo>
                    <a:pt x="568" y="152"/>
                  </a:lnTo>
                  <a:lnTo>
                    <a:pt x="586" y="138"/>
                  </a:lnTo>
                  <a:lnTo>
                    <a:pt x="600" y="140"/>
                  </a:lnTo>
                  <a:lnTo>
                    <a:pt x="626" y="126"/>
                  </a:lnTo>
                  <a:lnTo>
                    <a:pt x="648" y="122"/>
                  </a:lnTo>
                  <a:lnTo>
                    <a:pt x="688" y="124"/>
                  </a:lnTo>
                  <a:lnTo>
                    <a:pt x="680" y="110"/>
                  </a:lnTo>
                  <a:lnTo>
                    <a:pt x="686" y="102"/>
                  </a:lnTo>
                  <a:lnTo>
                    <a:pt x="704" y="110"/>
                  </a:lnTo>
                  <a:lnTo>
                    <a:pt x="722" y="94"/>
                  </a:lnTo>
                  <a:lnTo>
                    <a:pt x="742" y="112"/>
                  </a:lnTo>
                  <a:lnTo>
                    <a:pt x="758" y="116"/>
                  </a:lnTo>
                  <a:lnTo>
                    <a:pt x="774" y="104"/>
                  </a:lnTo>
                  <a:lnTo>
                    <a:pt x="790" y="110"/>
                  </a:lnTo>
                  <a:lnTo>
                    <a:pt x="796" y="122"/>
                  </a:lnTo>
                  <a:lnTo>
                    <a:pt x="814" y="108"/>
                  </a:lnTo>
                  <a:lnTo>
                    <a:pt x="822" y="76"/>
                  </a:lnTo>
                  <a:lnTo>
                    <a:pt x="838" y="52"/>
                  </a:lnTo>
                  <a:lnTo>
                    <a:pt x="846" y="26"/>
                  </a:lnTo>
                  <a:lnTo>
                    <a:pt x="854" y="28"/>
                  </a:lnTo>
                  <a:lnTo>
                    <a:pt x="858" y="40"/>
                  </a:lnTo>
                  <a:lnTo>
                    <a:pt x="864" y="36"/>
                  </a:lnTo>
                  <a:lnTo>
                    <a:pt x="880" y="66"/>
                  </a:lnTo>
                  <a:lnTo>
                    <a:pt x="876" y="76"/>
                  </a:lnTo>
                  <a:lnTo>
                    <a:pt x="890" y="98"/>
                  </a:lnTo>
                  <a:lnTo>
                    <a:pt x="896" y="132"/>
                  </a:lnTo>
                  <a:lnTo>
                    <a:pt x="914" y="132"/>
                  </a:lnTo>
                  <a:lnTo>
                    <a:pt x="916" y="148"/>
                  </a:lnTo>
                  <a:lnTo>
                    <a:pt x="916" y="164"/>
                  </a:lnTo>
                  <a:lnTo>
                    <a:pt x="904" y="174"/>
                  </a:lnTo>
                  <a:lnTo>
                    <a:pt x="884" y="196"/>
                  </a:lnTo>
                  <a:lnTo>
                    <a:pt x="860" y="206"/>
                  </a:lnTo>
                  <a:lnTo>
                    <a:pt x="844" y="228"/>
                  </a:lnTo>
                  <a:lnTo>
                    <a:pt x="838" y="244"/>
                  </a:lnTo>
                  <a:lnTo>
                    <a:pt x="828" y="256"/>
                  </a:lnTo>
                  <a:lnTo>
                    <a:pt x="828" y="270"/>
                  </a:lnTo>
                  <a:lnTo>
                    <a:pt x="848" y="252"/>
                  </a:lnTo>
                  <a:lnTo>
                    <a:pt x="864" y="246"/>
                  </a:lnTo>
                  <a:lnTo>
                    <a:pt x="880" y="222"/>
                  </a:lnTo>
                  <a:lnTo>
                    <a:pt x="888" y="222"/>
                  </a:lnTo>
                  <a:lnTo>
                    <a:pt x="902" y="210"/>
                  </a:lnTo>
                  <a:lnTo>
                    <a:pt x="930" y="212"/>
                  </a:lnTo>
                  <a:lnTo>
                    <a:pt x="954" y="206"/>
                  </a:lnTo>
                  <a:lnTo>
                    <a:pt x="970" y="208"/>
                  </a:lnTo>
                  <a:lnTo>
                    <a:pt x="972" y="230"/>
                  </a:lnTo>
                  <a:lnTo>
                    <a:pt x="962" y="246"/>
                  </a:lnTo>
                  <a:lnTo>
                    <a:pt x="956" y="260"/>
                  </a:lnTo>
                  <a:lnTo>
                    <a:pt x="942" y="264"/>
                  </a:lnTo>
                  <a:lnTo>
                    <a:pt x="940" y="298"/>
                  </a:lnTo>
                  <a:lnTo>
                    <a:pt x="948" y="274"/>
                  </a:lnTo>
                  <a:lnTo>
                    <a:pt x="974" y="256"/>
                  </a:lnTo>
                  <a:lnTo>
                    <a:pt x="978" y="244"/>
                  </a:lnTo>
                  <a:lnTo>
                    <a:pt x="986" y="226"/>
                  </a:lnTo>
                  <a:lnTo>
                    <a:pt x="1006" y="220"/>
                  </a:lnTo>
                  <a:lnTo>
                    <a:pt x="1020" y="222"/>
                  </a:lnTo>
                  <a:lnTo>
                    <a:pt x="1030" y="230"/>
                  </a:lnTo>
                  <a:lnTo>
                    <a:pt x="1046" y="226"/>
                  </a:lnTo>
                  <a:lnTo>
                    <a:pt x="1058" y="240"/>
                  </a:lnTo>
                  <a:lnTo>
                    <a:pt x="1074" y="238"/>
                  </a:lnTo>
                  <a:lnTo>
                    <a:pt x="1096" y="248"/>
                  </a:lnTo>
                  <a:lnTo>
                    <a:pt x="1094" y="264"/>
                  </a:lnTo>
                  <a:lnTo>
                    <a:pt x="1106" y="254"/>
                  </a:lnTo>
                  <a:lnTo>
                    <a:pt x="1118" y="254"/>
                  </a:lnTo>
                  <a:lnTo>
                    <a:pt x="1126" y="262"/>
                  </a:lnTo>
                  <a:lnTo>
                    <a:pt x="1122" y="282"/>
                  </a:lnTo>
                  <a:lnTo>
                    <a:pt x="1128" y="286"/>
                  </a:lnTo>
                  <a:lnTo>
                    <a:pt x="1128" y="300"/>
                  </a:lnTo>
                  <a:lnTo>
                    <a:pt x="1140" y="298"/>
                  </a:lnTo>
                  <a:lnTo>
                    <a:pt x="1161" y="286"/>
                  </a:lnTo>
                  <a:lnTo>
                    <a:pt x="1189" y="284"/>
                  </a:lnTo>
                  <a:lnTo>
                    <a:pt x="1231" y="312"/>
                  </a:lnTo>
                  <a:lnTo>
                    <a:pt x="1251" y="304"/>
                  </a:lnTo>
                  <a:lnTo>
                    <a:pt x="1279" y="302"/>
                  </a:lnTo>
                  <a:lnTo>
                    <a:pt x="1299" y="302"/>
                  </a:lnTo>
                  <a:lnTo>
                    <a:pt x="1329" y="326"/>
                  </a:lnTo>
                  <a:lnTo>
                    <a:pt x="1353" y="338"/>
                  </a:lnTo>
                  <a:lnTo>
                    <a:pt x="1381" y="370"/>
                  </a:lnTo>
                  <a:lnTo>
                    <a:pt x="1393" y="372"/>
                  </a:lnTo>
                  <a:lnTo>
                    <a:pt x="1421" y="392"/>
                  </a:lnTo>
                  <a:lnTo>
                    <a:pt x="1451" y="392"/>
                  </a:lnTo>
                  <a:lnTo>
                    <a:pt x="1461" y="392"/>
                  </a:lnTo>
                  <a:lnTo>
                    <a:pt x="1485" y="412"/>
                  </a:lnTo>
                  <a:lnTo>
                    <a:pt x="1487" y="438"/>
                  </a:lnTo>
                  <a:lnTo>
                    <a:pt x="1497" y="452"/>
                  </a:lnTo>
                  <a:lnTo>
                    <a:pt x="1497" y="510"/>
                  </a:lnTo>
                  <a:lnTo>
                    <a:pt x="1493" y="530"/>
                  </a:lnTo>
                  <a:lnTo>
                    <a:pt x="1473" y="568"/>
                  </a:lnTo>
                  <a:lnTo>
                    <a:pt x="1453" y="590"/>
                  </a:lnTo>
                  <a:lnTo>
                    <a:pt x="1433" y="606"/>
                  </a:lnTo>
                  <a:lnTo>
                    <a:pt x="1411" y="624"/>
                  </a:lnTo>
                  <a:lnTo>
                    <a:pt x="1405" y="644"/>
                  </a:lnTo>
                  <a:lnTo>
                    <a:pt x="1379" y="682"/>
                  </a:lnTo>
                  <a:lnTo>
                    <a:pt x="1367" y="688"/>
                  </a:lnTo>
                  <a:lnTo>
                    <a:pt x="1335" y="688"/>
                  </a:lnTo>
                  <a:lnTo>
                    <a:pt x="1345" y="700"/>
                  </a:lnTo>
                  <a:lnTo>
                    <a:pt x="1333" y="728"/>
                  </a:lnTo>
                  <a:lnTo>
                    <a:pt x="1339" y="753"/>
                  </a:lnTo>
                  <a:lnTo>
                    <a:pt x="1339" y="789"/>
                  </a:lnTo>
                  <a:lnTo>
                    <a:pt x="1343" y="819"/>
                  </a:lnTo>
                  <a:lnTo>
                    <a:pt x="1333" y="853"/>
                  </a:lnTo>
                  <a:lnTo>
                    <a:pt x="1331" y="903"/>
                  </a:lnTo>
                  <a:lnTo>
                    <a:pt x="1309" y="921"/>
                  </a:lnTo>
                  <a:lnTo>
                    <a:pt x="1307" y="977"/>
                  </a:lnTo>
                  <a:lnTo>
                    <a:pt x="1289" y="1007"/>
                  </a:lnTo>
                  <a:lnTo>
                    <a:pt x="1275" y="1029"/>
                  </a:lnTo>
                  <a:lnTo>
                    <a:pt x="1257" y="1051"/>
                  </a:lnTo>
                  <a:lnTo>
                    <a:pt x="1255" y="1061"/>
                  </a:lnTo>
                  <a:lnTo>
                    <a:pt x="1263" y="1061"/>
                  </a:lnTo>
                  <a:lnTo>
                    <a:pt x="1259" y="1079"/>
                  </a:lnTo>
                  <a:lnTo>
                    <a:pt x="1219" y="1101"/>
                  </a:lnTo>
                  <a:lnTo>
                    <a:pt x="1219" y="1109"/>
                  </a:lnTo>
                  <a:lnTo>
                    <a:pt x="1223" y="1119"/>
                  </a:lnTo>
                  <a:lnTo>
                    <a:pt x="1213" y="1121"/>
                  </a:lnTo>
                  <a:lnTo>
                    <a:pt x="1171" y="1119"/>
                  </a:lnTo>
                  <a:lnTo>
                    <a:pt x="1161" y="1111"/>
                  </a:lnTo>
                  <a:lnTo>
                    <a:pt x="1136" y="1123"/>
                  </a:lnTo>
                  <a:lnTo>
                    <a:pt x="1116" y="1125"/>
                  </a:lnTo>
                  <a:lnTo>
                    <a:pt x="1118" y="1135"/>
                  </a:lnTo>
                  <a:lnTo>
                    <a:pt x="1086" y="1149"/>
                  </a:lnTo>
                  <a:lnTo>
                    <a:pt x="1084" y="1155"/>
                  </a:lnTo>
                  <a:lnTo>
                    <a:pt x="1064" y="1157"/>
                  </a:lnTo>
                  <a:lnTo>
                    <a:pt x="1042" y="1167"/>
                  </a:lnTo>
                  <a:lnTo>
                    <a:pt x="1030" y="1179"/>
                  </a:lnTo>
                  <a:lnTo>
                    <a:pt x="1002" y="1205"/>
                  </a:lnTo>
                  <a:lnTo>
                    <a:pt x="992" y="1213"/>
                  </a:lnTo>
                  <a:lnTo>
                    <a:pt x="990" y="1225"/>
                  </a:lnTo>
                  <a:lnTo>
                    <a:pt x="964" y="1227"/>
                  </a:lnTo>
                  <a:lnTo>
                    <a:pt x="976" y="1239"/>
                  </a:lnTo>
                  <a:lnTo>
                    <a:pt x="968" y="1249"/>
                  </a:lnTo>
                  <a:lnTo>
                    <a:pt x="968" y="1279"/>
                  </a:lnTo>
                  <a:lnTo>
                    <a:pt x="968" y="1301"/>
                  </a:lnTo>
                  <a:lnTo>
                    <a:pt x="970" y="1331"/>
                  </a:lnTo>
                  <a:lnTo>
                    <a:pt x="964" y="1351"/>
                  </a:lnTo>
                  <a:lnTo>
                    <a:pt x="956" y="1357"/>
                  </a:lnTo>
                  <a:lnTo>
                    <a:pt x="954" y="1371"/>
                  </a:lnTo>
                  <a:lnTo>
                    <a:pt x="930" y="1393"/>
                  </a:lnTo>
                  <a:lnTo>
                    <a:pt x="916" y="1425"/>
                  </a:lnTo>
                  <a:lnTo>
                    <a:pt x="908" y="1441"/>
                  </a:lnTo>
                  <a:lnTo>
                    <a:pt x="882" y="1479"/>
                  </a:lnTo>
                  <a:lnTo>
                    <a:pt x="840" y="1515"/>
                  </a:lnTo>
                  <a:lnTo>
                    <a:pt x="828" y="1527"/>
                  </a:lnTo>
                  <a:lnTo>
                    <a:pt x="824" y="1543"/>
                  </a:lnTo>
                  <a:lnTo>
                    <a:pt x="816" y="1559"/>
                  </a:lnTo>
                  <a:lnTo>
                    <a:pt x="812" y="1557"/>
                  </a:lnTo>
                  <a:lnTo>
                    <a:pt x="812" y="1541"/>
                  </a:lnTo>
                  <a:lnTo>
                    <a:pt x="808" y="1541"/>
                  </a:lnTo>
                  <a:lnTo>
                    <a:pt x="800" y="1553"/>
                  </a:lnTo>
                  <a:lnTo>
                    <a:pt x="802" y="1569"/>
                  </a:lnTo>
                  <a:lnTo>
                    <a:pt x="800" y="1583"/>
                  </a:lnTo>
                  <a:lnTo>
                    <a:pt x="796" y="1592"/>
                  </a:lnTo>
                  <a:lnTo>
                    <a:pt x="788" y="1600"/>
                  </a:lnTo>
                  <a:lnTo>
                    <a:pt x="778" y="1590"/>
                  </a:lnTo>
                  <a:lnTo>
                    <a:pt x="778" y="1577"/>
                  </a:lnTo>
                  <a:lnTo>
                    <a:pt x="780" y="1557"/>
                  </a:lnTo>
                  <a:lnTo>
                    <a:pt x="788" y="1537"/>
                  </a:lnTo>
                  <a:lnTo>
                    <a:pt x="774" y="1533"/>
                  </a:lnTo>
                  <a:lnTo>
                    <a:pt x="760" y="1509"/>
                  </a:lnTo>
                  <a:lnTo>
                    <a:pt x="744" y="1491"/>
                  </a:lnTo>
                  <a:lnTo>
                    <a:pt x="720" y="1479"/>
                  </a:lnTo>
                  <a:lnTo>
                    <a:pt x="698" y="1461"/>
                  </a:lnTo>
                  <a:lnTo>
                    <a:pt x="684" y="1469"/>
                  </a:lnTo>
                  <a:lnTo>
                    <a:pt x="670" y="1449"/>
                  </a:lnTo>
                  <a:lnTo>
                    <a:pt x="652" y="1409"/>
                  </a:lnTo>
                  <a:lnTo>
                    <a:pt x="658" y="1393"/>
                  </a:lnTo>
                  <a:lnTo>
                    <a:pt x="692" y="1357"/>
                  </a:lnTo>
                  <a:lnTo>
                    <a:pt x="700" y="1357"/>
                  </a:lnTo>
                  <a:lnTo>
                    <a:pt x="702" y="1351"/>
                  </a:lnTo>
                  <a:lnTo>
                    <a:pt x="750" y="1305"/>
                  </a:lnTo>
                  <a:lnTo>
                    <a:pt x="762" y="1303"/>
                  </a:lnTo>
                  <a:lnTo>
                    <a:pt x="772" y="1265"/>
                  </a:lnTo>
                  <a:lnTo>
                    <a:pt x="774" y="1245"/>
                  </a:lnTo>
                  <a:lnTo>
                    <a:pt x="758" y="1233"/>
                  </a:lnTo>
                  <a:lnTo>
                    <a:pt x="736" y="1231"/>
                  </a:lnTo>
                  <a:lnTo>
                    <a:pt x="752" y="1173"/>
                  </a:lnTo>
                  <a:lnTo>
                    <a:pt x="740" y="1159"/>
                  </a:lnTo>
                  <a:lnTo>
                    <a:pt x="718" y="1159"/>
                  </a:lnTo>
                  <a:lnTo>
                    <a:pt x="704" y="1153"/>
                  </a:lnTo>
                  <a:lnTo>
                    <a:pt x="702" y="1119"/>
                  </a:lnTo>
                  <a:lnTo>
                    <a:pt x="692" y="1095"/>
                  </a:lnTo>
                  <a:lnTo>
                    <a:pt x="680" y="1089"/>
                  </a:lnTo>
                  <a:lnTo>
                    <a:pt x="656" y="1091"/>
                  </a:lnTo>
                  <a:lnTo>
                    <a:pt x="620" y="1085"/>
                  </a:lnTo>
                  <a:lnTo>
                    <a:pt x="606" y="1073"/>
                  </a:lnTo>
                  <a:lnTo>
                    <a:pt x="614" y="1019"/>
                  </a:lnTo>
                  <a:lnTo>
                    <a:pt x="600" y="993"/>
                  </a:lnTo>
                  <a:lnTo>
                    <a:pt x="618" y="961"/>
                  </a:lnTo>
                  <a:lnTo>
                    <a:pt x="618" y="941"/>
                  </a:lnTo>
                  <a:lnTo>
                    <a:pt x="626" y="909"/>
                  </a:lnTo>
                  <a:lnTo>
                    <a:pt x="616" y="893"/>
                  </a:lnTo>
                  <a:lnTo>
                    <a:pt x="596" y="883"/>
                  </a:lnTo>
                  <a:lnTo>
                    <a:pt x="592" y="849"/>
                  </a:lnTo>
                  <a:lnTo>
                    <a:pt x="534" y="847"/>
                  </a:lnTo>
                  <a:lnTo>
                    <a:pt x="510" y="811"/>
                  </a:lnTo>
                  <a:lnTo>
                    <a:pt x="518" y="787"/>
                  </a:lnTo>
                  <a:lnTo>
                    <a:pt x="512" y="747"/>
                  </a:lnTo>
                  <a:lnTo>
                    <a:pt x="460" y="733"/>
                  </a:lnTo>
                  <a:lnTo>
                    <a:pt x="390" y="698"/>
                  </a:lnTo>
                  <a:lnTo>
                    <a:pt x="364" y="692"/>
                  </a:lnTo>
                  <a:lnTo>
                    <a:pt x="334" y="676"/>
                  </a:lnTo>
                  <a:lnTo>
                    <a:pt x="322" y="628"/>
                  </a:lnTo>
                  <a:lnTo>
                    <a:pt x="328" y="606"/>
                  </a:lnTo>
                  <a:lnTo>
                    <a:pt x="320" y="586"/>
                  </a:lnTo>
                  <a:lnTo>
                    <a:pt x="276" y="594"/>
                  </a:lnTo>
                  <a:lnTo>
                    <a:pt x="254" y="610"/>
                  </a:lnTo>
                  <a:lnTo>
                    <a:pt x="232" y="616"/>
                  </a:lnTo>
                  <a:lnTo>
                    <a:pt x="206" y="636"/>
                  </a:lnTo>
                  <a:lnTo>
                    <a:pt x="168" y="638"/>
                  </a:lnTo>
                  <a:lnTo>
                    <a:pt x="130" y="636"/>
                  </a:lnTo>
                  <a:lnTo>
                    <a:pt x="126" y="568"/>
                  </a:lnTo>
                  <a:lnTo>
                    <a:pt x="120" y="564"/>
                  </a:lnTo>
                  <a:lnTo>
                    <a:pt x="80" y="594"/>
                  </a:lnTo>
                  <a:lnTo>
                    <a:pt x="52" y="568"/>
                  </a:lnTo>
                  <a:lnTo>
                    <a:pt x="28" y="562"/>
                  </a:lnTo>
                  <a:lnTo>
                    <a:pt x="38" y="544"/>
                  </a:lnTo>
                  <a:lnTo>
                    <a:pt x="12" y="540"/>
                  </a:lnTo>
                  <a:lnTo>
                    <a:pt x="6" y="526"/>
                  </a:lnTo>
                  <a:lnTo>
                    <a:pt x="10" y="506"/>
                  </a:lnTo>
                  <a:lnTo>
                    <a:pt x="0" y="496"/>
                  </a:lnTo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8001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62" name="Brunei">
              <a:extLst>
                <a:ext uri="{FF2B5EF4-FFF2-40B4-BE49-F238E27FC236}">
                  <a16:creationId xmlns="" xmlns:a16="http://schemas.microsoft.com/office/drawing/2014/main" id="{7C9EAF51-714F-4722-B8B5-1F89276ADA10}"/>
                </a:ext>
              </a:extLst>
            </p:cNvPr>
            <p:cNvSpPr>
              <a:spLocks/>
            </p:cNvSpPr>
            <p:nvPr/>
          </p:nvSpPr>
          <p:spPr bwMode="gray">
            <a:xfrm>
              <a:off x="9324887" y="4377829"/>
              <a:ext cx="42950" cy="31465"/>
            </a:xfrm>
            <a:custGeom>
              <a:avLst/>
              <a:gdLst/>
              <a:ahLst/>
              <a:cxnLst>
                <a:cxn ang="0">
                  <a:pos x="46" y="0"/>
                </a:cxn>
                <a:cxn ang="0">
                  <a:pos x="52" y="6"/>
                </a:cxn>
                <a:cxn ang="0">
                  <a:pos x="52" y="22"/>
                </a:cxn>
                <a:cxn ang="0">
                  <a:pos x="32" y="14"/>
                </a:cxn>
                <a:cxn ang="0">
                  <a:pos x="32" y="28"/>
                </a:cxn>
                <a:cxn ang="0">
                  <a:pos x="24" y="38"/>
                </a:cxn>
                <a:cxn ang="0">
                  <a:pos x="0" y="14"/>
                </a:cxn>
                <a:cxn ang="0">
                  <a:pos x="18" y="6"/>
                </a:cxn>
                <a:cxn ang="0">
                  <a:pos x="32" y="2"/>
                </a:cxn>
                <a:cxn ang="0">
                  <a:pos x="46" y="0"/>
                </a:cxn>
              </a:cxnLst>
              <a:rect l="0" t="0" r="r" b="b"/>
              <a:pathLst>
                <a:path w="52" h="38">
                  <a:moveTo>
                    <a:pt x="46" y="0"/>
                  </a:moveTo>
                  <a:lnTo>
                    <a:pt x="52" y="6"/>
                  </a:lnTo>
                  <a:lnTo>
                    <a:pt x="52" y="22"/>
                  </a:lnTo>
                  <a:lnTo>
                    <a:pt x="32" y="14"/>
                  </a:lnTo>
                  <a:lnTo>
                    <a:pt x="32" y="28"/>
                  </a:lnTo>
                  <a:lnTo>
                    <a:pt x="24" y="38"/>
                  </a:lnTo>
                  <a:lnTo>
                    <a:pt x="0" y="14"/>
                  </a:lnTo>
                  <a:lnTo>
                    <a:pt x="18" y="6"/>
                  </a:lnTo>
                  <a:lnTo>
                    <a:pt x="32" y="2"/>
                  </a:lnTo>
                  <a:lnTo>
                    <a:pt x="46" y="0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63" name="Bulgaria">
              <a:extLst>
                <a:ext uri="{FF2B5EF4-FFF2-40B4-BE49-F238E27FC236}">
                  <a16:creationId xmlns="" xmlns:a16="http://schemas.microsoft.com/office/drawing/2014/main" id="{3D9CB211-6ED8-4E3B-AEF2-49419B90FBAB}"/>
                </a:ext>
              </a:extLst>
            </p:cNvPr>
            <p:cNvSpPr>
              <a:spLocks/>
            </p:cNvSpPr>
            <p:nvPr/>
          </p:nvSpPr>
          <p:spPr bwMode="gray">
            <a:xfrm>
              <a:off x="6488189" y="2987470"/>
              <a:ext cx="193279" cy="125860"/>
            </a:xfrm>
            <a:custGeom>
              <a:avLst/>
              <a:gdLst/>
              <a:ahLst/>
              <a:cxnLst>
                <a:cxn ang="0">
                  <a:pos x="72" y="142"/>
                </a:cxn>
                <a:cxn ang="0">
                  <a:pos x="94" y="148"/>
                </a:cxn>
                <a:cxn ang="0">
                  <a:pos x="108" y="154"/>
                </a:cxn>
                <a:cxn ang="0">
                  <a:pos x="138" y="152"/>
                </a:cxn>
                <a:cxn ang="0">
                  <a:pos x="140" y="138"/>
                </a:cxn>
                <a:cxn ang="0">
                  <a:pos x="146" y="128"/>
                </a:cxn>
                <a:cxn ang="0">
                  <a:pos x="154" y="136"/>
                </a:cxn>
                <a:cxn ang="0">
                  <a:pos x="174" y="116"/>
                </a:cxn>
                <a:cxn ang="0">
                  <a:pos x="190" y="116"/>
                </a:cxn>
                <a:cxn ang="0">
                  <a:pos x="204" y="118"/>
                </a:cxn>
                <a:cxn ang="0">
                  <a:pos x="222" y="114"/>
                </a:cxn>
                <a:cxn ang="0">
                  <a:pos x="214" y="88"/>
                </a:cxn>
                <a:cxn ang="0">
                  <a:pos x="208" y="84"/>
                </a:cxn>
                <a:cxn ang="0">
                  <a:pos x="218" y="68"/>
                </a:cxn>
                <a:cxn ang="0">
                  <a:pos x="222" y="44"/>
                </a:cxn>
                <a:cxn ang="0">
                  <a:pos x="234" y="42"/>
                </a:cxn>
                <a:cxn ang="0">
                  <a:pos x="238" y="26"/>
                </a:cxn>
                <a:cxn ang="0">
                  <a:pos x="216" y="20"/>
                </a:cxn>
                <a:cxn ang="0">
                  <a:pos x="204" y="4"/>
                </a:cxn>
                <a:cxn ang="0">
                  <a:pos x="192" y="10"/>
                </a:cxn>
                <a:cxn ang="0">
                  <a:pos x="180" y="16"/>
                </a:cxn>
                <a:cxn ang="0">
                  <a:pos x="164" y="16"/>
                </a:cxn>
                <a:cxn ang="0">
                  <a:pos x="148" y="28"/>
                </a:cxn>
                <a:cxn ang="0">
                  <a:pos x="112" y="42"/>
                </a:cxn>
                <a:cxn ang="0">
                  <a:pos x="78" y="36"/>
                </a:cxn>
                <a:cxn ang="0">
                  <a:pos x="60" y="28"/>
                </a:cxn>
                <a:cxn ang="0">
                  <a:pos x="28" y="22"/>
                </a:cxn>
                <a:cxn ang="0">
                  <a:pos x="26" y="4"/>
                </a:cxn>
                <a:cxn ang="0">
                  <a:pos x="10" y="0"/>
                </a:cxn>
                <a:cxn ang="0">
                  <a:pos x="6" y="14"/>
                </a:cxn>
                <a:cxn ang="0">
                  <a:pos x="0" y="20"/>
                </a:cxn>
                <a:cxn ang="0">
                  <a:pos x="10" y="36"/>
                </a:cxn>
                <a:cxn ang="0">
                  <a:pos x="20" y="50"/>
                </a:cxn>
                <a:cxn ang="0">
                  <a:pos x="30" y="62"/>
                </a:cxn>
                <a:cxn ang="0">
                  <a:pos x="20" y="76"/>
                </a:cxn>
                <a:cxn ang="0">
                  <a:pos x="10" y="76"/>
                </a:cxn>
                <a:cxn ang="0">
                  <a:pos x="8" y="86"/>
                </a:cxn>
                <a:cxn ang="0">
                  <a:pos x="10" y="98"/>
                </a:cxn>
                <a:cxn ang="0">
                  <a:pos x="12" y="116"/>
                </a:cxn>
                <a:cxn ang="0">
                  <a:pos x="22" y="124"/>
                </a:cxn>
                <a:cxn ang="0">
                  <a:pos x="30" y="152"/>
                </a:cxn>
                <a:cxn ang="0">
                  <a:pos x="52" y="152"/>
                </a:cxn>
                <a:cxn ang="0">
                  <a:pos x="72" y="142"/>
                </a:cxn>
              </a:cxnLst>
              <a:rect l="0" t="0" r="r" b="b"/>
              <a:pathLst>
                <a:path w="238" h="154">
                  <a:moveTo>
                    <a:pt x="72" y="142"/>
                  </a:moveTo>
                  <a:lnTo>
                    <a:pt x="94" y="148"/>
                  </a:lnTo>
                  <a:lnTo>
                    <a:pt x="108" y="154"/>
                  </a:lnTo>
                  <a:lnTo>
                    <a:pt x="138" y="152"/>
                  </a:lnTo>
                  <a:lnTo>
                    <a:pt x="140" y="138"/>
                  </a:lnTo>
                  <a:lnTo>
                    <a:pt x="146" y="128"/>
                  </a:lnTo>
                  <a:lnTo>
                    <a:pt x="154" y="136"/>
                  </a:lnTo>
                  <a:lnTo>
                    <a:pt x="174" y="116"/>
                  </a:lnTo>
                  <a:lnTo>
                    <a:pt x="190" y="116"/>
                  </a:lnTo>
                  <a:lnTo>
                    <a:pt x="204" y="118"/>
                  </a:lnTo>
                  <a:lnTo>
                    <a:pt x="222" y="114"/>
                  </a:lnTo>
                  <a:lnTo>
                    <a:pt x="214" y="88"/>
                  </a:lnTo>
                  <a:lnTo>
                    <a:pt x="208" y="84"/>
                  </a:lnTo>
                  <a:lnTo>
                    <a:pt x="218" y="68"/>
                  </a:lnTo>
                  <a:lnTo>
                    <a:pt x="222" y="44"/>
                  </a:lnTo>
                  <a:lnTo>
                    <a:pt x="234" y="42"/>
                  </a:lnTo>
                  <a:lnTo>
                    <a:pt x="238" y="26"/>
                  </a:lnTo>
                  <a:lnTo>
                    <a:pt x="216" y="20"/>
                  </a:lnTo>
                  <a:lnTo>
                    <a:pt x="204" y="4"/>
                  </a:lnTo>
                  <a:lnTo>
                    <a:pt x="192" y="10"/>
                  </a:lnTo>
                  <a:lnTo>
                    <a:pt x="180" y="16"/>
                  </a:lnTo>
                  <a:lnTo>
                    <a:pt x="164" y="16"/>
                  </a:lnTo>
                  <a:lnTo>
                    <a:pt x="148" y="28"/>
                  </a:lnTo>
                  <a:lnTo>
                    <a:pt x="112" y="42"/>
                  </a:lnTo>
                  <a:lnTo>
                    <a:pt x="78" y="36"/>
                  </a:lnTo>
                  <a:lnTo>
                    <a:pt x="60" y="28"/>
                  </a:lnTo>
                  <a:lnTo>
                    <a:pt x="28" y="22"/>
                  </a:lnTo>
                  <a:lnTo>
                    <a:pt x="26" y="4"/>
                  </a:lnTo>
                  <a:lnTo>
                    <a:pt x="10" y="0"/>
                  </a:lnTo>
                  <a:lnTo>
                    <a:pt x="6" y="14"/>
                  </a:lnTo>
                  <a:lnTo>
                    <a:pt x="0" y="20"/>
                  </a:lnTo>
                  <a:lnTo>
                    <a:pt x="10" y="36"/>
                  </a:lnTo>
                  <a:lnTo>
                    <a:pt x="20" y="50"/>
                  </a:lnTo>
                  <a:lnTo>
                    <a:pt x="30" y="62"/>
                  </a:lnTo>
                  <a:lnTo>
                    <a:pt x="20" y="76"/>
                  </a:lnTo>
                  <a:lnTo>
                    <a:pt x="10" y="76"/>
                  </a:lnTo>
                  <a:lnTo>
                    <a:pt x="8" y="86"/>
                  </a:lnTo>
                  <a:lnTo>
                    <a:pt x="10" y="98"/>
                  </a:lnTo>
                  <a:lnTo>
                    <a:pt x="12" y="116"/>
                  </a:lnTo>
                  <a:lnTo>
                    <a:pt x="22" y="124"/>
                  </a:lnTo>
                  <a:lnTo>
                    <a:pt x="30" y="152"/>
                  </a:lnTo>
                  <a:lnTo>
                    <a:pt x="52" y="152"/>
                  </a:lnTo>
                  <a:lnTo>
                    <a:pt x="72" y="142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64" name="Burkina Faso">
              <a:extLst>
                <a:ext uri="{FF2B5EF4-FFF2-40B4-BE49-F238E27FC236}">
                  <a16:creationId xmlns="" xmlns:a16="http://schemas.microsoft.com/office/drawing/2014/main" id="{76BB58F8-9AEF-4D40-865C-EFEB680640B2}"/>
                </a:ext>
              </a:extLst>
            </p:cNvPr>
            <p:cNvSpPr>
              <a:spLocks/>
            </p:cNvSpPr>
            <p:nvPr/>
          </p:nvSpPr>
          <p:spPr bwMode="gray">
            <a:xfrm>
              <a:off x="5638937" y="4067111"/>
              <a:ext cx="236228" cy="192723"/>
            </a:xfrm>
            <a:custGeom>
              <a:avLst/>
              <a:gdLst/>
              <a:ahLst/>
              <a:cxnLst>
                <a:cxn ang="0">
                  <a:pos x="98" y="232"/>
                </a:cxn>
                <a:cxn ang="0">
                  <a:pos x="68" y="216"/>
                </a:cxn>
                <a:cxn ang="0">
                  <a:pos x="52" y="222"/>
                </a:cxn>
                <a:cxn ang="0">
                  <a:pos x="32" y="224"/>
                </a:cxn>
                <a:cxn ang="0">
                  <a:pos x="16" y="208"/>
                </a:cxn>
                <a:cxn ang="0">
                  <a:pos x="0" y="200"/>
                </a:cxn>
                <a:cxn ang="0">
                  <a:pos x="0" y="186"/>
                </a:cxn>
                <a:cxn ang="0">
                  <a:pos x="14" y="160"/>
                </a:cxn>
                <a:cxn ang="0">
                  <a:pos x="14" y="136"/>
                </a:cxn>
                <a:cxn ang="0">
                  <a:pos x="34" y="134"/>
                </a:cxn>
                <a:cxn ang="0">
                  <a:pos x="52" y="104"/>
                </a:cxn>
                <a:cxn ang="0">
                  <a:pos x="50" y="86"/>
                </a:cxn>
                <a:cxn ang="0">
                  <a:pos x="64" y="74"/>
                </a:cxn>
                <a:cxn ang="0">
                  <a:pos x="82" y="88"/>
                </a:cxn>
                <a:cxn ang="0">
                  <a:pos x="116" y="42"/>
                </a:cxn>
                <a:cxn ang="0">
                  <a:pos x="124" y="48"/>
                </a:cxn>
                <a:cxn ang="0">
                  <a:pos x="130" y="42"/>
                </a:cxn>
                <a:cxn ang="0">
                  <a:pos x="134" y="22"/>
                </a:cxn>
                <a:cxn ang="0">
                  <a:pos x="164" y="18"/>
                </a:cxn>
                <a:cxn ang="0">
                  <a:pos x="192" y="0"/>
                </a:cxn>
                <a:cxn ang="0">
                  <a:pos x="220" y="8"/>
                </a:cxn>
                <a:cxn ang="0">
                  <a:pos x="220" y="50"/>
                </a:cxn>
                <a:cxn ang="0">
                  <a:pos x="244" y="76"/>
                </a:cxn>
                <a:cxn ang="0">
                  <a:pos x="244" y="90"/>
                </a:cxn>
                <a:cxn ang="0">
                  <a:pos x="270" y="100"/>
                </a:cxn>
                <a:cxn ang="0">
                  <a:pos x="274" y="94"/>
                </a:cxn>
                <a:cxn ang="0">
                  <a:pos x="286" y="102"/>
                </a:cxn>
                <a:cxn ang="0">
                  <a:pos x="282" y="114"/>
                </a:cxn>
                <a:cxn ang="0">
                  <a:pos x="280" y="124"/>
                </a:cxn>
                <a:cxn ang="0">
                  <a:pos x="292" y="140"/>
                </a:cxn>
                <a:cxn ang="0">
                  <a:pos x="282" y="158"/>
                </a:cxn>
                <a:cxn ang="0">
                  <a:pos x="262" y="156"/>
                </a:cxn>
                <a:cxn ang="0">
                  <a:pos x="238" y="180"/>
                </a:cxn>
                <a:cxn ang="0">
                  <a:pos x="228" y="174"/>
                </a:cxn>
                <a:cxn ang="0">
                  <a:pos x="212" y="174"/>
                </a:cxn>
                <a:cxn ang="0">
                  <a:pos x="214" y="166"/>
                </a:cxn>
                <a:cxn ang="0">
                  <a:pos x="196" y="166"/>
                </a:cxn>
                <a:cxn ang="0">
                  <a:pos x="188" y="174"/>
                </a:cxn>
                <a:cxn ang="0">
                  <a:pos x="94" y="174"/>
                </a:cxn>
                <a:cxn ang="0">
                  <a:pos x="98" y="232"/>
                </a:cxn>
              </a:cxnLst>
              <a:rect l="0" t="0" r="r" b="b"/>
              <a:pathLst>
                <a:path w="292" h="232">
                  <a:moveTo>
                    <a:pt x="98" y="232"/>
                  </a:moveTo>
                  <a:lnTo>
                    <a:pt x="68" y="216"/>
                  </a:lnTo>
                  <a:lnTo>
                    <a:pt x="52" y="222"/>
                  </a:lnTo>
                  <a:lnTo>
                    <a:pt x="32" y="224"/>
                  </a:lnTo>
                  <a:lnTo>
                    <a:pt x="16" y="208"/>
                  </a:lnTo>
                  <a:lnTo>
                    <a:pt x="0" y="200"/>
                  </a:lnTo>
                  <a:lnTo>
                    <a:pt x="0" y="186"/>
                  </a:lnTo>
                  <a:lnTo>
                    <a:pt x="14" y="160"/>
                  </a:lnTo>
                  <a:lnTo>
                    <a:pt x="14" y="136"/>
                  </a:lnTo>
                  <a:lnTo>
                    <a:pt x="34" y="134"/>
                  </a:lnTo>
                  <a:lnTo>
                    <a:pt x="52" y="104"/>
                  </a:lnTo>
                  <a:lnTo>
                    <a:pt x="50" y="86"/>
                  </a:lnTo>
                  <a:lnTo>
                    <a:pt x="64" y="74"/>
                  </a:lnTo>
                  <a:lnTo>
                    <a:pt x="82" y="88"/>
                  </a:lnTo>
                  <a:lnTo>
                    <a:pt x="116" y="42"/>
                  </a:lnTo>
                  <a:lnTo>
                    <a:pt x="124" y="48"/>
                  </a:lnTo>
                  <a:lnTo>
                    <a:pt x="130" y="42"/>
                  </a:lnTo>
                  <a:lnTo>
                    <a:pt x="134" y="22"/>
                  </a:lnTo>
                  <a:lnTo>
                    <a:pt x="164" y="18"/>
                  </a:lnTo>
                  <a:lnTo>
                    <a:pt x="192" y="0"/>
                  </a:lnTo>
                  <a:lnTo>
                    <a:pt x="220" y="8"/>
                  </a:lnTo>
                  <a:lnTo>
                    <a:pt x="220" y="50"/>
                  </a:lnTo>
                  <a:lnTo>
                    <a:pt x="244" y="76"/>
                  </a:lnTo>
                  <a:lnTo>
                    <a:pt x="244" y="90"/>
                  </a:lnTo>
                  <a:lnTo>
                    <a:pt x="270" y="100"/>
                  </a:lnTo>
                  <a:lnTo>
                    <a:pt x="274" y="94"/>
                  </a:lnTo>
                  <a:lnTo>
                    <a:pt x="286" y="102"/>
                  </a:lnTo>
                  <a:lnTo>
                    <a:pt x="282" y="114"/>
                  </a:lnTo>
                  <a:lnTo>
                    <a:pt x="280" y="124"/>
                  </a:lnTo>
                  <a:lnTo>
                    <a:pt x="292" y="140"/>
                  </a:lnTo>
                  <a:lnTo>
                    <a:pt x="282" y="158"/>
                  </a:lnTo>
                  <a:lnTo>
                    <a:pt x="262" y="156"/>
                  </a:lnTo>
                  <a:lnTo>
                    <a:pt x="238" y="180"/>
                  </a:lnTo>
                  <a:lnTo>
                    <a:pt x="228" y="174"/>
                  </a:lnTo>
                  <a:lnTo>
                    <a:pt x="212" y="174"/>
                  </a:lnTo>
                  <a:lnTo>
                    <a:pt x="214" y="166"/>
                  </a:lnTo>
                  <a:lnTo>
                    <a:pt x="196" y="166"/>
                  </a:lnTo>
                  <a:lnTo>
                    <a:pt x="188" y="174"/>
                  </a:lnTo>
                  <a:lnTo>
                    <a:pt x="94" y="174"/>
                  </a:lnTo>
                  <a:lnTo>
                    <a:pt x="98" y="232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65" name="Burundi">
              <a:extLst>
                <a:ext uri="{FF2B5EF4-FFF2-40B4-BE49-F238E27FC236}">
                  <a16:creationId xmlns="" xmlns:a16="http://schemas.microsoft.com/office/drawing/2014/main" id="{B3D20FA8-3C5D-401D-9424-216D29555C6E}"/>
                </a:ext>
              </a:extLst>
            </p:cNvPr>
            <p:cNvSpPr>
              <a:spLocks/>
            </p:cNvSpPr>
            <p:nvPr/>
          </p:nvSpPr>
          <p:spPr bwMode="gray">
            <a:xfrm>
              <a:off x="6716609" y="4645279"/>
              <a:ext cx="50759" cy="62931"/>
            </a:xfrm>
            <a:custGeom>
              <a:avLst/>
              <a:gdLst/>
              <a:ahLst/>
              <a:cxnLst>
                <a:cxn ang="0">
                  <a:pos x="0" y="78"/>
                </a:cxn>
                <a:cxn ang="0">
                  <a:pos x="0" y="46"/>
                </a:cxn>
                <a:cxn ang="0">
                  <a:pos x="6" y="14"/>
                </a:cxn>
                <a:cxn ang="0">
                  <a:pos x="26" y="4"/>
                </a:cxn>
                <a:cxn ang="0">
                  <a:pos x="48" y="0"/>
                </a:cxn>
                <a:cxn ang="0">
                  <a:pos x="62" y="28"/>
                </a:cxn>
                <a:cxn ang="0">
                  <a:pos x="24" y="64"/>
                </a:cxn>
                <a:cxn ang="0">
                  <a:pos x="22" y="76"/>
                </a:cxn>
                <a:cxn ang="0">
                  <a:pos x="0" y="78"/>
                </a:cxn>
              </a:cxnLst>
              <a:rect l="0" t="0" r="r" b="b"/>
              <a:pathLst>
                <a:path w="62" h="78">
                  <a:moveTo>
                    <a:pt x="0" y="78"/>
                  </a:moveTo>
                  <a:lnTo>
                    <a:pt x="0" y="46"/>
                  </a:lnTo>
                  <a:lnTo>
                    <a:pt x="6" y="14"/>
                  </a:lnTo>
                  <a:lnTo>
                    <a:pt x="26" y="4"/>
                  </a:lnTo>
                  <a:lnTo>
                    <a:pt x="48" y="0"/>
                  </a:lnTo>
                  <a:lnTo>
                    <a:pt x="62" y="28"/>
                  </a:lnTo>
                  <a:lnTo>
                    <a:pt x="24" y="64"/>
                  </a:lnTo>
                  <a:lnTo>
                    <a:pt x="22" y="76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66" name="Cambodia">
              <a:extLst>
                <a:ext uri="{FF2B5EF4-FFF2-40B4-BE49-F238E27FC236}">
                  <a16:creationId xmlns="" xmlns:a16="http://schemas.microsoft.com/office/drawing/2014/main" id="{DC6C8908-645B-44E5-B4BF-F98286A52E30}"/>
                </a:ext>
              </a:extLst>
            </p:cNvPr>
            <p:cNvSpPr>
              <a:spLocks/>
            </p:cNvSpPr>
            <p:nvPr/>
          </p:nvSpPr>
          <p:spPr bwMode="gray">
            <a:xfrm>
              <a:off x="8959805" y="4084810"/>
              <a:ext cx="160088" cy="139627"/>
            </a:xfrm>
            <a:custGeom>
              <a:avLst/>
              <a:gdLst/>
              <a:ahLst/>
              <a:cxnLst>
                <a:cxn ang="0">
                  <a:pos x="72" y="164"/>
                </a:cxn>
                <a:cxn ang="0">
                  <a:pos x="88" y="172"/>
                </a:cxn>
                <a:cxn ang="0">
                  <a:pos x="114" y="140"/>
                </a:cxn>
                <a:cxn ang="0">
                  <a:pos x="134" y="138"/>
                </a:cxn>
                <a:cxn ang="0">
                  <a:pos x="136" y="124"/>
                </a:cxn>
                <a:cxn ang="0">
                  <a:pos x="146" y="110"/>
                </a:cxn>
                <a:cxn ang="0">
                  <a:pos x="160" y="110"/>
                </a:cxn>
                <a:cxn ang="0">
                  <a:pos x="168" y="100"/>
                </a:cxn>
                <a:cxn ang="0">
                  <a:pos x="186" y="96"/>
                </a:cxn>
                <a:cxn ang="0">
                  <a:pos x="196" y="86"/>
                </a:cxn>
                <a:cxn ang="0">
                  <a:pos x="196" y="34"/>
                </a:cxn>
                <a:cxn ang="0">
                  <a:pos x="194" y="4"/>
                </a:cxn>
                <a:cxn ang="0">
                  <a:pos x="180" y="6"/>
                </a:cxn>
                <a:cxn ang="0">
                  <a:pos x="172" y="0"/>
                </a:cxn>
                <a:cxn ang="0">
                  <a:pos x="164" y="0"/>
                </a:cxn>
                <a:cxn ang="0">
                  <a:pos x="152" y="12"/>
                </a:cxn>
                <a:cxn ang="0">
                  <a:pos x="138" y="16"/>
                </a:cxn>
                <a:cxn ang="0">
                  <a:pos x="134" y="32"/>
                </a:cxn>
                <a:cxn ang="0">
                  <a:pos x="110" y="22"/>
                </a:cxn>
                <a:cxn ang="0">
                  <a:pos x="100" y="6"/>
                </a:cxn>
                <a:cxn ang="0">
                  <a:pos x="76" y="10"/>
                </a:cxn>
                <a:cxn ang="0">
                  <a:pos x="30" y="18"/>
                </a:cxn>
                <a:cxn ang="0">
                  <a:pos x="2" y="56"/>
                </a:cxn>
                <a:cxn ang="0">
                  <a:pos x="0" y="70"/>
                </a:cxn>
                <a:cxn ang="0">
                  <a:pos x="20" y="94"/>
                </a:cxn>
                <a:cxn ang="0">
                  <a:pos x="18" y="112"/>
                </a:cxn>
                <a:cxn ang="0">
                  <a:pos x="22" y="124"/>
                </a:cxn>
                <a:cxn ang="0">
                  <a:pos x="24" y="150"/>
                </a:cxn>
                <a:cxn ang="0">
                  <a:pos x="34" y="150"/>
                </a:cxn>
                <a:cxn ang="0">
                  <a:pos x="42" y="152"/>
                </a:cxn>
                <a:cxn ang="0">
                  <a:pos x="46" y="148"/>
                </a:cxn>
                <a:cxn ang="0">
                  <a:pos x="42" y="142"/>
                </a:cxn>
                <a:cxn ang="0">
                  <a:pos x="46" y="138"/>
                </a:cxn>
                <a:cxn ang="0">
                  <a:pos x="52" y="144"/>
                </a:cxn>
                <a:cxn ang="0">
                  <a:pos x="52" y="152"/>
                </a:cxn>
                <a:cxn ang="0">
                  <a:pos x="48" y="158"/>
                </a:cxn>
                <a:cxn ang="0">
                  <a:pos x="48" y="164"/>
                </a:cxn>
                <a:cxn ang="0">
                  <a:pos x="52" y="164"/>
                </a:cxn>
                <a:cxn ang="0">
                  <a:pos x="56" y="162"/>
                </a:cxn>
                <a:cxn ang="0">
                  <a:pos x="60" y="158"/>
                </a:cxn>
                <a:cxn ang="0">
                  <a:pos x="72" y="164"/>
                </a:cxn>
              </a:cxnLst>
              <a:rect l="0" t="0" r="r" b="b"/>
              <a:pathLst>
                <a:path w="196" h="172">
                  <a:moveTo>
                    <a:pt x="72" y="164"/>
                  </a:moveTo>
                  <a:lnTo>
                    <a:pt x="88" y="172"/>
                  </a:lnTo>
                  <a:lnTo>
                    <a:pt x="114" y="140"/>
                  </a:lnTo>
                  <a:lnTo>
                    <a:pt x="134" y="138"/>
                  </a:lnTo>
                  <a:lnTo>
                    <a:pt x="136" y="124"/>
                  </a:lnTo>
                  <a:lnTo>
                    <a:pt x="146" y="110"/>
                  </a:lnTo>
                  <a:lnTo>
                    <a:pt x="160" y="110"/>
                  </a:lnTo>
                  <a:lnTo>
                    <a:pt x="168" y="100"/>
                  </a:lnTo>
                  <a:lnTo>
                    <a:pt x="186" y="96"/>
                  </a:lnTo>
                  <a:lnTo>
                    <a:pt x="196" y="86"/>
                  </a:lnTo>
                  <a:lnTo>
                    <a:pt x="196" y="34"/>
                  </a:lnTo>
                  <a:lnTo>
                    <a:pt x="194" y="4"/>
                  </a:lnTo>
                  <a:lnTo>
                    <a:pt x="180" y="6"/>
                  </a:lnTo>
                  <a:lnTo>
                    <a:pt x="172" y="0"/>
                  </a:lnTo>
                  <a:lnTo>
                    <a:pt x="164" y="0"/>
                  </a:lnTo>
                  <a:lnTo>
                    <a:pt x="152" y="12"/>
                  </a:lnTo>
                  <a:lnTo>
                    <a:pt x="138" y="16"/>
                  </a:lnTo>
                  <a:lnTo>
                    <a:pt x="134" y="32"/>
                  </a:lnTo>
                  <a:lnTo>
                    <a:pt x="110" y="22"/>
                  </a:lnTo>
                  <a:lnTo>
                    <a:pt x="100" y="6"/>
                  </a:lnTo>
                  <a:lnTo>
                    <a:pt x="76" y="10"/>
                  </a:lnTo>
                  <a:lnTo>
                    <a:pt x="30" y="18"/>
                  </a:lnTo>
                  <a:lnTo>
                    <a:pt x="2" y="56"/>
                  </a:lnTo>
                  <a:lnTo>
                    <a:pt x="0" y="70"/>
                  </a:lnTo>
                  <a:lnTo>
                    <a:pt x="20" y="94"/>
                  </a:lnTo>
                  <a:lnTo>
                    <a:pt x="18" y="112"/>
                  </a:lnTo>
                  <a:lnTo>
                    <a:pt x="22" y="124"/>
                  </a:lnTo>
                  <a:lnTo>
                    <a:pt x="24" y="150"/>
                  </a:lnTo>
                  <a:lnTo>
                    <a:pt x="34" y="150"/>
                  </a:lnTo>
                  <a:lnTo>
                    <a:pt x="42" y="152"/>
                  </a:lnTo>
                  <a:lnTo>
                    <a:pt x="46" y="148"/>
                  </a:lnTo>
                  <a:lnTo>
                    <a:pt x="42" y="142"/>
                  </a:lnTo>
                  <a:lnTo>
                    <a:pt x="46" y="138"/>
                  </a:lnTo>
                  <a:lnTo>
                    <a:pt x="52" y="144"/>
                  </a:lnTo>
                  <a:lnTo>
                    <a:pt x="52" y="152"/>
                  </a:lnTo>
                  <a:lnTo>
                    <a:pt x="48" y="158"/>
                  </a:lnTo>
                  <a:lnTo>
                    <a:pt x="48" y="164"/>
                  </a:lnTo>
                  <a:lnTo>
                    <a:pt x="52" y="164"/>
                  </a:lnTo>
                  <a:lnTo>
                    <a:pt x="56" y="162"/>
                  </a:lnTo>
                  <a:lnTo>
                    <a:pt x="60" y="158"/>
                  </a:lnTo>
                  <a:lnTo>
                    <a:pt x="72" y="164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67" name="Cameroon">
              <a:extLst>
                <a:ext uri="{FF2B5EF4-FFF2-40B4-BE49-F238E27FC236}">
                  <a16:creationId xmlns="" xmlns:a16="http://schemas.microsoft.com/office/drawing/2014/main" id="{6B1ECEB9-FF64-4B00-9D33-591C01153857}"/>
                </a:ext>
              </a:extLst>
            </p:cNvPr>
            <p:cNvSpPr>
              <a:spLocks/>
            </p:cNvSpPr>
            <p:nvPr/>
          </p:nvSpPr>
          <p:spPr bwMode="gray">
            <a:xfrm>
              <a:off x="6086015" y="4149707"/>
              <a:ext cx="214754" cy="361847"/>
            </a:xfrm>
            <a:custGeom>
              <a:avLst/>
              <a:gdLst/>
              <a:ahLst/>
              <a:cxnLst>
                <a:cxn ang="0">
                  <a:pos x="0" y="307"/>
                </a:cxn>
                <a:cxn ang="0">
                  <a:pos x="8" y="297"/>
                </a:cxn>
                <a:cxn ang="0">
                  <a:pos x="8" y="277"/>
                </a:cxn>
                <a:cxn ang="0">
                  <a:pos x="46" y="241"/>
                </a:cxn>
                <a:cxn ang="0">
                  <a:pos x="62" y="239"/>
                </a:cxn>
                <a:cxn ang="0">
                  <a:pos x="96" y="249"/>
                </a:cxn>
                <a:cxn ang="0">
                  <a:pos x="128" y="205"/>
                </a:cxn>
                <a:cxn ang="0">
                  <a:pos x="128" y="189"/>
                </a:cxn>
                <a:cxn ang="0">
                  <a:pos x="148" y="169"/>
                </a:cxn>
                <a:cxn ang="0">
                  <a:pos x="152" y="136"/>
                </a:cxn>
                <a:cxn ang="0">
                  <a:pos x="178" y="110"/>
                </a:cxn>
                <a:cxn ang="0">
                  <a:pos x="180" y="90"/>
                </a:cxn>
                <a:cxn ang="0">
                  <a:pos x="196" y="62"/>
                </a:cxn>
                <a:cxn ang="0">
                  <a:pos x="210" y="56"/>
                </a:cxn>
                <a:cxn ang="0">
                  <a:pos x="210" y="38"/>
                </a:cxn>
                <a:cxn ang="0">
                  <a:pos x="196" y="14"/>
                </a:cxn>
                <a:cxn ang="0">
                  <a:pos x="196" y="0"/>
                </a:cxn>
                <a:cxn ang="0">
                  <a:pos x="214" y="2"/>
                </a:cxn>
                <a:cxn ang="0">
                  <a:pos x="230" y="48"/>
                </a:cxn>
                <a:cxn ang="0">
                  <a:pos x="228" y="86"/>
                </a:cxn>
                <a:cxn ang="0">
                  <a:pos x="246" y="118"/>
                </a:cxn>
                <a:cxn ang="0">
                  <a:pos x="220" y="124"/>
                </a:cxn>
                <a:cxn ang="0">
                  <a:pos x="206" y="122"/>
                </a:cxn>
                <a:cxn ang="0">
                  <a:pos x="196" y="134"/>
                </a:cxn>
                <a:cxn ang="0">
                  <a:pos x="226" y="171"/>
                </a:cxn>
                <a:cxn ang="0">
                  <a:pos x="244" y="173"/>
                </a:cxn>
                <a:cxn ang="0">
                  <a:pos x="250" y="213"/>
                </a:cxn>
                <a:cxn ang="0">
                  <a:pos x="202" y="255"/>
                </a:cxn>
                <a:cxn ang="0">
                  <a:pos x="202" y="315"/>
                </a:cxn>
                <a:cxn ang="0">
                  <a:pos x="226" y="335"/>
                </a:cxn>
                <a:cxn ang="0">
                  <a:pos x="236" y="365"/>
                </a:cxn>
                <a:cxn ang="0">
                  <a:pos x="260" y="381"/>
                </a:cxn>
                <a:cxn ang="0">
                  <a:pos x="264" y="409"/>
                </a:cxn>
                <a:cxn ang="0">
                  <a:pos x="262" y="443"/>
                </a:cxn>
                <a:cxn ang="0">
                  <a:pos x="244" y="437"/>
                </a:cxn>
                <a:cxn ang="0">
                  <a:pos x="162" y="433"/>
                </a:cxn>
                <a:cxn ang="0">
                  <a:pos x="162" y="423"/>
                </a:cxn>
                <a:cxn ang="0">
                  <a:pos x="94" y="427"/>
                </a:cxn>
                <a:cxn ang="0">
                  <a:pos x="22" y="427"/>
                </a:cxn>
                <a:cxn ang="0">
                  <a:pos x="28" y="355"/>
                </a:cxn>
                <a:cxn ang="0">
                  <a:pos x="22" y="343"/>
                </a:cxn>
                <a:cxn ang="0">
                  <a:pos x="2" y="333"/>
                </a:cxn>
                <a:cxn ang="0">
                  <a:pos x="0" y="307"/>
                </a:cxn>
              </a:cxnLst>
              <a:rect l="0" t="0" r="r" b="b"/>
              <a:pathLst>
                <a:path w="264" h="443">
                  <a:moveTo>
                    <a:pt x="0" y="307"/>
                  </a:moveTo>
                  <a:lnTo>
                    <a:pt x="8" y="297"/>
                  </a:lnTo>
                  <a:lnTo>
                    <a:pt x="8" y="277"/>
                  </a:lnTo>
                  <a:lnTo>
                    <a:pt x="46" y="241"/>
                  </a:lnTo>
                  <a:lnTo>
                    <a:pt x="62" y="239"/>
                  </a:lnTo>
                  <a:lnTo>
                    <a:pt x="96" y="249"/>
                  </a:lnTo>
                  <a:lnTo>
                    <a:pt x="128" y="205"/>
                  </a:lnTo>
                  <a:lnTo>
                    <a:pt x="128" y="189"/>
                  </a:lnTo>
                  <a:lnTo>
                    <a:pt x="148" y="169"/>
                  </a:lnTo>
                  <a:lnTo>
                    <a:pt x="152" y="136"/>
                  </a:lnTo>
                  <a:lnTo>
                    <a:pt x="178" y="110"/>
                  </a:lnTo>
                  <a:lnTo>
                    <a:pt x="180" y="90"/>
                  </a:lnTo>
                  <a:lnTo>
                    <a:pt x="196" y="62"/>
                  </a:lnTo>
                  <a:lnTo>
                    <a:pt x="210" y="56"/>
                  </a:lnTo>
                  <a:lnTo>
                    <a:pt x="210" y="38"/>
                  </a:lnTo>
                  <a:lnTo>
                    <a:pt x="196" y="14"/>
                  </a:lnTo>
                  <a:lnTo>
                    <a:pt x="196" y="0"/>
                  </a:lnTo>
                  <a:lnTo>
                    <a:pt x="214" y="2"/>
                  </a:lnTo>
                  <a:lnTo>
                    <a:pt x="230" y="48"/>
                  </a:lnTo>
                  <a:lnTo>
                    <a:pt x="228" y="86"/>
                  </a:lnTo>
                  <a:lnTo>
                    <a:pt x="246" y="118"/>
                  </a:lnTo>
                  <a:lnTo>
                    <a:pt x="220" y="124"/>
                  </a:lnTo>
                  <a:lnTo>
                    <a:pt x="206" y="122"/>
                  </a:lnTo>
                  <a:lnTo>
                    <a:pt x="196" y="134"/>
                  </a:lnTo>
                  <a:lnTo>
                    <a:pt x="226" y="171"/>
                  </a:lnTo>
                  <a:lnTo>
                    <a:pt x="244" y="173"/>
                  </a:lnTo>
                  <a:lnTo>
                    <a:pt x="250" y="213"/>
                  </a:lnTo>
                  <a:lnTo>
                    <a:pt x="202" y="255"/>
                  </a:lnTo>
                  <a:lnTo>
                    <a:pt x="202" y="315"/>
                  </a:lnTo>
                  <a:lnTo>
                    <a:pt x="226" y="335"/>
                  </a:lnTo>
                  <a:lnTo>
                    <a:pt x="236" y="365"/>
                  </a:lnTo>
                  <a:lnTo>
                    <a:pt x="260" y="381"/>
                  </a:lnTo>
                  <a:lnTo>
                    <a:pt x="264" y="409"/>
                  </a:lnTo>
                  <a:lnTo>
                    <a:pt x="262" y="443"/>
                  </a:lnTo>
                  <a:lnTo>
                    <a:pt x="244" y="437"/>
                  </a:lnTo>
                  <a:lnTo>
                    <a:pt x="162" y="433"/>
                  </a:lnTo>
                  <a:lnTo>
                    <a:pt x="162" y="423"/>
                  </a:lnTo>
                  <a:lnTo>
                    <a:pt x="94" y="427"/>
                  </a:lnTo>
                  <a:lnTo>
                    <a:pt x="22" y="427"/>
                  </a:lnTo>
                  <a:lnTo>
                    <a:pt x="28" y="355"/>
                  </a:lnTo>
                  <a:lnTo>
                    <a:pt x="22" y="343"/>
                  </a:lnTo>
                  <a:lnTo>
                    <a:pt x="2" y="333"/>
                  </a:lnTo>
                  <a:lnTo>
                    <a:pt x="0" y="307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68" name="Canada">
              <a:extLst>
                <a:ext uri="{FF2B5EF4-FFF2-40B4-BE49-F238E27FC236}">
                  <a16:creationId xmlns="" xmlns:a16="http://schemas.microsoft.com/office/drawing/2014/main" id="{52FFA4AE-E929-40C0-BA29-256B665642B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00484" y="967814"/>
              <a:ext cx="2746892" cy="2153382"/>
            </a:xfrm>
            <a:custGeom>
              <a:avLst/>
              <a:gdLst/>
              <a:ahLst/>
              <a:cxnLst>
                <a:cxn ang="0">
                  <a:pos x="310" y="1083"/>
                </a:cxn>
                <a:cxn ang="0">
                  <a:pos x="376" y="195"/>
                </a:cxn>
                <a:cxn ang="0">
                  <a:pos x="461" y="213"/>
                </a:cxn>
                <a:cxn ang="0">
                  <a:pos x="539" y="298"/>
                </a:cxn>
                <a:cxn ang="0">
                  <a:pos x="552" y="406"/>
                </a:cxn>
                <a:cxn ang="0">
                  <a:pos x="757" y="378"/>
                </a:cxn>
                <a:cxn ang="0">
                  <a:pos x="637" y="253"/>
                </a:cxn>
                <a:cxn ang="0">
                  <a:pos x="712" y="133"/>
                </a:cxn>
                <a:cxn ang="0">
                  <a:pos x="752" y="251"/>
                </a:cxn>
                <a:cxn ang="0">
                  <a:pos x="760" y="160"/>
                </a:cxn>
                <a:cxn ang="0">
                  <a:pos x="795" y="361"/>
                </a:cxn>
                <a:cxn ang="0">
                  <a:pos x="1023" y="213"/>
                </a:cxn>
                <a:cxn ang="0">
                  <a:pos x="1101" y="351"/>
                </a:cxn>
                <a:cxn ang="0">
                  <a:pos x="1294" y="436"/>
                </a:cxn>
                <a:cxn ang="0">
                  <a:pos x="1279" y="541"/>
                </a:cxn>
                <a:cxn ang="0">
                  <a:pos x="1369" y="597"/>
                </a:cxn>
                <a:cxn ang="0">
                  <a:pos x="1487" y="544"/>
                </a:cxn>
                <a:cxn ang="0">
                  <a:pos x="1362" y="316"/>
                </a:cxn>
                <a:cxn ang="0">
                  <a:pos x="1254" y="220"/>
                </a:cxn>
                <a:cxn ang="0">
                  <a:pos x="1098" y="281"/>
                </a:cxn>
                <a:cxn ang="0">
                  <a:pos x="1201" y="439"/>
                </a:cxn>
                <a:cxn ang="0">
                  <a:pos x="1035" y="636"/>
                </a:cxn>
                <a:cxn ang="0">
                  <a:pos x="1077" y="568"/>
                </a:cxn>
                <a:cxn ang="0">
                  <a:pos x="955" y="243"/>
                </a:cxn>
                <a:cxn ang="0">
                  <a:pos x="1241" y="150"/>
                </a:cxn>
                <a:cxn ang="0">
                  <a:pos x="1331" y="12"/>
                </a:cxn>
                <a:cxn ang="0">
                  <a:pos x="1006" y="98"/>
                </a:cxn>
                <a:cxn ang="0">
                  <a:pos x="1606" y="1017"/>
                </a:cxn>
                <a:cxn ang="0">
                  <a:pos x="1638" y="1070"/>
                </a:cxn>
                <a:cxn ang="0">
                  <a:pos x="1668" y="1109"/>
                </a:cxn>
                <a:cxn ang="0">
                  <a:pos x="1516" y="1048"/>
                </a:cxn>
                <a:cxn ang="0">
                  <a:pos x="1434" y="1152"/>
                </a:cxn>
                <a:cxn ang="0">
                  <a:pos x="1357" y="1177"/>
                </a:cxn>
                <a:cxn ang="0">
                  <a:pos x="1214" y="1259"/>
                </a:cxn>
                <a:cxn ang="0">
                  <a:pos x="1145" y="1280"/>
                </a:cxn>
                <a:cxn ang="0">
                  <a:pos x="1116" y="1219"/>
                </a:cxn>
                <a:cxn ang="0">
                  <a:pos x="1062" y="1231"/>
                </a:cxn>
                <a:cxn ang="0">
                  <a:pos x="1031" y="1278"/>
                </a:cxn>
                <a:cxn ang="0">
                  <a:pos x="1034" y="1221"/>
                </a:cxn>
                <a:cxn ang="0">
                  <a:pos x="1101" y="1187"/>
                </a:cxn>
                <a:cxn ang="0">
                  <a:pos x="1017" y="1166"/>
                </a:cxn>
                <a:cxn ang="0">
                  <a:pos x="951" y="1171"/>
                </a:cxn>
                <a:cxn ang="0">
                  <a:pos x="914" y="1130"/>
                </a:cxn>
                <a:cxn ang="0">
                  <a:pos x="363" y="1113"/>
                </a:cxn>
                <a:cxn ang="0">
                  <a:pos x="208" y="890"/>
                </a:cxn>
                <a:cxn ang="0">
                  <a:pos x="181" y="346"/>
                </a:cxn>
                <a:cxn ang="0">
                  <a:pos x="411" y="371"/>
                </a:cxn>
                <a:cxn ang="0">
                  <a:pos x="632" y="511"/>
                </a:cxn>
                <a:cxn ang="0">
                  <a:pos x="720" y="444"/>
                </a:cxn>
                <a:cxn ang="0">
                  <a:pos x="889" y="459"/>
                </a:cxn>
                <a:cxn ang="0">
                  <a:pos x="883" y="225"/>
                </a:cxn>
                <a:cxn ang="0">
                  <a:pos x="1036" y="476"/>
                </a:cxn>
                <a:cxn ang="0">
                  <a:pos x="1048" y="526"/>
                </a:cxn>
                <a:cxn ang="0">
                  <a:pos x="976" y="854"/>
                </a:cxn>
                <a:cxn ang="0">
                  <a:pos x="1221" y="946"/>
                </a:cxn>
                <a:cxn ang="0">
                  <a:pos x="1314" y="659"/>
                </a:cxn>
                <a:cxn ang="0">
                  <a:pos x="1492" y="782"/>
                </a:cxn>
                <a:cxn ang="0">
                  <a:pos x="1616" y="923"/>
                </a:cxn>
                <a:cxn ang="0">
                  <a:pos x="1364" y="1119"/>
                </a:cxn>
                <a:cxn ang="0">
                  <a:pos x="1475" y="1102"/>
                </a:cxn>
                <a:cxn ang="0">
                  <a:pos x="1484" y="1183"/>
                </a:cxn>
              </a:cxnLst>
              <a:rect l="0" t="0" r="r" b="b"/>
              <a:pathLst>
                <a:path w="1692" h="1317">
                  <a:moveTo>
                    <a:pt x="168" y="968"/>
                  </a:moveTo>
                  <a:cubicBezTo>
                    <a:pt x="171" y="978"/>
                    <a:pt x="171" y="978"/>
                    <a:pt x="171" y="978"/>
                  </a:cubicBezTo>
                  <a:cubicBezTo>
                    <a:pt x="176" y="988"/>
                    <a:pt x="176" y="988"/>
                    <a:pt x="176" y="988"/>
                  </a:cubicBezTo>
                  <a:cubicBezTo>
                    <a:pt x="193" y="1008"/>
                    <a:pt x="193" y="1008"/>
                    <a:pt x="193" y="1008"/>
                  </a:cubicBezTo>
                  <a:cubicBezTo>
                    <a:pt x="198" y="1008"/>
                    <a:pt x="198" y="1008"/>
                    <a:pt x="198" y="1008"/>
                  </a:cubicBezTo>
                  <a:cubicBezTo>
                    <a:pt x="198" y="1003"/>
                    <a:pt x="198" y="1003"/>
                    <a:pt x="198" y="1003"/>
                  </a:cubicBezTo>
                  <a:cubicBezTo>
                    <a:pt x="192" y="999"/>
                    <a:pt x="192" y="999"/>
                    <a:pt x="192" y="999"/>
                  </a:cubicBezTo>
                  <a:cubicBezTo>
                    <a:pt x="183" y="983"/>
                    <a:pt x="183" y="983"/>
                    <a:pt x="183" y="983"/>
                  </a:cubicBezTo>
                  <a:cubicBezTo>
                    <a:pt x="186" y="980"/>
                    <a:pt x="186" y="980"/>
                    <a:pt x="186" y="980"/>
                  </a:cubicBezTo>
                  <a:cubicBezTo>
                    <a:pt x="186" y="973"/>
                    <a:pt x="186" y="973"/>
                    <a:pt x="186" y="973"/>
                  </a:cubicBezTo>
                  <a:cubicBezTo>
                    <a:pt x="183" y="973"/>
                    <a:pt x="183" y="973"/>
                    <a:pt x="183" y="973"/>
                  </a:cubicBezTo>
                  <a:cubicBezTo>
                    <a:pt x="181" y="968"/>
                    <a:pt x="181" y="968"/>
                    <a:pt x="181" y="968"/>
                  </a:cubicBezTo>
                  <a:cubicBezTo>
                    <a:pt x="183" y="963"/>
                    <a:pt x="183" y="963"/>
                    <a:pt x="183" y="963"/>
                  </a:cubicBezTo>
                  <a:cubicBezTo>
                    <a:pt x="188" y="945"/>
                    <a:pt x="188" y="945"/>
                    <a:pt x="188" y="945"/>
                  </a:cubicBezTo>
                  <a:cubicBezTo>
                    <a:pt x="181" y="950"/>
                    <a:pt x="181" y="950"/>
                    <a:pt x="181" y="950"/>
                  </a:cubicBezTo>
                  <a:cubicBezTo>
                    <a:pt x="163" y="945"/>
                    <a:pt x="163" y="945"/>
                    <a:pt x="163" y="945"/>
                  </a:cubicBezTo>
                  <a:cubicBezTo>
                    <a:pt x="168" y="968"/>
                    <a:pt x="168" y="968"/>
                    <a:pt x="168" y="968"/>
                  </a:cubicBezTo>
                  <a:moveTo>
                    <a:pt x="325" y="1095"/>
                  </a:moveTo>
                  <a:cubicBezTo>
                    <a:pt x="318" y="1088"/>
                    <a:pt x="318" y="1088"/>
                    <a:pt x="318" y="1088"/>
                  </a:cubicBezTo>
                  <a:cubicBezTo>
                    <a:pt x="310" y="1083"/>
                    <a:pt x="310" y="1083"/>
                    <a:pt x="310" y="1083"/>
                  </a:cubicBezTo>
                  <a:cubicBezTo>
                    <a:pt x="307" y="1074"/>
                    <a:pt x="307" y="1074"/>
                    <a:pt x="307" y="1074"/>
                  </a:cubicBezTo>
                  <a:cubicBezTo>
                    <a:pt x="263" y="1055"/>
                    <a:pt x="263" y="1055"/>
                    <a:pt x="263" y="1055"/>
                  </a:cubicBezTo>
                  <a:cubicBezTo>
                    <a:pt x="251" y="1061"/>
                    <a:pt x="251" y="1061"/>
                    <a:pt x="251" y="1061"/>
                  </a:cubicBezTo>
                  <a:cubicBezTo>
                    <a:pt x="267" y="1068"/>
                    <a:pt x="267" y="1068"/>
                    <a:pt x="267" y="1068"/>
                  </a:cubicBezTo>
                  <a:cubicBezTo>
                    <a:pt x="264" y="1073"/>
                    <a:pt x="264" y="1073"/>
                    <a:pt x="264" y="1073"/>
                  </a:cubicBezTo>
                  <a:cubicBezTo>
                    <a:pt x="270" y="1080"/>
                    <a:pt x="270" y="1080"/>
                    <a:pt x="270" y="1080"/>
                  </a:cubicBezTo>
                  <a:cubicBezTo>
                    <a:pt x="281" y="1087"/>
                    <a:pt x="281" y="1087"/>
                    <a:pt x="281" y="1087"/>
                  </a:cubicBezTo>
                  <a:cubicBezTo>
                    <a:pt x="290" y="1088"/>
                    <a:pt x="290" y="1088"/>
                    <a:pt x="290" y="1088"/>
                  </a:cubicBezTo>
                  <a:cubicBezTo>
                    <a:pt x="295" y="1093"/>
                    <a:pt x="295" y="1093"/>
                    <a:pt x="295" y="1093"/>
                  </a:cubicBezTo>
                  <a:cubicBezTo>
                    <a:pt x="297" y="1101"/>
                    <a:pt x="297" y="1101"/>
                    <a:pt x="297" y="1101"/>
                  </a:cubicBezTo>
                  <a:cubicBezTo>
                    <a:pt x="307" y="1102"/>
                    <a:pt x="307" y="1102"/>
                    <a:pt x="307" y="1102"/>
                  </a:cubicBezTo>
                  <a:cubicBezTo>
                    <a:pt x="310" y="1108"/>
                    <a:pt x="310" y="1108"/>
                    <a:pt x="310" y="1108"/>
                  </a:cubicBezTo>
                  <a:cubicBezTo>
                    <a:pt x="317" y="1109"/>
                    <a:pt x="317" y="1109"/>
                    <a:pt x="317" y="1109"/>
                  </a:cubicBezTo>
                  <a:cubicBezTo>
                    <a:pt x="318" y="1116"/>
                    <a:pt x="318" y="1116"/>
                    <a:pt x="318" y="1116"/>
                  </a:cubicBezTo>
                  <a:cubicBezTo>
                    <a:pt x="345" y="1125"/>
                    <a:pt x="345" y="1125"/>
                    <a:pt x="345" y="1125"/>
                  </a:cubicBezTo>
                  <a:cubicBezTo>
                    <a:pt x="350" y="1123"/>
                    <a:pt x="350" y="1123"/>
                    <a:pt x="350" y="1123"/>
                  </a:cubicBezTo>
                  <a:cubicBezTo>
                    <a:pt x="335" y="1100"/>
                    <a:pt x="335" y="1100"/>
                    <a:pt x="335" y="1100"/>
                  </a:cubicBezTo>
                  <a:lnTo>
                    <a:pt x="325" y="1095"/>
                  </a:lnTo>
                  <a:close/>
                  <a:moveTo>
                    <a:pt x="386" y="163"/>
                  </a:moveTo>
                  <a:cubicBezTo>
                    <a:pt x="376" y="195"/>
                    <a:pt x="376" y="195"/>
                    <a:pt x="376" y="195"/>
                  </a:cubicBezTo>
                  <a:cubicBezTo>
                    <a:pt x="371" y="235"/>
                    <a:pt x="371" y="235"/>
                    <a:pt x="371" y="235"/>
                  </a:cubicBezTo>
                  <a:cubicBezTo>
                    <a:pt x="384" y="251"/>
                    <a:pt x="384" y="251"/>
                    <a:pt x="384" y="251"/>
                  </a:cubicBezTo>
                  <a:cubicBezTo>
                    <a:pt x="389" y="281"/>
                    <a:pt x="389" y="281"/>
                    <a:pt x="389" y="281"/>
                  </a:cubicBezTo>
                  <a:cubicBezTo>
                    <a:pt x="396" y="276"/>
                    <a:pt x="396" y="276"/>
                    <a:pt x="396" y="276"/>
                  </a:cubicBezTo>
                  <a:cubicBezTo>
                    <a:pt x="404" y="261"/>
                    <a:pt x="404" y="261"/>
                    <a:pt x="404" y="261"/>
                  </a:cubicBezTo>
                  <a:cubicBezTo>
                    <a:pt x="409" y="266"/>
                    <a:pt x="409" y="266"/>
                    <a:pt x="409" y="266"/>
                  </a:cubicBezTo>
                  <a:cubicBezTo>
                    <a:pt x="416" y="251"/>
                    <a:pt x="416" y="251"/>
                    <a:pt x="416" y="251"/>
                  </a:cubicBezTo>
                  <a:cubicBezTo>
                    <a:pt x="421" y="223"/>
                    <a:pt x="421" y="223"/>
                    <a:pt x="421" y="223"/>
                  </a:cubicBezTo>
                  <a:cubicBezTo>
                    <a:pt x="424" y="193"/>
                    <a:pt x="424" y="193"/>
                    <a:pt x="424" y="193"/>
                  </a:cubicBezTo>
                  <a:cubicBezTo>
                    <a:pt x="446" y="173"/>
                    <a:pt x="446" y="173"/>
                    <a:pt x="446" y="173"/>
                  </a:cubicBezTo>
                  <a:cubicBezTo>
                    <a:pt x="469" y="163"/>
                    <a:pt x="469" y="163"/>
                    <a:pt x="469" y="163"/>
                  </a:cubicBezTo>
                  <a:cubicBezTo>
                    <a:pt x="474" y="133"/>
                    <a:pt x="474" y="133"/>
                    <a:pt x="474" y="133"/>
                  </a:cubicBezTo>
                  <a:cubicBezTo>
                    <a:pt x="446" y="130"/>
                    <a:pt x="446" y="130"/>
                    <a:pt x="446" y="130"/>
                  </a:cubicBezTo>
                  <a:cubicBezTo>
                    <a:pt x="426" y="138"/>
                    <a:pt x="426" y="138"/>
                    <a:pt x="426" y="138"/>
                  </a:cubicBezTo>
                  <a:cubicBezTo>
                    <a:pt x="404" y="145"/>
                    <a:pt x="404" y="145"/>
                    <a:pt x="404" y="145"/>
                  </a:cubicBezTo>
                  <a:cubicBezTo>
                    <a:pt x="403" y="165"/>
                    <a:pt x="403" y="165"/>
                    <a:pt x="403" y="165"/>
                  </a:cubicBezTo>
                  <a:lnTo>
                    <a:pt x="386" y="163"/>
                  </a:lnTo>
                  <a:close/>
                  <a:moveTo>
                    <a:pt x="444" y="205"/>
                  </a:moveTo>
                  <a:cubicBezTo>
                    <a:pt x="446" y="213"/>
                    <a:pt x="446" y="213"/>
                    <a:pt x="446" y="213"/>
                  </a:cubicBezTo>
                  <a:cubicBezTo>
                    <a:pt x="461" y="213"/>
                    <a:pt x="461" y="213"/>
                    <a:pt x="461" y="213"/>
                  </a:cubicBezTo>
                  <a:cubicBezTo>
                    <a:pt x="454" y="223"/>
                    <a:pt x="454" y="223"/>
                    <a:pt x="454" y="223"/>
                  </a:cubicBezTo>
                  <a:cubicBezTo>
                    <a:pt x="444" y="223"/>
                    <a:pt x="444" y="223"/>
                    <a:pt x="444" y="223"/>
                  </a:cubicBezTo>
                  <a:cubicBezTo>
                    <a:pt x="434" y="248"/>
                    <a:pt x="434" y="248"/>
                    <a:pt x="434" y="248"/>
                  </a:cubicBezTo>
                  <a:cubicBezTo>
                    <a:pt x="449" y="248"/>
                    <a:pt x="449" y="248"/>
                    <a:pt x="449" y="248"/>
                  </a:cubicBezTo>
                  <a:cubicBezTo>
                    <a:pt x="451" y="253"/>
                    <a:pt x="451" y="253"/>
                    <a:pt x="451" y="253"/>
                  </a:cubicBezTo>
                  <a:cubicBezTo>
                    <a:pt x="444" y="261"/>
                    <a:pt x="444" y="261"/>
                    <a:pt x="444" y="261"/>
                  </a:cubicBezTo>
                  <a:cubicBezTo>
                    <a:pt x="454" y="266"/>
                    <a:pt x="454" y="266"/>
                    <a:pt x="454" y="266"/>
                  </a:cubicBezTo>
                  <a:cubicBezTo>
                    <a:pt x="461" y="258"/>
                    <a:pt x="461" y="258"/>
                    <a:pt x="461" y="258"/>
                  </a:cubicBezTo>
                  <a:cubicBezTo>
                    <a:pt x="474" y="258"/>
                    <a:pt x="474" y="258"/>
                    <a:pt x="474" y="258"/>
                  </a:cubicBezTo>
                  <a:cubicBezTo>
                    <a:pt x="499" y="253"/>
                    <a:pt x="499" y="253"/>
                    <a:pt x="499" y="253"/>
                  </a:cubicBezTo>
                  <a:cubicBezTo>
                    <a:pt x="507" y="256"/>
                    <a:pt x="507" y="256"/>
                    <a:pt x="507" y="256"/>
                  </a:cubicBezTo>
                  <a:cubicBezTo>
                    <a:pt x="504" y="261"/>
                    <a:pt x="504" y="261"/>
                    <a:pt x="504" y="261"/>
                  </a:cubicBezTo>
                  <a:cubicBezTo>
                    <a:pt x="484" y="266"/>
                    <a:pt x="484" y="266"/>
                    <a:pt x="484" y="266"/>
                  </a:cubicBezTo>
                  <a:cubicBezTo>
                    <a:pt x="459" y="278"/>
                    <a:pt x="459" y="278"/>
                    <a:pt x="459" y="278"/>
                  </a:cubicBezTo>
                  <a:cubicBezTo>
                    <a:pt x="454" y="288"/>
                    <a:pt x="454" y="288"/>
                    <a:pt x="454" y="288"/>
                  </a:cubicBezTo>
                  <a:cubicBezTo>
                    <a:pt x="466" y="298"/>
                    <a:pt x="466" y="298"/>
                    <a:pt x="466" y="298"/>
                  </a:cubicBezTo>
                  <a:cubicBezTo>
                    <a:pt x="484" y="301"/>
                    <a:pt x="484" y="301"/>
                    <a:pt x="484" y="301"/>
                  </a:cubicBezTo>
                  <a:cubicBezTo>
                    <a:pt x="509" y="303"/>
                    <a:pt x="509" y="303"/>
                    <a:pt x="509" y="303"/>
                  </a:cubicBezTo>
                  <a:cubicBezTo>
                    <a:pt x="524" y="301"/>
                    <a:pt x="524" y="301"/>
                    <a:pt x="524" y="301"/>
                  </a:cubicBezTo>
                  <a:cubicBezTo>
                    <a:pt x="539" y="298"/>
                    <a:pt x="539" y="298"/>
                    <a:pt x="539" y="298"/>
                  </a:cubicBezTo>
                  <a:cubicBezTo>
                    <a:pt x="567" y="303"/>
                    <a:pt x="567" y="303"/>
                    <a:pt x="567" y="303"/>
                  </a:cubicBezTo>
                  <a:cubicBezTo>
                    <a:pt x="584" y="306"/>
                    <a:pt x="584" y="306"/>
                    <a:pt x="584" y="306"/>
                  </a:cubicBezTo>
                  <a:cubicBezTo>
                    <a:pt x="594" y="313"/>
                    <a:pt x="594" y="313"/>
                    <a:pt x="594" y="313"/>
                  </a:cubicBezTo>
                  <a:cubicBezTo>
                    <a:pt x="574" y="316"/>
                    <a:pt x="574" y="316"/>
                    <a:pt x="574" y="316"/>
                  </a:cubicBezTo>
                  <a:cubicBezTo>
                    <a:pt x="567" y="323"/>
                    <a:pt x="567" y="323"/>
                    <a:pt x="567" y="323"/>
                  </a:cubicBezTo>
                  <a:cubicBezTo>
                    <a:pt x="532" y="321"/>
                    <a:pt x="532" y="321"/>
                    <a:pt x="532" y="321"/>
                  </a:cubicBezTo>
                  <a:cubicBezTo>
                    <a:pt x="517" y="323"/>
                    <a:pt x="517" y="323"/>
                    <a:pt x="517" y="323"/>
                  </a:cubicBezTo>
                  <a:cubicBezTo>
                    <a:pt x="517" y="326"/>
                    <a:pt x="517" y="326"/>
                    <a:pt x="517" y="326"/>
                  </a:cubicBezTo>
                  <a:cubicBezTo>
                    <a:pt x="499" y="328"/>
                    <a:pt x="499" y="328"/>
                    <a:pt x="499" y="328"/>
                  </a:cubicBezTo>
                  <a:cubicBezTo>
                    <a:pt x="494" y="326"/>
                    <a:pt x="494" y="326"/>
                    <a:pt x="494" y="326"/>
                  </a:cubicBezTo>
                  <a:cubicBezTo>
                    <a:pt x="484" y="333"/>
                    <a:pt x="484" y="333"/>
                    <a:pt x="484" y="333"/>
                  </a:cubicBezTo>
                  <a:cubicBezTo>
                    <a:pt x="469" y="336"/>
                    <a:pt x="469" y="336"/>
                    <a:pt x="469" y="336"/>
                  </a:cubicBezTo>
                  <a:cubicBezTo>
                    <a:pt x="474" y="341"/>
                    <a:pt x="474" y="341"/>
                    <a:pt x="474" y="341"/>
                  </a:cubicBezTo>
                  <a:cubicBezTo>
                    <a:pt x="482" y="358"/>
                    <a:pt x="482" y="358"/>
                    <a:pt x="482" y="358"/>
                  </a:cubicBezTo>
                  <a:cubicBezTo>
                    <a:pt x="499" y="363"/>
                    <a:pt x="499" y="363"/>
                    <a:pt x="499" y="363"/>
                  </a:cubicBezTo>
                  <a:cubicBezTo>
                    <a:pt x="544" y="363"/>
                    <a:pt x="544" y="363"/>
                    <a:pt x="544" y="363"/>
                  </a:cubicBezTo>
                  <a:cubicBezTo>
                    <a:pt x="547" y="381"/>
                    <a:pt x="547" y="381"/>
                    <a:pt x="547" y="381"/>
                  </a:cubicBezTo>
                  <a:cubicBezTo>
                    <a:pt x="539" y="383"/>
                    <a:pt x="539" y="383"/>
                    <a:pt x="539" y="383"/>
                  </a:cubicBezTo>
                  <a:cubicBezTo>
                    <a:pt x="542" y="396"/>
                    <a:pt x="542" y="396"/>
                    <a:pt x="542" y="396"/>
                  </a:cubicBezTo>
                  <a:cubicBezTo>
                    <a:pt x="552" y="406"/>
                    <a:pt x="552" y="406"/>
                    <a:pt x="552" y="406"/>
                  </a:cubicBezTo>
                  <a:cubicBezTo>
                    <a:pt x="552" y="413"/>
                    <a:pt x="552" y="413"/>
                    <a:pt x="552" y="413"/>
                  </a:cubicBezTo>
                  <a:cubicBezTo>
                    <a:pt x="557" y="408"/>
                    <a:pt x="557" y="408"/>
                    <a:pt x="557" y="408"/>
                  </a:cubicBezTo>
                  <a:cubicBezTo>
                    <a:pt x="582" y="411"/>
                    <a:pt x="582" y="411"/>
                    <a:pt x="582" y="411"/>
                  </a:cubicBezTo>
                  <a:cubicBezTo>
                    <a:pt x="604" y="406"/>
                    <a:pt x="604" y="406"/>
                    <a:pt x="604" y="406"/>
                  </a:cubicBezTo>
                  <a:cubicBezTo>
                    <a:pt x="629" y="391"/>
                    <a:pt x="629" y="391"/>
                    <a:pt x="629" y="391"/>
                  </a:cubicBezTo>
                  <a:cubicBezTo>
                    <a:pt x="632" y="388"/>
                    <a:pt x="632" y="388"/>
                    <a:pt x="632" y="388"/>
                  </a:cubicBezTo>
                  <a:cubicBezTo>
                    <a:pt x="639" y="386"/>
                    <a:pt x="639" y="386"/>
                    <a:pt x="639" y="386"/>
                  </a:cubicBezTo>
                  <a:cubicBezTo>
                    <a:pt x="657" y="376"/>
                    <a:pt x="657" y="376"/>
                    <a:pt x="657" y="376"/>
                  </a:cubicBezTo>
                  <a:cubicBezTo>
                    <a:pt x="660" y="366"/>
                    <a:pt x="660" y="366"/>
                    <a:pt x="660" y="366"/>
                  </a:cubicBezTo>
                  <a:cubicBezTo>
                    <a:pt x="670" y="363"/>
                    <a:pt x="670" y="363"/>
                    <a:pt x="670" y="363"/>
                  </a:cubicBezTo>
                  <a:cubicBezTo>
                    <a:pt x="672" y="363"/>
                    <a:pt x="672" y="363"/>
                    <a:pt x="672" y="363"/>
                  </a:cubicBezTo>
                  <a:cubicBezTo>
                    <a:pt x="670" y="376"/>
                    <a:pt x="670" y="376"/>
                    <a:pt x="670" y="376"/>
                  </a:cubicBezTo>
                  <a:cubicBezTo>
                    <a:pt x="682" y="376"/>
                    <a:pt x="682" y="376"/>
                    <a:pt x="682" y="376"/>
                  </a:cubicBezTo>
                  <a:cubicBezTo>
                    <a:pt x="702" y="376"/>
                    <a:pt x="702" y="376"/>
                    <a:pt x="702" y="376"/>
                  </a:cubicBezTo>
                  <a:cubicBezTo>
                    <a:pt x="697" y="383"/>
                    <a:pt x="697" y="383"/>
                    <a:pt x="697" y="383"/>
                  </a:cubicBezTo>
                  <a:cubicBezTo>
                    <a:pt x="697" y="388"/>
                    <a:pt x="697" y="388"/>
                    <a:pt x="697" y="388"/>
                  </a:cubicBezTo>
                  <a:cubicBezTo>
                    <a:pt x="715" y="388"/>
                    <a:pt x="715" y="388"/>
                    <a:pt x="715" y="388"/>
                  </a:cubicBezTo>
                  <a:cubicBezTo>
                    <a:pt x="737" y="388"/>
                    <a:pt x="737" y="388"/>
                    <a:pt x="737" y="388"/>
                  </a:cubicBezTo>
                  <a:cubicBezTo>
                    <a:pt x="747" y="383"/>
                    <a:pt x="747" y="383"/>
                    <a:pt x="747" y="383"/>
                  </a:cubicBezTo>
                  <a:cubicBezTo>
                    <a:pt x="757" y="378"/>
                    <a:pt x="757" y="378"/>
                    <a:pt x="757" y="378"/>
                  </a:cubicBezTo>
                  <a:cubicBezTo>
                    <a:pt x="750" y="366"/>
                    <a:pt x="750" y="366"/>
                    <a:pt x="750" y="366"/>
                  </a:cubicBezTo>
                  <a:cubicBezTo>
                    <a:pt x="747" y="361"/>
                    <a:pt x="747" y="361"/>
                    <a:pt x="747" y="361"/>
                  </a:cubicBezTo>
                  <a:cubicBezTo>
                    <a:pt x="732" y="363"/>
                    <a:pt x="732" y="363"/>
                    <a:pt x="732" y="363"/>
                  </a:cubicBezTo>
                  <a:cubicBezTo>
                    <a:pt x="732" y="356"/>
                    <a:pt x="732" y="356"/>
                    <a:pt x="732" y="356"/>
                  </a:cubicBezTo>
                  <a:cubicBezTo>
                    <a:pt x="745" y="348"/>
                    <a:pt x="745" y="348"/>
                    <a:pt x="745" y="348"/>
                  </a:cubicBezTo>
                  <a:cubicBezTo>
                    <a:pt x="760" y="348"/>
                    <a:pt x="760" y="348"/>
                    <a:pt x="760" y="348"/>
                  </a:cubicBezTo>
                  <a:cubicBezTo>
                    <a:pt x="767" y="351"/>
                    <a:pt x="767" y="351"/>
                    <a:pt x="767" y="351"/>
                  </a:cubicBezTo>
                  <a:cubicBezTo>
                    <a:pt x="770" y="331"/>
                    <a:pt x="770" y="331"/>
                    <a:pt x="770" y="331"/>
                  </a:cubicBezTo>
                  <a:cubicBezTo>
                    <a:pt x="745" y="318"/>
                    <a:pt x="745" y="318"/>
                    <a:pt x="745" y="318"/>
                  </a:cubicBezTo>
                  <a:cubicBezTo>
                    <a:pt x="740" y="311"/>
                    <a:pt x="740" y="311"/>
                    <a:pt x="740" y="311"/>
                  </a:cubicBezTo>
                  <a:cubicBezTo>
                    <a:pt x="732" y="318"/>
                    <a:pt x="732" y="318"/>
                    <a:pt x="732" y="318"/>
                  </a:cubicBezTo>
                  <a:cubicBezTo>
                    <a:pt x="707" y="298"/>
                    <a:pt x="707" y="298"/>
                    <a:pt x="707" y="298"/>
                  </a:cubicBezTo>
                  <a:cubicBezTo>
                    <a:pt x="707" y="276"/>
                    <a:pt x="707" y="276"/>
                    <a:pt x="707" y="276"/>
                  </a:cubicBezTo>
                  <a:cubicBezTo>
                    <a:pt x="697" y="243"/>
                    <a:pt x="697" y="243"/>
                    <a:pt x="697" y="243"/>
                  </a:cubicBezTo>
                  <a:cubicBezTo>
                    <a:pt x="682" y="180"/>
                    <a:pt x="682" y="180"/>
                    <a:pt x="682" y="180"/>
                  </a:cubicBezTo>
                  <a:cubicBezTo>
                    <a:pt x="667" y="170"/>
                    <a:pt x="667" y="170"/>
                    <a:pt x="667" y="170"/>
                  </a:cubicBezTo>
                  <a:cubicBezTo>
                    <a:pt x="639" y="165"/>
                    <a:pt x="639" y="165"/>
                    <a:pt x="639" y="165"/>
                  </a:cubicBezTo>
                  <a:cubicBezTo>
                    <a:pt x="652" y="248"/>
                    <a:pt x="652" y="248"/>
                    <a:pt x="652" y="248"/>
                  </a:cubicBezTo>
                  <a:cubicBezTo>
                    <a:pt x="650" y="258"/>
                    <a:pt x="650" y="258"/>
                    <a:pt x="650" y="258"/>
                  </a:cubicBezTo>
                  <a:cubicBezTo>
                    <a:pt x="637" y="253"/>
                    <a:pt x="637" y="253"/>
                    <a:pt x="637" y="253"/>
                  </a:cubicBezTo>
                  <a:cubicBezTo>
                    <a:pt x="637" y="230"/>
                    <a:pt x="637" y="230"/>
                    <a:pt x="637" y="230"/>
                  </a:cubicBezTo>
                  <a:cubicBezTo>
                    <a:pt x="629" y="205"/>
                    <a:pt x="629" y="205"/>
                    <a:pt x="629" y="205"/>
                  </a:cubicBezTo>
                  <a:cubicBezTo>
                    <a:pt x="614" y="188"/>
                    <a:pt x="614" y="188"/>
                    <a:pt x="614" y="188"/>
                  </a:cubicBezTo>
                  <a:cubicBezTo>
                    <a:pt x="594" y="183"/>
                    <a:pt x="594" y="183"/>
                    <a:pt x="594" y="183"/>
                  </a:cubicBezTo>
                  <a:cubicBezTo>
                    <a:pt x="609" y="223"/>
                    <a:pt x="609" y="223"/>
                    <a:pt x="609" y="223"/>
                  </a:cubicBezTo>
                  <a:cubicBezTo>
                    <a:pt x="572" y="228"/>
                    <a:pt x="572" y="228"/>
                    <a:pt x="572" y="228"/>
                  </a:cubicBezTo>
                  <a:cubicBezTo>
                    <a:pt x="589" y="200"/>
                    <a:pt x="589" y="200"/>
                    <a:pt x="589" y="200"/>
                  </a:cubicBezTo>
                  <a:cubicBezTo>
                    <a:pt x="552" y="183"/>
                    <a:pt x="552" y="183"/>
                    <a:pt x="552" y="183"/>
                  </a:cubicBezTo>
                  <a:cubicBezTo>
                    <a:pt x="539" y="193"/>
                    <a:pt x="539" y="193"/>
                    <a:pt x="539" y="193"/>
                  </a:cubicBezTo>
                  <a:cubicBezTo>
                    <a:pt x="539" y="208"/>
                    <a:pt x="539" y="208"/>
                    <a:pt x="539" y="208"/>
                  </a:cubicBezTo>
                  <a:cubicBezTo>
                    <a:pt x="522" y="210"/>
                    <a:pt x="522" y="210"/>
                    <a:pt x="522" y="210"/>
                  </a:cubicBezTo>
                  <a:cubicBezTo>
                    <a:pt x="527" y="158"/>
                    <a:pt x="527" y="158"/>
                    <a:pt x="527" y="158"/>
                  </a:cubicBezTo>
                  <a:cubicBezTo>
                    <a:pt x="517" y="158"/>
                    <a:pt x="517" y="158"/>
                    <a:pt x="517" y="158"/>
                  </a:cubicBezTo>
                  <a:cubicBezTo>
                    <a:pt x="444" y="198"/>
                    <a:pt x="444" y="198"/>
                    <a:pt x="444" y="198"/>
                  </a:cubicBezTo>
                  <a:cubicBezTo>
                    <a:pt x="444" y="205"/>
                    <a:pt x="444" y="205"/>
                    <a:pt x="444" y="205"/>
                  </a:cubicBezTo>
                  <a:close/>
                  <a:moveTo>
                    <a:pt x="680" y="145"/>
                  </a:moveTo>
                  <a:cubicBezTo>
                    <a:pt x="682" y="145"/>
                    <a:pt x="682" y="145"/>
                    <a:pt x="682" y="145"/>
                  </a:cubicBezTo>
                  <a:cubicBezTo>
                    <a:pt x="705" y="173"/>
                    <a:pt x="705" y="173"/>
                    <a:pt x="705" y="173"/>
                  </a:cubicBezTo>
                  <a:cubicBezTo>
                    <a:pt x="722" y="143"/>
                    <a:pt x="722" y="143"/>
                    <a:pt x="722" y="143"/>
                  </a:cubicBezTo>
                  <a:cubicBezTo>
                    <a:pt x="712" y="133"/>
                    <a:pt x="712" y="133"/>
                    <a:pt x="712" y="133"/>
                  </a:cubicBezTo>
                  <a:cubicBezTo>
                    <a:pt x="710" y="130"/>
                    <a:pt x="710" y="130"/>
                    <a:pt x="710" y="130"/>
                  </a:cubicBezTo>
                  <a:cubicBezTo>
                    <a:pt x="682" y="130"/>
                    <a:pt x="682" y="130"/>
                    <a:pt x="682" y="130"/>
                  </a:cubicBezTo>
                  <a:cubicBezTo>
                    <a:pt x="672" y="143"/>
                    <a:pt x="672" y="143"/>
                    <a:pt x="672" y="143"/>
                  </a:cubicBezTo>
                  <a:cubicBezTo>
                    <a:pt x="680" y="145"/>
                    <a:pt x="680" y="145"/>
                    <a:pt x="680" y="145"/>
                  </a:cubicBezTo>
                  <a:close/>
                  <a:moveTo>
                    <a:pt x="752" y="165"/>
                  </a:moveTo>
                  <a:cubicBezTo>
                    <a:pt x="745" y="165"/>
                    <a:pt x="745" y="165"/>
                    <a:pt x="745" y="165"/>
                  </a:cubicBezTo>
                  <a:cubicBezTo>
                    <a:pt x="740" y="178"/>
                    <a:pt x="740" y="178"/>
                    <a:pt x="740" y="178"/>
                  </a:cubicBezTo>
                  <a:cubicBezTo>
                    <a:pt x="745" y="188"/>
                    <a:pt x="745" y="188"/>
                    <a:pt x="745" y="188"/>
                  </a:cubicBezTo>
                  <a:cubicBezTo>
                    <a:pt x="737" y="193"/>
                    <a:pt x="737" y="193"/>
                    <a:pt x="737" y="193"/>
                  </a:cubicBezTo>
                  <a:cubicBezTo>
                    <a:pt x="760" y="200"/>
                    <a:pt x="760" y="200"/>
                    <a:pt x="760" y="200"/>
                  </a:cubicBezTo>
                  <a:cubicBezTo>
                    <a:pt x="757" y="208"/>
                    <a:pt x="757" y="208"/>
                    <a:pt x="757" y="208"/>
                  </a:cubicBezTo>
                  <a:cubicBezTo>
                    <a:pt x="760" y="228"/>
                    <a:pt x="760" y="228"/>
                    <a:pt x="760" y="228"/>
                  </a:cubicBezTo>
                  <a:cubicBezTo>
                    <a:pt x="752" y="223"/>
                    <a:pt x="752" y="223"/>
                    <a:pt x="752" y="223"/>
                  </a:cubicBezTo>
                  <a:cubicBezTo>
                    <a:pt x="745" y="220"/>
                    <a:pt x="745" y="220"/>
                    <a:pt x="745" y="220"/>
                  </a:cubicBezTo>
                  <a:cubicBezTo>
                    <a:pt x="740" y="208"/>
                    <a:pt x="740" y="208"/>
                    <a:pt x="740" y="208"/>
                  </a:cubicBezTo>
                  <a:cubicBezTo>
                    <a:pt x="727" y="203"/>
                    <a:pt x="727" y="203"/>
                    <a:pt x="727" y="203"/>
                  </a:cubicBezTo>
                  <a:cubicBezTo>
                    <a:pt x="717" y="215"/>
                    <a:pt x="717" y="215"/>
                    <a:pt x="717" y="215"/>
                  </a:cubicBezTo>
                  <a:cubicBezTo>
                    <a:pt x="720" y="228"/>
                    <a:pt x="720" y="228"/>
                    <a:pt x="720" y="228"/>
                  </a:cubicBezTo>
                  <a:cubicBezTo>
                    <a:pt x="732" y="253"/>
                    <a:pt x="732" y="253"/>
                    <a:pt x="732" y="253"/>
                  </a:cubicBezTo>
                  <a:cubicBezTo>
                    <a:pt x="752" y="251"/>
                    <a:pt x="752" y="251"/>
                    <a:pt x="752" y="251"/>
                  </a:cubicBezTo>
                  <a:cubicBezTo>
                    <a:pt x="772" y="271"/>
                    <a:pt x="772" y="271"/>
                    <a:pt x="772" y="271"/>
                  </a:cubicBezTo>
                  <a:cubicBezTo>
                    <a:pt x="790" y="313"/>
                    <a:pt x="790" y="313"/>
                    <a:pt x="790" y="313"/>
                  </a:cubicBezTo>
                  <a:cubicBezTo>
                    <a:pt x="795" y="313"/>
                    <a:pt x="795" y="313"/>
                    <a:pt x="795" y="313"/>
                  </a:cubicBezTo>
                  <a:cubicBezTo>
                    <a:pt x="812" y="296"/>
                    <a:pt x="812" y="296"/>
                    <a:pt x="812" y="296"/>
                  </a:cubicBezTo>
                  <a:cubicBezTo>
                    <a:pt x="802" y="283"/>
                    <a:pt x="802" y="283"/>
                    <a:pt x="802" y="283"/>
                  </a:cubicBezTo>
                  <a:cubicBezTo>
                    <a:pt x="815" y="283"/>
                    <a:pt x="815" y="283"/>
                    <a:pt x="815" y="283"/>
                  </a:cubicBezTo>
                  <a:cubicBezTo>
                    <a:pt x="835" y="271"/>
                    <a:pt x="835" y="271"/>
                    <a:pt x="835" y="271"/>
                  </a:cubicBezTo>
                  <a:cubicBezTo>
                    <a:pt x="830" y="261"/>
                    <a:pt x="830" y="261"/>
                    <a:pt x="830" y="261"/>
                  </a:cubicBezTo>
                  <a:cubicBezTo>
                    <a:pt x="830" y="248"/>
                    <a:pt x="830" y="248"/>
                    <a:pt x="830" y="248"/>
                  </a:cubicBezTo>
                  <a:cubicBezTo>
                    <a:pt x="823" y="248"/>
                    <a:pt x="823" y="248"/>
                    <a:pt x="823" y="248"/>
                  </a:cubicBezTo>
                  <a:cubicBezTo>
                    <a:pt x="830" y="218"/>
                    <a:pt x="830" y="218"/>
                    <a:pt x="830" y="218"/>
                  </a:cubicBezTo>
                  <a:cubicBezTo>
                    <a:pt x="800" y="215"/>
                    <a:pt x="800" y="215"/>
                    <a:pt x="800" y="215"/>
                  </a:cubicBezTo>
                  <a:cubicBezTo>
                    <a:pt x="797" y="200"/>
                    <a:pt x="797" y="200"/>
                    <a:pt x="797" y="200"/>
                  </a:cubicBezTo>
                  <a:cubicBezTo>
                    <a:pt x="820" y="190"/>
                    <a:pt x="820" y="190"/>
                    <a:pt x="820" y="190"/>
                  </a:cubicBezTo>
                  <a:cubicBezTo>
                    <a:pt x="812" y="180"/>
                    <a:pt x="812" y="180"/>
                    <a:pt x="812" y="180"/>
                  </a:cubicBezTo>
                  <a:cubicBezTo>
                    <a:pt x="823" y="175"/>
                    <a:pt x="823" y="175"/>
                    <a:pt x="823" y="175"/>
                  </a:cubicBezTo>
                  <a:cubicBezTo>
                    <a:pt x="820" y="163"/>
                    <a:pt x="820" y="163"/>
                    <a:pt x="820" y="163"/>
                  </a:cubicBezTo>
                  <a:cubicBezTo>
                    <a:pt x="795" y="173"/>
                    <a:pt x="795" y="173"/>
                    <a:pt x="795" y="173"/>
                  </a:cubicBezTo>
                  <a:cubicBezTo>
                    <a:pt x="775" y="175"/>
                    <a:pt x="775" y="175"/>
                    <a:pt x="775" y="175"/>
                  </a:cubicBezTo>
                  <a:cubicBezTo>
                    <a:pt x="760" y="160"/>
                    <a:pt x="760" y="160"/>
                    <a:pt x="760" y="160"/>
                  </a:cubicBezTo>
                  <a:cubicBezTo>
                    <a:pt x="752" y="165"/>
                    <a:pt x="752" y="165"/>
                    <a:pt x="752" y="165"/>
                  </a:cubicBezTo>
                  <a:close/>
                  <a:moveTo>
                    <a:pt x="865" y="158"/>
                  </a:moveTo>
                  <a:cubicBezTo>
                    <a:pt x="858" y="160"/>
                    <a:pt x="858" y="160"/>
                    <a:pt x="858" y="160"/>
                  </a:cubicBezTo>
                  <a:cubicBezTo>
                    <a:pt x="850" y="158"/>
                    <a:pt x="850" y="158"/>
                    <a:pt x="850" y="158"/>
                  </a:cubicBezTo>
                  <a:cubicBezTo>
                    <a:pt x="845" y="168"/>
                    <a:pt x="845" y="168"/>
                    <a:pt x="845" y="168"/>
                  </a:cubicBezTo>
                  <a:cubicBezTo>
                    <a:pt x="845" y="183"/>
                    <a:pt x="845" y="183"/>
                    <a:pt x="845" y="183"/>
                  </a:cubicBezTo>
                  <a:cubicBezTo>
                    <a:pt x="845" y="208"/>
                    <a:pt x="845" y="208"/>
                    <a:pt x="845" y="208"/>
                  </a:cubicBezTo>
                  <a:cubicBezTo>
                    <a:pt x="870" y="210"/>
                    <a:pt x="870" y="210"/>
                    <a:pt x="870" y="210"/>
                  </a:cubicBezTo>
                  <a:cubicBezTo>
                    <a:pt x="883" y="200"/>
                    <a:pt x="883" y="200"/>
                    <a:pt x="883" y="200"/>
                  </a:cubicBezTo>
                  <a:cubicBezTo>
                    <a:pt x="895" y="198"/>
                    <a:pt x="895" y="198"/>
                    <a:pt x="895" y="198"/>
                  </a:cubicBezTo>
                  <a:cubicBezTo>
                    <a:pt x="905" y="198"/>
                    <a:pt x="905" y="198"/>
                    <a:pt x="905" y="198"/>
                  </a:cubicBezTo>
                  <a:cubicBezTo>
                    <a:pt x="930" y="198"/>
                    <a:pt x="930" y="198"/>
                    <a:pt x="930" y="198"/>
                  </a:cubicBezTo>
                  <a:cubicBezTo>
                    <a:pt x="948" y="180"/>
                    <a:pt x="948" y="180"/>
                    <a:pt x="948" y="180"/>
                  </a:cubicBezTo>
                  <a:cubicBezTo>
                    <a:pt x="955" y="158"/>
                    <a:pt x="955" y="158"/>
                    <a:pt x="955" y="158"/>
                  </a:cubicBezTo>
                  <a:cubicBezTo>
                    <a:pt x="940" y="155"/>
                    <a:pt x="940" y="155"/>
                    <a:pt x="940" y="155"/>
                  </a:cubicBezTo>
                  <a:cubicBezTo>
                    <a:pt x="920" y="145"/>
                    <a:pt x="920" y="145"/>
                    <a:pt x="920" y="145"/>
                  </a:cubicBezTo>
                  <a:cubicBezTo>
                    <a:pt x="888" y="145"/>
                    <a:pt x="888" y="145"/>
                    <a:pt x="888" y="145"/>
                  </a:cubicBezTo>
                  <a:cubicBezTo>
                    <a:pt x="853" y="148"/>
                    <a:pt x="853" y="148"/>
                    <a:pt x="853" y="148"/>
                  </a:cubicBezTo>
                  <a:cubicBezTo>
                    <a:pt x="865" y="158"/>
                    <a:pt x="865" y="158"/>
                    <a:pt x="865" y="158"/>
                  </a:cubicBezTo>
                  <a:close/>
                  <a:moveTo>
                    <a:pt x="795" y="361"/>
                  </a:moveTo>
                  <a:cubicBezTo>
                    <a:pt x="792" y="371"/>
                    <a:pt x="792" y="371"/>
                    <a:pt x="792" y="371"/>
                  </a:cubicBezTo>
                  <a:cubicBezTo>
                    <a:pt x="805" y="376"/>
                    <a:pt x="805" y="376"/>
                    <a:pt x="805" y="376"/>
                  </a:cubicBezTo>
                  <a:cubicBezTo>
                    <a:pt x="815" y="376"/>
                    <a:pt x="815" y="376"/>
                    <a:pt x="815" y="376"/>
                  </a:cubicBezTo>
                  <a:cubicBezTo>
                    <a:pt x="820" y="378"/>
                    <a:pt x="820" y="378"/>
                    <a:pt x="820" y="378"/>
                  </a:cubicBezTo>
                  <a:cubicBezTo>
                    <a:pt x="855" y="388"/>
                    <a:pt x="855" y="388"/>
                    <a:pt x="855" y="388"/>
                  </a:cubicBezTo>
                  <a:cubicBezTo>
                    <a:pt x="865" y="376"/>
                    <a:pt x="865" y="376"/>
                    <a:pt x="865" y="376"/>
                  </a:cubicBezTo>
                  <a:cubicBezTo>
                    <a:pt x="873" y="376"/>
                    <a:pt x="873" y="376"/>
                    <a:pt x="873" y="376"/>
                  </a:cubicBezTo>
                  <a:cubicBezTo>
                    <a:pt x="875" y="366"/>
                    <a:pt x="875" y="366"/>
                    <a:pt x="875" y="366"/>
                  </a:cubicBezTo>
                  <a:cubicBezTo>
                    <a:pt x="865" y="363"/>
                    <a:pt x="865" y="363"/>
                    <a:pt x="865" y="363"/>
                  </a:cubicBezTo>
                  <a:cubicBezTo>
                    <a:pt x="858" y="358"/>
                    <a:pt x="858" y="358"/>
                    <a:pt x="858" y="358"/>
                  </a:cubicBezTo>
                  <a:cubicBezTo>
                    <a:pt x="853" y="343"/>
                    <a:pt x="853" y="343"/>
                    <a:pt x="853" y="343"/>
                  </a:cubicBezTo>
                  <a:cubicBezTo>
                    <a:pt x="838" y="338"/>
                    <a:pt x="838" y="338"/>
                    <a:pt x="838" y="338"/>
                  </a:cubicBezTo>
                  <a:cubicBezTo>
                    <a:pt x="830" y="326"/>
                    <a:pt x="830" y="326"/>
                    <a:pt x="830" y="326"/>
                  </a:cubicBezTo>
                  <a:cubicBezTo>
                    <a:pt x="812" y="338"/>
                    <a:pt x="812" y="338"/>
                    <a:pt x="812" y="338"/>
                  </a:cubicBezTo>
                  <a:cubicBezTo>
                    <a:pt x="815" y="356"/>
                    <a:pt x="815" y="356"/>
                    <a:pt x="815" y="356"/>
                  </a:cubicBezTo>
                  <a:cubicBezTo>
                    <a:pt x="807" y="361"/>
                    <a:pt x="807" y="361"/>
                    <a:pt x="807" y="361"/>
                  </a:cubicBezTo>
                  <a:cubicBezTo>
                    <a:pt x="795" y="361"/>
                    <a:pt x="795" y="361"/>
                    <a:pt x="795" y="361"/>
                  </a:cubicBezTo>
                  <a:close/>
                  <a:moveTo>
                    <a:pt x="1036" y="193"/>
                  </a:moveTo>
                  <a:cubicBezTo>
                    <a:pt x="1023" y="205"/>
                    <a:pt x="1023" y="205"/>
                    <a:pt x="1023" y="205"/>
                  </a:cubicBezTo>
                  <a:cubicBezTo>
                    <a:pt x="1023" y="213"/>
                    <a:pt x="1023" y="213"/>
                    <a:pt x="1023" y="213"/>
                  </a:cubicBezTo>
                  <a:cubicBezTo>
                    <a:pt x="1021" y="225"/>
                    <a:pt x="1021" y="225"/>
                    <a:pt x="1021" y="225"/>
                  </a:cubicBezTo>
                  <a:cubicBezTo>
                    <a:pt x="1008" y="240"/>
                    <a:pt x="1008" y="240"/>
                    <a:pt x="1008" y="240"/>
                  </a:cubicBezTo>
                  <a:cubicBezTo>
                    <a:pt x="1011" y="248"/>
                    <a:pt x="1011" y="248"/>
                    <a:pt x="1011" y="248"/>
                  </a:cubicBezTo>
                  <a:cubicBezTo>
                    <a:pt x="1001" y="261"/>
                    <a:pt x="1001" y="261"/>
                    <a:pt x="1001" y="261"/>
                  </a:cubicBezTo>
                  <a:cubicBezTo>
                    <a:pt x="1001" y="273"/>
                    <a:pt x="1001" y="273"/>
                    <a:pt x="1001" y="273"/>
                  </a:cubicBezTo>
                  <a:cubicBezTo>
                    <a:pt x="1023" y="288"/>
                    <a:pt x="1023" y="288"/>
                    <a:pt x="1023" y="288"/>
                  </a:cubicBezTo>
                  <a:cubicBezTo>
                    <a:pt x="1046" y="291"/>
                    <a:pt x="1046" y="291"/>
                    <a:pt x="1046" y="291"/>
                  </a:cubicBezTo>
                  <a:cubicBezTo>
                    <a:pt x="1061" y="303"/>
                    <a:pt x="1061" y="303"/>
                    <a:pt x="1061" y="303"/>
                  </a:cubicBezTo>
                  <a:cubicBezTo>
                    <a:pt x="1053" y="308"/>
                    <a:pt x="1053" y="308"/>
                    <a:pt x="1053" y="308"/>
                  </a:cubicBezTo>
                  <a:cubicBezTo>
                    <a:pt x="1048" y="306"/>
                    <a:pt x="1048" y="306"/>
                    <a:pt x="1048" y="306"/>
                  </a:cubicBezTo>
                  <a:cubicBezTo>
                    <a:pt x="1033" y="298"/>
                    <a:pt x="1033" y="298"/>
                    <a:pt x="1033" y="298"/>
                  </a:cubicBezTo>
                  <a:cubicBezTo>
                    <a:pt x="1016" y="296"/>
                    <a:pt x="1016" y="296"/>
                    <a:pt x="1016" y="296"/>
                  </a:cubicBezTo>
                  <a:cubicBezTo>
                    <a:pt x="1016" y="308"/>
                    <a:pt x="1016" y="308"/>
                    <a:pt x="1016" y="308"/>
                  </a:cubicBezTo>
                  <a:cubicBezTo>
                    <a:pt x="1038" y="336"/>
                    <a:pt x="1038" y="336"/>
                    <a:pt x="1038" y="336"/>
                  </a:cubicBezTo>
                  <a:cubicBezTo>
                    <a:pt x="1053" y="338"/>
                    <a:pt x="1053" y="338"/>
                    <a:pt x="1053" y="338"/>
                  </a:cubicBezTo>
                  <a:cubicBezTo>
                    <a:pt x="1058" y="333"/>
                    <a:pt x="1058" y="333"/>
                    <a:pt x="1058" y="333"/>
                  </a:cubicBezTo>
                  <a:cubicBezTo>
                    <a:pt x="1073" y="338"/>
                    <a:pt x="1073" y="338"/>
                    <a:pt x="1073" y="338"/>
                  </a:cubicBezTo>
                  <a:cubicBezTo>
                    <a:pt x="1088" y="351"/>
                    <a:pt x="1088" y="351"/>
                    <a:pt x="1088" y="351"/>
                  </a:cubicBezTo>
                  <a:cubicBezTo>
                    <a:pt x="1101" y="341"/>
                    <a:pt x="1101" y="341"/>
                    <a:pt x="1101" y="341"/>
                  </a:cubicBezTo>
                  <a:cubicBezTo>
                    <a:pt x="1101" y="351"/>
                    <a:pt x="1101" y="351"/>
                    <a:pt x="1101" y="351"/>
                  </a:cubicBezTo>
                  <a:cubicBezTo>
                    <a:pt x="1128" y="353"/>
                    <a:pt x="1128" y="353"/>
                    <a:pt x="1128" y="353"/>
                  </a:cubicBezTo>
                  <a:cubicBezTo>
                    <a:pt x="1143" y="361"/>
                    <a:pt x="1143" y="361"/>
                    <a:pt x="1143" y="361"/>
                  </a:cubicBezTo>
                  <a:cubicBezTo>
                    <a:pt x="1153" y="356"/>
                    <a:pt x="1153" y="356"/>
                    <a:pt x="1153" y="356"/>
                  </a:cubicBezTo>
                  <a:cubicBezTo>
                    <a:pt x="1158" y="353"/>
                    <a:pt x="1158" y="353"/>
                    <a:pt x="1158" y="353"/>
                  </a:cubicBezTo>
                  <a:cubicBezTo>
                    <a:pt x="1186" y="358"/>
                    <a:pt x="1186" y="358"/>
                    <a:pt x="1186" y="358"/>
                  </a:cubicBezTo>
                  <a:cubicBezTo>
                    <a:pt x="1211" y="363"/>
                    <a:pt x="1211" y="363"/>
                    <a:pt x="1211" y="363"/>
                  </a:cubicBezTo>
                  <a:cubicBezTo>
                    <a:pt x="1209" y="343"/>
                    <a:pt x="1209" y="343"/>
                    <a:pt x="1209" y="343"/>
                  </a:cubicBezTo>
                  <a:cubicBezTo>
                    <a:pt x="1189" y="336"/>
                    <a:pt x="1189" y="336"/>
                    <a:pt x="1189" y="336"/>
                  </a:cubicBezTo>
                  <a:cubicBezTo>
                    <a:pt x="1166" y="316"/>
                    <a:pt x="1166" y="316"/>
                    <a:pt x="1166" y="316"/>
                  </a:cubicBezTo>
                  <a:cubicBezTo>
                    <a:pt x="1206" y="323"/>
                    <a:pt x="1206" y="323"/>
                    <a:pt x="1206" y="323"/>
                  </a:cubicBezTo>
                  <a:cubicBezTo>
                    <a:pt x="1226" y="346"/>
                    <a:pt x="1226" y="346"/>
                    <a:pt x="1226" y="346"/>
                  </a:cubicBezTo>
                  <a:cubicBezTo>
                    <a:pt x="1231" y="371"/>
                    <a:pt x="1231" y="371"/>
                    <a:pt x="1231" y="371"/>
                  </a:cubicBezTo>
                  <a:cubicBezTo>
                    <a:pt x="1241" y="371"/>
                    <a:pt x="1241" y="371"/>
                    <a:pt x="1241" y="371"/>
                  </a:cubicBezTo>
                  <a:cubicBezTo>
                    <a:pt x="1256" y="391"/>
                    <a:pt x="1256" y="391"/>
                    <a:pt x="1256" y="391"/>
                  </a:cubicBezTo>
                  <a:cubicBezTo>
                    <a:pt x="1241" y="401"/>
                    <a:pt x="1241" y="401"/>
                    <a:pt x="1241" y="401"/>
                  </a:cubicBezTo>
                  <a:cubicBezTo>
                    <a:pt x="1239" y="411"/>
                    <a:pt x="1239" y="411"/>
                    <a:pt x="1239" y="411"/>
                  </a:cubicBezTo>
                  <a:cubicBezTo>
                    <a:pt x="1256" y="408"/>
                    <a:pt x="1256" y="408"/>
                    <a:pt x="1256" y="408"/>
                  </a:cubicBezTo>
                  <a:cubicBezTo>
                    <a:pt x="1271" y="396"/>
                    <a:pt x="1271" y="396"/>
                    <a:pt x="1271" y="396"/>
                  </a:cubicBezTo>
                  <a:cubicBezTo>
                    <a:pt x="1281" y="416"/>
                    <a:pt x="1281" y="416"/>
                    <a:pt x="1281" y="416"/>
                  </a:cubicBezTo>
                  <a:cubicBezTo>
                    <a:pt x="1294" y="436"/>
                    <a:pt x="1294" y="436"/>
                    <a:pt x="1294" y="436"/>
                  </a:cubicBezTo>
                  <a:cubicBezTo>
                    <a:pt x="1306" y="436"/>
                    <a:pt x="1306" y="436"/>
                    <a:pt x="1306" y="436"/>
                  </a:cubicBezTo>
                  <a:cubicBezTo>
                    <a:pt x="1311" y="449"/>
                    <a:pt x="1311" y="449"/>
                    <a:pt x="1311" y="449"/>
                  </a:cubicBezTo>
                  <a:cubicBezTo>
                    <a:pt x="1314" y="464"/>
                    <a:pt x="1314" y="464"/>
                    <a:pt x="1314" y="464"/>
                  </a:cubicBezTo>
                  <a:cubicBezTo>
                    <a:pt x="1324" y="466"/>
                    <a:pt x="1324" y="466"/>
                    <a:pt x="1324" y="466"/>
                  </a:cubicBezTo>
                  <a:cubicBezTo>
                    <a:pt x="1316" y="471"/>
                    <a:pt x="1316" y="471"/>
                    <a:pt x="1316" y="471"/>
                  </a:cubicBezTo>
                  <a:cubicBezTo>
                    <a:pt x="1319" y="479"/>
                    <a:pt x="1319" y="479"/>
                    <a:pt x="1319" y="479"/>
                  </a:cubicBezTo>
                  <a:cubicBezTo>
                    <a:pt x="1310" y="490"/>
                    <a:pt x="1310" y="490"/>
                    <a:pt x="1310" y="490"/>
                  </a:cubicBezTo>
                  <a:cubicBezTo>
                    <a:pt x="1334" y="496"/>
                    <a:pt x="1334" y="496"/>
                    <a:pt x="1334" y="496"/>
                  </a:cubicBezTo>
                  <a:cubicBezTo>
                    <a:pt x="1341" y="481"/>
                    <a:pt x="1341" y="481"/>
                    <a:pt x="1341" y="481"/>
                  </a:cubicBezTo>
                  <a:cubicBezTo>
                    <a:pt x="1349" y="499"/>
                    <a:pt x="1349" y="499"/>
                    <a:pt x="1349" y="499"/>
                  </a:cubicBezTo>
                  <a:cubicBezTo>
                    <a:pt x="1354" y="499"/>
                    <a:pt x="1354" y="499"/>
                    <a:pt x="1354" y="499"/>
                  </a:cubicBezTo>
                  <a:cubicBezTo>
                    <a:pt x="1369" y="511"/>
                    <a:pt x="1369" y="511"/>
                    <a:pt x="1369" y="511"/>
                  </a:cubicBezTo>
                  <a:cubicBezTo>
                    <a:pt x="1357" y="519"/>
                    <a:pt x="1357" y="519"/>
                    <a:pt x="1357" y="519"/>
                  </a:cubicBezTo>
                  <a:cubicBezTo>
                    <a:pt x="1347" y="519"/>
                    <a:pt x="1347" y="519"/>
                    <a:pt x="1347" y="519"/>
                  </a:cubicBezTo>
                  <a:cubicBezTo>
                    <a:pt x="1331" y="521"/>
                    <a:pt x="1331" y="521"/>
                    <a:pt x="1331" y="521"/>
                  </a:cubicBezTo>
                  <a:cubicBezTo>
                    <a:pt x="1329" y="506"/>
                    <a:pt x="1329" y="506"/>
                    <a:pt x="1329" y="506"/>
                  </a:cubicBezTo>
                  <a:cubicBezTo>
                    <a:pt x="1304" y="494"/>
                    <a:pt x="1304" y="494"/>
                    <a:pt x="1304" y="494"/>
                  </a:cubicBezTo>
                  <a:cubicBezTo>
                    <a:pt x="1276" y="516"/>
                    <a:pt x="1276" y="516"/>
                    <a:pt x="1276" y="516"/>
                  </a:cubicBezTo>
                  <a:cubicBezTo>
                    <a:pt x="1294" y="544"/>
                    <a:pt x="1294" y="544"/>
                    <a:pt x="1294" y="544"/>
                  </a:cubicBezTo>
                  <a:cubicBezTo>
                    <a:pt x="1279" y="541"/>
                    <a:pt x="1279" y="541"/>
                    <a:pt x="1279" y="541"/>
                  </a:cubicBezTo>
                  <a:cubicBezTo>
                    <a:pt x="1244" y="544"/>
                    <a:pt x="1244" y="544"/>
                    <a:pt x="1244" y="544"/>
                  </a:cubicBezTo>
                  <a:cubicBezTo>
                    <a:pt x="1241" y="544"/>
                    <a:pt x="1214" y="534"/>
                    <a:pt x="1214" y="534"/>
                  </a:cubicBezTo>
                  <a:cubicBezTo>
                    <a:pt x="1211" y="546"/>
                    <a:pt x="1211" y="546"/>
                    <a:pt x="1211" y="546"/>
                  </a:cubicBezTo>
                  <a:cubicBezTo>
                    <a:pt x="1204" y="551"/>
                    <a:pt x="1204" y="551"/>
                    <a:pt x="1204" y="551"/>
                  </a:cubicBezTo>
                  <a:cubicBezTo>
                    <a:pt x="1201" y="564"/>
                    <a:pt x="1201" y="564"/>
                    <a:pt x="1201" y="564"/>
                  </a:cubicBezTo>
                  <a:cubicBezTo>
                    <a:pt x="1206" y="571"/>
                    <a:pt x="1206" y="571"/>
                    <a:pt x="1206" y="571"/>
                  </a:cubicBezTo>
                  <a:cubicBezTo>
                    <a:pt x="1229" y="574"/>
                    <a:pt x="1229" y="574"/>
                    <a:pt x="1229" y="574"/>
                  </a:cubicBezTo>
                  <a:cubicBezTo>
                    <a:pt x="1244" y="569"/>
                    <a:pt x="1244" y="569"/>
                    <a:pt x="1244" y="569"/>
                  </a:cubicBezTo>
                  <a:cubicBezTo>
                    <a:pt x="1271" y="576"/>
                    <a:pt x="1271" y="576"/>
                    <a:pt x="1271" y="576"/>
                  </a:cubicBezTo>
                  <a:cubicBezTo>
                    <a:pt x="1284" y="574"/>
                    <a:pt x="1284" y="574"/>
                    <a:pt x="1284" y="574"/>
                  </a:cubicBezTo>
                  <a:cubicBezTo>
                    <a:pt x="1319" y="604"/>
                    <a:pt x="1319" y="604"/>
                    <a:pt x="1319" y="604"/>
                  </a:cubicBezTo>
                  <a:cubicBezTo>
                    <a:pt x="1306" y="609"/>
                    <a:pt x="1306" y="609"/>
                    <a:pt x="1306" y="609"/>
                  </a:cubicBezTo>
                  <a:cubicBezTo>
                    <a:pt x="1319" y="624"/>
                    <a:pt x="1319" y="624"/>
                    <a:pt x="1319" y="624"/>
                  </a:cubicBezTo>
                  <a:cubicBezTo>
                    <a:pt x="1329" y="624"/>
                    <a:pt x="1329" y="624"/>
                    <a:pt x="1329" y="624"/>
                  </a:cubicBezTo>
                  <a:cubicBezTo>
                    <a:pt x="1352" y="637"/>
                    <a:pt x="1352" y="637"/>
                    <a:pt x="1352" y="637"/>
                  </a:cubicBezTo>
                  <a:cubicBezTo>
                    <a:pt x="1397" y="654"/>
                    <a:pt x="1397" y="654"/>
                    <a:pt x="1397" y="654"/>
                  </a:cubicBezTo>
                  <a:cubicBezTo>
                    <a:pt x="1419" y="667"/>
                    <a:pt x="1419" y="667"/>
                    <a:pt x="1419" y="667"/>
                  </a:cubicBezTo>
                  <a:cubicBezTo>
                    <a:pt x="1414" y="652"/>
                    <a:pt x="1414" y="652"/>
                    <a:pt x="1414" y="652"/>
                  </a:cubicBezTo>
                  <a:cubicBezTo>
                    <a:pt x="1374" y="612"/>
                    <a:pt x="1374" y="612"/>
                    <a:pt x="1374" y="612"/>
                  </a:cubicBezTo>
                  <a:cubicBezTo>
                    <a:pt x="1369" y="597"/>
                    <a:pt x="1369" y="597"/>
                    <a:pt x="1369" y="597"/>
                  </a:cubicBezTo>
                  <a:cubicBezTo>
                    <a:pt x="1394" y="607"/>
                    <a:pt x="1394" y="607"/>
                    <a:pt x="1394" y="607"/>
                  </a:cubicBezTo>
                  <a:cubicBezTo>
                    <a:pt x="1412" y="622"/>
                    <a:pt x="1412" y="622"/>
                    <a:pt x="1412" y="622"/>
                  </a:cubicBezTo>
                  <a:cubicBezTo>
                    <a:pt x="1442" y="634"/>
                    <a:pt x="1442" y="634"/>
                    <a:pt x="1442" y="634"/>
                  </a:cubicBezTo>
                  <a:cubicBezTo>
                    <a:pt x="1442" y="612"/>
                    <a:pt x="1442" y="612"/>
                    <a:pt x="1442" y="612"/>
                  </a:cubicBezTo>
                  <a:cubicBezTo>
                    <a:pt x="1434" y="584"/>
                    <a:pt x="1434" y="584"/>
                    <a:pt x="1434" y="584"/>
                  </a:cubicBezTo>
                  <a:cubicBezTo>
                    <a:pt x="1414" y="571"/>
                    <a:pt x="1414" y="571"/>
                    <a:pt x="1414" y="571"/>
                  </a:cubicBezTo>
                  <a:cubicBezTo>
                    <a:pt x="1399" y="546"/>
                    <a:pt x="1399" y="546"/>
                    <a:pt x="1399" y="546"/>
                  </a:cubicBezTo>
                  <a:cubicBezTo>
                    <a:pt x="1377" y="526"/>
                    <a:pt x="1377" y="526"/>
                    <a:pt x="1377" y="526"/>
                  </a:cubicBezTo>
                  <a:cubicBezTo>
                    <a:pt x="1384" y="521"/>
                    <a:pt x="1384" y="521"/>
                    <a:pt x="1384" y="521"/>
                  </a:cubicBezTo>
                  <a:cubicBezTo>
                    <a:pt x="1392" y="531"/>
                    <a:pt x="1392" y="531"/>
                    <a:pt x="1392" y="531"/>
                  </a:cubicBezTo>
                  <a:cubicBezTo>
                    <a:pt x="1407" y="531"/>
                    <a:pt x="1407" y="531"/>
                    <a:pt x="1407" y="531"/>
                  </a:cubicBezTo>
                  <a:cubicBezTo>
                    <a:pt x="1404" y="519"/>
                    <a:pt x="1404" y="519"/>
                    <a:pt x="1404" y="519"/>
                  </a:cubicBezTo>
                  <a:cubicBezTo>
                    <a:pt x="1407" y="506"/>
                    <a:pt x="1407" y="506"/>
                    <a:pt x="1407" y="506"/>
                  </a:cubicBezTo>
                  <a:cubicBezTo>
                    <a:pt x="1434" y="531"/>
                    <a:pt x="1434" y="531"/>
                    <a:pt x="1434" y="531"/>
                  </a:cubicBezTo>
                  <a:cubicBezTo>
                    <a:pt x="1449" y="529"/>
                    <a:pt x="1449" y="529"/>
                    <a:pt x="1449" y="529"/>
                  </a:cubicBezTo>
                  <a:cubicBezTo>
                    <a:pt x="1439" y="539"/>
                    <a:pt x="1439" y="539"/>
                    <a:pt x="1439" y="539"/>
                  </a:cubicBezTo>
                  <a:cubicBezTo>
                    <a:pt x="1444" y="556"/>
                    <a:pt x="1444" y="556"/>
                    <a:pt x="1444" y="556"/>
                  </a:cubicBezTo>
                  <a:cubicBezTo>
                    <a:pt x="1469" y="569"/>
                    <a:pt x="1469" y="569"/>
                    <a:pt x="1469" y="569"/>
                  </a:cubicBezTo>
                  <a:cubicBezTo>
                    <a:pt x="1472" y="544"/>
                    <a:pt x="1472" y="544"/>
                    <a:pt x="1472" y="544"/>
                  </a:cubicBezTo>
                  <a:cubicBezTo>
                    <a:pt x="1487" y="544"/>
                    <a:pt x="1487" y="544"/>
                    <a:pt x="1487" y="544"/>
                  </a:cubicBezTo>
                  <a:cubicBezTo>
                    <a:pt x="1514" y="516"/>
                    <a:pt x="1514" y="516"/>
                    <a:pt x="1514" y="516"/>
                  </a:cubicBezTo>
                  <a:cubicBezTo>
                    <a:pt x="1499" y="499"/>
                    <a:pt x="1499" y="499"/>
                    <a:pt x="1499" y="499"/>
                  </a:cubicBezTo>
                  <a:cubicBezTo>
                    <a:pt x="1469" y="491"/>
                    <a:pt x="1469" y="491"/>
                    <a:pt x="1469" y="491"/>
                  </a:cubicBezTo>
                  <a:cubicBezTo>
                    <a:pt x="1467" y="471"/>
                    <a:pt x="1467" y="471"/>
                    <a:pt x="1467" y="471"/>
                  </a:cubicBezTo>
                  <a:cubicBezTo>
                    <a:pt x="1464" y="469"/>
                    <a:pt x="1459" y="469"/>
                    <a:pt x="1454" y="466"/>
                  </a:cubicBezTo>
                  <a:cubicBezTo>
                    <a:pt x="1449" y="461"/>
                    <a:pt x="1444" y="459"/>
                    <a:pt x="1437" y="454"/>
                  </a:cubicBezTo>
                  <a:cubicBezTo>
                    <a:pt x="1409" y="431"/>
                    <a:pt x="1409" y="431"/>
                    <a:pt x="1409" y="431"/>
                  </a:cubicBezTo>
                  <a:cubicBezTo>
                    <a:pt x="1392" y="419"/>
                    <a:pt x="1392" y="419"/>
                    <a:pt x="1392" y="419"/>
                  </a:cubicBezTo>
                  <a:cubicBezTo>
                    <a:pt x="1409" y="408"/>
                    <a:pt x="1409" y="408"/>
                    <a:pt x="1409" y="408"/>
                  </a:cubicBezTo>
                  <a:cubicBezTo>
                    <a:pt x="1424" y="408"/>
                    <a:pt x="1424" y="408"/>
                    <a:pt x="1424" y="408"/>
                  </a:cubicBezTo>
                  <a:cubicBezTo>
                    <a:pt x="1419" y="396"/>
                    <a:pt x="1419" y="396"/>
                    <a:pt x="1419" y="396"/>
                  </a:cubicBezTo>
                  <a:cubicBezTo>
                    <a:pt x="1387" y="386"/>
                    <a:pt x="1387" y="386"/>
                    <a:pt x="1387" y="386"/>
                  </a:cubicBezTo>
                  <a:cubicBezTo>
                    <a:pt x="1409" y="381"/>
                    <a:pt x="1409" y="381"/>
                    <a:pt x="1409" y="381"/>
                  </a:cubicBezTo>
                  <a:cubicBezTo>
                    <a:pt x="1424" y="386"/>
                    <a:pt x="1424" y="386"/>
                    <a:pt x="1424" y="386"/>
                  </a:cubicBezTo>
                  <a:cubicBezTo>
                    <a:pt x="1419" y="371"/>
                    <a:pt x="1419" y="371"/>
                    <a:pt x="1419" y="371"/>
                  </a:cubicBezTo>
                  <a:cubicBezTo>
                    <a:pt x="1407" y="358"/>
                    <a:pt x="1407" y="358"/>
                    <a:pt x="1407" y="358"/>
                  </a:cubicBezTo>
                  <a:cubicBezTo>
                    <a:pt x="1394" y="346"/>
                    <a:pt x="1394" y="346"/>
                    <a:pt x="1394" y="346"/>
                  </a:cubicBezTo>
                  <a:cubicBezTo>
                    <a:pt x="1377" y="328"/>
                    <a:pt x="1377" y="328"/>
                    <a:pt x="1377" y="328"/>
                  </a:cubicBezTo>
                  <a:cubicBezTo>
                    <a:pt x="1362" y="323"/>
                    <a:pt x="1362" y="323"/>
                    <a:pt x="1362" y="323"/>
                  </a:cubicBezTo>
                  <a:cubicBezTo>
                    <a:pt x="1362" y="316"/>
                    <a:pt x="1362" y="316"/>
                    <a:pt x="1362" y="316"/>
                  </a:cubicBezTo>
                  <a:cubicBezTo>
                    <a:pt x="1352" y="316"/>
                    <a:pt x="1352" y="316"/>
                    <a:pt x="1352" y="316"/>
                  </a:cubicBezTo>
                  <a:cubicBezTo>
                    <a:pt x="1339" y="326"/>
                    <a:pt x="1339" y="326"/>
                    <a:pt x="1339" y="326"/>
                  </a:cubicBezTo>
                  <a:cubicBezTo>
                    <a:pt x="1341" y="313"/>
                    <a:pt x="1341" y="313"/>
                    <a:pt x="1341" y="313"/>
                  </a:cubicBezTo>
                  <a:cubicBezTo>
                    <a:pt x="1354" y="298"/>
                    <a:pt x="1354" y="298"/>
                    <a:pt x="1354" y="298"/>
                  </a:cubicBezTo>
                  <a:cubicBezTo>
                    <a:pt x="1347" y="296"/>
                    <a:pt x="1347" y="296"/>
                    <a:pt x="1347" y="296"/>
                  </a:cubicBezTo>
                  <a:cubicBezTo>
                    <a:pt x="1341" y="288"/>
                    <a:pt x="1341" y="288"/>
                    <a:pt x="1341" y="288"/>
                  </a:cubicBezTo>
                  <a:cubicBezTo>
                    <a:pt x="1329" y="286"/>
                    <a:pt x="1329" y="286"/>
                    <a:pt x="1329" y="286"/>
                  </a:cubicBezTo>
                  <a:cubicBezTo>
                    <a:pt x="1324" y="281"/>
                    <a:pt x="1324" y="281"/>
                    <a:pt x="1324" y="281"/>
                  </a:cubicBezTo>
                  <a:cubicBezTo>
                    <a:pt x="1311" y="288"/>
                    <a:pt x="1311" y="288"/>
                    <a:pt x="1311" y="288"/>
                  </a:cubicBezTo>
                  <a:cubicBezTo>
                    <a:pt x="1301" y="291"/>
                    <a:pt x="1301" y="291"/>
                    <a:pt x="1301" y="291"/>
                  </a:cubicBezTo>
                  <a:cubicBezTo>
                    <a:pt x="1304" y="276"/>
                    <a:pt x="1304" y="276"/>
                    <a:pt x="1304" y="276"/>
                  </a:cubicBezTo>
                  <a:cubicBezTo>
                    <a:pt x="1279" y="278"/>
                    <a:pt x="1279" y="278"/>
                    <a:pt x="1279" y="278"/>
                  </a:cubicBezTo>
                  <a:cubicBezTo>
                    <a:pt x="1299" y="268"/>
                    <a:pt x="1299" y="268"/>
                    <a:pt x="1299" y="268"/>
                  </a:cubicBezTo>
                  <a:cubicBezTo>
                    <a:pt x="1301" y="256"/>
                    <a:pt x="1301" y="256"/>
                    <a:pt x="1301" y="256"/>
                  </a:cubicBezTo>
                  <a:cubicBezTo>
                    <a:pt x="1271" y="251"/>
                    <a:pt x="1271" y="251"/>
                    <a:pt x="1271" y="251"/>
                  </a:cubicBezTo>
                  <a:cubicBezTo>
                    <a:pt x="1289" y="243"/>
                    <a:pt x="1289" y="243"/>
                    <a:pt x="1289" y="243"/>
                  </a:cubicBezTo>
                  <a:cubicBezTo>
                    <a:pt x="1291" y="233"/>
                    <a:pt x="1291" y="233"/>
                    <a:pt x="1291" y="233"/>
                  </a:cubicBezTo>
                  <a:cubicBezTo>
                    <a:pt x="1281" y="225"/>
                    <a:pt x="1281" y="225"/>
                    <a:pt x="1281" y="225"/>
                  </a:cubicBezTo>
                  <a:cubicBezTo>
                    <a:pt x="1269" y="225"/>
                    <a:pt x="1269" y="225"/>
                    <a:pt x="1269" y="225"/>
                  </a:cubicBezTo>
                  <a:cubicBezTo>
                    <a:pt x="1254" y="220"/>
                    <a:pt x="1254" y="220"/>
                    <a:pt x="1254" y="220"/>
                  </a:cubicBezTo>
                  <a:cubicBezTo>
                    <a:pt x="1231" y="225"/>
                    <a:pt x="1231" y="225"/>
                    <a:pt x="1231" y="225"/>
                  </a:cubicBezTo>
                  <a:cubicBezTo>
                    <a:pt x="1229" y="238"/>
                    <a:pt x="1229" y="238"/>
                    <a:pt x="1229" y="238"/>
                  </a:cubicBezTo>
                  <a:cubicBezTo>
                    <a:pt x="1211" y="243"/>
                    <a:pt x="1211" y="243"/>
                    <a:pt x="1211" y="243"/>
                  </a:cubicBezTo>
                  <a:cubicBezTo>
                    <a:pt x="1181" y="238"/>
                    <a:pt x="1181" y="238"/>
                    <a:pt x="1181" y="238"/>
                  </a:cubicBezTo>
                  <a:cubicBezTo>
                    <a:pt x="1181" y="215"/>
                    <a:pt x="1181" y="215"/>
                    <a:pt x="1181" y="215"/>
                  </a:cubicBezTo>
                  <a:cubicBezTo>
                    <a:pt x="1171" y="200"/>
                    <a:pt x="1171" y="200"/>
                    <a:pt x="1171" y="200"/>
                  </a:cubicBezTo>
                  <a:cubicBezTo>
                    <a:pt x="1176" y="195"/>
                    <a:pt x="1176" y="195"/>
                    <a:pt x="1176" y="195"/>
                  </a:cubicBezTo>
                  <a:cubicBezTo>
                    <a:pt x="1169" y="168"/>
                    <a:pt x="1169" y="168"/>
                    <a:pt x="1169" y="168"/>
                  </a:cubicBezTo>
                  <a:cubicBezTo>
                    <a:pt x="1146" y="165"/>
                    <a:pt x="1146" y="165"/>
                    <a:pt x="1146" y="165"/>
                  </a:cubicBezTo>
                  <a:cubicBezTo>
                    <a:pt x="1123" y="175"/>
                    <a:pt x="1123" y="175"/>
                    <a:pt x="1123" y="175"/>
                  </a:cubicBezTo>
                  <a:cubicBezTo>
                    <a:pt x="1108" y="188"/>
                    <a:pt x="1108" y="188"/>
                    <a:pt x="1108" y="188"/>
                  </a:cubicBezTo>
                  <a:cubicBezTo>
                    <a:pt x="1101" y="205"/>
                    <a:pt x="1101" y="205"/>
                    <a:pt x="1101" y="205"/>
                  </a:cubicBezTo>
                  <a:cubicBezTo>
                    <a:pt x="1101" y="238"/>
                    <a:pt x="1101" y="238"/>
                    <a:pt x="1101" y="238"/>
                  </a:cubicBezTo>
                  <a:cubicBezTo>
                    <a:pt x="1091" y="256"/>
                    <a:pt x="1091" y="256"/>
                    <a:pt x="1091" y="256"/>
                  </a:cubicBezTo>
                  <a:cubicBezTo>
                    <a:pt x="1106" y="266"/>
                    <a:pt x="1106" y="266"/>
                    <a:pt x="1106" y="266"/>
                  </a:cubicBezTo>
                  <a:cubicBezTo>
                    <a:pt x="1106" y="281"/>
                    <a:pt x="1106" y="281"/>
                    <a:pt x="1106" y="281"/>
                  </a:cubicBezTo>
                  <a:cubicBezTo>
                    <a:pt x="1093" y="293"/>
                    <a:pt x="1093" y="293"/>
                    <a:pt x="1093" y="293"/>
                  </a:cubicBezTo>
                  <a:cubicBezTo>
                    <a:pt x="1071" y="301"/>
                    <a:pt x="1071" y="301"/>
                    <a:pt x="1071" y="301"/>
                  </a:cubicBezTo>
                  <a:cubicBezTo>
                    <a:pt x="1078" y="291"/>
                    <a:pt x="1078" y="291"/>
                    <a:pt x="1078" y="291"/>
                  </a:cubicBezTo>
                  <a:cubicBezTo>
                    <a:pt x="1098" y="281"/>
                    <a:pt x="1098" y="281"/>
                    <a:pt x="1098" y="281"/>
                  </a:cubicBezTo>
                  <a:cubicBezTo>
                    <a:pt x="1083" y="258"/>
                    <a:pt x="1083" y="258"/>
                    <a:pt x="1083" y="258"/>
                  </a:cubicBezTo>
                  <a:cubicBezTo>
                    <a:pt x="1081" y="230"/>
                    <a:pt x="1081" y="230"/>
                    <a:pt x="1081" y="230"/>
                  </a:cubicBezTo>
                  <a:cubicBezTo>
                    <a:pt x="1083" y="213"/>
                    <a:pt x="1083" y="213"/>
                    <a:pt x="1083" y="213"/>
                  </a:cubicBezTo>
                  <a:cubicBezTo>
                    <a:pt x="1098" y="183"/>
                    <a:pt x="1098" y="183"/>
                    <a:pt x="1098" y="183"/>
                  </a:cubicBezTo>
                  <a:cubicBezTo>
                    <a:pt x="1098" y="168"/>
                    <a:pt x="1098" y="168"/>
                    <a:pt x="1098" y="168"/>
                  </a:cubicBezTo>
                  <a:cubicBezTo>
                    <a:pt x="1063" y="175"/>
                    <a:pt x="1063" y="175"/>
                    <a:pt x="1063" y="175"/>
                  </a:cubicBezTo>
                  <a:cubicBezTo>
                    <a:pt x="1043" y="173"/>
                    <a:pt x="1043" y="173"/>
                    <a:pt x="1043" y="173"/>
                  </a:cubicBezTo>
                  <a:lnTo>
                    <a:pt x="1036" y="193"/>
                  </a:lnTo>
                  <a:close/>
                  <a:moveTo>
                    <a:pt x="1186" y="193"/>
                  </a:moveTo>
                  <a:cubicBezTo>
                    <a:pt x="1196" y="193"/>
                    <a:pt x="1196" y="193"/>
                    <a:pt x="1196" y="193"/>
                  </a:cubicBezTo>
                  <a:cubicBezTo>
                    <a:pt x="1196" y="213"/>
                    <a:pt x="1196" y="213"/>
                    <a:pt x="1196" y="213"/>
                  </a:cubicBezTo>
                  <a:cubicBezTo>
                    <a:pt x="1209" y="215"/>
                    <a:pt x="1209" y="215"/>
                    <a:pt x="1209" y="215"/>
                  </a:cubicBezTo>
                  <a:cubicBezTo>
                    <a:pt x="1229" y="215"/>
                    <a:pt x="1229" y="215"/>
                    <a:pt x="1229" y="215"/>
                  </a:cubicBezTo>
                  <a:cubicBezTo>
                    <a:pt x="1236" y="208"/>
                    <a:pt x="1236" y="208"/>
                    <a:pt x="1236" y="208"/>
                  </a:cubicBezTo>
                  <a:cubicBezTo>
                    <a:pt x="1271" y="208"/>
                    <a:pt x="1271" y="208"/>
                    <a:pt x="1271" y="208"/>
                  </a:cubicBezTo>
                  <a:cubicBezTo>
                    <a:pt x="1249" y="178"/>
                    <a:pt x="1249" y="178"/>
                    <a:pt x="1249" y="178"/>
                  </a:cubicBezTo>
                  <a:cubicBezTo>
                    <a:pt x="1201" y="173"/>
                    <a:pt x="1201" y="173"/>
                    <a:pt x="1201" y="173"/>
                  </a:cubicBezTo>
                  <a:cubicBezTo>
                    <a:pt x="1181" y="178"/>
                    <a:pt x="1181" y="178"/>
                    <a:pt x="1181" y="178"/>
                  </a:cubicBezTo>
                  <a:cubicBezTo>
                    <a:pt x="1186" y="193"/>
                    <a:pt x="1186" y="193"/>
                    <a:pt x="1186" y="193"/>
                  </a:cubicBezTo>
                  <a:close/>
                  <a:moveTo>
                    <a:pt x="1201" y="439"/>
                  </a:moveTo>
                  <a:cubicBezTo>
                    <a:pt x="1204" y="446"/>
                    <a:pt x="1204" y="446"/>
                    <a:pt x="1204" y="446"/>
                  </a:cubicBezTo>
                  <a:cubicBezTo>
                    <a:pt x="1206" y="459"/>
                    <a:pt x="1206" y="459"/>
                    <a:pt x="1206" y="459"/>
                  </a:cubicBezTo>
                  <a:cubicBezTo>
                    <a:pt x="1229" y="456"/>
                    <a:pt x="1229" y="456"/>
                    <a:pt x="1229" y="456"/>
                  </a:cubicBezTo>
                  <a:cubicBezTo>
                    <a:pt x="1236" y="446"/>
                    <a:pt x="1236" y="446"/>
                    <a:pt x="1236" y="446"/>
                  </a:cubicBezTo>
                  <a:cubicBezTo>
                    <a:pt x="1231" y="431"/>
                    <a:pt x="1231" y="431"/>
                    <a:pt x="1231" y="431"/>
                  </a:cubicBezTo>
                  <a:cubicBezTo>
                    <a:pt x="1236" y="419"/>
                    <a:pt x="1236" y="419"/>
                    <a:pt x="1236" y="419"/>
                  </a:cubicBezTo>
                  <a:cubicBezTo>
                    <a:pt x="1216" y="416"/>
                    <a:pt x="1216" y="416"/>
                    <a:pt x="1216" y="416"/>
                  </a:cubicBezTo>
                  <a:lnTo>
                    <a:pt x="1201" y="439"/>
                  </a:lnTo>
                  <a:close/>
                  <a:moveTo>
                    <a:pt x="1246" y="439"/>
                  </a:moveTo>
                  <a:cubicBezTo>
                    <a:pt x="1269" y="444"/>
                    <a:pt x="1269" y="444"/>
                    <a:pt x="1269" y="444"/>
                  </a:cubicBezTo>
                  <a:cubicBezTo>
                    <a:pt x="1274" y="431"/>
                    <a:pt x="1274" y="431"/>
                    <a:pt x="1274" y="431"/>
                  </a:cubicBezTo>
                  <a:cubicBezTo>
                    <a:pt x="1256" y="424"/>
                    <a:pt x="1256" y="424"/>
                    <a:pt x="1256" y="424"/>
                  </a:cubicBezTo>
                  <a:cubicBezTo>
                    <a:pt x="1246" y="429"/>
                    <a:pt x="1246" y="429"/>
                    <a:pt x="1246" y="429"/>
                  </a:cubicBezTo>
                  <a:lnTo>
                    <a:pt x="1246" y="439"/>
                  </a:lnTo>
                  <a:close/>
                  <a:moveTo>
                    <a:pt x="1065" y="555"/>
                  </a:moveTo>
                  <a:cubicBezTo>
                    <a:pt x="1052" y="575"/>
                    <a:pt x="1052" y="575"/>
                    <a:pt x="1052" y="575"/>
                  </a:cubicBezTo>
                  <a:cubicBezTo>
                    <a:pt x="1050" y="616"/>
                    <a:pt x="1050" y="616"/>
                    <a:pt x="1050" y="616"/>
                  </a:cubicBezTo>
                  <a:cubicBezTo>
                    <a:pt x="1050" y="623"/>
                    <a:pt x="1050" y="623"/>
                    <a:pt x="1050" y="623"/>
                  </a:cubicBezTo>
                  <a:cubicBezTo>
                    <a:pt x="1035" y="628"/>
                    <a:pt x="1035" y="628"/>
                    <a:pt x="1035" y="628"/>
                  </a:cubicBezTo>
                  <a:cubicBezTo>
                    <a:pt x="1035" y="636"/>
                    <a:pt x="1035" y="636"/>
                    <a:pt x="1035" y="636"/>
                  </a:cubicBezTo>
                  <a:cubicBezTo>
                    <a:pt x="1067" y="633"/>
                    <a:pt x="1067" y="633"/>
                    <a:pt x="1067" y="633"/>
                  </a:cubicBezTo>
                  <a:cubicBezTo>
                    <a:pt x="1070" y="656"/>
                    <a:pt x="1070" y="656"/>
                    <a:pt x="1070" y="656"/>
                  </a:cubicBezTo>
                  <a:cubicBezTo>
                    <a:pt x="1075" y="661"/>
                    <a:pt x="1075" y="661"/>
                    <a:pt x="1075" y="661"/>
                  </a:cubicBezTo>
                  <a:cubicBezTo>
                    <a:pt x="1087" y="648"/>
                    <a:pt x="1087" y="648"/>
                    <a:pt x="1087" y="648"/>
                  </a:cubicBezTo>
                  <a:cubicBezTo>
                    <a:pt x="1090" y="638"/>
                    <a:pt x="1090" y="638"/>
                    <a:pt x="1090" y="638"/>
                  </a:cubicBezTo>
                  <a:cubicBezTo>
                    <a:pt x="1105" y="621"/>
                    <a:pt x="1105" y="621"/>
                    <a:pt x="1105" y="621"/>
                  </a:cubicBezTo>
                  <a:cubicBezTo>
                    <a:pt x="1111" y="621"/>
                    <a:pt x="1111" y="621"/>
                    <a:pt x="1111" y="621"/>
                  </a:cubicBezTo>
                  <a:cubicBezTo>
                    <a:pt x="1114" y="623"/>
                    <a:pt x="1114" y="623"/>
                    <a:pt x="1114" y="623"/>
                  </a:cubicBezTo>
                  <a:cubicBezTo>
                    <a:pt x="1130" y="626"/>
                    <a:pt x="1130" y="626"/>
                    <a:pt x="1130" y="626"/>
                  </a:cubicBezTo>
                  <a:cubicBezTo>
                    <a:pt x="1127" y="633"/>
                    <a:pt x="1127" y="633"/>
                    <a:pt x="1127" y="633"/>
                  </a:cubicBezTo>
                  <a:cubicBezTo>
                    <a:pt x="1155" y="638"/>
                    <a:pt x="1155" y="638"/>
                    <a:pt x="1155" y="638"/>
                  </a:cubicBezTo>
                  <a:cubicBezTo>
                    <a:pt x="1172" y="626"/>
                    <a:pt x="1172" y="626"/>
                    <a:pt x="1172" y="626"/>
                  </a:cubicBezTo>
                  <a:cubicBezTo>
                    <a:pt x="1137" y="621"/>
                    <a:pt x="1137" y="621"/>
                    <a:pt x="1137" y="621"/>
                  </a:cubicBezTo>
                  <a:cubicBezTo>
                    <a:pt x="1135" y="608"/>
                    <a:pt x="1135" y="608"/>
                    <a:pt x="1135" y="608"/>
                  </a:cubicBezTo>
                  <a:cubicBezTo>
                    <a:pt x="1107" y="595"/>
                    <a:pt x="1107" y="595"/>
                    <a:pt x="1107" y="595"/>
                  </a:cubicBezTo>
                  <a:cubicBezTo>
                    <a:pt x="1095" y="580"/>
                    <a:pt x="1095" y="580"/>
                    <a:pt x="1095" y="580"/>
                  </a:cubicBezTo>
                  <a:cubicBezTo>
                    <a:pt x="1085" y="575"/>
                    <a:pt x="1085" y="575"/>
                    <a:pt x="1085" y="575"/>
                  </a:cubicBezTo>
                  <a:cubicBezTo>
                    <a:pt x="1080" y="583"/>
                    <a:pt x="1080" y="583"/>
                    <a:pt x="1080" y="583"/>
                  </a:cubicBezTo>
                  <a:cubicBezTo>
                    <a:pt x="1072" y="570"/>
                    <a:pt x="1072" y="570"/>
                    <a:pt x="1072" y="570"/>
                  </a:cubicBezTo>
                  <a:cubicBezTo>
                    <a:pt x="1077" y="568"/>
                    <a:pt x="1077" y="568"/>
                    <a:pt x="1077" y="568"/>
                  </a:cubicBezTo>
                  <a:cubicBezTo>
                    <a:pt x="1065" y="555"/>
                    <a:pt x="1065" y="555"/>
                    <a:pt x="1065" y="555"/>
                  </a:cubicBezTo>
                  <a:close/>
                  <a:moveTo>
                    <a:pt x="1116" y="674"/>
                  </a:moveTo>
                  <a:cubicBezTo>
                    <a:pt x="1108" y="679"/>
                    <a:pt x="1108" y="679"/>
                    <a:pt x="1108" y="679"/>
                  </a:cubicBezTo>
                  <a:cubicBezTo>
                    <a:pt x="1111" y="689"/>
                    <a:pt x="1111" y="689"/>
                    <a:pt x="1111" y="689"/>
                  </a:cubicBezTo>
                  <a:cubicBezTo>
                    <a:pt x="1118" y="682"/>
                    <a:pt x="1118" y="682"/>
                    <a:pt x="1118" y="682"/>
                  </a:cubicBezTo>
                  <a:cubicBezTo>
                    <a:pt x="1126" y="687"/>
                    <a:pt x="1126" y="687"/>
                    <a:pt x="1126" y="687"/>
                  </a:cubicBezTo>
                  <a:cubicBezTo>
                    <a:pt x="1146" y="667"/>
                    <a:pt x="1146" y="667"/>
                    <a:pt x="1146" y="667"/>
                  </a:cubicBezTo>
                  <a:cubicBezTo>
                    <a:pt x="1148" y="657"/>
                    <a:pt x="1148" y="657"/>
                    <a:pt x="1148" y="657"/>
                  </a:cubicBezTo>
                  <a:cubicBezTo>
                    <a:pt x="1116" y="662"/>
                    <a:pt x="1116" y="662"/>
                    <a:pt x="1116" y="662"/>
                  </a:cubicBezTo>
                  <a:cubicBezTo>
                    <a:pt x="1116" y="674"/>
                    <a:pt x="1116" y="674"/>
                    <a:pt x="1116" y="674"/>
                  </a:cubicBezTo>
                  <a:close/>
                  <a:moveTo>
                    <a:pt x="1158" y="714"/>
                  </a:moveTo>
                  <a:cubicBezTo>
                    <a:pt x="1174" y="722"/>
                    <a:pt x="1174" y="722"/>
                    <a:pt x="1174" y="722"/>
                  </a:cubicBezTo>
                  <a:cubicBezTo>
                    <a:pt x="1179" y="699"/>
                    <a:pt x="1179" y="699"/>
                    <a:pt x="1179" y="699"/>
                  </a:cubicBezTo>
                  <a:cubicBezTo>
                    <a:pt x="1169" y="692"/>
                    <a:pt x="1169" y="692"/>
                    <a:pt x="1169" y="692"/>
                  </a:cubicBezTo>
                  <a:cubicBezTo>
                    <a:pt x="1158" y="692"/>
                    <a:pt x="1158" y="692"/>
                    <a:pt x="1158" y="692"/>
                  </a:cubicBezTo>
                  <a:cubicBezTo>
                    <a:pt x="1158" y="714"/>
                    <a:pt x="1158" y="714"/>
                    <a:pt x="1158" y="714"/>
                  </a:cubicBezTo>
                  <a:close/>
                  <a:moveTo>
                    <a:pt x="975" y="183"/>
                  </a:moveTo>
                  <a:cubicBezTo>
                    <a:pt x="973" y="205"/>
                    <a:pt x="973" y="205"/>
                    <a:pt x="973" y="205"/>
                  </a:cubicBezTo>
                  <a:cubicBezTo>
                    <a:pt x="963" y="220"/>
                    <a:pt x="963" y="220"/>
                    <a:pt x="963" y="220"/>
                  </a:cubicBezTo>
                  <a:cubicBezTo>
                    <a:pt x="955" y="243"/>
                    <a:pt x="955" y="243"/>
                    <a:pt x="955" y="243"/>
                  </a:cubicBezTo>
                  <a:cubicBezTo>
                    <a:pt x="965" y="253"/>
                    <a:pt x="965" y="253"/>
                    <a:pt x="965" y="253"/>
                  </a:cubicBezTo>
                  <a:cubicBezTo>
                    <a:pt x="993" y="235"/>
                    <a:pt x="993" y="235"/>
                    <a:pt x="993" y="235"/>
                  </a:cubicBezTo>
                  <a:cubicBezTo>
                    <a:pt x="1006" y="210"/>
                    <a:pt x="1006" y="210"/>
                    <a:pt x="1006" y="210"/>
                  </a:cubicBezTo>
                  <a:cubicBezTo>
                    <a:pt x="1016" y="183"/>
                    <a:pt x="1016" y="183"/>
                    <a:pt x="1016" y="183"/>
                  </a:cubicBezTo>
                  <a:cubicBezTo>
                    <a:pt x="1016" y="160"/>
                    <a:pt x="1016" y="160"/>
                    <a:pt x="1016" y="160"/>
                  </a:cubicBezTo>
                  <a:cubicBezTo>
                    <a:pt x="1038" y="160"/>
                    <a:pt x="1038" y="160"/>
                    <a:pt x="1038" y="160"/>
                  </a:cubicBezTo>
                  <a:cubicBezTo>
                    <a:pt x="1061" y="160"/>
                    <a:pt x="1061" y="160"/>
                    <a:pt x="1061" y="160"/>
                  </a:cubicBezTo>
                  <a:cubicBezTo>
                    <a:pt x="1063" y="143"/>
                    <a:pt x="1063" y="143"/>
                    <a:pt x="1063" y="143"/>
                  </a:cubicBezTo>
                  <a:cubicBezTo>
                    <a:pt x="1088" y="133"/>
                    <a:pt x="1088" y="133"/>
                    <a:pt x="1088" y="133"/>
                  </a:cubicBezTo>
                  <a:cubicBezTo>
                    <a:pt x="1091" y="153"/>
                    <a:pt x="1091" y="153"/>
                    <a:pt x="1091" y="153"/>
                  </a:cubicBezTo>
                  <a:cubicBezTo>
                    <a:pt x="1106" y="153"/>
                    <a:pt x="1106" y="153"/>
                    <a:pt x="1106" y="153"/>
                  </a:cubicBezTo>
                  <a:cubicBezTo>
                    <a:pt x="1123" y="155"/>
                    <a:pt x="1123" y="155"/>
                    <a:pt x="1123" y="155"/>
                  </a:cubicBezTo>
                  <a:cubicBezTo>
                    <a:pt x="1143" y="148"/>
                    <a:pt x="1143" y="148"/>
                    <a:pt x="1143" y="148"/>
                  </a:cubicBezTo>
                  <a:cubicBezTo>
                    <a:pt x="1158" y="140"/>
                    <a:pt x="1158" y="140"/>
                    <a:pt x="1158" y="140"/>
                  </a:cubicBezTo>
                  <a:cubicBezTo>
                    <a:pt x="1171" y="148"/>
                    <a:pt x="1171" y="148"/>
                    <a:pt x="1171" y="148"/>
                  </a:cubicBezTo>
                  <a:cubicBezTo>
                    <a:pt x="1176" y="163"/>
                    <a:pt x="1176" y="163"/>
                    <a:pt x="1176" y="163"/>
                  </a:cubicBezTo>
                  <a:cubicBezTo>
                    <a:pt x="1194" y="158"/>
                    <a:pt x="1194" y="158"/>
                    <a:pt x="1194" y="158"/>
                  </a:cubicBezTo>
                  <a:cubicBezTo>
                    <a:pt x="1221" y="153"/>
                    <a:pt x="1221" y="153"/>
                    <a:pt x="1221" y="153"/>
                  </a:cubicBezTo>
                  <a:cubicBezTo>
                    <a:pt x="1229" y="133"/>
                    <a:pt x="1229" y="133"/>
                    <a:pt x="1229" y="133"/>
                  </a:cubicBezTo>
                  <a:cubicBezTo>
                    <a:pt x="1241" y="150"/>
                    <a:pt x="1241" y="150"/>
                    <a:pt x="1241" y="150"/>
                  </a:cubicBezTo>
                  <a:cubicBezTo>
                    <a:pt x="1261" y="145"/>
                    <a:pt x="1261" y="145"/>
                    <a:pt x="1261" y="145"/>
                  </a:cubicBezTo>
                  <a:cubicBezTo>
                    <a:pt x="1284" y="133"/>
                    <a:pt x="1284" y="133"/>
                    <a:pt x="1284" y="133"/>
                  </a:cubicBezTo>
                  <a:cubicBezTo>
                    <a:pt x="1316" y="145"/>
                    <a:pt x="1316" y="145"/>
                    <a:pt x="1316" y="145"/>
                  </a:cubicBezTo>
                  <a:cubicBezTo>
                    <a:pt x="1329" y="115"/>
                    <a:pt x="1329" y="115"/>
                    <a:pt x="1329" y="115"/>
                  </a:cubicBezTo>
                  <a:cubicBezTo>
                    <a:pt x="1354" y="115"/>
                    <a:pt x="1354" y="115"/>
                    <a:pt x="1354" y="115"/>
                  </a:cubicBezTo>
                  <a:cubicBezTo>
                    <a:pt x="1357" y="95"/>
                    <a:pt x="1357" y="95"/>
                    <a:pt x="1357" y="95"/>
                  </a:cubicBezTo>
                  <a:cubicBezTo>
                    <a:pt x="1369" y="110"/>
                    <a:pt x="1369" y="110"/>
                    <a:pt x="1369" y="110"/>
                  </a:cubicBezTo>
                  <a:cubicBezTo>
                    <a:pt x="1389" y="90"/>
                    <a:pt x="1389" y="90"/>
                    <a:pt x="1389" y="90"/>
                  </a:cubicBezTo>
                  <a:cubicBezTo>
                    <a:pt x="1422" y="88"/>
                    <a:pt x="1422" y="88"/>
                    <a:pt x="1422" y="88"/>
                  </a:cubicBezTo>
                  <a:cubicBezTo>
                    <a:pt x="1429" y="70"/>
                    <a:pt x="1429" y="70"/>
                    <a:pt x="1429" y="70"/>
                  </a:cubicBezTo>
                  <a:cubicBezTo>
                    <a:pt x="1454" y="67"/>
                    <a:pt x="1454" y="67"/>
                    <a:pt x="1454" y="67"/>
                  </a:cubicBezTo>
                  <a:cubicBezTo>
                    <a:pt x="1464" y="42"/>
                    <a:pt x="1464" y="42"/>
                    <a:pt x="1464" y="42"/>
                  </a:cubicBezTo>
                  <a:cubicBezTo>
                    <a:pt x="1495" y="28"/>
                    <a:pt x="1495" y="28"/>
                    <a:pt x="1495" y="28"/>
                  </a:cubicBezTo>
                  <a:cubicBezTo>
                    <a:pt x="1467" y="22"/>
                    <a:pt x="1467" y="22"/>
                    <a:pt x="1467" y="22"/>
                  </a:cubicBezTo>
                  <a:cubicBezTo>
                    <a:pt x="1444" y="17"/>
                    <a:pt x="1444" y="17"/>
                    <a:pt x="1444" y="17"/>
                  </a:cubicBezTo>
                  <a:cubicBezTo>
                    <a:pt x="1414" y="27"/>
                    <a:pt x="1414" y="27"/>
                    <a:pt x="1414" y="27"/>
                  </a:cubicBezTo>
                  <a:cubicBezTo>
                    <a:pt x="1384" y="35"/>
                    <a:pt x="1384" y="35"/>
                    <a:pt x="1384" y="35"/>
                  </a:cubicBezTo>
                  <a:cubicBezTo>
                    <a:pt x="1417" y="12"/>
                    <a:pt x="1417" y="12"/>
                    <a:pt x="1417" y="12"/>
                  </a:cubicBezTo>
                  <a:cubicBezTo>
                    <a:pt x="1369" y="0"/>
                    <a:pt x="1369" y="0"/>
                    <a:pt x="1369" y="0"/>
                  </a:cubicBezTo>
                  <a:cubicBezTo>
                    <a:pt x="1331" y="12"/>
                    <a:pt x="1331" y="12"/>
                    <a:pt x="1331" y="12"/>
                  </a:cubicBezTo>
                  <a:cubicBezTo>
                    <a:pt x="1319" y="0"/>
                    <a:pt x="1319" y="0"/>
                    <a:pt x="1319" y="0"/>
                  </a:cubicBezTo>
                  <a:cubicBezTo>
                    <a:pt x="1309" y="12"/>
                    <a:pt x="1309" y="12"/>
                    <a:pt x="1309" y="12"/>
                  </a:cubicBezTo>
                  <a:cubicBezTo>
                    <a:pt x="1301" y="27"/>
                    <a:pt x="1301" y="27"/>
                    <a:pt x="1301" y="27"/>
                  </a:cubicBezTo>
                  <a:cubicBezTo>
                    <a:pt x="1286" y="27"/>
                    <a:pt x="1286" y="27"/>
                    <a:pt x="1286" y="27"/>
                  </a:cubicBezTo>
                  <a:cubicBezTo>
                    <a:pt x="1264" y="20"/>
                    <a:pt x="1264" y="20"/>
                    <a:pt x="1264" y="20"/>
                  </a:cubicBezTo>
                  <a:cubicBezTo>
                    <a:pt x="1234" y="20"/>
                    <a:pt x="1234" y="20"/>
                    <a:pt x="1234" y="20"/>
                  </a:cubicBezTo>
                  <a:cubicBezTo>
                    <a:pt x="1236" y="50"/>
                    <a:pt x="1236" y="50"/>
                    <a:pt x="1236" y="50"/>
                  </a:cubicBezTo>
                  <a:cubicBezTo>
                    <a:pt x="1226" y="35"/>
                    <a:pt x="1226" y="35"/>
                    <a:pt x="1226" y="35"/>
                  </a:cubicBezTo>
                  <a:cubicBezTo>
                    <a:pt x="1209" y="27"/>
                    <a:pt x="1209" y="27"/>
                    <a:pt x="1209" y="27"/>
                  </a:cubicBezTo>
                  <a:cubicBezTo>
                    <a:pt x="1199" y="40"/>
                    <a:pt x="1199" y="40"/>
                    <a:pt x="1199" y="40"/>
                  </a:cubicBezTo>
                  <a:cubicBezTo>
                    <a:pt x="1169" y="42"/>
                    <a:pt x="1169" y="42"/>
                    <a:pt x="1169" y="42"/>
                  </a:cubicBezTo>
                  <a:cubicBezTo>
                    <a:pt x="1156" y="30"/>
                    <a:pt x="1156" y="30"/>
                    <a:pt x="1156" y="30"/>
                  </a:cubicBezTo>
                  <a:cubicBezTo>
                    <a:pt x="1108" y="35"/>
                    <a:pt x="1108" y="35"/>
                    <a:pt x="1108" y="35"/>
                  </a:cubicBezTo>
                  <a:cubicBezTo>
                    <a:pt x="1086" y="22"/>
                    <a:pt x="1086" y="22"/>
                    <a:pt x="1086" y="22"/>
                  </a:cubicBezTo>
                  <a:cubicBezTo>
                    <a:pt x="1076" y="37"/>
                    <a:pt x="1076" y="37"/>
                    <a:pt x="1076" y="37"/>
                  </a:cubicBezTo>
                  <a:cubicBezTo>
                    <a:pt x="1058" y="50"/>
                    <a:pt x="1058" y="50"/>
                    <a:pt x="1058" y="50"/>
                  </a:cubicBezTo>
                  <a:cubicBezTo>
                    <a:pt x="1001" y="55"/>
                    <a:pt x="1001" y="55"/>
                    <a:pt x="1001" y="55"/>
                  </a:cubicBezTo>
                  <a:cubicBezTo>
                    <a:pt x="1023" y="75"/>
                    <a:pt x="1023" y="75"/>
                    <a:pt x="1023" y="75"/>
                  </a:cubicBezTo>
                  <a:cubicBezTo>
                    <a:pt x="1046" y="98"/>
                    <a:pt x="1046" y="98"/>
                    <a:pt x="1046" y="98"/>
                  </a:cubicBezTo>
                  <a:cubicBezTo>
                    <a:pt x="1006" y="98"/>
                    <a:pt x="1006" y="98"/>
                    <a:pt x="1006" y="98"/>
                  </a:cubicBezTo>
                  <a:cubicBezTo>
                    <a:pt x="983" y="88"/>
                    <a:pt x="983" y="88"/>
                    <a:pt x="983" y="88"/>
                  </a:cubicBezTo>
                  <a:cubicBezTo>
                    <a:pt x="970" y="65"/>
                    <a:pt x="970" y="65"/>
                    <a:pt x="970" y="65"/>
                  </a:cubicBezTo>
                  <a:cubicBezTo>
                    <a:pt x="925" y="65"/>
                    <a:pt x="925" y="65"/>
                    <a:pt x="925" y="65"/>
                  </a:cubicBezTo>
                  <a:cubicBezTo>
                    <a:pt x="925" y="80"/>
                    <a:pt x="925" y="80"/>
                    <a:pt x="925" y="80"/>
                  </a:cubicBezTo>
                  <a:cubicBezTo>
                    <a:pt x="953" y="95"/>
                    <a:pt x="953" y="95"/>
                    <a:pt x="953" y="95"/>
                  </a:cubicBezTo>
                  <a:cubicBezTo>
                    <a:pt x="943" y="110"/>
                    <a:pt x="943" y="110"/>
                    <a:pt x="943" y="110"/>
                  </a:cubicBezTo>
                  <a:cubicBezTo>
                    <a:pt x="938" y="125"/>
                    <a:pt x="938" y="125"/>
                    <a:pt x="938" y="125"/>
                  </a:cubicBezTo>
                  <a:cubicBezTo>
                    <a:pt x="958" y="138"/>
                    <a:pt x="958" y="138"/>
                    <a:pt x="958" y="138"/>
                  </a:cubicBezTo>
                  <a:cubicBezTo>
                    <a:pt x="980" y="153"/>
                    <a:pt x="980" y="153"/>
                    <a:pt x="980" y="153"/>
                  </a:cubicBezTo>
                  <a:cubicBezTo>
                    <a:pt x="975" y="183"/>
                    <a:pt x="975" y="183"/>
                    <a:pt x="975" y="183"/>
                  </a:cubicBezTo>
                  <a:close/>
                  <a:moveTo>
                    <a:pt x="1573" y="1110"/>
                  </a:moveTo>
                  <a:cubicBezTo>
                    <a:pt x="1569" y="1107"/>
                    <a:pt x="1569" y="1107"/>
                    <a:pt x="1569" y="1107"/>
                  </a:cubicBezTo>
                  <a:cubicBezTo>
                    <a:pt x="1568" y="1099"/>
                    <a:pt x="1568" y="1099"/>
                    <a:pt x="1568" y="1099"/>
                  </a:cubicBezTo>
                  <a:cubicBezTo>
                    <a:pt x="1585" y="1085"/>
                    <a:pt x="1585" y="1085"/>
                    <a:pt x="1585" y="1085"/>
                  </a:cubicBezTo>
                  <a:cubicBezTo>
                    <a:pt x="1573" y="1082"/>
                    <a:pt x="1573" y="1082"/>
                    <a:pt x="1573" y="1082"/>
                  </a:cubicBezTo>
                  <a:cubicBezTo>
                    <a:pt x="1585" y="1068"/>
                    <a:pt x="1585" y="1068"/>
                    <a:pt x="1585" y="1068"/>
                  </a:cubicBezTo>
                  <a:cubicBezTo>
                    <a:pt x="1591" y="1069"/>
                    <a:pt x="1591" y="1069"/>
                    <a:pt x="1591" y="1069"/>
                  </a:cubicBezTo>
                  <a:cubicBezTo>
                    <a:pt x="1588" y="1059"/>
                    <a:pt x="1588" y="1059"/>
                    <a:pt x="1588" y="1059"/>
                  </a:cubicBezTo>
                  <a:cubicBezTo>
                    <a:pt x="1602" y="1031"/>
                    <a:pt x="1602" y="1031"/>
                    <a:pt x="1602" y="1031"/>
                  </a:cubicBezTo>
                  <a:cubicBezTo>
                    <a:pt x="1606" y="1017"/>
                    <a:pt x="1606" y="1017"/>
                    <a:pt x="1606" y="1017"/>
                  </a:cubicBezTo>
                  <a:cubicBezTo>
                    <a:pt x="1621" y="997"/>
                    <a:pt x="1621" y="997"/>
                    <a:pt x="1621" y="997"/>
                  </a:cubicBezTo>
                  <a:cubicBezTo>
                    <a:pt x="1631" y="992"/>
                    <a:pt x="1631" y="992"/>
                    <a:pt x="1631" y="992"/>
                  </a:cubicBezTo>
                  <a:cubicBezTo>
                    <a:pt x="1638" y="991"/>
                    <a:pt x="1638" y="991"/>
                    <a:pt x="1638" y="991"/>
                  </a:cubicBezTo>
                  <a:cubicBezTo>
                    <a:pt x="1637" y="1000"/>
                    <a:pt x="1637" y="1000"/>
                    <a:pt x="1637" y="1000"/>
                  </a:cubicBezTo>
                  <a:cubicBezTo>
                    <a:pt x="1631" y="1001"/>
                    <a:pt x="1631" y="1001"/>
                    <a:pt x="1631" y="1001"/>
                  </a:cubicBezTo>
                  <a:cubicBezTo>
                    <a:pt x="1633" y="1007"/>
                    <a:pt x="1633" y="1007"/>
                    <a:pt x="1633" y="1007"/>
                  </a:cubicBezTo>
                  <a:cubicBezTo>
                    <a:pt x="1631" y="1015"/>
                    <a:pt x="1631" y="1015"/>
                    <a:pt x="1631" y="1015"/>
                  </a:cubicBezTo>
                  <a:cubicBezTo>
                    <a:pt x="1626" y="1018"/>
                    <a:pt x="1626" y="1018"/>
                    <a:pt x="1626" y="1018"/>
                  </a:cubicBezTo>
                  <a:cubicBezTo>
                    <a:pt x="1622" y="1031"/>
                    <a:pt x="1622" y="1031"/>
                    <a:pt x="1622" y="1031"/>
                  </a:cubicBezTo>
                  <a:cubicBezTo>
                    <a:pt x="1615" y="1039"/>
                    <a:pt x="1615" y="1039"/>
                    <a:pt x="1615" y="1039"/>
                  </a:cubicBezTo>
                  <a:cubicBezTo>
                    <a:pt x="1611" y="1047"/>
                    <a:pt x="1611" y="1047"/>
                    <a:pt x="1611" y="1047"/>
                  </a:cubicBezTo>
                  <a:cubicBezTo>
                    <a:pt x="1612" y="1054"/>
                    <a:pt x="1612" y="1054"/>
                    <a:pt x="1612" y="1054"/>
                  </a:cubicBezTo>
                  <a:cubicBezTo>
                    <a:pt x="1618" y="1052"/>
                    <a:pt x="1618" y="1052"/>
                    <a:pt x="1618" y="1052"/>
                  </a:cubicBezTo>
                  <a:cubicBezTo>
                    <a:pt x="1626" y="1035"/>
                    <a:pt x="1626" y="1035"/>
                    <a:pt x="1626" y="1035"/>
                  </a:cubicBezTo>
                  <a:cubicBezTo>
                    <a:pt x="1630" y="1044"/>
                    <a:pt x="1630" y="1044"/>
                    <a:pt x="1630" y="1044"/>
                  </a:cubicBezTo>
                  <a:cubicBezTo>
                    <a:pt x="1639" y="1042"/>
                    <a:pt x="1639" y="1042"/>
                    <a:pt x="1639" y="1042"/>
                  </a:cubicBezTo>
                  <a:cubicBezTo>
                    <a:pt x="1629" y="1054"/>
                    <a:pt x="1629" y="1054"/>
                    <a:pt x="1629" y="1054"/>
                  </a:cubicBezTo>
                  <a:cubicBezTo>
                    <a:pt x="1636" y="1056"/>
                    <a:pt x="1636" y="1056"/>
                    <a:pt x="1636" y="1056"/>
                  </a:cubicBezTo>
                  <a:cubicBezTo>
                    <a:pt x="1643" y="1056"/>
                    <a:pt x="1643" y="1056"/>
                    <a:pt x="1643" y="1056"/>
                  </a:cubicBezTo>
                  <a:cubicBezTo>
                    <a:pt x="1638" y="1070"/>
                    <a:pt x="1638" y="1070"/>
                    <a:pt x="1638" y="1070"/>
                  </a:cubicBezTo>
                  <a:cubicBezTo>
                    <a:pt x="1656" y="1054"/>
                    <a:pt x="1656" y="1054"/>
                    <a:pt x="1656" y="1054"/>
                  </a:cubicBezTo>
                  <a:cubicBezTo>
                    <a:pt x="1667" y="1057"/>
                    <a:pt x="1667" y="1057"/>
                    <a:pt x="1667" y="1057"/>
                  </a:cubicBezTo>
                  <a:cubicBezTo>
                    <a:pt x="1677" y="1059"/>
                    <a:pt x="1677" y="1059"/>
                    <a:pt x="1677" y="1059"/>
                  </a:cubicBezTo>
                  <a:cubicBezTo>
                    <a:pt x="1669" y="1072"/>
                    <a:pt x="1669" y="1072"/>
                    <a:pt x="1669" y="1072"/>
                  </a:cubicBezTo>
                  <a:cubicBezTo>
                    <a:pt x="1668" y="1079"/>
                    <a:pt x="1668" y="1079"/>
                    <a:pt x="1668" y="1079"/>
                  </a:cubicBezTo>
                  <a:cubicBezTo>
                    <a:pt x="1685" y="1079"/>
                    <a:pt x="1685" y="1079"/>
                    <a:pt x="1685" y="1079"/>
                  </a:cubicBezTo>
                  <a:cubicBezTo>
                    <a:pt x="1677" y="1087"/>
                    <a:pt x="1677" y="1087"/>
                    <a:pt x="1677" y="1087"/>
                  </a:cubicBezTo>
                  <a:cubicBezTo>
                    <a:pt x="1670" y="1090"/>
                    <a:pt x="1670" y="1090"/>
                    <a:pt x="1670" y="1090"/>
                  </a:cubicBezTo>
                  <a:cubicBezTo>
                    <a:pt x="1674" y="1097"/>
                    <a:pt x="1674" y="1097"/>
                    <a:pt x="1674" y="1097"/>
                  </a:cubicBezTo>
                  <a:cubicBezTo>
                    <a:pt x="1674" y="1107"/>
                    <a:pt x="1674" y="1107"/>
                    <a:pt x="1674" y="1107"/>
                  </a:cubicBezTo>
                  <a:cubicBezTo>
                    <a:pt x="1681" y="1098"/>
                    <a:pt x="1681" y="1098"/>
                    <a:pt x="1681" y="1098"/>
                  </a:cubicBezTo>
                  <a:cubicBezTo>
                    <a:pt x="1688" y="1095"/>
                    <a:pt x="1688" y="1095"/>
                    <a:pt x="1688" y="1095"/>
                  </a:cubicBezTo>
                  <a:cubicBezTo>
                    <a:pt x="1686" y="1119"/>
                    <a:pt x="1686" y="1119"/>
                    <a:pt x="1686" y="1119"/>
                  </a:cubicBezTo>
                  <a:cubicBezTo>
                    <a:pt x="1692" y="1135"/>
                    <a:pt x="1692" y="1135"/>
                    <a:pt x="1692" y="1135"/>
                  </a:cubicBezTo>
                  <a:cubicBezTo>
                    <a:pt x="1679" y="1132"/>
                    <a:pt x="1679" y="1132"/>
                    <a:pt x="1679" y="1132"/>
                  </a:cubicBezTo>
                  <a:cubicBezTo>
                    <a:pt x="1676" y="1124"/>
                    <a:pt x="1676" y="1124"/>
                    <a:pt x="1676" y="1124"/>
                  </a:cubicBezTo>
                  <a:cubicBezTo>
                    <a:pt x="1673" y="1129"/>
                    <a:pt x="1673" y="1129"/>
                    <a:pt x="1673" y="1129"/>
                  </a:cubicBezTo>
                  <a:cubicBezTo>
                    <a:pt x="1665" y="1129"/>
                    <a:pt x="1665" y="1129"/>
                    <a:pt x="1665" y="1129"/>
                  </a:cubicBezTo>
                  <a:cubicBezTo>
                    <a:pt x="1669" y="1118"/>
                    <a:pt x="1669" y="1118"/>
                    <a:pt x="1669" y="1118"/>
                  </a:cubicBezTo>
                  <a:cubicBezTo>
                    <a:pt x="1668" y="1109"/>
                    <a:pt x="1668" y="1109"/>
                    <a:pt x="1668" y="1109"/>
                  </a:cubicBezTo>
                  <a:cubicBezTo>
                    <a:pt x="1666" y="1099"/>
                    <a:pt x="1666" y="1099"/>
                    <a:pt x="1666" y="1099"/>
                  </a:cubicBezTo>
                  <a:cubicBezTo>
                    <a:pt x="1659" y="1112"/>
                    <a:pt x="1659" y="1112"/>
                    <a:pt x="1659" y="1112"/>
                  </a:cubicBezTo>
                  <a:cubicBezTo>
                    <a:pt x="1652" y="1119"/>
                    <a:pt x="1652" y="1119"/>
                    <a:pt x="1652" y="1119"/>
                  </a:cubicBezTo>
                  <a:cubicBezTo>
                    <a:pt x="1644" y="1126"/>
                    <a:pt x="1644" y="1126"/>
                    <a:pt x="1644" y="1126"/>
                  </a:cubicBezTo>
                  <a:cubicBezTo>
                    <a:pt x="1639" y="1130"/>
                    <a:pt x="1639" y="1130"/>
                    <a:pt x="1639" y="1130"/>
                  </a:cubicBezTo>
                  <a:cubicBezTo>
                    <a:pt x="1631" y="1127"/>
                    <a:pt x="1631" y="1127"/>
                    <a:pt x="1631" y="1127"/>
                  </a:cubicBezTo>
                  <a:cubicBezTo>
                    <a:pt x="1639" y="1121"/>
                    <a:pt x="1639" y="1121"/>
                    <a:pt x="1639" y="1121"/>
                  </a:cubicBezTo>
                  <a:cubicBezTo>
                    <a:pt x="1651" y="1108"/>
                    <a:pt x="1651" y="1108"/>
                    <a:pt x="1651" y="1108"/>
                  </a:cubicBezTo>
                  <a:cubicBezTo>
                    <a:pt x="1644" y="1108"/>
                    <a:pt x="1644" y="1108"/>
                    <a:pt x="1644" y="1108"/>
                  </a:cubicBezTo>
                  <a:cubicBezTo>
                    <a:pt x="1638" y="1114"/>
                    <a:pt x="1638" y="1114"/>
                    <a:pt x="1638" y="1114"/>
                  </a:cubicBezTo>
                  <a:cubicBezTo>
                    <a:pt x="1632" y="1112"/>
                    <a:pt x="1632" y="1112"/>
                    <a:pt x="1632" y="1112"/>
                  </a:cubicBezTo>
                  <a:cubicBezTo>
                    <a:pt x="1634" y="1102"/>
                    <a:pt x="1634" y="1102"/>
                    <a:pt x="1634" y="1102"/>
                  </a:cubicBezTo>
                  <a:cubicBezTo>
                    <a:pt x="1625" y="1107"/>
                    <a:pt x="1625" y="1107"/>
                    <a:pt x="1625" y="1107"/>
                  </a:cubicBezTo>
                  <a:cubicBezTo>
                    <a:pt x="1623" y="1102"/>
                    <a:pt x="1623" y="1102"/>
                    <a:pt x="1623" y="1102"/>
                  </a:cubicBezTo>
                  <a:cubicBezTo>
                    <a:pt x="1616" y="1109"/>
                    <a:pt x="1616" y="1109"/>
                    <a:pt x="1616" y="1109"/>
                  </a:cubicBezTo>
                  <a:cubicBezTo>
                    <a:pt x="1603" y="1107"/>
                    <a:pt x="1603" y="1107"/>
                    <a:pt x="1603" y="1107"/>
                  </a:cubicBezTo>
                  <a:lnTo>
                    <a:pt x="1573" y="1110"/>
                  </a:lnTo>
                  <a:close/>
                  <a:moveTo>
                    <a:pt x="1497" y="1044"/>
                  </a:moveTo>
                  <a:cubicBezTo>
                    <a:pt x="1506" y="1049"/>
                    <a:pt x="1506" y="1049"/>
                    <a:pt x="1506" y="1049"/>
                  </a:cubicBezTo>
                  <a:cubicBezTo>
                    <a:pt x="1516" y="1048"/>
                    <a:pt x="1516" y="1048"/>
                    <a:pt x="1516" y="1048"/>
                  </a:cubicBezTo>
                  <a:cubicBezTo>
                    <a:pt x="1521" y="1054"/>
                    <a:pt x="1521" y="1054"/>
                    <a:pt x="1521" y="1054"/>
                  </a:cubicBezTo>
                  <a:cubicBezTo>
                    <a:pt x="1532" y="1057"/>
                    <a:pt x="1532" y="1057"/>
                    <a:pt x="1532" y="1057"/>
                  </a:cubicBezTo>
                  <a:cubicBezTo>
                    <a:pt x="1537" y="1060"/>
                    <a:pt x="1537" y="1060"/>
                    <a:pt x="1537" y="1060"/>
                  </a:cubicBezTo>
                  <a:cubicBezTo>
                    <a:pt x="1535" y="1066"/>
                    <a:pt x="1535" y="1066"/>
                    <a:pt x="1535" y="1066"/>
                  </a:cubicBezTo>
                  <a:cubicBezTo>
                    <a:pt x="1520" y="1066"/>
                    <a:pt x="1520" y="1066"/>
                    <a:pt x="1520" y="1066"/>
                  </a:cubicBezTo>
                  <a:cubicBezTo>
                    <a:pt x="1502" y="1061"/>
                    <a:pt x="1502" y="1061"/>
                    <a:pt x="1502" y="1061"/>
                  </a:cubicBezTo>
                  <a:cubicBezTo>
                    <a:pt x="1501" y="1055"/>
                    <a:pt x="1501" y="1055"/>
                    <a:pt x="1501" y="1055"/>
                  </a:cubicBezTo>
                  <a:cubicBezTo>
                    <a:pt x="1485" y="1048"/>
                    <a:pt x="1485" y="1048"/>
                    <a:pt x="1485" y="1048"/>
                  </a:cubicBezTo>
                  <a:cubicBezTo>
                    <a:pt x="1486" y="1042"/>
                    <a:pt x="1486" y="1042"/>
                    <a:pt x="1486" y="1042"/>
                  </a:cubicBezTo>
                  <a:lnTo>
                    <a:pt x="1497" y="1044"/>
                  </a:lnTo>
                  <a:close/>
                  <a:moveTo>
                    <a:pt x="1477" y="1149"/>
                  </a:moveTo>
                  <a:cubicBezTo>
                    <a:pt x="1474" y="1151"/>
                    <a:pt x="1474" y="1151"/>
                    <a:pt x="1474" y="1151"/>
                  </a:cubicBezTo>
                  <a:cubicBezTo>
                    <a:pt x="1467" y="1154"/>
                    <a:pt x="1467" y="1154"/>
                    <a:pt x="1467" y="1154"/>
                  </a:cubicBezTo>
                  <a:cubicBezTo>
                    <a:pt x="1458" y="1159"/>
                    <a:pt x="1458" y="1159"/>
                    <a:pt x="1458" y="1159"/>
                  </a:cubicBezTo>
                  <a:cubicBezTo>
                    <a:pt x="1453" y="1158"/>
                    <a:pt x="1453" y="1158"/>
                    <a:pt x="1453" y="1158"/>
                  </a:cubicBezTo>
                  <a:cubicBezTo>
                    <a:pt x="1447" y="1159"/>
                    <a:pt x="1447" y="1159"/>
                    <a:pt x="1447" y="1159"/>
                  </a:cubicBezTo>
                  <a:cubicBezTo>
                    <a:pt x="1444" y="1161"/>
                    <a:pt x="1444" y="1161"/>
                    <a:pt x="1444" y="1161"/>
                  </a:cubicBezTo>
                  <a:cubicBezTo>
                    <a:pt x="1439" y="1163"/>
                    <a:pt x="1439" y="1163"/>
                    <a:pt x="1439" y="1163"/>
                  </a:cubicBezTo>
                  <a:cubicBezTo>
                    <a:pt x="1436" y="1160"/>
                    <a:pt x="1436" y="1160"/>
                    <a:pt x="1436" y="1160"/>
                  </a:cubicBezTo>
                  <a:cubicBezTo>
                    <a:pt x="1434" y="1152"/>
                    <a:pt x="1434" y="1152"/>
                    <a:pt x="1434" y="1152"/>
                  </a:cubicBezTo>
                  <a:cubicBezTo>
                    <a:pt x="1427" y="1151"/>
                    <a:pt x="1427" y="1151"/>
                    <a:pt x="1427" y="1151"/>
                  </a:cubicBezTo>
                  <a:cubicBezTo>
                    <a:pt x="1417" y="1114"/>
                    <a:pt x="1417" y="1114"/>
                    <a:pt x="1417" y="1114"/>
                  </a:cubicBezTo>
                  <a:cubicBezTo>
                    <a:pt x="1408" y="1106"/>
                    <a:pt x="1408" y="1106"/>
                    <a:pt x="1408" y="1106"/>
                  </a:cubicBezTo>
                  <a:cubicBezTo>
                    <a:pt x="1403" y="1107"/>
                    <a:pt x="1403" y="1107"/>
                    <a:pt x="1403" y="1107"/>
                  </a:cubicBezTo>
                  <a:cubicBezTo>
                    <a:pt x="1402" y="1110"/>
                    <a:pt x="1402" y="1110"/>
                    <a:pt x="1402" y="1110"/>
                  </a:cubicBezTo>
                  <a:cubicBezTo>
                    <a:pt x="1392" y="1114"/>
                    <a:pt x="1392" y="1114"/>
                    <a:pt x="1392" y="1114"/>
                  </a:cubicBezTo>
                  <a:cubicBezTo>
                    <a:pt x="1391" y="1108"/>
                    <a:pt x="1391" y="1108"/>
                    <a:pt x="1391" y="1108"/>
                  </a:cubicBezTo>
                  <a:cubicBezTo>
                    <a:pt x="1384" y="1108"/>
                    <a:pt x="1384" y="1108"/>
                    <a:pt x="1384" y="1108"/>
                  </a:cubicBezTo>
                  <a:cubicBezTo>
                    <a:pt x="1375" y="1135"/>
                    <a:pt x="1375" y="1135"/>
                    <a:pt x="1375" y="1135"/>
                  </a:cubicBezTo>
                  <a:cubicBezTo>
                    <a:pt x="1377" y="1137"/>
                    <a:pt x="1377" y="1137"/>
                    <a:pt x="1377" y="1137"/>
                  </a:cubicBezTo>
                  <a:cubicBezTo>
                    <a:pt x="1377" y="1141"/>
                    <a:pt x="1377" y="1141"/>
                    <a:pt x="1377" y="1141"/>
                  </a:cubicBezTo>
                  <a:cubicBezTo>
                    <a:pt x="1374" y="1143"/>
                    <a:pt x="1374" y="1143"/>
                    <a:pt x="1374" y="1143"/>
                  </a:cubicBezTo>
                  <a:cubicBezTo>
                    <a:pt x="1377" y="1155"/>
                    <a:pt x="1377" y="1155"/>
                    <a:pt x="1377" y="1155"/>
                  </a:cubicBezTo>
                  <a:cubicBezTo>
                    <a:pt x="1375" y="1157"/>
                    <a:pt x="1375" y="1157"/>
                    <a:pt x="1375" y="1157"/>
                  </a:cubicBezTo>
                  <a:cubicBezTo>
                    <a:pt x="1374" y="1160"/>
                    <a:pt x="1374" y="1160"/>
                    <a:pt x="1374" y="1160"/>
                  </a:cubicBezTo>
                  <a:cubicBezTo>
                    <a:pt x="1370" y="1166"/>
                    <a:pt x="1370" y="1166"/>
                    <a:pt x="1370" y="1166"/>
                  </a:cubicBezTo>
                  <a:cubicBezTo>
                    <a:pt x="1371" y="1169"/>
                    <a:pt x="1371" y="1169"/>
                    <a:pt x="1371" y="1169"/>
                  </a:cubicBezTo>
                  <a:cubicBezTo>
                    <a:pt x="1369" y="1173"/>
                    <a:pt x="1369" y="1173"/>
                    <a:pt x="1369" y="1173"/>
                  </a:cubicBezTo>
                  <a:cubicBezTo>
                    <a:pt x="1364" y="1174"/>
                    <a:pt x="1364" y="1174"/>
                    <a:pt x="1364" y="1174"/>
                  </a:cubicBezTo>
                  <a:cubicBezTo>
                    <a:pt x="1357" y="1177"/>
                    <a:pt x="1357" y="1177"/>
                    <a:pt x="1357" y="1177"/>
                  </a:cubicBezTo>
                  <a:cubicBezTo>
                    <a:pt x="1358" y="1181"/>
                    <a:pt x="1358" y="1181"/>
                    <a:pt x="1358" y="1181"/>
                  </a:cubicBezTo>
                  <a:cubicBezTo>
                    <a:pt x="1356" y="1185"/>
                    <a:pt x="1356" y="1185"/>
                    <a:pt x="1356" y="1185"/>
                  </a:cubicBezTo>
                  <a:cubicBezTo>
                    <a:pt x="1320" y="1192"/>
                    <a:pt x="1320" y="1192"/>
                    <a:pt x="1320" y="1192"/>
                  </a:cubicBezTo>
                  <a:cubicBezTo>
                    <a:pt x="1291" y="1197"/>
                    <a:pt x="1291" y="1197"/>
                    <a:pt x="1291" y="1197"/>
                  </a:cubicBezTo>
                  <a:cubicBezTo>
                    <a:pt x="1274" y="1213"/>
                    <a:pt x="1274" y="1213"/>
                    <a:pt x="1274" y="1213"/>
                  </a:cubicBezTo>
                  <a:cubicBezTo>
                    <a:pt x="1274" y="1217"/>
                    <a:pt x="1274" y="1217"/>
                    <a:pt x="1274" y="1217"/>
                  </a:cubicBezTo>
                  <a:cubicBezTo>
                    <a:pt x="1264" y="1226"/>
                    <a:pt x="1264" y="1226"/>
                    <a:pt x="1264" y="1226"/>
                  </a:cubicBezTo>
                  <a:cubicBezTo>
                    <a:pt x="1265" y="1229"/>
                    <a:pt x="1265" y="1229"/>
                    <a:pt x="1265" y="1229"/>
                  </a:cubicBezTo>
                  <a:cubicBezTo>
                    <a:pt x="1268" y="1231"/>
                    <a:pt x="1268" y="1231"/>
                    <a:pt x="1268" y="1231"/>
                  </a:cubicBezTo>
                  <a:cubicBezTo>
                    <a:pt x="1268" y="1234"/>
                    <a:pt x="1268" y="1234"/>
                    <a:pt x="1268" y="1234"/>
                  </a:cubicBezTo>
                  <a:cubicBezTo>
                    <a:pt x="1270" y="1237"/>
                    <a:pt x="1270" y="1237"/>
                    <a:pt x="1270" y="1237"/>
                  </a:cubicBezTo>
                  <a:cubicBezTo>
                    <a:pt x="1268" y="1242"/>
                    <a:pt x="1268" y="1242"/>
                    <a:pt x="1268" y="1242"/>
                  </a:cubicBezTo>
                  <a:cubicBezTo>
                    <a:pt x="1265" y="1244"/>
                    <a:pt x="1265" y="1244"/>
                    <a:pt x="1265" y="1244"/>
                  </a:cubicBezTo>
                  <a:cubicBezTo>
                    <a:pt x="1260" y="1248"/>
                    <a:pt x="1260" y="1248"/>
                    <a:pt x="1260" y="1248"/>
                  </a:cubicBezTo>
                  <a:cubicBezTo>
                    <a:pt x="1255" y="1250"/>
                    <a:pt x="1255" y="1250"/>
                    <a:pt x="1255" y="1250"/>
                  </a:cubicBezTo>
                  <a:cubicBezTo>
                    <a:pt x="1245" y="1253"/>
                    <a:pt x="1245" y="1253"/>
                    <a:pt x="1245" y="1253"/>
                  </a:cubicBezTo>
                  <a:cubicBezTo>
                    <a:pt x="1239" y="1252"/>
                    <a:pt x="1239" y="1252"/>
                    <a:pt x="1239" y="1252"/>
                  </a:cubicBezTo>
                  <a:cubicBezTo>
                    <a:pt x="1227" y="1252"/>
                    <a:pt x="1227" y="1252"/>
                    <a:pt x="1227" y="1252"/>
                  </a:cubicBezTo>
                  <a:cubicBezTo>
                    <a:pt x="1219" y="1254"/>
                    <a:pt x="1219" y="1254"/>
                    <a:pt x="1219" y="1254"/>
                  </a:cubicBezTo>
                  <a:cubicBezTo>
                    <a:pt x="1214" y="1259"/>
                    <a:pt x="1214" y="1259"/>
                    <a:pt x="1214" y="1259"/>
                  </a:cubicBezTo>
                  <a:cubicBezTo>
                    <a:pt x="1215" y="1262"/>
                    <a:pt x="1215" y="1262"/>
                    <a:pt x="1215" y="1262"/>
                  </a:cubicBezTo>
                  <a:cubicBezTo>
                    <a:pt x="1218" y="1266"/>
                    <a:pt x="1218" y="1266"/>
                    <a:pt x="1218" y="1266"/>
                  </a:cubicBezTo>
                  <a:cubicBezTo>
                    <a:pt x="1218" y="1272"/>
                    <a:pt x="1218" y="1272"/>
                    <a:pt x="1218" y="1272"/>
                  </a:cubicBezTo>
                  <a:cubicBezTo>
                    <a:pt x="1202" y="1287"/>
                    <a:pt x="1202" y="1287"/>
                    <a:pt x="1202" y="1287"/>
                  </a:cubicBezTo>
                  <a:cubicBezTo>
                    <a:pt x="1195" y="1292"/>
                    <a:pt x="1195" y="1292"/>
                    <a:pt x="1195" y="1292"/>
                  </a:cubicBezTo>
                  <a:cubicBezTo>
                    <a:pt x="1188" y="1297"/>
                    <a:pt x="1188" y="1297"/>
                    <a:pt x="1188" y="1297"/>
                  </a:cubicBezTo>
                  <a:cubicBezTo>
                    <a:pt x="1171" y="1305"/>
                    <a:pt x="1171" y="1305"/>
                    <a:pt x="1171" y="1305"/>
                  </a:cubicBezTo>
                  <a:cubicBezTo>
                    <a:pt x="1164" y="1312"/>
                    <a:pt x="1164" y="1312"/>
                    <a:pt x="1164" y="1312"/>
                  </a:cubicBezTo>
                  <a:cubicBezTo>
                    <a:pt x="1156" y="1311"/>
                    <a:pt x="1156" y="1311"/>
                    <a:pt x="1156" y="1311"/>
                  </a:cubicBezTo>
                  <a:cubicBezTo>
                    <a:pt x="1149" y="1317"/>
                    <a:pt x="1149" y="1317"/>
                    <a:pt x="1149" y="1317"/>
                  </a:cubicBezTo>
                  <a:cubicBezTo>
                    <a:pt x="1141" y="1313"/>
                    <a:pt x="1141" y="1313"/>
                    <a:pt x="1141" y="1313"/>
                  </a:cubicBezTo>
                  <a:cubicBezTo>
                    <a:pt x="1127" y="1310"/>
                    <a:pt x="1127" y="1310"/>
                    <a:pt x="1127" y="1310"/>
                  </a:cubicBezTo>
                  <a:cubicBezTo>
                    <a:pt x="1133" y="1299"/>
                    <a:pt x="1133" y="1299"/>
                    <a:pt x="1133" y="1299"/>
                  </a:cubicBezTo>
                  <a:cubicBezTo>
                    <a:pt x="1131" y="1296"/>
                    <a:pt x="1131" y="1296"/>
                    <a:pt x="1131" y="1296"/>
                  </a:cubicBezTo>
                  <a:cubicBezTo>
                    <a:pt x="1133" y="1292"/>
                    <a:pt x="1133" y="1292"/>
                    <a:pt x="1133" y="1292"/>
                  </a:cubicBezTo>
                  <a:cubicBezTo>
                    <a:pt x="1137" y="1290"/>
                    <a:pt x="1137" y="1290"/>
                    <a:pt x="1137" y="1290"/>
                  </a:cubicBezTo>
                  <a:cubicBezTo>
                    <a:pt x="1137" y="1284"/>
                    <a:pt x="1137" y="1284"/>
                    <a:pt x="1137" y="1284"/>
                  </a:cubicBezTo>
                  <a:cubicBezTo>
                    <a:pt x="1139" y="1281"/>
                    <a:pt x="1139" y="1281"/>
                    <a:pt x="1139" y="1281"/>
                  </a:cubicBezTo>
                  <a:cubicBezTo>
                    <a:pt x="1142" y="1282"/>
                    <a:pt x="1142" y="1282"/>
                    <a:pt x="1142" y="1282"/>
                  </a:cubicBezTo>
                  <a:cubicBezTo>
                    <a:pt x="1145" y="1280"/>
                    <a:pt x="1145" y="1280"/>
                    <a:pt x="1145" y="1280"/>
                  </a:cubicBezTo>
                  <a:cubicBezTo>
                    <a:pt x="1144" y="1278"/>
                    <a:pt x="1144" y="1278"/>
                    <a:pt x="1144" y="1278"/>
                  </a:cubicBezTo>
                  <a:cubicBezTo>
                    <a:pt x="1143" y="1266"/>
                    <a:pt x="1143" y="1266"/>
                    <a:pt x="1143" y="1266"/>
                  </a:cubicBezTo>
                  <a:cubicBezTo>
                    <a:pt x="1141" y="1258"/>
                    <a:pt x="1141" y="1258"/>
                    <a:pt x="1141" y="1258"/>
                  </a:cubicBezTo>
                  <a:cubicBezTo>
                    <a:pt x="1137" y="1250"/>
                    <a:pt x="1137" y="1250"/>
                    <a:pt x="1137" y="1250"/>
                  </a:cubicBezTo>
                  <a:cubicBezTo>
                    <a:pt x="1136" y="1245"/>
                    <a:pt x="1136" y="1245"/>
                    <a:pt x="1136" y="1245"/>
                  </a:cubicBezTo>
                  <a:cubicBezTo>
                    <a:pt x="1130" y="1243"/>
                    <a:pt x="1130" y="1243"/>
                    <a:pt x="1130" y="1243"/>
                  </a:cubicBezTo>
                  <a:cubicBezTo>
                    <a:pt x="1126" y="1246"/>
                    <a:pt x="1126" y="1246"/>
                    <a:pt x="1126" y="1246"/>
                  </a:cubicBezTo>
                  <a:cubicBezTo>
                    <a:pt x="1121" y="1252"/>
                    <a:pt x="1121" y="1252"/>
                    <a:pt x="1121" y="1252"/>
                  </a:cubicBezTo>
                  <a:cubicBezTo>
                    <a:pt x="1116" y="1258"/>
                    <a:pt x="1116" y="1258"/>
                    <a:pt x="1116" y="1258"/>
                  </a:cubicBezTo>
                  <a:cubicBezTo>
                    <a:pt x="1114" y="1257"/>
                    <a:pt x="1114" y="1257"/>
                    <a:pt x="1114" y="1257"/>
                  </a:cubicBezTo>
                  <a:cubicBezTo>
                    <a:pt x="1111" y="1255"/>
                    <a:pt x="1111" y="1255"/>
                    <a:pt x="1111" y="1255"/>
                  </a:cubicBezTo>
                  <a:cubicBezTo>
                    <a:pt x="1111" y="1251"/>
                    <a:pt x="1111" y="1251"/>
                    <a:pt x="1111" y="1251"/>
                  </a:cubicBezTo>
                  <a:cubicBezTo>
                    <a:pt x="1113" y="1247"/>
                    <a:pt x="1113" y="1247"/>
                    <a:pt x="1113" y="1247"/>
                  </a:cubicBezTo>
                  <a:cubicBezTo>
                    <a:pt x="1117" y="1244"/>
                    <a:pt x="1117" y="1244"/>
                    <a:pt x="1117" y="1244"/>
                  </a:cubicBezTo>
                  <a:cubicBezTo>
                    <a:pt x="1118" y="1241"/>
                    <a:pt x="1118" y="1241"/>
                    <a:pt x="1118" y="1241"/>
                  </a:cubicBezTo>
                  <a:cubicBezTo>
                    <a:pt x="1119" y="1238"/>
                    <a:pt x="1119" y="1238"/>
                    <a:pt x="1119" y="1238"/>
                  </a:cubicBezTo>
                  <a:cubicBezTo>
                    <a:pt x="1122" y="1235"/>
                    <a:pt x="1122" y="1235"/>
                    <a:pt x="1122" y="1235"/>
                  </a:cubicBezTo>
                  <a:cubicBezTo>
                    <a:pt x="1122" y="1227"/>
                    <a:pt x="1122" y="1227"/>
                    <a:pt x="1122" y="1227"/>
                  </a:cubicBezTo>
                  <a:cubicBezTo>
                    <a:pt x="1120" y="1223"/>
                    <a:pt x="1120" y="1223"/>
                    <a:pt x="1120" y="1223"/>
                  </a:cubicBezTo>
                  <a:cubicBezTo>
                    <a:pt x="1116" y="1219"/>
                    <a:pt x="1116" y="1219"/>
                    <a:pt x="1116" y="1219"/>
                  </a:cubicBezTo>
                  <a:cubicBezTo>
                    <a:pt x="1117" y="1217"/>
                    <a:pt x="1117" y="1217"/>
                    <a:pt x="1117" y="1217"/>
                  </a:cubicBezTo>
                  <a:cubicBezTo>
                    <a:pt x="1120" y="1215"/>
                    <a:pt x="1120" y="1215"/>
                    <a:pt x="1120" y="1215"/>
                  </a:cubicBezTo>
                  <a:cubicBezTo>
                    <a:pt x="1118" y="1210"/>
                    <a:pt x="1118" y="1210"/>
                    <a:pt x="1118" y="1210"/>
                  </a:cubicBezTo>
                  <a:cubicBezTo>
                    <a:pt x="1109" y="1206"/>
                    <a:pt x="1109" y="1206"/>
                    <a:pt x="1109" y="1206"/>
                  </a:cubicBezTo>
                  <a:cubicBezTo>
                    <a:pt x="1102" y="1204"/>
                    <a:pt x="1102" y="1204"/>
                    <a:pt x="1102" y="1204"/>
                  </a:cubicBezTo>
                  <a:cubicBezTo>
                    <a:pt x="1100" y="1202"/>
                    <a:pt x="1100" y="1202"/>
                    <a:pt x="1100" y="1202"/>
                  </a:cubicBezTo>
                  <a:cubicBezTo>
                    <a:pt x="1094" y="1201"/>
                    <a:pt x="1094" y="1201"/>
                    <a:pt x="1094" y="1201"/>
                  </a:cubicBezTo>
                  <a:cubicBezTo>
                    <a:pt x="1090" y="1199"/>
                    <a:pt x="1090" y="1199"/>
                    <a:pt x="1090" y="1199"/>
                  </a:cubicBezTo>
                  <a:cubicBezTo>
                    <a:pt x="1084" y="1201"/>
                    <a:pt x="1084" y="1201"/>
                    <a:pt x="1084" y="1201"/>
                  </a:cubicBezTo>
                  <a:cubicBezTo>
                    <a:pt x="1083" y="1207"/>
                    <a:pt x="1083" y="1207"/>
                    <a:pt x="1083" y="1207"/>
                  </a:cubicBezTo>
                  <a:cubicBezTo>
                    <a:pt x="1084" y="1210"/>
                    <a:pt x="1084" y="1210"/>
                    <a:pt x="1084" y="1210"/>
                  </a:cubicBezTo>
                  <a:cubicBezTo>
                    <a:pt x="1078" y="1215"/>
                    <a:pt x="1078" y="1215"/>
                    <a:pt x="1078" y="1215"/>
                  </a:cubicBezTo>
                  <a:cubicBezTo>
                    <a:pt x="1078" y="1221"/>
                    <a:pt x="1078" y="1221"/>
                    <a:pt x="1078" y="1221"/>
                  </a:cubicBezTo>
                  <a:cubicBezTo>
                    <a:pt x="1076" y="1225"/>
                    <a:pt x="1076" y="1225"/>
                    <a:pt x="1076" y="1225"/>
                  </a:cubicBezTo>
                  <a:cubicBezTo>
                    <a:pt x="1074" y="1226"/>
                    <a:pt x="1074" y="1226"/>
                    <a:pt x="1074" y="1226"/>
                  </a:cubicBezTo>
                  <a:cubicBezTo>
                    <a:pt x="1074" y="1220"/>
                    <a:pt x="1074" y="1220"/>
                    <a:pt x="1074" y="1220"/>
                  </a:cubicBezTo>
                  <a:cubicBezTo>
                    <a:pt x="1073" y="1216"/>
                    <a:pt x="1073" y="1216"/>
                    <a:pt x="1073" y="1216"/>
                  </a:cubicBezTo>
                  <a:cubicBezTo>
                    <a:pt x="1070" y="1222"/>
                    <a:pt x="1070" y="1222"/>
                    <a:pt x="1070" y="1222"/>
                  </a:cubicBezTo>
                  <a:cubicBezTo>
                    <a:pt x="1067" y="1223"/>
                    <a:pt x="1067" y="1223"/>
                    <a:pt x="1067" y="1223"/>
                  </a:cubicBezTo>
                  <a:cubicBezTo>
                    <a:pt x="1062" y="1231"/>
                    <a:pt x="1062" y="1231"/>
                    <a:pt x="1062" y="1231"/>
                  </a:cubicBezTo>
                  <a:cubicBezTo>
                    <a:pt x="1061" y="1243"/>
                    <a:pt x="1061" y="1243"/>
                    <a:pt x="1061" y="1243"/>
                  </a:cubicBezTo>
                  <a:cubicBezTo>
                    <a:pt x="1057" y="1250"/>
                    <a:pt x="1057" y="1250"/>
                    <a:pt x="1057" y="1250"/>
                  </a:cubicBezTo>
                  <a:cubicBezTo>
                    <a:pt x="1059" y="1256"/>
                    <a:pt x="1059" y="1256"/>
                    <a:pt x="1059" y="1256"/>
                  </a:cubicBezTo>
                  <a:cubicBezTo>
                    <a:pt x="1059" y="1262"/>
                    <a:pt x="1059" y="1262"/>
                    <a:pt x="1059" y="1262"/>
                  </a:cubicBezTo>
                  <a:cubicBezTo>
                    <a:pt x="1063" y="1271"/>
                    <a:pt x="1063" y="1271"/>
                    <a:pt x="1063" y="1271"/>
                  </a:cubicBezTo>
                  <a:cubicBezTo>
                    <a:pt x="1067" y="1280"/>
                    <a:pt x="1067" y="1280"/>
                    <a:pt x="1067" y="1280"/>
                  </a:cubicBezTo>
                  <a:cubicBezTo>
                    <a:pt x="1067" y="1288"/>
                    <a:pt x="1067" y="1288"/>
                    <a:pt x="1067" y="1288"/>
                  </a:cubicBezTo>
                  <a:cubicBezTo>
                    <a:pt x="1065" y="1300"/>
                    <a:pt x="1065" y="1300"/>
                    <a:pt x="1065" y="1300"/>
                  </a:cubicBezTo>
                  <a:cubicBezTo>
                    <a:pt x="1060" y="1309"/>
                    <a:pt x="1060" y="1309"/>
                    <a:pt x="1060" y="1309"/>
                  </a:cubicBezTo>
                  <a:cubicBezTo>
                    <a:pt x="1057" y="1314"/>
                    <a:pt x="1057" y="1314"/>
                    <a:pt x="1057" y="1314"/>
                  </a:cubicBezTo>
                  <a:cubicBezTo>
                    <a:pt x="1053" y="1316"/>
                    <a:pt x="1053" y="1316"/>
                    <a:pt x="1053" y="1316"/>
                  </a:cubicBezTo>
                  <a:cubicBezTo>
                    <a:pt x="1046" y="1317"/>
                    <a:pt x="1046" y="1317"/>
                    <a:pt x="1046" y="1317"/>
                  </a:cubicBezTo>
                  <a:cubicBezTo>
                    <a:pt x="1042" y="1315"/>
                    <a:pt x="1042" y="1315"/>
                    <a:pt x="1042" y="1315"/>
                  </a:cubicBezTo>
                  <a:cubicBezTo>
                    <a:pt x="1040" y="1314"/>
                    <a:pt x="1040" y="1314"/>
                    <a:pt x="1040" y="1314"/>
                  </a:cubicBezTo>
                  <a:cubicBezTo>
                    <a:pt x="1039" y="1307"/>
                    <a:pt x="1039" y="1307"/>
                    <a:pt x="1039" y="1307"/>
                  </a:cubicBezTo>
                  <a:cubicBezTo>
                    <a:pt x="1037" y="1304"/>
                    <a:pt x="1037" y="1304"/>
                    <a:pt x="1037" y="1304"/>
                  </a:cubicBezTo>
                  <a:cubicBezTo>
                    <a:pt x="1034" y="1301"/>
                    <a:pt x="1034" y="1301"/>
                    <a:pt x="1034" y="1301"/>
                  </a:cubicBezTo>
                  <a:cubicBezTo>
                    <a:pt x="1033" y="1294"/>
                    <a:pt x="1033" y="1294"/>
                    <a:pt x="1033" y="1294"/>
                  </a:cubicBezTo>
                  <a:cubicBezTo>
                    <a:pt x="1033" y="1286"/>
                    <a:pt x="1033" y="1286"/>
                    <a:pt x="1033" y="1286"/>
                  </a:cubicBezTo>
                  <a:cubicBezTo>
                    <a:pt x="1031" y="1278"/>
                    <a:pt x="1031" y="1278"/>
                    <a:pt x="1031" y="1278"/>
                  </a:cubicBezTo>
                  <a:cubicBezTo>
                    <a:pt x="1030" y="1270"/>
                    <a:pt x="1030" y="1270"/>
                    <a:pt x="1030" y="1270"/>
                  </a:cubicBezTo>
                  <a:cubicBezTo>
                    <a:pt x="1033" y="1262"/>
                    <a:pt x="1033" y="1262"/>
                    <a:pt x="1033" y="1262"/>
                  </a:cubicBezTo>
                  <a:cubicBezTo>
                    <a:pt x="1033" y="1250"/>
                    <a:pt x="1033" y="1250"/>
                    <a:pt x="1033" y="1250"/>
                  </a:cubicBezTo>
                  <a:cubicBezTo>
                    <a:pt x="1037" y="1247"/>
                    <a:pt x="1037" y="1247"/>
                    <a:pt x="1037" y="1247"/>
                  </a:cubicBezTo>
                  <a:cubicBezTo>
                    <a:pt x="1036" y="1238"/>
                    <a:pt x="1036" y="1238"/>
                    <a:pt x="1036" y="1238"/>
                  </a:cubicBezTo>
                  <a:cubicBezTo>
                    <a:pt x="1039" y="1234"/>
                    <a:pt x="1039" y="1234"/>
                    <a:pt x="1039" y="1234"/>
                  </a:cubicBezTo>
                  <a:cubicBezTo>
                    <a:pt x="1039" y="1230"/>
                    <a:pt x="1039" y="1230"/>
                    <a:pt x="1039" y="1230"/>
                  </a:cubicBezTo>
                  <a:cubicBezTo>
                    <a:pt x="1044" y="1221"/>
                    <a:pt x="1044" y="1221"/>
                    <a:pt x="1044" y="1221"/>
                  </a:cubicBezTo>
                  <a:cubicBezTo>
                    <a:pt x="1045" y="1217"/>
                    <a:pt x="1045" y="1217"/>
                    <a:pt x="1045" y="1217"/>
                  </a:cubicBezTo>
                  <a:cubicBezTo>
                    <a:pt x="1044" y="1214"/>
                    <a:pt x="1044" y="1214"/>
                    <a:pt x="1044" y="1214"/>
                  </a:cubicBezTo>
                  <a:cubicBezTo>
                    <a:pt x="1040" y="1219"/>
                    <a:pt x="1040" y="1219"/>
                    <a:pt x="1040" y="1219"/>
                  </a:cubicBezTo>
                  <a:cubicBezTo>
                    <a:pt x="1039" y="1223"/>
                    <a:pt x="1039" y="1223"/>
                    <a:pt x="1039" y="1223"/>
                  </a:cubicBezTo>
                  <a:cubicBezTo>
                    <a:pt x="1037" y="1227"/>
                    <a:pt x="1037" y="1227"/>
                    <a:pt x="1037" y="1227"/>
                  </a:cubicBezTo>
                  <a:cubicBezTo>
                    <a:pt x="1032" y="1230"/>
                    <a:pt x="1032" y="1230"/>
                    <a:pt x="1032" y="1230"/>
                  </a:cubicBezTo>
                  <a:cubicBezTo>
                    <a:pt x="1028" y="1237"/>
                    <a:pt x="1028" y="1237"/>
                    <a:pt x="1028" y="1237"/>
                  </a:cubicBezTo>
                  <a:cubicBezTo>
                    <a:pt x="1025" y="1236"/>
                    <a:pt x="1025" y="1236"/>
                    <a:pt x="1025" y="1236"/>
                  </a:cubicBezTo>
                  <a:cubicBezTo>
                    <a:pt x="1026" y="1231"/>
                    <a:pt x="1026" y="1231"/>
                    <a:pt x="1026" y="1231"/>
                  </a:cubicBezTo>
                  <a:cubicBezTo>
                    <a:pt x="1029" y="1225"/>
                    <a:pt x="1029" y="1225"/>
                    <a:pt x="1029" y="1225"/>
                  </a:cubicBezTo>
                  <a:cubicBezTo>
                    <a:pt x="1031" y="1221"/>
                    <a:pt x="1031" y="1221"/>
                    <a:pt x="1031" y="1221"/>
                  </a:cubicBezTo>
                  <a:cubicBezTo>
                    <a:pt x="1034" y="1221"/>
                    <a:pt x="1034" y="1221"/>
                    <a:pt x="1034" y="1221"/>
                  </a:cubicBezTo>
                  <a:cubicBezTo>
                    <a:pt x="1034" y="1217"/>
                    <a:pt x="1034" y="1217"/>
                    <a:pt x="1034" y="1217"/>
                  </a:cubicBezTo>
                  <a:cubicBezTo>
                    <a:pt x="1039" y="1209"/>
                    <a:pt x="1039" y="1209"/>
                    <a:pt x="1039" y="1209"/>
                  </a:cubicBezTo>
                  <a:cubicBezTo>
                    <a:pt x="1043" y="1202"/>
                    <a:pt x="1043" y="1202"/>
                    <a:pt x="1043" y="1202"/>
                  </a:cubicBezTo>
                  <a:cubicBezTo>
                    <a:pt x="1046" y="1203"/>
                    <a:pt x="1046" y="1203"/>
                    <a:pt x="1046" y="1203"/>
                  </a:cubicBezTo>
                  <a:cubicBezTo>
                    <a:pt x="1048" y="1199"/>
                    <a:pt x="1048" y="1199"/>
                    <a:pt x="1048" y="1199"/>
                  </a:cubicBezTo>
                  <a:cubicBezTo>
                    <a:pt x="1052" y="1200"/>
                    <a:pt x="1052" y="1200"/>
                    <a:pt x="1052" y="1200"/>
                  </a:cubicBezTo>
                  <a:cubicBezTo>
                    <a:pt x="1049" y="1204"/>
                    <a:pt x="1049" y="1204"/>
                    <a:pt x="1049" y="1204"/>
                  </a:cubicBezTo>
                  <a:cubicBezTo>
                    <a:pt x="1051" y="1206"/>
                    <a:pt x="1051" y="1206"/>
                    <a:pt x="1051" y="1206"/>
                  </a:cubicBezTo>
                  <a:cubicBezTo>
                    <a:pt x="1058" y="1199"/>
                    <a:pt x="1058" y="1199"/>
                    <a:pt x="1058" y="1199"/>
                  </a:cubicBezTo>
                  <a:cubicBezTo>
                    <a:pt x="1058" y="1197"/>
                    <a:pt x="1058" y="1197"/>
                    <a:pt x="1058" y="1197"/>
                  </a:cubicBezTo>
                  <a:cubicBezTo>
                    <a:pt x="1064" y="1197"/>
                    <a:pt x="1064" y="1197"/>
                    <a:pt x="1064" y="1197"/>
                  </a:cubicBezTo>
                  <a:cubicBezTo>
                    <a:pt x="1075" y="1191"/>
                    <a:pt x="1075" y="1191"/>
                    <a:pt x="1075" y="1191"/>
                  </a:cubicBezTo>
                  <a:cubicBezTo>
                    <a:pt x="1084" y="1193"/>
                    <a:pt x="1084" y="1193"/>
                    <a:pt x="1084" y="1193"/>
                  </a:cubicBezTo>
                  <a:cubicBezTo>
                    <a:pt x="1088" y="1195"/>
                    <a:pt x="1088" y="1195"/>
                    <a:pt x="1088" y="1195"/>
                  </a:cubicBezTo>
                  <a:cubicBezTo>
                    <a:pt x="1091" y="1192"/>
                    <a:pt x="1091" y="1192"/>
                    <a:pt x="1091" y="1192"/>
                  </a:cubicBezTo>
                  <a:cubicBezTo>
                    <a:pt x="1111" y="1192"/>
                    <a:pt x="1111" y="1192"/>
                    <a:pt x="1111" y="1192"/>
                  </a:cubicBezTo>
                  <a:cubicBezTo>
                    <a:pt x="1113" y="1190"/>
                    <a:pt x="1113" y="1190"/>
                    <a:pt x="1113" y="1190"/>
                  </a:cubicBezTo>
                  <a:cubicBezTo>
                    <a:pt x="1111" y="1188"/>
                    <a:pt x="1111" y="1188"/>
                    <a:pt x="1111" y="1188"/>
                  </a:cubicBezTo>
                  <a:cubicBezTo>
                    <a:pt x="1104" y="1188"/>
                    <a:pt x="1104" y="1188"/>
                    <a:pt x="1104" y="1188"/>
                  </a:cubicBezTo>
                  <a:cubicBezTo>
                    <a:pt x="1101" y="1187"/>
                    <a:pt x="1101" y="1187"/>
                    <a:pt x="1101" y="1187"/>
                  </a:cubicBezTo>
                  <a:cubicBezTo>
                    <a:pt x="1097" y="1180"/>
                    <a:pt x="1097" y="1180"/>
                    <a:pt x="1097" y="1180"/>
                  </a:cubicBezTo>
                  <a:cubicBezTo>
                    <a:pt x="1093" y="1179"/>
                    <a:pt x="1093" y="1179"/>
                    <a:pt x="1093" y="1179"/>
                  </a:cubicBezTo>
                  <a:cubicBezTo>
                    <a:pt x="1083" y="1180"/>
                    <a:pt x="1083" y="1180"/>
                    <a:pt x="1083" y="1180"/>
                  </a:cubicBezTo>
                  <a:cubicBezTo>
                    <a:pt x="1080" y="1175"/>
                    <a:pt x="1080" y="1175"/>
                    <a:pt x="1080" y="1175"/>
                  </a:cubicBezTo>
                  <a:cubicBezTo>
                    <a:pt x="1082" y="1172"/>
                    <a:pt x="1082" y="1172"/>
                    <a:pt x="1082" y="1172"/>
                  </a:cubicBezTo>
                  <a:cubicBezTo>
                    <a:pt x="1078" y="1171"/>
                    <a:pt x="1078" y="1171"/>
                    <a:pt x="1078" y="1171"/>
                  </a:cubicBezTo>
                  <a:cubicBezTo>
                    <a:pt x="1073" y="1174"/>
                    <a:pt x="1073" y="1174"/>
                    <a:pt x="1073" y="1174"/>
                  </a:cubicBezTo>
                  <a:cubicBezTo>
                    <a:pt x="1057" y="1176"/>
                    <a:pt x="1057" y="1176"/>
                    <a:pt x="1057" y="1176"/>
                  </a:cubicBezTo>
                  <a:cubicBezTo>
                    <a:pt x="1052" y="1179"/>
                    <a:pt x="1052" y="1179"/>
                    <a:pt x="1052" y="1179"/>
                  </a:cubicBezTo>
                  <a:cubicBezTo>
                    <a:pt x="1048" y="1183"/>
                    <a:pt x="1048" y="1183"/>
                    <a:pt x="1048" y="1183"/>
                  </a:cubicBezTo>
                  <a:cubicBezTo>
                    <a:pt x="1040" y="1180"/>
                    <a:pt x="1040" y="1180"/>
                    <a:pt x="1040" y="1180"/>
                  </a:cubicBezTo>
                  <a:cubicBezTo>
                    <a:pt x="1038" y="1181"/>
                    <a:pt x="1038" y="1181"/>
                    <a:pt x="1038" y="1181"/>
                  </a:cubicBezTo>
                  <a:cubicBezTo>
                    <a:pt x="1033" y="1181"/>
                    <a:pt x="1033" y="1181"/>
                    <a:pt x="1033" y="1181"/>
                  </a:cubicBezTo>
                  <a:cubicBezTo>
                    <a:pt x="1031" y="1176"/>
                    <a:pt x="1031" y="1176"/>
                    <a:pt x="1031" y="1176"/>
                  </a:cubicBezTo>
                  <a:cubicBezTo>
                    <a:pt x="1027" y="1174"/>
                    <a:pt x="1027" y="1174"/>
                    <a:pt x="1027" y="1174"/>
                  </a:cubicBezTo>
                  <a:cubicBezTo>
                    <a:pt x="1021" y="1171"/>
                    <a:pt x="1021" y="1171"/>
                    <a:pt x="1021" y="1171"/>
                  </a:cubicBezTo>
                  <a:cubicBezTo>
                    <a:pt x="1016" y="1172"/>
                    <a:pt x="1016" y="1172"/>
                    <a:pt x="1016" y="1172"/>
                  </a:cubicBezTo>
                  <a:cubicBezTo>
                    <a:pt x="1012" y="1175"/>
                    <a:pt x="1012" y="1175"/>
                    <a:pt x="1012" y="1175"/>
                  </a:cubicBezTo>
                  <a:cubicBezTo>
                    <a:pt x="1013" y="1168"/>
                    <a:pt x="1013" y="1168"/>
                    <a:pt x="1013" y="1168"/>
                  </a:cubicBezTo>
                  <a:cubicBezTo>
                    <a:pt x="1017" y="1166"/>
                    <a:pt x="1017" y="1166"/>
                    <a:pt x="1017" y="1166"/>
                  </a:cubicBezTo>
                  <a:cubicBezTo>
                    <a:pt x="1021" y="1159"/>
                    <a:pt x="1021" y="1159"/>
                    <a:pt x="1021" y="1159"/>
                  </a:cubicBezTo>
                  <a:cubicBezTo>
                    <a:pt x="1025" y="1156"/>
                    <a:pt x="1025" y="1156"/>
                    <a:pt x="1025" y="1156"/>
                  </a:cubicBezTo>
                  <a:cubicBezTo>
                    <a:pt x="1023" y="1155"/>
                    <a:pt x="1023" y="1155"/>
                    <a:pt x="1023" y="1155"/>
                  </a:cubicBezTo>
                  <a:cubicBezTo>
                    <a:pt x="1015" y="1157"/>
                    <a:pt x="1015" y="1157"/>
                    <a:pt x="1015" y="1157"/>
                  </a:cubicBezTo>
                  <a:cubicBezTo>
                    <a:pt x="1009" y="1163"/>
                    <a:pt x="1009" y="1163"/>
                    <a:pt x="1009" y="1163"/>
                  </a:cubicBezTo>
                  <a:cubicBezTo>
                    <a:pt x="1007" y="1163"/>
                    <a:pt x="1007" y="1163"/>
                    <a:pt x="1007" y="1163"/>
                  </a:cubicBezTo>
                  <a:cubicBezTo>
                    <a:pt x="1000" y="1171"/>
                    <a:pt x="1000" y="1171"/>
                    <a:pt x="1000" y="1171"/>
                  </a:cubicBezTo>
                  <a:cubicBezTo>
                    <a:pt x="990" y="1175"/>
                    <a:pt x="990" y="1175"/>
                    <a:pt x="990" y="1175"/>
                  </a:cubicBezTo>
                  <a:cubicBezTo>
                    <a:pt x="987" y="1176"/>
                    <a:pt x="987" y="1176"/>
                    <a:pt x="987" y="1176"/>
                  </a:cubicBezTo>
                  <a:cubicBezTo>
                    <a:pt x="983" y="1179"/>
                    <a:pt x="983" y="1179"/>
                    <a:pt x="983" y="1179"/>
                  </a:cubicBezTo>
                  <a:cubicBezTo>
                    <a:pt x="975" y="1183"/>
                    <a:pt x="975" y="1183"/>
                    <a:pt x="975" y="1183"/>
                  </a:cubicBezTo>
                  <a:cubicBezTo>
                    <a:pt x="972" y="1183"/>
                    <a:pt x="972" y="1183"/>
                    <a:pt x="972" y="1183"/>
                  </a:cubicBezTo>
                  <a:cubicBezTo>
                    <a:pt x="969" y="1181"/>
                    <a:pt x="969" y="1181"/>
                    <a:pt x="969" y="1181"/>
                  </a:cubicBezTo>
                  <a:cubicBezTo>
                    <a:pt x="964" y="1182"/>
                    <a:pt x="964" y="1182"/>
                    <a:pt x="964" y="1182"/>
                  </a:cubicBezTo>
                  <a:cubicBezTo>
                    <a:pt x="966" y="1175"/>
                    <a:pt x="966" y="1175"/>
                    <a:pt x="966" y="1175"/>
                  </a:cubicBezTo>
                  <a:cubicBezTo>
                    <a:pt x="963" y="1173"/>
                    <a:pt x="963" y="1173"/>
                    <a:pt x="963" y="1173"/>
                  </a:cubicBezTo>
                  <a:cubicBezTo>
                    <a:pt x="953" y="1179"/>
                    <a:pt x="953" y="1179"/>
                    <a:pt x="953" y="1179"/>
                  </a:cubicBezTo>
                  <a:cubicBezTo>
                    <a:pt x="948" y="1182"/>
                    <a:pt x="948" y="1182"/>
                    <a:pt x="948" y="1182"/>
                  </a:cubicBezTo>
                  <a:cubicBezTo>
                    <a:pt x="940" y="1181"/>
                    <a:pt x="940" y="1181"/>
                    <a:pt x="940" y="1181"/>
                  </a:cubicBezTo>
                  <a:cubicBezTo>
                    <a:pt x="951" y="1171"/>
                    <a:pt x="951" y="1171"/>
                    <a:pt x="951" y="1171"/>
                  </a:cubicBezTo>
                  <a:cubicBezTo>
                    <a:pt x="964" y="1157"/>
                    <a:pt x="964" y="1157"/>
                    <a:pt x="964" y="1157"/>
                  </a:cubicBezTo>
                  <a:cubicBezTo>
                    <a:pt x="970" y="1155"/>
                    <a:pt x="970" y="1155"/>
                    <a:pt x="970" y="1155"/>
                  </a:cubicBezTo>
                  <a:cubicBezTo>
                    <a:pt x="976" y="1150"/>
                    <a:pt x="976" y="1150"/>
                    <a:pt x="976" y="1150"/>
                  </a:cubicBezTo>
                  <a:cubicBezTo>
                    <a:pt x="980" y="1150"/>
                    <a:pt x="980" y="1150"/>
                    <a:pt x="980" y="1150"/>
                  </a:cubicBezTo>
                  <a:cubicBezTo>
                    <a:pt x="989" y="1143"/>
                    <a:pt x="989" y="1143"/>
                    <a:pt x="989" y="1143"/>
                  </a:cubicBezTo>
                  <a:cubicBezTo>
                    <a:pt x="983" y="1143"/>
                    <a:pt x="983" y="1143"/>
                    <a:pt x="983" y="1143"/>
                  </a:cubicBezTo>
                  <a:cubicBezTo>
                    <a:pt x="979" y="1140"/>
                    <a:pt x="979" y="1140"/>
                    <a:pt x="979" y="1140"/>
                  </a:cubicBezTo>
                  <a:cubicBezTo>
                    <a:pt x="966" y="1141"/>
                    <a:pt x="966" y="1141"/>
                    <a:pt x="966" y="1141"/>
                  </a:cubicBezTo>
                  <a:cubicBezTo>
                    <a:pt x="962" y="1138"/>
                    <a:pt x="962" y="1138"/>
                    <a:pt x="962" y="1138"/>
                  </a:cubicBezTo>
                  <a:cubicBezTo>
                    <a:pt x="953" y="1143"/>
                    <a:pt x="953" y="1143"/>
                    <a:pt x="953" y="1143"/>
                  </a:cubicBezTo>
                  <a:cubicBezTo>
                    <a:pt x="949" y="1143"/>
                    <a:pt x="949" y="1143"/>
                    <a:pt x="949" y="1143"/>
                  </a:cubicBezTo>
                  <a:cubicBezTo>
                    <a:pt x="944" y="1139"/>
                    <a:pt x="944" y="1139"/>
                    <a:pt x="944" y="1139"/>
                  </a:cubicBezTo>
                  <a:cubicBezTo>
                    <a:pt x="942" y="1138"/>
                    <a:pt x="942" y="1138"/>
                    <a:pt x="942" y="1138"/>
                  </a:cubicBezTo>
                  <a:cubicBezTo>
                    <a:pt x="938" y="1135"/>
                    <a:pt x="938" y="1135"/>
                    <a:pt x="938" y="1135"/>
                  </a:cubicBezTo>
                  <a:cubicBezTo>
                    <a:pt x="935" y="1138"/>
                    <a:pt x="935" y="1138"/>
                    <a:pt x="935" y="1138"/>
                  </a:cubicBezTo>
                  <a:cubicBezTo>
                    <a:pt x="932" y="1138"/>
                    <a:pt x="932" y="1138"/>
                    <a:pt x="932" y="1138"/>
                  </a:cubicBezTo>
                  <a:cubicBezTo>
                    <a:pt x="932" y="1135"/>
                    <a:pt x="932" y="1135"/>
                    <a:pt x="932" y="1135"/>
                  </a:cubicBezTo>
                  <a:cubicBezTo>
                    <a:pt x="929" y="1133"/>
                    <a:pt x="929" y="1133"/>
                    <a:pt x="929" y="1133"/>
                  </a:cubicBezTo>
                  <a:cubicBezTo>
                    <a:pt x="925" y="1130"/>
                    <a:pt x="925" y="1130"/>
                    <a:pt x="925" y="1130"/>
                  </a:cubicBezTo>
                  <a:cubicBezTo>
                    <a:pt x="914" y="1130"/>
                    <a:pt x="914" y="1130"/>
                    <a:pt x="914" y="1130"/>
                  </a:cubicBezTo>
                  <a:cubicBezTo>
                    <a:pt x="912" y="1131"/>
                    <a:pt x="912" y="1131"/>
                    <a:pt x="912" y="1131"/>
                  </a:cubicBezTo>
                  <a:cubicBezTo>
                    <a:pt x="907" y="1132"/>
                    <a:pt x="907" y="1132"/>
                    <a:pt x="907" y="1132"/>
                  </a:cubicBezTo>
                  <a:cubicBezTo>
                    <a:pt x="905" y="1130"/>
                    <a:pt x="905" y="1130"/>
                    <a:pt x="905" y="1130"/>
                  </a:cubicBezTo>
                  <a:cubicBezTo>
                    <a:pt x="898" y="1128"/>
                    <a:pt x="898" y="1128"/>
                    <a:pt x="898" y="1128"/>
                  </a:cubicBezTo>
                  <a:cubicBezTo>
                    <a:pt x="892" y="1127"/>
                    <a:pt x="892" y="1127"/>
                    <a:pt x="892" y="1127"/>
                  </a:cubicBezTo>
                  <a:cubicBezTo>
                    <a:pt x="889" y="1125"/>
                    <a:pt x="889" y="1125"/>
                    <a:pt x="889" y="1125"/>
                  </a:cubicBezTo>
                  <a:cubicBezTo>
                    <a:pt x="890" y="1122"/>
                    <a:pt x="890" y="1122"/>
                    <a:pt x="890" y="1122"/>
                  </a:cubicBezTo>
                  <a:cubicBezTo>
                    <a:pt x="888" y="1117"/>
                    <a:pt x="888" y="1117"/>
                    <a:pt x="888" y="1117"/>
                  </a:cubicBezTo>
                  <a:cubicBezTo>
                    <a:pt x="888" y="1112"/>
                    <a:pt x="888" y="1112"/>
                    <a:pt x="888" y="1112"/>
                  </a:cubicBezTo>
                  <a:cubicBezTo>
                    <a:pt x="882" y="1110"/>
                    <a:pt x="882" y="1110"/>
                    <a:pt x="882" y="1110"/>
                  </a:cubicBezTo>
                  <a:cubicBezTo>
                    <a:pt x="880" y="1119"/>
                    <a:pt x="880" y="1119"/>
                    <a:pt x="880" y="1119"/>
                  </a:cubicBezTo>
                  <a:cubicBezTo>
                    <a:pt x="842" y="1122"/>
                    <a:pt x="842" y="1122"/>
                    <a:pt x="842" y="1122"/>
                  </a:cubicBezTo>
                  <a:cubicBezTo>
                    <a:pt x="712" y="1122"/>
                    <a:pt x="712" y="1122"/>
                    <a:pt x="712" y="1122"/>
                  </a:cubicBezTo>
                  <a:cubicBezTo>
                    <a:pt x="597" y="1122"/>
                    <a:pt x="597" y="1122"/>
                    <a:pt x="597" y="1122"/>
                  </a:cubicBezTo>
                  <a:cubicBezTo>
                    <a:pt x="561" y="1120"/>
                    <a:pt x="561" y="1120"/>
                    <a:pt x="561" y="1120"/>
                  </a:cubicBezTo>
                  <a:cubicBezTo>
                    <a:pt x="489" y="1120"/>
                    <a:pt x="489" y="1120"/>
                    <a:pt x="489" y="1120"/>
                  </a:cubicBezTo>
                  <a:cubicBezTo>
                    <a:pt x="471" y="1120"/>
                    <a:pt x="471" y="1120"/>
                    <a:pt x="471" y="1120"/>
                  </a:cubicBezTo>
                  <a:cubicBezTo>
                    <a:pt x="417" y="1118"/>
                    <a:pt x="417" y="1118"/>
                    <a:pt x="417" y="1118"/>
                  </a:cubicBezTo>
                  <a:cubicBezTo>
                    <a:pt x="368" y="1117"/>
                    <a:pt x="368" y="1117"/>
                    <a:pt x="368" y="1117"/>
                  </a:cubicBezTo>
                  <a:cubicBezTo>
                    <a:pt x="363" y="1113"/>
                    <a:pt x="363" y="1113"/>
                    <a:pt x="363" y="1113"/>
                  </a:cubicBezTo>
                  <a:cubicBezTo>
                    <a:pt x="346" y="1103"/>
                    <a:pt x="346" y="1103"/>
                    <a:pt x="346" y="1103"/>
                  </a:cubicBezTo>
                  <a:cubicBezTo>
                    <a:pt x="341" y="1085"/>
                    <a:pt x="341" y="1085"/>
                    <a:pt x="341" y="1085"/>
                  </a:cubicBezTo>
                  <a:cubicBezTo>
                    <a:pt x="326" y="1083"/>
                    <a:pt x="326" y="1083"/>
                    <a:pt x="326" y="1083"/>
                  </a:cubicBezTo>
                  <a:cubicBezTo>
                    <a:pt x="316" y="1068"/>
                    <a:pt x="316" y="1068"/>
                    <a:pt x="316" y="1068"/>
                  </a:cubicBezTo>
                  <a:cubicBezTo>
                    <a:pt x="299" y="1058"/>
                    <a:pt x="299" y="1058"/>
                    <a:pt x="299" y="1058"/>
                  </a:cubicBezTo>
                  <a:cubicBezTo>
                    <a:pt x="268" y="1038"/>
                    <a:pt x="268" y="1038"/>
                    <a:pt x="268" y="1038"/>
                  </a:cubicBezTo>
                  <a:cubicBezTo>
                    <a:pt x="263" y="1015"/>
                    <a:pt x="263" y="1015"/>
                    <a:pt x="263" y="1015"/>
                  </a:cubicBezTo>
                  <a:cubicBezTo>
                    <a:pt x="243" y="1000"/>
                    <a:pt x="243" y="1000"/>
                    <a:pt x="243" y="1000"/>
                  </a:cubicBezTo>
                  <a:cubicBezTo>
                    <a:pt x="238" y="978"/>
                    <a:pt x="238" y="978"/>
                    <a:pt x="238" y="978"/>
                  </a:cubicBezTo>
                  <a:cubicBezTo>
                    <a:pt x="218" y="965"/>
                    <a:pt x="218" y="965"/>
                    <a:pt x="218" y="965"/>
                  </a:cubicBezTo>
                  <a:cubicBezTo>
                    <a:pt x="218" y="950"/>
                    <a:pt x="218" y="950"/>
                    <a:pt x="218" y="950"/>
                  </a:cubicBezTo>
                  <a:cubicBezTo>
                    <a:pt x="213" y="942"/>
                    <a:pt x="213" y="942"/>
                    <a:pt x="213" y="942"/>
                  </a:cubicBezTo>
                  <a:cubicBezTo>
                    <a:pt x="223" y="922"/>
                    <a:pt x="223" y="922"/>
                    <a:pt x="223" y="922"/>
                  </a:cubicBezTo>
                  <a:cubicBezTo>
                    <a:pt x="226" y="902"/>
                    <a:pt x="226" y="902"/>
                    <a:pt x="226" y="902"/>
                  </a:cubicBezTo>
                  <a:cubicBezTo>
                    <a:pt x="223" y="900"/>
                    <a:pt x="223" y="900"/>
                    <a:pt x="223" y="900"/>
                  </a:cubicBezTo>
                  <a:cubicBezTo>
                    <a:pt x="221" y="910"/>
                    <a:pt x="221" y="910"/>
                    <a:pt x="221" y="910"/>
                  </a:cubicBezTo>
                  <a:cubicBezTo>
                    <a:pt x="211" y="930"/>
                    <a:pt x="211" y="930"/>
                    <a:pt x="211" y="930"/>
                  </a:cubicBezTo>
                  <a:cubicBezTo>
                    <a:pt x="208" y="925"/>
                    <a:pt x="208" y="925"/>
                    <a:pt x="208" y="925"/>
                  </a:cubicBezTo>
                  <a:cubicBezTo>
                    <a:pt x="216" y="910"/>
                    <a:pt x="216" y="910"/>
                    <a:pt x="216" y="910"/>
                  </a:cubicBezTo>
                  <a:cubicBezTo>
                    <a:pt x="208" y="890"/>
                    <a:pt x="208" y="890"/>
                    <a:pt x="208" y="890"/>
                  </a:cubicBezTo>
                  <a:cubicBezTo>
                    <a:pt x="201" y="875"/>
                    <a:pt x="201" y="875"/>
                    <a:pt x="201" y="875"/>
                  </a:cubicBezTo>
                  <a:cubicBezTo>
                    <a:pt x="181" y="867"/>
                    <a:pt x="181" y="867"/>
                    <a:pt x="181" y="867"/>
                  </a:cubicBezTo>
                  <a:cubicBezTo>
                    <a:pt x="168" y="840"/>
                    <a:pt x="168" y="840"/>
                    <a:pt x="168" y="840"/>
                  </a:cubicBezTo>
                  <a:cubicBezTo>
                    <a:pt x="128" y="772"/>
                    <a:pt x="128" y="772"/>
                    <a:pt x="128" y="772"/>
                  </a:cubicBezTo>
                  <a:cubicBezTo>
                    <a:pt x="118" y="754"/>
                    <a:pt x="118" y="754"/>
                    <a:pt x="118" y="754"/>
                  </a:cubicBezTo>
                  <a:cubicBezTo>
                    <a:pt x="95" y="752"/>
                    <a:pt x="95" y="752"/>
                    <a:pt x="95" y="752"/>
                  </a:cubicBezTo>
                  <a:cubicBezTo>
                    <a:pt x="75" y="775"/>
                    <a:pt x="75" y="775"/>
                    <a:pt x="75" y="775"/>
                  </a:cubicBezTo>
                  <a:cubicBezTo>
                    <a:pt x="50" y="742"/>
                    <a:pt x="50" y="742"/>
                    <a:pt x="50" y="742"/>
                  </a:cubicBezTo>
                  <a:cubicBezTo>
                    <a:pt x="43" y="739"/>
                    <a:pt x="43" y="739"/>
                    <a:pt x="43" y="739"/>
                  </a:cubicBezTo>
                  <a:cubicBezTo>
                    <a:pt x="38" y="729"/>
                    <a:pt x="38" y="729"/>
                    <a:pt x="38" y="729"/>
                  </a:cubicBezTo>
                  <a:cubicBezTo>
                    <a:pt x="13" y="732"/>
                    <a:pt x="13" y="732"/>
                    <a:pt x="13" y="732"/>
                  </a:cubicBezTo>
                  <a:cubicBezTo>
                    <a:pt x="5" y="722"/>
                    <a:pt x="5" y="722"/>
                    <a:pt x="5" y="722"/>
                  </a:cubicBezTo>
                  <a:cubicBezTo>
                    <a:pt x="0" y="358"/>
                    <a:pt x="0" y="358"/>
                    <a:pt x="0" y="358"/>
                  </a:cubicBezTo>
                  <a:cubicBezTo>
                    <a:pt x="50" y="366"/>
                    <a:pt x="50" y="366"/>
                    <a:pt x="50" y="366"/>
                  </a:cubicBezTo>
                  <a:cubicBezTo>
                    <a:pt x="68" y="376"/>
                    <a:pt x="68" y="376"/>
                    <a:pt x="68" y="376"/>
                  </a:cubicBezTo>
                  <a:cubicBezTo>
                    <a:pt x="103" y="383"/>
                    <a:pt x="103" y="383"/>
                    <a:pt x="103" y="383"/>
                  </a:cubicBezTo>
                  <a:cubicBezTo>
                    <a:pt x="110" y="368"/>
                    <a:pt x="110" y="368"/>
                    <a:pt x="110" y="368"/>
                  </a:cubicBezTo>
                  <a:cubicBezTo>
                    <a:pt x="133" y="351"/>
                    <a:pt x="133" y="351"/>
                    <a:pt x="133" y="351"/>
                  </a:cubicBezTo>
                  <a:cubicBezTo>
                    <a:pt x="136" y="378"/>
                    <a:pt x="136" y="378"/>
                    <a:pt x="136" y="378"/>
                  </a:cubicBezTo>
                  <a:cubicBezTo>
                    <a:pt x="181" y="346"/>
                    <a:pt x="181" y="346"/>
                    <a:pt x="181" y="346"/>
                  </a:cubicBezTo>
                  <a:cubicBezTo>
                    <a:pt x="201" y="338"/>
                    <a:pt x="201" y="338"/>
                    <a:pt x="201" y="338"/>
                  </a:cubicBezTo>
                  <a:cubicBezTo>
                    <a:pt x="213" y="341"/>
                    <a:pt x="213" y="341"/>
                    <a:pt x="213" y="341"/>
                  </a:cubicBezTo>
                  <a:cubicBezTo>
                    <a:pt x="226" y="331"/>
                    <a:pt x="226" y="331"/>
                    <a:pt x="226" y="331"/>
                  </a:cubicBezTo>
                  <a:cubicBezTo>
                    <a:pt x="231" y="353"/>
                    <a:pt x="231" y="353"/>
                    <a:pt x="231" y="353"/>
                  </a:cubicBezTo>
                  <a:cubicBezTo>
                    <a:pt x="238" y="368"/>
                    <a:pt x="238" y="368"/>
                    <a:pt x="238" y="368"/>
                  </a:cubicBezTo>
                  <a:cubicBezTo>
                    <a:pt x="251" y="338"/>
                    <a:pt x="251" y="338"/>
                    <a:pt x="251" y="338"/>
                  </a:cubicBezTo>
                  <a:cubicBezTo>
                    <a:pt x="258" y="343"/>
                    <a:pt x="258" y="343"/>
                    <a:pt x="258" y="343"/>
                  </a:cubicBezTo>
                  <a:cubicBezTo>
                    <a:pt x="256" y="303"/>
                    <a:pt x="256" y="303"/>
                    <a:pt x="256" y="303"/>
                  </a:cubicBezTo>
                  <a:cubicBezTo>
                    <a:pt x="258" y="301"/>
                    <a:pt x="258" y="301"/>
                    <a:pt x="258" y="301"/>
                  </a:cubicBezTo>
                  <a:cubicBezTo>
                    <a:pt x="271" y="308"/>
                    <a:pt x="271" y="308"/>
                    <a:pt x="271" y="308"/>
                  </a:cubicBezTo>
                  <a:cubicBezTo>
                    <a:pt x="309" y="368"/>
                    <a:pt x="309" y="368"/>
                    <a:pt x="309" y="368"/>
                  </a:cubicBezTo>
                  <a:cubicBezTo>
                    <a:pt x="316" y="366"/>
                    <a:pt x="316" y="366"/>
                    <a:pt x="316" y="366"/>
                  </a:cubicBezTo>
                  <a:cubicBezTo>
                    <a:pt x="316" y="338"/>
                    <a:pt x="316" y="338"/>
                    <a:pt x="316" y="338"/>
                  </a:cubicBezTo>
                  <a:cubicBezTo>
                    <a:pt x="324" y="328"/>
                    <a:pt x="324" y="328"/>
                    <a:pt x="324" y="328"/>
                  </a:cubicBezTo>
                  <a:cubicBezTo>
                    <a:pt x="329" y="338"/>
                    <a:pt x="329" y="338"/>
                    <a:pt x="329" y="338"/>
                  </a:cubicBezTo>
                  <a:cubicBezTo>
                    <a:pt x="329" y="368"/>
                    <a:pt x="329" y="368"/>
                    <a:pt x="329" y="368"/>
                  </a:cubicBezTo>
                  <a:cubicBezTo>
                    <a:pt x="341" y="366"/>
                    <a:pt x="341" y="366"/>
                    <a:pt x="341" y="366"/>
                  </a:cubicBezTo>
                  <a:cubicBezTo>
                    <a:pt x="349" y="348"/>
                    <a:pt x="349" y="348"/>
                    <a:pt x="349" y="348"/>
                  </a:cubicBezTo>
                  <a:cubicBezTo>
                    <a:pt x="369" y="351"/>
                    <a:pt x="369" y="351"/>
                    <a:pt x="369" y="351"/>
                  </a:cubicBezTo>
                  <a:cubicBezTo>
                    <a:pt x="411" y="371"/>
                    <a:pt x="411" y="371"/>
                    <a:pt x="411" y="371"/>
                  </a:cubicBezTo>
                  <a:cubicBezTo>
                    <a:pt x="439" y="376"/>
                    <a:pt x="439" y="376"/>
                    <a:pt x="439" y="376"/>
                  </a:cubicBezTo>
                  <a:cubicBezTo>
                    <a:pt x="479" y="401"/>
                    <a:pt x="479" y="401"/>
                    <a:pt x="479" y="401"/>
                  </a:cubicBezTo>
                  <a:cubicBezTo>
                    <a:pt x="482" y="398"/>
                    <a:pt x="482" y="398"/>
                    <a:pt x="482" y="398"/>
                  </a:cubicBezTo>
                  <a:cubicBezTo>
                    <a:pt x="474" y="388"/>
                    <a:pt x="474" y="388"/>
                    <a:pt x="474" y="388"/>
                  </a:cubicBezTo>
                  <a:cubicBezTo>
                    <a:pt x="472" y="383"/>
                    <a:pt x="472" y="383"/>
                    <a:pt x="472" y="383"/>
                  </a:cubicBezTo>
                  <a:cubicBezTo>
                    <a:pt x="477" y="383"/>
                    <a:pt x="477" y="383"/>
                    <a:pt x="477" y="383"/>
                  </a:cubicBezTo>
                  <a:cubicBezTo>
                    <a:pt x="512" y="401"/>
                    <a:pt x="512" y="401"/>
                    <a:pt x="512" y="401"/>
                  </a:cubicBezTo>
                  <a:cubicBezTo>
                    <a:pt x="524" y="429"/>
                    <a:pt x="524" y="429"/>
                    <a:pt x="524" y="429"/>
                  </a:cubicBezTo>
                  <a:cubicBezTo>
                    <a:pt x="519" y="441"/>
                    <a:pt x="519" y="441"/>
                    <a:pt x="519" y="441"/>
                  </a:cubicBezTo>
                  <a:cubicBezTo>
                    <a:pt x="502" y="444"/>
                    <a:pt x="502" y="444"/>
                    <a:pt x="502" y="444"/>
                  </a:cubicBezTo>
                  <a:cubicBezTo>
                    <a:pt x="497" y="469"/>
                    <a:pt x="497" y="469"/>
                    <a:pt x="497" y="469"/>
                  </a:cubicBezTo>
                  <a:cubicBezTo>
                    <a:pt x="522" y="474"/>
                    <a:pt x="522" y="474"/>
                    <a:pt x="522" y="474"/>
                  </a:cubicBezTo>
                  <a:cubicBezTo>
                    <a:pt x="579" y="466"/>
                    <a:pt x="579" y="466"/>
                    <a:pt x="579" y="466"/>
                  </a:cubicBezTo>
                  <a:cubicBezTo>
                    <a:pt x="602" y="459"/>
                    <a:pt x="602" y="459"/>
                    <a:pt x="602" y="459"/>
                  </a:cubicBezTo>
                  <a:cubicBezTo>
                    <a:pt x="622" y="466"/>
                    <a:pt x="622" y="466"/>
                    <a:pt x="622" y="466"/>
                  </a:cubicBezTo>
                  <a:cubicBezTo>
                    <a:pt x="624" y="474"/>
                    <a:pt x="624" y="474"/>
                    <a:pt x="624" y="474"/>
                  </a:cubicBezTo>
                  <a:cubicBezTo>
                    <a:pt x="634" y="484"/>
                    <a:pt x="634" y="484"/>
                    <a:pt x="634" y="484"/>
                  </a:cubicBezTo>
                  <a:cubicBezTo>
                    <a:pt x="632" y="496"/>
                    <a:pt x="632" y="496"/>
                    <a:pt x="632" y="496"/>
                  </a:cubicBezTo>
                  <a:cubicBezTo>
                    <a:pt x="624" y="499"/>
                    <a:pt x="624" y="499"/>
                    <a:pt x="624" y="499"/>
                  </a:cubicBezTo>
                  <a:cubicBezTo>
                    <a:pt x="632" y="511"/>
                    <a:pt x="632" y="511"/>
                    <a:pt x="632" y="511"/>
                  </a:cubicBezTo>
                  <a:cubicBezTo>
                    <a:pt x="639" y="496"/>
                    <a:pt x="639" y="496"/>
                    <a:pt x="639" y="496"/>
                  </a:cubicBezTo>
                  <a:cubicBezTo>
                    <a:pt x="642" y="466"/>
                    <a:pt x="642" y="466"/>
                    <a:pt x="642" y="466"/>
                  </a:cubicBezTo>
                  <a:cubicBezTo>
                    <a:pt x="675" y="441"/>
                    <a:pt x="675" y="441"/>
                    <a:pt x="675" y="441"/>
                  </a:cubicBezTo>
                  <a:cubicBezTo>
                    <a:pt x="682" y="431"/>
                    <a:pt x="682" y="431"/>
                    <a:pt x="682" y="431"/>
                  </a:cubicBezTo>
                  <a:cubicBezTo>
                    <a:pt x="685" y="416"/>
                    <a:pt x="685" y="416"/>
                    <a:pt x="685" y="416"/>
                  </a:cubicBezTo>
                  <a:cubicBezTo>
                    <a:pt x="680" y="416"/>
                    <a:pt x="680" y="416"/>
                    <a:pt x="680" y="416"/>
                  </a:cubicBezTo>
                  <a:cubicBezTo>
                    <a:pt x="670" y="429"/>
                    <a:pt x="670" y="429"/>
                    <a:pt x="670" y="429"/>
                  </a:cubicBezTo>
                  <a:cubicBezTo>
                    <a:pt x="650" y="429"/>
                    <a:pt x="650" y="429"/>
                    <a:pt x="650" y="429"/>
                  </a:cubicBezTo>
                  <a:cubicBezTo>
                    <a:pt x="645" y="439"/>
                    <a:pt x="645" y="439"/>
                    <a:pt x="645" y="439"/>
                  </a:cubicBezTo>
                  <a:cubicBezTo>
                    <a:pt x="632" y="436"/>
                    <a:pt x="632" y="436"/>
                    <a:pt x="632" y="436"/>
                  </a:cubicBezTo>
                  <a:cubicBezTo>
                    <a:pt x="632" y="429"/>
                    <a:pt x="632" y="429"/>
                    <a:pt x="632" y="429"/>
                  </a:cubicBezTo>
                  <a:cubicBezTo>
                    <a:pt x="627" y="424"/>
                    <a:pt x="627" y="424"/>
                    <a:pt x="627" y="424"/>
                  </a:cubicBezTo>
                  <a:cubicBezTo>
                    <a:pt x="634" y="413"/>
                    <a:pt x="634" y="413"/>
                    <a:pt x="634" y="413"/>
                  </a:cubicBezTo>
                  <a:cubicBezTo>
                    <a:pt x="657" y="408"/>
                    <a:pt x="657" y="408"/>
                    <a:pt x="657" y="408"/>
                  </a:cubicBezTo>
                  <a:cubicBezTo>
                    <a:pt x="680" y="396"/>
                    <a:pt x="680" y="396"/>
                    <a:pt x="680" y="396"/>
                  </a:cubicBezTo>
                  <a:cubicBezTo>
                    <a:pt x="682" y="401"/>
                    <a:pt x="682" y="401"/>
                    <a:pt x="682" y="401"/>
                  </a:cubicBezTo>
                  <a:cubicBezTo>
                    <a:pt x="687" y="401"/>
                    <a:pt x="687" y="401"/>
                    <a:pt x="687" y="401"/>
                  </a:cubicBezTo>
                  <a:cubicBezTo>
                    <a:pt x="692" y="416"/>
                    <a:pt x="692" y="416"/>
                    <a:pt x="692" y="416"/>
                  </a:cubicBezTo>
                  <a:cubicBezTo>
                    <a:pt x="690" y="426"/>
                    <a:pt x="690" y="426"/>
                    <a:pt x="690" y="426"/>
                  </a:cubicBezTo>
                  <a:cubicBezTo>
                    <a:pt x="720" y="444"/>
                    <a:pt x="720" y="444"/>
                    <a:pt x="720" y="444"/>
                  </a:cubicBezTo>
                  <a:cubicBezTo>
                    <a:pt x="762" y="454"/>
                    <a:pt x="762" y="454"/>
                    <a:pt x="762" y="454"/>
                  </a:cubicBezTo>
                  <a:cubicBezTo>
                    <a:pt x="777" y="446"/>
                    <a:pt x="777" y="446"/>
                    <a:pt x="777" y="446"/>
                  </a:cubicBezTo>
                  <a:cubicBezTo>
                    <a:pt x="802" y="451"/>
                    <a:pt x="802" y="451"/>
                    <a:pt x="802" y="451"/>
                  </a:cubicBezTo>
                  <a:cubicBezTo>
                    <a:pt x="823" y="444"/>
                    <a:pt x="823" y="444"/>
                    <a:pt x="823" y="444"/>
                  </a:cubicBezTo>
                  <a:cubicBezTo>
                    <a:pt x="843" y="461"/>
                    <a:pt x="843" y="461"/>
                    <a:pt x="843" y="461"/>
                  </a:cubicBezTo>
                  <a:cubicBezTo>
                    <a:pt x="853" y="456"/>
                    <a:pt x="853" y="456"/>
                    <a:pt x="853" y="456"/>
                  </a:cubicBezTo>
                  <a:cubicBezTo>
                    <a:pt x="843" y="436"/>
                    <a:pt x="843" y="436"/>
                    <a:pt x="843" y="436"/>
                  </a:cubicBezTo>
                  <a:cubicBezTo>
                    <a:pt x="833" y="441"/>
                    <a:pt x="833" y="441"/>
                    <a:pt x="833" y="441"/>
                  </a:cubicBezTo>
                  <a:cubicBezTo>
                    <a:pt x="825" y="424"/>
                    <a:pt x="825" y="424"/>
                    <a:pt x="825" y="424"/>
                  </a:cubicBezTo>
                  <a:cubicBezTo>
                    <a:pt x="835" y="416"/>
                    <a:pt x="835" y="416"/>
                    <a:pt x="835" y="416"/>
                  </a:cubicBezTo>
                  <a:cubicBezTo>
                    <a:pt x="855" y="424"/>
                    <a:pt x="855" y="424"/>
                    <a:pt x="855" y="424"/>
                  </a:cubicBezTo>
                  <a:cubicBezTo>
                    <a:pt x="860" y="444"/>
                    <a:pt x="860" y="444"/>
                    <a:pt x="860" y="444"/>
                  </a:cubicBezTo>
                  <a:cubicBezTo>
                    <a:pt x="870" y="426"/>
                    <a:pt x="870" y="426"/>
                    <a:pt x="870" y="426"/>
                  </a:cubicBezTo>
                  <a:cubicBezTo>
                    <a:pt x="875" y="426"/>
                    <a:pt x="875" y="426"/>
                    <a:pt x="875" y="426"/>
                  </a:cubicBezTo>
                  <a:cubicBezTo>
                    <a:pt x="868" y="456"/>
                    <a:pt x="868" y="456"/>
                    <a:pt x="868" y="456"/>
                  </a:cubicBezTo>
                  <a:cubicBezTo>
                    <a:pt x="863" y="466"/>
                    <a:pt x="863" y="466"/>
                    <a:pt x="863" y="466"/>
                  </a:cubicBezTo>
                  <a:cubicBezTo>
                    <a:pt x="870" y="481"/>
                    <a:pt x="870" y="481"/>
                    <a:pt x="870" y="481"/>
                  </a:cubicBezTo>
                  <a:cubicBezTo>
                    <a:pt x="878" y="484"/>
                    <a:pt x="878" y="484"/>
                    <a:pt x="878" y="484"/>
                  </a:cubicBezTo>
                  <a:cubicBezTo>
                    <a:pt x="888" y="469"/>
                    <a:pt x="888" y="469"/>
                    <a:pt x="888" y="469"/>
                  </a:cubicBezTo>
                  <a:cubicBezTo>
                    <a:pt x="889" y="459"/>
                    <a:pt x="889" y="459"/>
                    <a:pt x="889" y="459"/>
                  </a:cubicBezTo>
                  <a:cubicBezTo>
                    <a:pt x="881" y="454"/>
                    <a:pt x="881" y="454"/>
                    <a:pt x="881" y="454"/>
                  </a:cubicBezTo>
                  <a:cubicBezTo>
                    <a:pt x="884" y="439"/>
                    <a:pt x="884" y="439"/>
                    <a:pt x="884" y="439"/>
                  </a:cubicBezTo>
                  <a:cubicBezTo>
                    <a:pt x="894" y="436"/>
                    <a:pt x="894" y="436"/>
                    <a:pt x="894" y="436"/>
                  </a:cubicBezTo>
                  <a:cubicBezTo>
                    <a:pt x="913" y="408"/>
                    <a:pt x="913" y="408"/>
                    <a:pt x="913" y="408"/>
                  </a:cubicBezTo>
                  <a:cubicBezTo>
                    <a:pt x="905" y="398"/>
                    <a:pt x="905" y="398"/>
                    <a:pt x="905" y="398"/>
                  </a:cubicBezTo>
                  <a:cubicBezTo>
                    <a:pt x="893" y="398"/>
                    <a:pt x="893" y="398"/>
                    <a:pt x="893" y="398"/>
                  </a:cubicBezTo>
                  <a:cubicBezTo>
                    <a:pt x="903" y="386"/>
                    <a:pt x="903" y="386"/>
                    <a:pt x="903" y="386"/>
                  </a:cubicBezTo>
                  <a:cubicBezTo>
                    <a:pt x="905" y="373"/>
                    <a:pt x="905" y="373"/>
                    <a:pt x="905" y="373"/>
                  </a:cubicBezTo>
                  <a:cubicBezTo>
                    <a:pt x="913" y="381"/>
                    <a:pt x="913" y="381"/>
                    <a:pt x="913" y="381"/>
                  </a:cubicBezTo>
                  <a:cubicBezTo>
                    <a:pt x="915" y="363"/>
                    <a:pt x="915" y="363"/>
                    <a:pt x="915" y="363"/>
                  </a:cubicBezTo>
                  <a:cubicBezTo>
                    <a:pt x="905" y="366"/>
                    <a:pt x="905" y="366"/>
                    <a:pt x="905" y="366"/>
                  </a:cubicBezTo>
                  <a:cubicBezTo>
                    <a:pt x="895" y="356"/>
                    <a:pt x="895" y="356"/>
                    <a:pt x="895" y="356"/>
                  </a:cubicBezTo>
                  <a:cubicBezTo>
                    <a:pt x="888" y="358"/>
                    <a:pt x="888" y="358"/>
                    <a:pt x="888" y="358"/>
                  </a:cubicBezTo>
                  <a:cubicBezTo>
                    <a:pt x="868" y="353"/>
                    <a:pt x="868" y="353"/>
                    <a:pt x="868" y="353"/>
                  </a:cubicBezTo>
                  <a:cubicBezTo>
                    <a:pt x="858" y="321"/>
                    <a:pt x="858" y="321"/>
                    <a:pt x="858" y="321"/>
                  </a:cubicBezTo>
                  <a:cubicBezTo>
                    <a:pt x="860" y="301"/>
                    <a:pt x="860" y="301"/>
                    <a:pt x="860" y="301"/>
                  </a:cubicBezTo>
                  <a:cubicBezTo>
                    <a:pt x="873" y="291"/>
                    <a:pt x="873" y="291"/>
                    <a:pt x="873" y="291"/>
                  </a:cubicBezTo>
                  <a:cubicBezTo>
                    <a:pt x="858" y="286"/>
                    <a:pt x="858" y="286"/>
                    <a:pt x="858" y="286"/>
                  </a:cubicBezTo>
                  <a:cubicBezTo>
                    <a:pt x="868" y="246"/>
                    <a:pt x="868" y="246"/>
                    <a:pt x="868" y="246"/>
                  </a:cubicBezTo>
                  <a:cubicBezTo>
                    <a:pt x="883" y="225"/>
                    <a:pt x="883" y="225"/>
                    <a:pt x="883" y="225"/>
                  </a:cubicBezTo>
                  <a:cubicBezTo>
                    <a:pt x="895" y="223"/>
                    <a:pt x="895" y="223"/>
                    <a:pt x="895" y="223"/>
                  </a:cubicBezTo>
                  <a:cubicBezTo>
                    <a:pt x="910" y="235"/>
                    <a:pt x="910" y="235"/>
                    <a:pt x="910" y="235"/>
                  </a:cubicBezTo>
                  <a:cubicBezTo>
                    <a:pt x="923" y="246"/>
                    <a:pt x="923" y="246"/>
                    <a:pt x="923" y="246"/>
                  </a:cubicBezTo>
                  <a:cubicBezTo>
                    <a:pt x="928" y="256"/>
                    <a:pt x="928" y="256"/>
                    <a:pt x="928" y="256"/>
                  </a:cubicBezTo>
                  <a:cubicBezTo>
                    <a:pt x="923" y="278"/>
                    <a:pt x="923" y="278"/>
                    <a:pt x="923" y="278"/>
                  </a:cubicBezTo>
                  <a:cubicBezTo>
                    <a:pt x="938" y="291"/>
                    <a:pt x="938" y="291"/>
                    <a:pt x="938" y="291"/>
                  </a:cubicBezTo>
                  <a:cubicBezTo>
                    <a:pt x="935" y="331"/>
                    <a:pt x="935" y="331"/>
                    <a:pt x="935" y="331"/>
                  </a:cubicBezTo>
                  <a:cubicBezTo>
                    <a:pt x="928" y="343"/>
                    <a:pt x="928" y="343"/>
                    <a:pt x="928" y="343"/>
                  </a:cubicBezTo>
                  <a:cubicBezTo>
                    <a:pt x="948" y="363"/>
                    <a:pt x="948" y="363"/>
                    <a:pt x="948" y="363"/>
                  </a:cubicBezTo>
                  <a:cubicBezTo>
                    <a:pt x="955" y="351"/>
                    <a:pt x="955" y="351"/>
                    <a:pt x="955" y="351"/>
                  </a:cubicBezTo>
                  <a:cubicBezTo>
                    <a:pt x="970" y="368"/>
                    <a:pt x="970" y="368"/>
                    <a:pt x="970" y="368"/>
                  </a:cubicBezTo>
                  <a:cubicBezTo>
                    <a:pt x="960" y="371"/>
                    <a:pt x="960" y="371"/>
                    <a:pt x="960" y="371"/>
                  </a:cubicBezTo>
                  <a:cubicBezTo>
                    <a:pt x="970" y="388"/>
                    <a:pt x="970" y="388"/>
                    <a:pt x="970" y="388"/>
                  </a:cubicBezTo>
                  <a:cubicBezTo>
                    <a:pt x="970" y="421"/>
                    <a:pt x="970" y="421"/>
                    <a:pt x="970" y="421"/>
                  </a:cubicBezTo>
                  <a:cubicBezTo>
                    <a:pt x="980" y="431"/>
                    <a:pt x="980" y="431"/>
                    <a:pt x="980" y="431"/>
                  </a:cubicBezTo>
                  <a:cubicBezTo>
                    <a:pt x="996" y="363"/>
                    <a:pt x="996" y="363"/>
                    <a:pt x="996" y="363"/>
                  </a:cubicBezTo>
                  <a:cubicBezTo>
                    <a:pt x="1016" y="386"/>
                    <a:pt x="1016" y="386"/>
                    <a:pt x="1016" y="386"/>
                  </a:cubicBezTo>
                  <a:cubicBezTo>
                    <a:pt x="1013" y="429"/>
                    <a:pt x="1013" y="429"/>
                    <a:pt x="1013" y="429"/>
                  </a:cubicBezTo>
                  <a:cubicBezTo>
                    <a:pt x="1028" y="476"/>
                    <a:pt x="1028" y="476"/>
                    <a:pt x="1028" y="476"/>
                  </a:cubicBezTo>
                  <a:cubicBezTo>
                    <a:pt x="1036" y="476"/>
                    <a:pt x="1036" y="476"/>
                    <a:pt x="1036" y="476"/>
                  </a:cubicBezTo>
                  <a:cubicBezTo>
                    <a:pt x="1058" y="444"/>
                    <a:pt x="1058" y="444"/>
                    <a:pt x="1058" y="444"/>
                  </a:cubicBezTo>
                  <a:cubicBezTo>
                    <a:pt x="1066" y="403"/>
                    <a:pt x="1066" y="403"/>
                    <a:pt x="1066" y="403"/>
                  </a:cubicBezTo>
                  <a:cubicBezTo>
                    <a:pt x="1078" y="401"/>
                    <a:pt x="1078" y="401"/>
                    <a:pt x="1078" y="401"/>
                  </a:cubicBezTo>
                  <a:cubicBezTo>
                    <a:pt x="1081" y="383"/>
                    <a:pt x="1081" y="383"/>
                    <a:pt x="1081" y="383"/>
                  </a:cubicBezTo>
                  <a:cubicBezTo>
                    <a:pt x="1076" y="378"/>
                    <a:pt x="1076" y="378"/>
                    <a:pt x="1076" y="378"/>
                  </a:cubicBezTo>
                  <a:cubicBezTo>
                    <a:pt x="1086" y="376"/>
                    <a:pt x="1103" y="373"/>
                    <a:pt x="1116" y="373"/>
                  </a:cubicBezTo>
                  <a:cubicBezTo>
                    <a:pt x="1133" y="378"/>
                    <a:pt x="1151" y="381"/>
                    <a:pt x="1151" y="381"/>
                  </a:cubicBezTo>
                  <a:cubicBezTo>
                    <a:pt x="1141" y="398"/>
                    <a:pt x="1141" y="398"/>
                    <a:pt x="1141" y="398"/>
                  </a:cubicBezTo>
                  <a:cubicBezTo>
                    <a:pt x="1153" y="403"/>
                    <a:pt x="1153" y="403"/>
                    <a:pt x="1153" y="403"/>
                  </a:cubicBezTo>
                  <a:cubicBezTo>
                    <a:pt x="1146" y="416"/>
                    <a:pt x="1146" y="416"/>
                    <a:pt x="1146" y="416"/>
                  </a:cubicBezTo>
                  <a:cubicBezTo>
                    <a:pt x="1131" y="416"/>
                    <a:pt x="1131" y="416"/>
                    <a:pt x="1131" y="416"/>
                  </a:cubicBezTo>
                  <a:cubicBezTo>
                    <a:pt x="1143" y="459"/>
                    <a:pt x="1143" y="459"/>
                    <a:pt x="1143" y="459"/>
                  </a:cubicBezTo>
                  <a:cubicBezTo>
                    <a:pt x="1158" y="469"/>
                    <a:pt x="1158" y="469"/>
                    <a:pt x="1158" y="469"/>
                  </a:cubicBezTo>
                  <a:cubicBezTo>
                    <a:pt x="1151" y="499"/>
                    <a:pt x="1151" y="499"/>
                    <a:pt x="1151" y="499"/>
                  </a:cubicBezTo>
                  <a:cubicBezTo>
                    <a:pt x="1138" y="504"/>
                    <a:pt x="1138" y="504"/>
                    <a:pt x="1138" y="504"/>
                  </a:cubicBezTo>
                  <a:cubicBezTo>
                    <a:pt x="1133" y="519"/>
                    <a:pt x="1133" y="519"/>
                    <a:pt x="1133" y="519"/>
                  </a:cubicBezTo>
                  <a:cubicBezTo>
                    <a:pt x="1111" y="534"/>
                    <a:pt x="1111" y="534"/>
                    <a:pt x="1111" y="534"/>
                  </a:cubicBezTo>
                  <a:cubicBezTo>
                    <a:pt x="1081" y="541"/>
                    <a:pt x="1081" y="541"/>
                    <a:pt x="1081" y="541"/>
                  </a:cubicBezTo>
                  <a:cubicBezTo>
                    <a:pt x="1071" y="526"/>
                    <a:pt x="1071" y="526"/>
                    <a:pt x="1071" y="526"/>
                  </a:cubicBezTo>
                  <a:cubicBezTo>
                    <a:pt x="1048" y="526"/>
                    <a:pt x="1048" y="526"/>
                    <a:pt x="1048" y="526"/>
                  </a:cubicBezTo>
                  <a:cubicBezTo>
                    <a:pt x="1061" y="546"/>
                    <a:pt x="1061" y="546"/>
                    <a:pt x="1061" y="546"/>
                  </a:cubicBezTo>
                  <a:cubicBezTo>
                    <a:pt x="1036" y="551"/>
                    <a:pt x="1036" y="551"/>
                    <a:pt x="1036" y="551"/>
                  </a:cubicBezTo>
                  <a:cubicBezTo>
                    <a:pt x="1028" y="589"/>
                    <a:pt x="1028" y="589"/>
                    <a:pt x="1028" y="589"/>
                  </a:cubicBezTo>
                  <a:cubicBezTo>
                    <a:pt x="1028" y="610"/>
                    <a:pt x="1028" y="610"/>
                    <a:pt x="1028" y="610"/>
                  </a:cubicBezTo>
                  <a:cubicBezTo>
                    <a:pt x="1015" y="628"/>
                    <a:pt x="1015" y="628"/>
                    <a:pt x="1015" y="628"/>
                  </a:cubicBezTo>
                  <a:cubicBezTo>
                    <a:pt x="1015" y="646"/>
                    <a:pt x="1015" y="646"/>
                    <a:pt x="1015" y="646"/>
                  </a:cubicBezTo>
                  <a:cubicBezTo>
                    <a:pt x="995" y="657"/>
                    <a:pt x="995" y="657"/>
                    <a:pt x="995" y="657"/>
                  </a:cubicBezTo>
                  <a:cubicBezTo>
                    <a:pt x="976" y="669"/>
                    <a:pt x="976" y="669"/>
                    <a:pt x="976" y="669"/>
                  </a:cubicBezTo>
                  <a:cubicBezTo>
                    <a:pt x="952" y="682"/>
                    <a:pt x="952" y="682"/>
                    <a:pt x="952" y="682"/>
                  </a:cubicBezTo>
                  <a:cubicBezTo>
                    <a:pt x="945" y="709"/>
                    <a:pt x="945" y="709"/>
                    <a:pt x="945" y="709"/>
                  </a:cubicBezTo>
                  <a:cubicBezTo>
                    <a:pt x="912" y="731"/>
                    <a:pt x="912" y="731"/>
                    <a:pt x="912" y="731"/>
                  </a:cubicBezTo>
                  <a:cubicBezTo>
                    <a:pt x="898" y="756"/>
                    <a:pt x="898" y="756"/>
                    <a:pt x="898" y="756"/>
                  </a:cubicBezTo>
                  <a:cubicBezTo>
                    <a:pt x="898" y="787"/>
                    <a:pt x="898" y="787"/>
                    <a:pt x="898" y="787"/>
                  </a:cubicBezTo>
                  <a:cubicBezTo>
                    <a:pt x="918" y="797"/>
                    <a:pt x="918" y="797"/>
                    <a:pt x="918" y="797"/>
                  </a:cubicBezTo>
                  <a:cubicBezTo>
                    <a:pt x="917" y="813"/>
                    <a:pt x="917" y="813"/>
                    <a:pt x="917" y="813"/>
                  </a:cubicBezTo>
                  <a:cubicBezTo>
                    <a:pt x="923" y="836"/>
                    <a:pt x="923" y="836"/>
                    <a:pt x="923" y="836"/>
                  </a:cubicBezTo>
                  <a:cubicBezTo>
                    <a:pt x="932" y="855"/>
                    <a:pt x="932" y="855"/>
                    <a:pt x="932" y="855"/>
                  </a:cubicBezTo>
                  <a:cubicBezTo>
                    <a:pt x="945" y="855"/>
                    <a:pt x="945" y="855"/>
                    <a:pt x="945" y="855"/>
                  </a:cubicBezTo>
                  <a:cubicBezTo>
                    <a:pt x="966" y="845"/>
                    <a:pt x="966" y="845"/>
                    <a:pt x="966" y="845"/>
                  </a:cubicBezTo>
                  <a:cubicBezTo>
                    <a:pt x="976" y="854"/>
                    <a:pt x="976" y="854"/>
                    <a:pt x="976" y="854"/>
                  </a:cubicBezTo>
                  <a:cubicBezTo>
                    <a:pt x="997" y="863"/>
                    <a:pt x="997" y="863"/>
                    <a:pt x="997" y="863"/>
                  </a:cubicBezTo>
                  <a:cubicBezTo>
                    <a:pt x="1029" y="891"/>
                    <a:pt x="1029" y="891"/>
                    <a:pt x="1029" y="891"/>
                  </a:cubicBezTo>
                  <a:cubicBezTo>
                    <a:pt x="1059" y="902"/>
                    <a:pt x="1059" y="902"/>
                    <a:pt x="1059" y="902"/>
                  </a:cubicBezTo>
                  <a:cubicBezTo>
                    <a:pt x="1077" y="914"/>
                    <a:pt x="1077" y="914"/>
                    <a:pt x="1077" y="914"/>
                  </a:cubicBezTo>
                  <a:cubicBezTo>
                    <a:pt x="1091" y="921"/>
                    <a:pt x="1091" y="921"/>
                    <a:pt x="1091" y="921"/>
                  </a:cubicBezTo>
                  <a:cubicBezTo>
                    <a:pt x="1126" y="928"/>
                    <a:pt x="1126" y="928"/>
                    <a:pt x="1126" y="928"/>
                  </a:cubicBezTo>
                  <a:cubicBezTo>
                    <a:pt x="1125" y="961"/>
                    <a:pt x="1125" y="961"/>
                    <a:pt x="1125" y="961"/>
                  </a:cubicBezTo>
                  <a:cubicBezTo>
                    <a:pt x="1126" y="978"/>
                    <a:pt x="1126" y="978"/>
                    <a:pt x="1126" y="978"/>
                  </a:cubicBezTo>
                  <a:cubicBezTo>
                    <a:pt x="1130" y="990"/>
                    <a:pt x="1130" y="990"/>
                    <a:pt x="1130" y="990"/>
                  </a:cubicBezTo>
                  <a:cubicBezTo>
                    <a:pt x="1133" y="1010"/>
                    <a:pt x="1133" y="1010"/>
                    <a:pt x="1133" y="1010"/>
                  </a:cubicBezTo>
                  <a:cubicBezTo>
                    <a:pt x="1136" y="1012"/>
                    <a:pt x="1136" y="1012"/>
                    <a:pt x="1136" y="1012"/>
                  </a:cubicBezTo>
                  <a:cubicBezTo>
                    <a:pt x="1146" y="1026"/>
                    <a:pt x="1146" y="1026"/>
                    <a:pt x="1146" y="1026"/>
                  </a:cubicBezTo>
                  <a:cubicBezTo>
                    <a:pt x="1158" y="1045"/>
                    <a:pt x="1158" y="1045"/>
                    <a:pt x="1158" y="1045"/>
                  </a:cubicBezTo>
                  <a:cubicBezTo>
                    <a:pt x="1173" y="1055"/>
                    <a:pt x="1173" y="1055"/>
                    <a:pt x="1173" y="1055"/>
                  </a:cubicBezTo>
                  <a:cubicBezTo>
                    <a:pt x="1199" y="1046"/>
                    <a:pt x="1199" y="1046"/>
                    <a:pt x="1199" y="1046"/>
                  </a:cubicBezTo>
                  <a:cubicBezTo>
                    <a:pt x="1199" y="1022"/>
                    <a:pt x="1199" y="1022"/>
                    <a:pt x="1199" y="1022"/>
                  </a:cubicBezTo>
                  <a:cubicBezTo>
                    <a:pt x="1196" y="1006"/>
                    <a:pt x="1196" y="1006"/>
                    <a:pt x="1196" y="1006"/>
                  </a:cubicBezTo>
                  <a:cubicBezTo>
                    <a:pt x="1194" y="984"/>
                    <a:pt x="1194" y="984"/>
                    <a:pt x="1194" y="984"/>
                  </a:cubicBezTo>
                  <a:cubicBezTo>
                    <a:pt x="1189" y="966"/>
                    <a:pt x="1189" y="966"/>
                    <a:pt x="1189" y="966"/>
                  </a:cubicBezTo>
                  <a:cubicBezTo>
                    <a:pt x="1221" y="946"/>
                    <a:pt x="1221" y="946"/>
                    <a:pt x="1221" y="946"/>
                  </a:cubicBezTo>
                  <a:cubicBezTo>
                    <a:pt x="1224" y="925"/>
                    <a:pt x="1224" y="925"/>
                    <a:pt x="1224" y="925"/>
                  </a:cubicBezTo>
                  <a:cubicBezTo>
                    <a:pt x="1211" y="910"/>
                    <a:pt x="1211" y="910"/>
                    <a:pt x="1211" y="910"/>
                  </a:cubicBezTo>
                  <a:cubicBezTo>
                    <a:pt x="1217" y="884"/>
                    <a:pt x="1217" y="884"/>
                    <a:pt x="1217" y="884"/>
                  </a:cubicBezTo>
                  <a:cubicBezTo>
                    <a:pt x="1227" y="863"/>
                    <a:pt x="1227" y="863"/>
                    <a:pt x="1227" y="863"/>
                  </a:cubicBezTo>
                  <a:cubicBezTo>
                    <a:pt x="1213" y="818"/>
                    <a:pt x="1213" y="818"/>
                    <a:pt x="1213" y="818"/>
                  </a:cubicBezTo>
                  <a:cubicBezTo>
                    <a:pt x="1194" y="792"/>
                    <a:pt x="1194" y="792"/>
                    <a:pt x="1194" y="792"/>
                  </a:cubicBezTo>
                  <a:cubicBezTo>
                    <a:pt x="1194" y="777"/>
                    <a:pt x="1194" y="777"/>
                    <a:pt x="1194" y="777"/>
                  </a:cubicBezTo>
                  <a:cubicBezTo>
                    <a:pt x="1211" y="752"/>
                    <a:pt x="1211" y="752"/>
                    <a:pt x="1211" y="752"/>
                  </a:cubicBezTo>
                  <a:cubicBezTo>
                    <a:pt x="1219" y="746"/>
                    <a:pt x="1219" y="746"/>
                    <a:pt x="1219" y="746"/>
                  </a:cubicBezTo>
                  <a:cubicBezTo>
                    <a:pt x="1216" y="737"/>
                    <a:pt x="1216" y="737"/>
                    <a:pt x="1216" y="737"/>
                  </a:cubicBezTo>
                  <a:cubicBezTo>
                    <a:pt x="1209" y="709"/>
                    <a:pt x="1209" y="709"/>
                    <a:pt x="1209" y="709"/>
                  </a:cubicBezTo>
                  <a:cubicBezTo>
                    <a:pt x="1201" y="709"/>
                    <a:pt x="1201" y="709"/>
                    <a:pt x="1201" y="709"/>
                  </a:cubicBezTo>
                  <a:cubicBezTo>
                    <a:pt x="1209" y="684"/>
                    <a:pt x="1209" y="684"/>
                    <a:pt x="1209" y="684"/>
                  </a:cubicBezTo>
                  <a:cubicBezTo>
                    <a:pt x="1214" y="674"/>
                    <a:pt x="1214" y="674"/>
                    <a:pt x="1214" y="674"/>
                  </a:cubicBezTo>
                  <a:cubicBezTo>
                    <a:pt x="1206" y="662"/>
                    <a:pt x="1206" y="662"/>
                    <a:pt x="1206" y="662"/>
                  </a:cubicBezTo>
                  <a:cubicBezTo>
                    <a:pt x="1209" y="632"/>
                    <a:pt x="1209" y="632"/>
                    <a:pt x="1209" y="632"/>
                  </a:cubicBezTo>
                  <a:cubicBezTo>
                    <a:pt x="1249" y="634"/>
                    <a:pt x="1249" y="634"/>
                    <a:pt x="1249" y="634"/>
                  </a:cubicBezTo>
                  <a:cubicBezTo>
                    <a:pt x="1269" y="639"/>
                    <a:pt x="1269" y="639"/>
                    <a:pt x="1269" y="639"/>
                  </a:cubicBezTo>
                  <a:cubicBezTo>
                    <a:pt x="1296" y="634"/>
                    <a:pt x="1296" y="634"/>
                    <a:pt x="1296" y="634"/>
                  </a:cubicBezTo>
                  <a:cubicBezTo>
                    <a:pt x="1314" y="659"/>
                    <a:pt x="1314" y="659"/>
                    <a:pt x="1314" y="659"/>
                  </a:cubicBezTo>
                  <a:cubicBezTo>
                    <a:pt x="1329" y="674"/>
                    <a:pt x="1329" y="674"/>
                    <a:pt x="1329" y="674"/>
                  </a:cubicBezTo>
                  <a:cubicBezTo>
                    <a:pt x="1329" y="689"/>
                    <a:pt x="1329" y="689"/>
                    <a:pt x="1329" y="689"/>
                  </a:cubicBezTo>
                  <a:cubicBezTo>
                    <a:pt x="1357" y="702"/>
                    <a:pt x="1357" y="702"/>
                    <a:pt x="1357" y="702"/>
                  </a:cubicBezTo>
                  <a:cubicBezTo>
                    <a:pt x="1372" y="699"/>
                    <a:pt x="1372" y="699"/>
                    <a:pt x="1372" y="699"/>
                  </a:cubicBezTo>
                  <a:cubicBezTo>
                    <a:pt x="1369" y="732"/>
                    <a:pt x="1369" y="732"/>
                    <a:pt x="1369" y="732"/>
                  </a:cubicBezTo>
                  <a:cubicBezTo>
                    <a:pt x="1354" y="734"/>
                    <a:pt x="1354" y="734"/>
                    <a:pt x="1354" y="734"/>
                  </a:cubicBezTo>
                  <a:cubicBezTo>
                    <a:pt x="1367" y="747"/>
                    <a:pt x="1367" y="747"/>
                    <a:pt x="1367" y="747"/>
                  </a:cubicBezTo>
                  <a:cubicBezTo>
                    <a:pt x="1367" y="762"/>
                    <a:pt x="1367" y="762"/>
                    <a:pt x="1367" y="762"/>
                  </a:cubicBezTo>
                  <a:cubicBezTo>
                    <a:pt x="1372" y="772"/>
                    <a:pt x="1372" y="772"/>
                    <a:pt x="1372" y="772"/>
                  </a:cubicBezTo>
                  <a:cubicBezTo>
                    <a:pt x="1392" y="777"/>
                    <a:pt x="1392" y="777"/>
                    <a:pt x="1392" y="777"/>
                  </a:cubicBezTo>
                  <a:cubicBezTo>
                    <a:pt x="1397" y="792"/>
                    <a:pt x="1397" y="792"/>
                    <a:pt x="1397" y="792"/>
                  </a:cubicBezTo>
                  <a:cubicBezTo>
                    <a:pt x="1412" y="802"/>
                    <a:pt x="1412" y="802"/>
                    <a:pt x="1412" y="802"/>
                  </a:cubicBezTo>
                  <a:cubicBezTo>
                    <a:pt x="1422" y="795"/>
                    <a:pt x="1422" y="795"/>
                    <a:pt x="1422" y="795"/>
                  </a:cubicBezTo>
                  <a:cubicBezTo>
                    <a:pt x="1434" y="780"/>
                    <a:pt x="1434" y="780"/>
                    <a:pt x="1434" y="780"/>
                  </a:cubicBezTo>
                  <a:cubicBezTo>
                    <a:pt x="1449" y="767"/>
                    <a:pt x="1449" y="767"/>
                    <a:pt x="1449" y="767"/>
                  </a:cubicBezTo>
                  <a:cubicBezTo>
                    <a:pt x="1452" y="757"/>
                    <a:pt x="1452" y="757"/>
                    <a:pt x="1452" y="757"/>
                  </a:cubicBezTo>
                  <a:cubicBezTo>
                    <a:pt x="1452" y="747"/>
                    <a:pt x="1452" y="747"/>
                    <a:pt x="1452" y="747"/>
                  </a:cubicBezTo>
                  <a:cubicBezTo>
                    <a:pt x="1462" y="724"/>
                    <a:pt x="1462" y="724"/>
                    <a:pt x="1462" y="724"/>
                  </a:cubicBezTo>
                  <a:cubicBezTo>
                    <a:pt x="1477" y="757"/>
                    <a:pt x="1477" y="757"/>
                    <a:pt x="1477" y="757"/>
                  </a:cubicBezTo>
                  <a:cubicBezTo>
                    <a:pt x="1492" y="782"/>
                    <a:pt x="1492" y="782"/>
                    <a:pt x="1492" y="782"/>
                  </a:cubicBezTo>
                  <a:cubicBezTo>
                    <a:pt x="1484" y="797"/>
                    <a:pt x="1484" y="797"/>
                    <a:pt x="1484" y="797"/>
                  </a:cubicBezTo>
                  <a:cubicBezTo>
                    <a:pt x="1504" y="800"/>
                    <a:pt x="1504" y="800"/>
                    <a:pt x="1504" y="800"/>
                  </a:cubicBezTo>
                  <a:cubicBezTo>
                    <a:pt x="1509" y="820"/>
                    <a:pt x="1509" y="820"/>
                    <a:pt x="1509" y="820"/>
                  </a:cubicBezTo>
                  <a:cubicBezTo>
                    <a:pt x="1509" y="837"/>
                    <a:pt x="1509" y="837"/>
                    <a:pt x="1509" y="837"/>
                  </a:cubicBezTo>
                  <a:cubicBezTo>
                    <a:pt x="1520" y="847"/>
                    <a:pt x="1520" y="847"/>
                    <a:pt x="1520" y="847"/>
                  </a:cubicBezTo>
                  <a:cubicBezTo>
                    <a:pt x="1528" y="855"/>
                    <a:pt x="1528" y="855"/>
                    <a:pt x="1528" y="855"/>
                  </a:cubicBezTo>
                  <a:cubicBezTo>
                    <a:pt x="1540" y="856"/>
                    <a:pt x="1540" y="856"/>
                    <a:pt x="1540" y="856"/>
                  </a:cubicBezTo>
                  <a:cubicBezTo>
                    <a:pt x="1545" y="869"/>
                    <a:pt x="1545" y="869"/>
                    <a:pt x="1545" y="869"/>
                  </a:cubicBezTo>
                  <a:cubicBezTo>
                    <a:pt x="1550" y="880"/>
                    <a:pt x="1550" y="880"/>
                    <a:pt x="1550" y="880"/>
                  </a:cubicBezTo>
                  <a:cubicBezTo>
                    <a:pt x="1561" y="887"/>
                    <a:pt x="1561" y="887"/>
                    <a:pt x="1561" y="887"/>
                  </a:cubicBezTo>
                  <a:cubicBezTo>
                    <a:pt x="1566" y="893"/>
                    <a:pt x="1566" y="893"/>
                    <a:pt x="1566" y="893"/>
                  </a:cubicBezTo>
                  <a:cubicBezTo>
                    <a:pt x="1579" y="897"/>
                    <a:pt x="1579" y="897"/>
                    <a:pt x="1579" y="897"/>
                  </a:cubicBezTo>
                  <a:cubicBezTo>
                    <a:pt x="1586" y="911"/>
                    <a:pt x="1586" y="911"/>
                    <a:pt x="1586" y="911"/>
                  </a:cubicBezTo>
                  <a:cubicBezTo>
                    <a:pt x="1560" y="916"/>
                    <a:pt x="1560" y="916"/>
                    <a:pt x="1560" y="916"/>
                  </a:cubicBezTo>
                  <a:cubicBezTo>
                    <a:pt x="1554" y="932"/>
                    <a:pt x="1554" y="932"/>
                    <a:pt x="1554" y="932"/>
                  </a:cubicBezTo>
                  <a:cubicBezTo>
                    <a:pt x="1581" y="921"/>
                    <a:pt x="1581" y="921"/>
                    <a:pt x="1581" y="921"/>
                  </a:cubicBezTo>
                  <a:cubicBezTo>
                    <a:pt x="1595" y="914"/>
                    <a:pt x="1595" y="914"/>
                    <a:pt x="1595" y="914"/>
                  </a:cubicBezTo>
                  <a:cubicBezTo>
                    <a:pt x="1605" y="912"/>
                    <a:pt x="1605" y="912"/>
                    <a:pt x="1605" y="912"/>
                  </a:cubicBezTo>
                  <a:cubicBezTo>
                    <a:pt x="1605" y="932"/>
                    <a:pt x="1605" y="932"/>
                    <a:pt x="1605" y="932"/>
                  </a:cubicBezTo>
                  <a:cubicBezTo>
                    <a:pt x="1616" y="923"/>
                    <a:pt x="1616" y="923"/>
                    <a:pt x="1616" y="923"/>
                  </a:cubicBezTo>
                  <a:cubicBezTo>
                    <a:pt x="1629" y="932"/>
                    <a:pt x="1629" y="932"/>
                    <a:pt x="1629" y="932"/>
                  </a:cubicBezTo>
                  <a:cubicBezTo>
                    <a:pt x="1634" y="959"/>
                    <a:pt x="1634" y="959"/>
                    <a:pt x="1634" y="959"/>
                  </a:cubicBezTo>
                  <a:cubicBezTo>
                    <a:pt x="1634" y="978"/>
                    <a:pt x="1634" y="978"/>
                    <a:pt x="1634" y="978"/>
                  </a:cubicBezTo>
                  <a:cubicBezTo>
                    <a:pt x="1613" y="994"/>
                    <a:pt x="1613" y="994"/>
                    <a:pt x="1613" y="994"/>
                  </a:cubicBezTo>
                  <a:cubicBezTo>
                    <a:pt x="1596" y="997"/>
                    <a:pt x="1596" y="997"/>
                    <a:pt x="1596" y="997"/>
                  </a:cubicBezTo>
                  <a:cubicBezTo>
                    <a:pt x="1578" y="1004"/>
                    <a:pt x="1578" y="1004"/>
                    <a:pt x="1578" y="1004"/>
                  </a:cubicBezTo>
                  <a:cubicBezTo>
                    <a:pt x="1546" y="1031"/>
                    <a:pt x="1546" y="1031"/>
                    <a:pt x="1546" y="1031"/>
                  </a:cubicBezTo>
                  <a:cubicBezTo>
                    <a:pt x="1525" y="1037"/>
                    <a:pt x="1525" y="1037"/>
                    <a:pt x="1525" y="1037"/>
                  </a:cubicBezTo>
                  <a:cubicBezTo>
                    <a:pt x="1517" y="1031"/>
                    <a:pt x="1517" y="1031"/>
                    <a:pt x="1517" y="1031"/>
                  </a:cubicBezTo>
                  <a:cubicBezTo>
                    <a:pt x="1494" y="1032"/>
                    <a:pt x="1494" y="1032"/>
                    <a:pt x="1494" y="1032"/>
                  </a:cubicBezTo>
                  <a:cubicBezTo>
                    <a:pt x="1472" y="1031"/>
                    <a:pt x="1472" y="1031"/>
                    <a:pt x="1472" y="1031"/>
                  </a:cubicBezTo>
                  <a:cubicBezTo>
                    <a:pt x="1437" y="1029"/>
                    <a:pt x="1437" y="1029"/>
                    <a:pt x="1437" y="1029"/>
                  </a:cubicBezTo>
                  <a:cubicBezTo>
                    <a:pt x="1423" y="1041"/>
                    <a:pt x="1423" y="1041"/>
                    <a:pt x="1423" y="1041"/>
                  </a:cubicBezTo>
                  <a:cubicBezTo>
                    <a:pt x="1421" y="1048"/>
                    <a:pt x="1421" y="1048"/>
                    <a:pt x="1421" y="1048"/>
                  </a:cubicBezTo>
                  <a:cubicBezTo>
                    <a:pt x="1408" y="1051"/>
                    <a:pt x="1408" y="1051"/>
                    <a:pt x="1408" y="1051"/>
                  </a:cubicBezTo>
                  <a:cubicBezTo>
                    <a:pt x="1394" y="1070"/>
                    <a:pt x="1394" y="1070"/>
                    <a:pt x="1394" y="1070"/>
                  </a:cubicBezTo>
                  <a:cubicBezTo>
                    <a:pt x="1386" y="1083"/>
                    <a:pt x="1386" y="1083"/>
                    <a:pt x="1386" y="1083"/>
                  </a:cubicBezTo>
                  <a:cubicBezTo>
                    <a:pt x="1381" y="1085"/>
                    <a:pt x="1381" y="1085"/>
                    <a:pt x="1381" y="1085"/>
                  </a:cubicBezTo>
                  <a:cubicBezTo>
                    <a:pt x="1380" y="1098"/>
                    <a:pt x="1380" y="1098"/>
                    <a:pt x="1380" y="1098"/>
                  </a:cubicBezTo>
                  <a:cubicBezTo>
                    <a:pt x="1364" y="1119"/>
                    <a:pt x="1364" y="1119"/>
                    <a:pt x="1364" y="1119"/>
                  </a:cubicBezTo>
                  <a:cubicBezTo>
                    <a:pt x="1365" y="1121"/>
                    <a:pt x="1365" y="1121"/>
                    <a:pt x="1365" y="1121"/>
                  </a:cubicBezTo>
                  <a:cubicBezTo>
                    <a:pt x="1378" y="1108"/>
                    <a:pt x="1378" y="1108"/>
                    <a:pt x="1378" y="1108"/>
                  </a:cubicBezTo>
                  <a:cubicBezTo>
                    <a:pt x="1391" y="1086"/>
                    <a:pt x="1391" y="1086"/>
                    <a:pt x="1391" y="1086"/>
                  </a:cubicBezTo>
                  <a:cubicBezTo>
                    <a:pt x="1417" y="1063"/>
                    <a:pt x="1417" y="1063"/>
                    <a:pt x="1417" y="1063"/>
                  </a:cubicBezTo>
                  <a:cubicBezTo>
                    <a:pt x="1447" y="1048"/>
                    <a:pt x="1447" y="1048"/>
                    <a:pt x="1447" y="1048"/>
                  </a:cubicBezTo>
                  <a:cubicBezTo>
                    <a:pt x="1453" y="1048"/>
                    <a:pt x="1453" y="1048"/>
                    <a:pt x="1453" y="1048"/>
                  </a:cubicBezTo>
                  <a:cubicBezTo>
                    <a:pt x="1463" y="1046"/>
                    <a:pt x="1463" y="1046"/>
                    <a:pt x="1463" y="1046"/>
                  </a:cubicBezTo>
                  <a:cubicBezTo>
                    <a:pt x="1476" y="1051"/>
                    <a:pt x="1476" y="1051"/>
                    <a:pt x="1476" y="1051"/>
                  </a:cubicBezTo>
                  <a:cubicBezTo>
                    <a:pt x="1480" y="1062"/>
                    <a:pt x="1480" y="1062"/>
                    <a:pt x="1480" y="1062"/>
                  </a:cubicBezTo>
                  <a:cubicBezTo>
                    <a:pt x="1466" y="1078"/>
                    <a:pt x="1466" y="1078"/>
                    <a:pt x="1466" y="1078"/>
                  </a:cubicBezTo>
                  <a:cubicBezTo>
                    <a:pt x="1449" y="1077"/>
                    <a:pt x="1449" y="1077"/>
                    <a:pt x="1449" y="1077"/>
                  </a:cubicBezTo>
                  <a:cubicBezTo>
                    <a:pt x="1446" y="1080"/>
                    <a:pt x="1446" y="1080"/>
                    <a:pt x="1446" y="1080"/>
                  </a:cubicBezTo>
                  <a:cubicBezTo>
                    <a:pt x="1457" y="1083"/>
                    <a:pt x="1457" y="1083"/>
                    <a:pt x="1457" y="1083"/>
                  </a:cubicBezTo>
                  <a:cubicBezTo>
                    <a:pt x="1461" y="1088"/>
                    <a:pt x="1461" y="1088"/>
                    <a:pt x="1461" y="1088"/>
                  </a:cubicBezTo>
                  <a:cubicBezTo>
                    <a:pt x="1470" y="1082"/>
                    <a:pt x="1470" y="1082"/>
                    <a:pt x="1470" y="1082"/>
                  </a:cubicBezTo>
                  <a:cubicBezTo>
                    <a:pt x="1476" y="1084"/>
                    <a:pt x="1476" y="1084"/>
                    <a:pt x="1476" y="1084"/>
                  </a:cubicBezTo>
                  <a:cubicBezTo>
                    <a:pt x="1476" y="1090"/>
                    <a:pt x="1476" y="1090"/>
                    <a:pt x="1476" y="1090"/>
                  </a:cubicBezTo>
                  <a:cubicBezTo>
                    <a:pt x="1476" y="1095"/>
                    <a:pt x="1476" y="1095"/>
                    <a:pt x="1476" y="1095"/>
                  </a:cubicBezTo>
                  <a:cubicBezTo>
                    <a:pt x="1473" y="1101"/>
                    <a:pt x="1473" y="1101"/>
                    <a:pt x="1473" y="1101"/>
                  </a:cubicBezTo>
                  <a:cubicBezTo>
                    <a:pt x="1475" y="1102"/>
                    <a:pt x="1475" y="1102"/>
                    <a:pt x="1475" y="1102"/>
                  </a:cubicBezTo>
                  <a:cubicBezTo>
                    <a:pt x="1479" y="1101"/>
                    <a:pt x="1479" y="1101"/>
                    <a:pt x="1479" y="1101"/>
                  </a:cubicBezTo>
                  <a:cubicBezTo>
                    <a:pt x="1481" y="1106"/>
                    <a:pt x="1481" y="1106"/>
                    <a:pt x="1481" y="1106"/>
                  </a:cubicBezTo>
                  <a:cubicBezTo>
                    <a:pt x="1474" y="1125"/>
                    <a:pt x="1474" y="1125"/>
                    <a:pt x="1474" y="1125"/>
                  </a:cubicBezTo>
                  <a:cubicBezTo>
                    <a:pt x="1486" y="1144"/>
                    <a:pt x="1486" y="1144"/>
                    <a:pt x="1486" y="1144"/>
                  </a:cubicBezTo>
                  <a:cubicBezTo>
                    <a:pt x="1496" y="1156"/>
                    <a:pt x="1496" y="1156"/>
                    <a:pt x="1496" y="1156"/>
                  </a:cubicBezTo>
                  <a:cubicBezTo>
                    <a:pt x="1515" y="1151"/>
                    <a:pt x="1515" y="1151"/>
                    <a:pt x="1515" y="1151"/>
                  </a:cubicBezTo>
                  <a:cubicBezTo>
                    <a:pt x="1516" y="1156"/>
                    <a:pt x="1516" y="1156"/>
                    <a:pt x="1516" y="1156"/>
                  </a:cubicBezTo>
                  <a:cubicBezTo>
                    <a:pt x="1526" y="1154"/>
                    <a:pt x="1526" y="1154"/>
                    <a:pt x="1526" y="1154"/>
                  </a:cubicBezTo>
                  <a:cubicBezTo>
                    <a:pt x="1524" y="1146"/>
                    <a:pt x="1524" y="1146"/>
                    <a:pt x="1524" y="1146"/>
                  </a:cubicBezTo>
                  <a:cubicBezTo>
                    <a:pt x="1538" y="1121"/>
                    <a:pt x="1538" y="1121"/>
                    <a:pt x="1538" y="1121"/>
                  </a:cubicBezTo>
                  <a:cubicBezTo>
                    <a:pt x="1544" y="1120"/>
                    <a:pt x="1544" y="1120"/>
                    <a:pt x="1544" y="1120"/>
                  </a:cubicBezTo>
                  <a:cubicBezTo>
                    <a:pt x="1543" y="1141"/>
                    <a:pt x="1543" y="1141"/>
                    <a:pt x="1543" y="1141"/>
                  </a:cubicBezTo>
                  <a:cubicBezTo>
                    <a:pt x="1552" y="1141"/>
                    <a:pt x="1552" y="1141"/>
                    <a:pt x="1552" y="1141"/>
                  </a:cubicBezTo>
                  <a:cubicBezTo>
                    <a:pt x="1554" y="1148"/>
                    <a:pt x="1554" y="1148"/>
                    <a:pt x="1554" y="1148"/>
                  </a:cubicBezTo>
                  <a:cubicBezTo>
                    <a:pt x="1541" y="1158"/>
                    <a:pt x="1541" y="1158"/>
                    <a:pt x="1541" y="1158"/>
                  </a:cubicBezTo>
                  <a:cubicBezTo>
                    <a:pt x="1527" y="1159"/>
                    <a:pt x="1527" y="1159"/>
                    <a:pt x="1527" y="1159"/>
                  </a:cubicBezTo>
                  <a:cubicBezTo>
                    <a:pt x="1529" y="1167"/>
                    <a:pt x="1529" y="1167"/>
                    <a:pt x="1529" y="1167"/>
                  </a:cubicBezTo>
                  <a:cubicBezTo>
                    <a:pt x="1521" y="1170"/>
                    <a:pt x="1521" y="1170"/>
                    <a:pt x="1521" y="1170"/>
                  </a:cubicBezTo>
                  <a:cubicBezTo>
                    <a:pt x="1506" y="1178"/>
                    <a:pt x="1506" y="1178"/>
                    <a:pt x="1506" y="1178"/>
                  </a:cubicBezTo>
                  <a:cubicBezTo>
                    <a:pt x="1484" y="1183"/>
                    <a:pt x="1484" y="1183"/>
                    <a:pt x="1484" y="1183"/>
                  </a:cubicBezTo>
                  <a:cubicBezTo>
                    <a:pt x="1459" y="1206"/>
                    <a:pt x="1459" y="1206"/>
                    <a:pt x="1459" y="1206"/>
                  </a:cubicBezTo>
                  <a:cubicBezTo>
                    <a:pt x="1451" y="1209"/>
                    <a:pt x="1451" y="1209"/>
                    <a:pt x="1451" y="1209"/>
                  </a:cubicBezTo>
                  <a:cubicBezTo>
                    <a:pt x="1448" y="1214"/>
                    <a:pt x="1448" y="1214"/>
                    <a:pt x="1448" y="1214"/>
                  </a:cubicBezTo>
                  <a:cubicBezTo>
                    <a:pt x="1443" y="1213"/>
                    <a:pt x="1443" y="1213"/>
                    <a:pt x="1443" y="1213"/>
                  </a:cubicBezTo>
                  <a:cubicBezTo>
                    <a:pt x="1437" y="1203"/>
                    <a:pt x="1437" y="1203"/>
                    <a:pt x="1437" y="1203"/>
                  </a:cubicBezTo>
                  <a:cubicBezTo>
                    <a:pt x="1436" y="1188"/>
                    <a:pt x="1436" y="1188"/>
                    <a:pt x="1436" y="1188"/>
                  </a:cubicBezTo>
                  <a:cubicBezTo>
                    <a:pt x="1443" y="1183"/>
                    <a:pt x="1443" y="1183"/>
                    <a:pt x="1443" y="1183"/>
                  </a:cubicBezTo>
                  <a:cubicBezTo>
                    <a:pt x="1457" y="1171"/>
                    <a:pt x="1457" y="1171"/>
                    <a:pt x="1457" y="1171"/>
                  </a:cubicBezTo>
                  <a:cubicBezTo>
                    <a:pt x="1466" y="1167"/>
                    <a:pt x="1466" y="1167"/>
                    <a:pt x="1466" y="1167"/>
                  </a:cubicBezTo>
                  <a:cubicBezTo>
                    <a:pt x="1473" y="1173"/>
                    <a:pt x="1473" y="1173"/>
                    <a:pt x="1473" y="1173"/>
                  </a:cubicBezTo>
                  <a:cubicBezTo>
                    <a:pt x="1483" y="1167"/>
                    <a:pt x="1483" y="1167"/>
                    <a:pt x="1483" y="1167"/>
                  </a:cubicBezTo>
                  <a:cubicBezTo>
                    <a:pt x="1481" y="1159"/>
                    <a:pt x="1481" y="1159"/>
                    <a:pt x="1481" y="1159"/>
                  </a:cubicBezTo>
                  <a:cubicBezTo>
                    <a:pt x="1482" y="1151"/>
                    <a:pt x="1482" y="1151"/>
                    <a:pt x="1482" y="1151"/>
                  </a:cubicBezTo>
                  <a:lnTo>
                    <a:pt x="1477" y="1149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8001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69" name="Central African Republic">
              <a:extLst>
                <a:ext uri="{FF2B5EF4-FFF2-40B4-BE49-F238E27FC236}">
                  <a16:creationId xmlns="" xmlns:a16="http://schemas.microsoft.com/office/drawing/2014/main" id="{A7F70F66-18DE-4B4E-8EE3-09EF06CC2615}"/>
                </a:ext>
              </a:extLst>
            </p:cNvPr>
            <p:cNvSpPr>
              <a:spLocks/>
            </p:cNvSpPr>
            <p:nvPr/>
          </p:nvSpPr>
          <p:spPr bwMode="gray">
            <a:xfrm>
              <a:off x="6248056" y="4208703"/>
              <a:ext cx="411936" cy="277285"/>
            </a:xfrm>
            <a:custGeom>
              <a:avLst/>
              <a:gdLst/>
              <a:ahLst/>
              <a:cxnLst>
                <a:cxn ang="0">
                  <a:pos x="62" y="335"/>
                </a:cxn>
                <a:cxn ang="0">
                  <a:pos x="58" y="307"/>
                </a:cxn>
                <a:cxn ang="0">
                  <a:pos x="34" y="291"/>
                </a:cxn>
                <a:cxn ang="0">
                  <a:pos x="24" y="261"/>
                </a:cxn>
                <a:cxn ang="0">
                  <a:pos x="0" y="241"/>
                </a:cxn>
                <a:cxn ang="0">
                  <a:pos x="0" y="181"/>
                </a:cxn>
                <a:cxn ang="0">
                  <a:pos x="48" y="139"/>
                </a:cxn>
                <a:cxn ang="0">
                  <a:pos x="70" y="141"/>
                </a:cxn>
                <a:cxn ang="0">
                  <a:pos x="84" y="129"/>
                </a:cxn>
                <a:cxn ang="0">
                  <a:pos x="98" y="141"/>
                </a:cxn>
                <a:cxn ang="0">
                  <a:pos x="132" y="127"/>
                </a:cxn>
                <a:cxn ang="0">
                  <a:pos x="160" y="125"/>
                </a:cxn>
                <a:cxn ang="0">
                  <a:pos x="184" y="101"/>
                </a:cxn>
                <a:cxn ang="0">
                  <a:pos x="180" y="84"/>
                </a:cxn>
                <a:cxn ang="0">
                  <a:pos x="208" y="84"/>
                </a:cxn>
                <a:cxn ang="0">
                  <a:pos x="235" y="80"/>
                </a:cxn>
                <a:cxn ang="0">
                  <a:pos x="261" y="48"/>
                </a:cxn>
                <a:cxn ang="0">
                  <a:pos x="269" y="14"/>
                </a:cxn>
                <a:cxn ang="0">
                  <a:pos x="331" y="0"/>
                </a:cxn>
                <a:cxn ang="0">
                  <a:pos x="337" y="22"/>
                </a:cxn>
                <a:cxn ang="0">
                  <a:pos x="355" y="40"/>
                </a:cxn>
                <a:cxn ang="0">
                  <a:pos x="357" y="68"/>
                </a:cxn>
                <a:cxn ang="0">
                  <a:pos x="347" y="84"/>
                </a:cxn>
                <a:cxn ang="0">
                  <a:pos x="373" y="97"/>
                </a:cxn>
                <a:cxn ang="0">
                  <a:pos x="393" y="95"/>
                </a:cxn>
                <a:cxn ang="0">
                  <a:pos x="391" y="111"/>
                </a:cxn>
                <a:cxn ang="0">
                  <a:pos x="425" y="133"/>
                </a:cxn>
                <a:cxn ang="0">
                  <a:pos x="423" y="145"/>
                </a:cxn>
                <a:cxn ang="0">
                  <a:pos x="461" y="169"/>
                </a:cxn>
                <a:cxn ang="0">
                  <a:pos x="459" y="181"/>
                </a:cxn>
                <a:cxn ang="0">
                  <a:pos x="499" y="207"/>
                </a:cxn>
                <a:cxn ang="0">
                  <a:pos x="505" y="243"/>
                </a:cxn>
                <a:cxn ang="0">
                  <a:pos x="425" y="215"/>
                </a:cxn>
                <a:cxn ang="0">
                  <a:pos x="415" y="223"/>
                </a:cxn>
                <a:cxn ang="0">
                  <a:pos x="409" y="233"/>
                </a:cxn>
                <a:cxn ang="0">
                  <a:pos x="391" y="223"/>
                </a:cxn>
                <a:cxn ang="0">
                  <a:pos x="371" y="235"/>
                </a:cxn>
                <a:cxn ang="0">
                  <a:pos x="339" y="241"/>
                </a:cxn>
                <a:cxn ang="0">
                  <a:pos x="323" y="239"/>
                </a:cxn>
                <a:cxn ang="0">
                  <a:pos x="301" y="261"/>
                </a:cxn>
                <a:cxn ang="0">
                  <a:pos x="259" y="247"/>
                </a:cxn>
                <a:cxn ang="0">
                  <a:pos x="235" y="247"/>
                </a:cxn>
                <a:cxn ang="0">
                  <a:pos x="208" y="231"/>
                </a:cxn>
                <a:cxn ang="0">
                  <a:pos x="192" y="231"/>
                </a:cxn>
                <a:cxn ang="0">
                  <a:pos x="176" y="249"/>
                </a:cxn>
                <a:cxn ang="0">
                  <a:pos x="166" y="249"/>
                </a:cxn>
                <a:cxn ang="0">
                  <a:pos x="158" y="279"/>
                </a:cxn>
                <a:cxn ang="0">
                  <a:pos x="124" y="277"/>
                </a:cxn>
                <a:cxn ang="0">
                  <a:pos x="110" y="285"/>
                </a:cxn>
                <a:cxn ang="0">
                  <a:pos x="94" y="285"/>
                </a:cxn>
                <a:cxn ang="0">
                  <a:pos x="62" y="335"/>
                </a:cxn>
              </a:cxnLst>
              <a:rect l="0" t="0" r="r" b="b"/>
              <a:pathLst>
                <a:path w="505" h="335">
                  <a:moveTo>
                    <a:pt x="62" y="335"/>
                  </a:moveTo>
                  <a:lnTo>
                    <a:pt x="58" y="307"/>
                  </a:lnTo>
                  <a:lnTo>
                    <a:pt x="34" y="291"/>
                  </a:lnTo>
                  <a:lnTo>
                    <a:pt x="24" y="261"/>
                  </a:lnTo>
                  <a:lnTo>
                    <a:pt x="0" y="241"/>
                  </a:lnTo>
                  <a:lnTo>
                    <a:pt x="0" y="181"/>
                  </a:lnTo>
                  <a:lnTo>
                    <a:pt x="48" y="139"/>
                  </a:lnTo>
                  <a:lnTo>
                    <a:pt x="70" y="141"/>
                  </a:lnTo>
                  <a:lnTo>
                    <a:pt x="84" y="129"/>
                  </a:lnTo>
                  <a:lnTo>
                    <a:pt x="98" y="141"/>
                  </a:lnTo>
                  <a:lnTo>
                    <a:pt x="132" y="127"/>
                  </a:lnTo>
                  <a:lnTo>
                    <a:pt x="160" y="125"/>
                  </a:lnTo>
                  <a:lnTo>
                    <a:pt x="184" y="101"/>
                  </a:lnTo>
                  <a:lnTo>
                    <a:pt x="180" y="84"/>
                  </a:lnTo>
                  <a:lnTo>
                    <a:pt x="208" y="84"/>
                  </a:lnTo>
                  <a:lnTo>
                    <a:pt x="235" y="80"/>
                  </a:lnTo>
                  <a:lnTo>
                    <a:pt x="261" y="48"/>
                  </a:lnTo>
                  <a:lnTo>
                    <a:pt x="269" y="14"/>
                  </a:lnTo>
                  <a:lnTo>
                    <a:pt x="331" y="0"/>
                  </a:lnTo>
                  <a:lnTo>
                    <a:pt x="337" y="22"/>
                  </a:lnTo>
                  <a:lnTo>
                    <a:pt x="355" y="40"/>
                  </a:lnTo>
                  <a:lnTo>
                    <a:pt x="357" y="68"/>
                  </a:lnTo>
                  <a:lnTo>
                    <a:pt x="347" y="84"/>
                  </a:lnTo>
                  <a:lnTo>
                    <a:pt x="373" y="97"/>
                  </a:lnTo>
                  <a:lnTo>
                    <a:pt x="393" y="95"/>
                  </a:lnTo>
                  <a:lnTo>
                    <a:pt x="391" y="111"/>
                  </a:lnTo>
                  <a:lnTo>
                    <a:pt x="425" y="133"/>
                  </a:lnTo>
                  <a:lnTo>
                    <a:pt x="423" y="145"/>
                  </a:lnTo>
                  <a:lnTo>
                    <a:pt x="461" y="169"/>
                  </a:lnTo>
                  <a:lnTo>
                    <a:pt x="459" y="181"/>
                  </a:lnTo>
                  <a:lnTo>
                    <a:pt x="499" y="207"/>
                  </a:lnTo>
                  <a:lnTo>
                    <a:pt x="505" y="243"/>
                  </a:lnTo>
                  <a:lnTo>
                    <a:pt x="425" y="215"/>
                  </a:lnTo>
                  <a:lnTo>
                    <a:pt x="415" y="223"/>
                  </a:lnTo>
                  <a:lnTo>
                    <a:pt x="409" y="233"/>
                  </a:lnTo>
                  <a:lnTo>
                    <a:pt x="391" y="223"/>
                  </a:lnTo>
                  <a:lnTo>
                    <a:pt x="371" y="235"/>
                  </a:lnTo>
                  <a:lnTo>
                    <a:pt x="339" y="241"/>
                  </a:lnTo>
                  <a:lnTo>
                    <a:pt x="323" y="239"/>
                  </a:lnTo>
                  <a:lnTo>
                    <a:pt x="301" y="261"/>
                  </a:lnTo>
                  <a:lnTo>
                    <a:pt x="259" y="247"/>
                  </a:lnTo>
                  <a:lnTo>
                    <a:pt x="235" y="247"/>
                  </a:lnTo>
                  <a:lnTo>
                    <a:pt x="208" y="231"/>
                  </a:lnTo>
                  <a:lnTo>
                    <a:pt x="192" y="231"/>
                  </a:lnTo>
                  <a:lnTo>
                    <a:pt x="176" y="249"/>
                  </a:lnTo>
                  <a:lnTo>
                    <a:pt x="166" y="249"/>
                  </a:lnTo>
                  <a:lnTo>
                    <a:pt x="158" y="279"/>
                  </a:lnTo>
                  <a:lnTo>
                    <a:pt x="124" y="277"/>
                  </a:lnTo>
                  <a:lnTo>
                    <a:pt x="110" y="285"/>
                  </a:lnTo>
                  <a:lnTo>
                    <a:pt x="94" y="285"/>
                  </a:lnTo>
                  <a:lnTo>
                    <a:pt x="62" y="335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70" name="Chad">
              <a:extLst>
                <a:ext uri="{FF2B5EF4-FFF2-40B4-BE49-F238E27FC236}">
                  <a16:creationId xmlns="" xmlns:a16="http://schemas.microsoft.com/office/drawing/2014/main" id="{69D04014-F2C7-4E8B-BD8B-18718ACFE983}"/>
                </a:ext>
              </a:extLst>
            </p:cNvPr>
            <p:cNvSpPr>
              <a:spLocks/>
            </p:cNvSpPr>
            <p:nvPr/>
          </p:nvSpPr>
          <p:spPr bwMode="gray">
            <a:xfrm>
              <a:off x="6216819" y="3795726"/>
              <a:ext cx="324082" cy="530970"/>
            </a:xfrm>
            <a:custGeom>
              <a:avLst/>
              <a:gdLst/>
              <a:ahLst/>
              <a:cxnLst>
                <a:cxn ang="0">
                  <a:pos x="34" y="432"/>
                </a:cxn>
                <a:cxn ang="0">
                  <a:pos x="6" y="384"/>
                </a:cxn>
                <a:cxn ang="0">
                  <a:pos x="0" y="360"/>
                </a:cxn>
                <a:cxn ang="0">
                  <a:pos x="72" y="280"/>
                </a:cxn>
                <a:cxn ang="0">
                  <a:pos x="82" y="150"/>
                </a:cxn>
                <a:cxn ang="0">
                  <a:pos x="104" y="120"/>
                </a:cxn>
                <a:cxn ang="0">
                  <a:pos x="80" y="86"/>
                </a:cxn>
                <a:cxn ang="0">
                  <a:pos x="84" y="46"/>
                </a:cxn>
                <a:cxn ang="0">
                  <a:pos x="66" y="14"/>
                </a:cxn>
                <a:cxn ang="0">
                  <a:pos x="110" y="0"/>
                </a:cxn>
                <a:cxn ang="0">
                  <a:pos x="399" y="170"/>
                </a:cxn>
                <a:cxn ang="0">
                  <a:pos x="397" y="322"/>
                </a:cxn>
                <a:cxn ang="0">
                  <a:pos x="359" y="330"/>
                </a:cxn>
                <a:cxn ang="0">
                  <a:pos x="359" y="354"/>
                </a:cxn>
                <a:cxn ang="0">
                  <a:pos x="343" y="364"/>
                </a:cxn>
                <a:cxn ang="0">
                  <a:pos x="355" y="384"/>
                </a:cxn>
                <a:cxn ang="0">
                  <a:pos x="323" y="400"/>
                </a:cxn>
                <a:cxn ang="0">
                  <a:pos x="333" y="414"/>
                </a:cxn>
                <a:cxn ang="0">
                  <a:pos x="329" y="428"/>
                </a:cxn>
                <a:cxn ang="0">
                  <a:pos x="345" y="438"/>
                </a:cxn>
                <a:cxn ang="0">
                  <a:pos x="365" y="490"/>
                </a:cxn>
                <a:cxn ang="0">
                  <a:pos x="375" y="496"/>
                </a:cxn>
                <a:cxn ang="0">
                  <a:pos x="371" y="506"/>
                </a:cxn>
                <a:cxn ang="0">
                  <a:pos x="309" y="520"/>
                </a:cxn>
                <a:cxn ang="0">
                  <a:pos x="301" y="554"/>
                </a:cxn>
                <a:cxn ang="0">
                  <a:pos x="275" y="586"/>
                </a:cxn>
                <a:cxn ang="0">
                  <a:pos x="248" y="590"/>
                </a:cxn>
                <a:cxn ang="0">
                  <a:pos x="220" y="590"/>
                </a:cxn>
                <a:cxn ang="0">
                  <a:pos x="224" y="607"/>
                </a:cxn>
                <a:cxn ang="0">
                  <a:pos x="200" y="631"/>
                </a:cxn>
                <a:cxn ang="0">
                  <a:pos x="172" y="633"/>
                </a:cxn>
                <a:cxn ang="0">
                  <a:pos x="138" y="647"/>
                </a:cxn>
                <a:cxn ang="0">
                  <a:pos x="124" y="635"/>
                </a:cxn>
                <a:cxn ang="0">
                  <a:pos x="110" y="647"/>
                </a:cxn>
                <a:cxn ang="0">
                  <a:pos x="88" y="645"/>
                </a:cxn>
                <a:cxn ang="0">
                  <a:pos x="82" y="605"/>
                </a:cxn>
                <a:cxn ang="0">
                  <a:pos x="64" y="603"/>
                </a:cxn>
                <a:cxn ang="0">
                  <a:pos x="34" y="566"/>
                </a:cxn>
                <a:cxn ang="0">
                  <a:pos x="44" y="554"/>
                </a:cxn>
                <a:cxn ang="0">
                  <a:pos x="58" y="556"/>
                </a:cxn>
                <a:cxn ang="0">
                  <a:pos x="84" y="550"/>
                </a:cxn>
                <a:cxn ang="0">
                  <a:pos x="66" y="518"/>
                </a:cxn>
                <a:cxn ang="0">
                  <a:pos x="68" y="480"/>
                </a:cxn>
                <a:cxn ang="0">
                  <a:pos x="52" y="434"/>
                </a:cxn>
                <a:cxn ang="0">
                  <a:pos x="34" y="432"/>
                </a:cxn>
              </a:cxnLst>
              <a:rect l="0" t="0" r="r" b="b"/>
              <a:pathLst>
                <a:path w="399" h="647">
                  <a:moveTo>
                    <a:pt x="34" y="432"/>
                  </a:moveTo>
                  <a:lnTo>
                    <a:pt x="6" y="384"/>
                  </a:lnTo>
                  <a:lnTo>
                    <a:pt x="0" y="360"/>
                  </a:lnTo>
                  <a:lnTo>
                    <a:pt x="72" y="280"/>
                  </a:lnTo>
                  <a:lnTo>
                    <a:pt x="82" y="150"/>
                  </a:lnTo>
                  <a:lnTo>
                    <a:pt x="104" y="120"/>
                  </a:lnTo>
                  <a:lnTo>
                    <a:pt x="80" y="86"/>
                  </a:lnTo>
                  <a:lnTo>
                    <a:pt x="84" y="46"/>
                  </a:lnTo>
                  <a:lnTo>
                    <a:pt x="66" y="14"/>
                  </a:lnTo>
                  <a:lnTo>
                    <a:pt x="110" y="0"/>
                  </a:lnTo>
                  <a:lnTo>
                    <a:pt x="399" y="170"/>
                  </a:lnTo>
                  <a:lnTo>
                    <a:pt x="397" y="322"/>
                  </a:lnTo>
                  <a:lnTo>
                    <a:pt x="359" y="330"/>
                  </a:lnTo>
                  <a:lnTo>
                    <a:pt x="359" y="354"/>
                  </a:lnTo>
                  <a:lnTo>
                    <a:pt x="343" y="364"/>
                  </a:lnTo>
                  <a:lnTo>
                    <a:pt x="355" y="384"/>
                  </a:lnTo>
                  <a:lnTo>
                    <a:pt x="323" y="400"/>
                  </a:lnTo>
                  <a:lnTo>
                    <a:pt x="333" y="414"/>
                  </a:lnTo>
                  <a:lnTo>
                    <a:pt x="329" y="428"/>
                  </a:lnTo>
                  <a:lnTo>
                    <a:pt x="345" y="438"/>
                  </a:lnTo>
                  <a:lnTo>
                    <a:pt x="365" y="490"/>
                  </a:lnTo>
                  <a:lnTo>
                    <a:pt x="375" y="496"/>
                  </a:lnTo>
                  <a:lnTo>
                    <a:pt x="371" y="506"/>
                  </a:lnTo>
                  <a:lnTo>
                    <a:pt x="309" y="520"/>
                  </a:lnTo>
                  <a:lnTo>
                    <a:pt x="301" y="554"/>
                  </a:lnTo>
                  <a:lnTo>
                    <a:pt x="275" y="586"/>
                  </a:lnTo>
                  <a:lnTo>
                    <a:pt x="248" y="590"/>
                  </a:lnTo>
                  <a:lnTo>
                    <a:pt x="220" y="590"/>
                  </a:lnTo>
                  <a:lnTo>
                    <a:pt x="224" y="607"/>
                  </a:lnTo>
                  <a:lnTo>
                    <a:pt x="200" y="631"/>
                  </a:lnTo>
                  <a:lnTo>
                    <a:pt x="172" y="633"/>
                  </a:lnTo>
                  <a:lnTo>
                    <a:pt x="138" y="647"/>
                  </a:lnTo>
                  <a:lnTo>
                    <a:pt x="124" y="635"/>
                  </a:lnTo>
                  <a:lnTo>
                    <a:pt x="110" y="647"/>
                  </a:lnTo>
                  <a:lnTo>
                    <a:pt x="88" y="645"/>
                  </a:lnTo>
                  <a:lnTo>
                    <a:pt x="82" y="605"/>
                  </a:lnTo>
                  <a:lnTo>
                    <a:pt x="64" y="603"/>
                  </a:lnTo>
                  <a:lnTo>
                    <a:pt x="34" y="566"/>
                  </a:lnTo>
                  <a:lnTo>
                    <a:pt x="44" y="554"/>
                  </a:lnTo>
                  <a:lnTo>
                    <a:pt x="58" y="556"/>
                  </a:lnTo>
                  <a:lnTo>
                    <a:pt x="84" y="550"/>
                  </a:lnTo>
                  <a:lnTo>
                    <a:pt x="66" y="518"/>
                  </a:lnTo>
                  <a:lnTo>
                    <a:pt x="68" y="480"/>
                  </a:lnTo>
                  <a:lnTo>
                    <a:pt x="52" y="434"/>
                  </a:lnTo>
                  <a:lnTo>
                    <a:pt x="34" y="432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71" name="Chile">
              <a:extLst>
                <a:ext uri="{FF2B5EF4-FFF2-40B4-BE49-F238E27FC236}">
                  <a16:creationId xmlns="" xmlns:a16="http://schemas.microsoft.com/office/drawing/2014/main" id="{145A11A9-2233-46E5-97AC-33CC5975500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364501" y="5191983"/>
              <a:ext cx="271371" cy="1571281"/>
            </a:xfrm>
            <a:custGeom>
              <a:avLst/>
              <a:gdLst/>
              <a:ahLst/>
              <a:cxnLst>
                <a:cxn ang="0">
                  <a:pos x="90" y="878"/>
                </a:cxn>
                <a:cxn ang="0">
                  <a:pos x="75" y="883"/>
                </a:cxn>
                <a:cxn ang="0">
                  <a:pos x="45" y="870"/>
                </a:cxn>
                <a:cxn ang="0">
                  <a:pos x="60" y="856"/>
                </a:cxn>
                <a:cxn ang="0">
                  <a:pos x="45" y="831"/>
                </a:cxn>
                <a:cxn ang="0">
                  <a:pos x="39" y="818"/>
                </a:cxn>
                <a:cxn ang="0">
                  <a:pos x="31" y="769"/>
                </a:cxn>
                <a:cxn ang="0">
                  <a:pos x="31" y="723"/>
                </a:cxn>
                <a:cxn ang="0">
                  <a:pos x="32" y="707"/>
                </a:cxn>
                <a:cxn ang="0">
                  <a:pos x="13" y="685"/>
                </a:cxn>
                <a:cxn ang="0">
                  <a:pos x="15" y="661"/>
                </a:cxn>
                <a:cxn ang="0">
                  <a:pos x="41" y="675"/>
                </a:cxn>
                <a:cxn ang="0">
                  <a:pos x="49" y="617"/>
                </a:cxn>
                <a:cxn ang="0">
                  <a:pos x="59" y="552"/>
                </a:cxn>
                <a:cxn ang="0">
                  <a:pos x="50" y="487"/>
                </a:cxn>
                <a:cxn ang="0">
                  <a:pos x="61" y="402"/>
                </a:cxn>
                <a:cxn ang="0">
                  <a:pos x="80" y="291"/>
                </a:cxn>
                <a:cxn ang="0">
                  <a:pos x="91" y="205"/>
                </a:cxn>
                <a:cxn ang="0">
                  <a:pos x="99" y="118"/>
                </a:cxn>
                <a:cxn ang="0">
                  <a:pos x="102" y="17"/>
                </a:cxn>
                <a:cxn ang="0">
                  <a:pos x="138" y="74"/>
                </a:cxn>
                <a:cxn ang="0">
                  <a:pos x="141" y="147"/>
                </a:cxn>
                <a:cxn ang="0">
                  <a:pos x="129" y="215"/>
                </a:cxn>
                <a:cxn ang="0">
                  <a:pos x="104" y="280"/>
                </a:cxn>
                <a:cxn ang="0">
                  <a:pos x="105" y="382"/>
                </a:cxn>
                <a:cxn ang="0">
                  <a:pos x="91" y="476"/>
                </a:cxn>
                <a:cxn ang="0">
                  <a:pos x="78" y="563"/>
                </a:cxn>
                <a:cxn ang="0">
                  <a:pos x="86" y="630"/>
                </a:cxn>
                <a:cxn ang="0">
                  <a:pos x="78" y="657"/>
                </a:cxn>
                <a:cxn ang="0">
                  <a:pos x="61" y="726"/>
                </a:cxn>
                <a:cxn ang="0">
                  <a:pos x="46" y="804"/>
                </a:cxn>
                <a:cxn ang="0">
                  <a:pos x="130" y="843"/>
                </a:cxn>
                <a:cxn ang="0">
                  <a:pos x="132" y="858"/>
                </a:cxn>
                <a:cxn ang="0">
                  <a:pos x="106" y="871"/>
                </a:cxn>
                <a:cxn ang="0">
                  <a:pos x="123" y="891"/>
                </a:cxn>
                <a:cxn ang="0">
                  <a:pos x="125" y="920"/>
                </a:cxn>
                <a:cxn ang="0">
                  <a:pos x="100" y="923"/>
                </a:cxn>
                <a:cxn ang="0">
                  <a:pos x="92" y="931"/>
                </a:cxn>
                <a:cxn ang="0">
                  <a:pos x="165" y="935"/>
                </a:cxn>
                <a:cxn ang="0">
                  <a:pos x="159" y="949"/>
                </a:cxn>
                <a:cxn ang="0">
                  <a:pos x="130" y="947"/>
                </a:cxn>
                <a:cxn ang="0">
                  <a:pos x="142" y="945"/>
                </a:cxn>
                <a:cxn ang="0">
                  <a:pos x="111" y="944"/>
                </a:cxn>
                <a:cxn ang="0">
                  <a:pos x="96" y="938"/>
                </a:cxn>
                <a:cxn ang="0">
                  <a:pos x="117" y="936"/>
                </a:cxn>
                <a:cxn ang="0">
                  <a:pos x="62" y="905"/>
                </a:cxn>
                <a:cxn ang="0">
                  <a:pos x="28" y="876"/>
                </a:cxn>
                <a:cxn ang="0">
                  <a:pos x="38" y="874"/>
                </a:cxn>
                <a:cxn ang="0">
                  <a:pos x="77" y="911"/>
                </a:cxn>
                <a:cxn ang="0">
                  <a:pos x="88" y="912"/>
                </a:cxn>
                <a:cxn ang="0">
                  <a:pos x="98" y="890"/>
                </a:cxn>
                <a:cxn ang="0">
                  <a:pos x="25" y="822"/>
                </a:cxn>
                <a:cxn ang="0">
                  <a:pos x="18" y="814"/>
                </a:cxn>
                <a:cxn ang="0">
                  <a:pos x="14" y="745"/>
                </a:cxn>
                <a:cxn ang="0">
                  <a:pos x="19" y="764"/>
                </a:cxn>
                <a:cxn ang="0">
                  <a:pos x="12" y="738"/>
                </a:cxn>
                <a:cxn ang="0">
                  <a:pos x="6" y="784"/>
                </a:cxn>
                <a:cxn ang="0">
                  <a:pos x="18" y="841"/>
                </a:cxn>
                <a:cxn ang="0">
                  <a:pos x="55" y="882"/>
                </a:cxn>
                <a:cxn ang="0">
                  <a:pos x="61" y="869"/>
                </a:cxn>
                <a:cxn ang="0">
                  <a:pos x="53" y="630"/>
                </a:cxn>
                <a:cxn ang="0">
                  <a:pos x="26" y="593"/>
                </a:cxn>
                <a:cxn ang="0">
                  <a:pos x="34" y="558"/>
                </a:cxn>
              </a:cxnLst>
              <a:rect l="0" t="0" r="r" b="b"/>
              <a:pathLst>
                <a:path w="167" h="959">
                  <a:moveTo>
                    <a:pt x="121" y="848"/>
                  </a:moveTo>
                  <a:cubicBezTo>
                    <a:pt x="116" y="856"/>
                    <a:pt x="116" y="856"/>
                    <a:pt x="116" y="856"/>
                  </a:cubicBezTo>
                  <a:cubicBezTo>
                    <a:pt x="109" y="858"/>
                    <a:pt x="109" y="858"/>
                    <a:pt x="109" y="858"/>
                  </a:cubicBezTo>
                  <a:cubicBezTo>
                    <a:pt x="101" y="863"/>
                    <a:pt x="101" y="863"/>
                    <a:pt x="101" y="863"/>
                  </a:cubicBezTo>
                  <a:cubicBezTo>
                    <a:pt x="93" y="863"/>
                    <a:pt x="93" y="863"/>
                    <a:pt x="93" y="863"/>
                  </a:cubicBezTo>
                  <a:cubicBezTo>
                    <a:pt x="93" y="870"/>
                    <a:pt x="93" y="870"/>
                    <a:pt x="93" y="870"/>
                  </a:cubicBezTo>
                  <a:cubicBezTo>
                    <a:pt x="90" y="878"/>
                    <a:pt x="90" y="878"/>
                    <a:pt x="90" y="878"/>
                  </a:cubicBezTo>
                  <a:cubicBezTo>
                    <a:pt x="89" y="891"/>
                    <a:pt x="89" y="891"/>
                    <a:pt x="89" y="891"/>
                  </a:cubicBezTo>
                  <a:cubicBezTo>
                    <a:pt x="86" y="900"/>
                    <a:pt x="86" y="900"/>
                    <a:pt x="86" y="900"/>
                  </a:cubicBezTo>
                  <a:cubicBezTo>
                    <a:pt x="78" y="898"/>
                    <a:pt x="78" y="898"/>
                    <a:pt x="78" y="898"/>
                  </a:cubicBezTo>
                  <a:cubicBezTo>
                    <a:pt x="69" y="893"/>
                    <a:pt x="69" y="893"/>
                    <a:pt x="69" y="893"/>
                  </a:cubicBezTo>
                  <a:cubicBezTo>
                    <a:pt x="63" y="881"/>
                    <a:pt x="63" y="881"/>
                    <a:pt x="63" y="881"/>
                  </a:cubicBezTo>
                  <a:cubicBezTo>
                    <a:pt x="70" y="880"/>
                    <a:pt x="70" y="880"/>
                    <a:pt x="70" y="880"/>
                  </a:cubicBezTo>
                  <a:cubicBezTo>
                    <a:pt x="75" y="883"/>
                    <a:pt x="75" y="883"/>
                    <a:pt x="75" y="883"/>
                  </a:cubicBezTo>
                  <a:cubicBezTo>
                    <a:pt x="81" y="879"/>
                    <a:pt x="81" y="879"/>
                    <a:pt x="81" y="879"/>
                  </a:cubicBezTo>
                  <a:cubicBezTo>
                    <a:pt x="85" y="869"/>
                    <a:pt x="85" y="869"/>
                    <a:pt x="85" y="869"/>
                  </a:cubicBezTo>
                  <a:cubicBezTo>
                    <a:pt x="78" y="858"/>
                    <a:pt x="78" y="858"/>
                    <a:pt x="78" y="858"/>
                  </a:cubicBezTo>
                  <a:cubicBezTo>
                    <a:pt x="62" y="861"/>
                    <a:pt x="62" y="861"/>
                    <a:pt x="62" y="861"/>
                  </a:cubicBezTo>
                  <a:cubicBezTo>
                    <a:pt x="53" y="866"/>
                    <a:pt x="53" y="866"/>
                    <a:pt x="53" y="866"/>
                  </a:cubicBezTo>
                  <a:cubicBezTo>
                    <a:pt x="50" y="873"/>
                    <a:pt x="50" y="873"/>
                    <a:pt x="50" y="873"/>
                  </a:cubicBezTo>
                  <a:cubicBezTo>
                    <a:pt x="45" y="870"/>
                    <a:pt x="45" y="870"/>
                    <a:pt x="45" y="870"/>
                  </a:cubicBezTo>
                  <a:cubicBezTo>
                    <a:pt x="41" y="865"/>
                    <a:pt x="41" y="865"/>
                    <a:pt x="41" y="865"/>
                  </a:cubicBezTo>
                  <a:cubicBezTo>
                    <a:pt x="41" y="857"/>
                    <a:pt x="41" y="857"/>
                    <a:pt x="41" y="857"/>
                  </a:cubicBezTo>
                  <a:cubicBezTo>
                    <a:pt x="40" y="847"/>
                    <a:pt x="40" y="847"/>
                    <a:pt x="40" y="847"/>
                  </a:cubicBezTo>
                  <a:cubicBezTo>
                    <a:pt x="48" y="846"/>
                    <a:pt x="48" y="846"/>
                    <a:pt x="48" y="846"/>
                  </a:cubicBezTo>
                  <a:cubicBezTo>
                    <a:pt x="54" y="846"/>
                    <a:pt x="54" y="846"/>
                    <a:pt x="54" y="846"/>
                  </a:cubicBezTo>
                  <a:cubicBezTo>
                    <a:pt x="52" y="856"/>
                    <a:pt x="52" y="856"/>
                    <a:pt x="52" y="856"/>
                  </a:cubicBezTo>
                  <a:cubicBezTo>
                    <a:pt x="60" y="856"/>
                    <a:pt x="60" y="856"/>
                    <a:pt x="60" y="856"/>
                  </a:cubicBezTo>
                  <a:cubicBezTo>
                    <a:pt x="60" y="847"/>
                    <a:pt x="60" y="847"/>
                    <a:pt x="60" y="847"/>
                  </a:cubicBezTo>
                  <a:cubicBezTo>
                    <a:pt x="58" y="839"/>
                    <a:pt x="58" y="839"/>
                    <a:pt x="58" y="839"/>
                  </a:cubicBezTo>
                  <a:cubicBezTo>
                    <a:pt x="58" y="829"/>
                    <a:pt x="58" y="829"/>
                    <a:pt x="58" y="829"/>
                  </a:cubicBezTo>
                  <a:cubicBezTo>
                    <a:pt x="50" y="825"/>
                    <a:pt x="50" y="825"/>
                    <a:pt x="50" y="825"/>
                  </a:cubicBezTo>
                  <a:cubicBezTo>
                    <a:pt x="51" y="839"/>
                    <a:pt x="51" y="839"/>
                    <a:pt x="51" y="839"/>
                  </a:cubicBezTo>
                  <a:cubicBezTo>
                    <a:pt x="46" y="839"/>
                    <a:pt x="46" y="839"/>
                    <a:pt x="46" y="839"/>
                  </a:cubicBezTo>
                  <a:cubicBezTo>
                    <a:pt x="45" y="831"/>
                    <a:pt x="45" y="831"/>
                    <a:pt x="45" y="831"/>
                  </a:cubicBezTo>
                  <a:cubicBezTo>
                    <a:pt x="42" y="841"/>
                    <a:pt x="42" y="841"/>
                    <a:pt x="42" y="841"/>
                  </a:cubicBezTo>
                  <a:cubicBezTo>
                    <a:pt x="38" y="831"/>
                    <a:pt x="38" y="831"/>
                    <a:pt x="38" y="831"/>
                  </a:cubicBezTo>
                  <a:cubicBezTo>
                    <a:pt x="33" y="835"/>
                    <a:pt x="33" y="835"/>
                    <a:pt x="33" y="835"/>
                  </a:cubicBezTo>
                  <a:cubicBezTo>
                    <a:pt x="30" y="833"/>
                    <a:pt x="30" y="833"/>
                    <a:pt x="30" y="833"/>
                  </a:cubicBezTo>
                  <a:cubicBezTo>
                    <a:pt x="34" y="826"/>
                    <a:pt x="34" y="826"/>
                    <a:pt x="34" y="826"/>
                  </a:cubicBezTo>
                  <a:cubicBezTo>
                    <a:pt x="39" y="825"/>
                    <a:pt x="39" y="825"/>
                    <a:pt x="39" y="825"/>
                  </a:cubicBezTo>
                  <a:cubicBezTo>
                    <a:pt x="39" y="818"/>
                    <a:pt x="39" y="818"/>
                    <a:pt x="39" y="818"/>
                  </a:cubicBezTo>
                  <a:cubicBezTo>
                    <a:pt x="33" y="814"/>
                    <a:pt x="33" y="814"/>
                    <a:pt x="33" y="814"/>
                  </a:cubicBezTo>
                  <a:cubicBezTo>
                    <a:pt x="33" y="805"/>
                    <a:pt x="33" y="805"/>
                    <a:pt x="33" y="805"/>
                  </a:cubicBezTo>
                  <a:cubicBezTo>
                    <a:pt x="27" y="801"/>
                    <a:pt x="27" y="801"/>
                    <a:pt x="27" y="801"/>
                  </a:cubicBezTo>
                  <a:cubicBezTo>
                    <a:pt x="21" y="792"/>
                    <a:pt x="21" y="792"/>
                    <a:pt x="21" y="792"/>
                  </a:cubicBezTo>
                  <a:cubicBezTo>
                    <a:pt x="25" y="786"/>
                    <a:pt x="25" y="786"/>
                    <a:pt x="25" y="786"/>
                  </a:cubicBezTo>
                  <a:cubicBezTo>
                    <a:pt x="27" y="779"/>
                    <a:pt x="27" y="779"/>
                    <a:pt x="27" y="779"/>
                  </a:cubicBezTo>
                  <a:cubicBezTo>
                    <a:pt x="31" y="769"/>
                    <a:pt x="31" y="769"/>
                    <a:pt x="31" y="769"/>
                  </a:cubicBezTo>
                  <a:cubicBezTo>
                    <a:pt x="34" y="763"/>
                    <a:pt x="34" y="763"/>
                    <a:pt x="34" y="763"/>
                  </a:cubicBezTo>
                  <a:cubicBezTo>
                    <a:pt x="38" y="758"/>
                    <a:pt x="38" y="758"/>
                    <a:pt x="38" y="758"/>
                  </a:cubicBezTo>
                  <a:cubicBezTo>
                    <a:pt x="36" y="749"/>
                    <a:pt x="36" y="749"/>
                    <a:pt x="36" y="749"/>
                  </a:cubicBezTo>
                  <a:cubicBezTo>
                    <a:pt x="29" y="756"/>
                    <a:pt x="29" y="756"/>
                    <a:pt x="29" y="756"/>
                  </a:cubicBezTo>
                  <a:cubicBezTo>
                    <a:pt x="29" y="735"/>
                    <a:pt x="29" y="735"/>
                    <a:pt x="29" y="735"/>
                  </a:cubicBezTo>
                  <a:cubicBezTo>
                    <a:pt x="24" y="723"/>
                    <a:pt x="24" y="723"/>
                    <a:pt x="24" y="723"/>
                  </a:cubicBezTo>
                  <a:cubicBezTo>
                    <a:pt x="31" y="723"/>
                    <a:pt x="31" y="723"/>
                    <a:pt x="31" y="723"/>
                  </a:cubicBezTo>
                  <a:cubicBezTo>
                    <a:pt x="45" y="726"/>
                    <a:pt x="45" y="726"/>
                    <a:pt x="45" y="726"/>
                  </a:cubicBezTo>
                  <a:cubicBezTo>
                    <a:pt x="45" y="721"/>
                    <a:pt x="45" y="721"/>
                    <a:pt x="45" y="721"/>
                  </a:cubicBezTo>
                  <a:cubicBezTo>
                    <a:pt x="42" y="715"/>
                    <a:pt x="42" y="715"/>
                    <a:pt x="42" y="715"/>
                  </a:cubicBezTo>
                  <a:cubicBezTo>
                    <a:pt x="27" y="718"/>
                    <a:pt x="27" y="718"/>
                    <a:pt x="27" y="718"/>
                  </a:cubicBezTo>
                  <a:cubicBezTo>
                    <a:pt x="23" y="711"/>
                    <a:pt x="23" y="711"/>
                    <a:pt x="23" y="711"/>
                  </a:cubicBezTo>
                  <a:cubicBezTo>
                    <a:pt x="30" y="713"/>
                    <a:pt x="30" y="713"/>
                    <a:pt x="30" y="713"/>
                  </a:cubicBezTo>
                  <a:cubicBezTo>
                    <a:pt x="32" y="707"/>
                    <a:pt x="32" y="707"/>
                    <a:pt x="32" y="707"/>
                  </a:cubicBezTo>
                  <a:cubicBezTo>
                    <a:pt x="25" y="706"/>
                    <a:pt x="25" y="706"/>
                    <a:pt x="25" y="706"/>
                  </a:cubicBezTo>
                  <a:cubicBezTo>
                    <a:pt x="27" y="700"/>
                    <a:pt x="27" y="700"/>
                    <a:pt x="27" y="700"/>
                  </a:cubicBezTo>
                  <a:cubicBezTo>
                    <a:pt x="32" y="697"/>
                    <a:pt x="32" y="697"/>
                    <a:pt x="32" y="697"/>
                  </a:cubicBezTo>
                  <a:cubicBezTo>
                    <a:pt x="32" y="690"/>
                    <a:pt x="32" y="690"/>
                    <a:pt x="32" y="690"/>
                  </a:cubicBezTo>
                  <a:cubicBezTo>
                    <a:pt x="25" y="686"/>
                    <a:pt x="25" y="686"/>
                    <a:pt x="25" y="686"/>
                  </a:cubicBezTo>
                  <a:cubicBezTo>
                    <a:pt x="19" y="690"/>
                    <a:pt x="19" y="690"/>
                    <a:pt x="19" y="690"/>
                  </a:cubicBezTo>
                  <a:cubicBezTo>
                    <a:pt x="13" y="685"/>
                    <a:pt x="13" y="685"/>
                    <a:pt x="13" y="685"/>
                  </a:cubicBezTo>
                  <a:cubicBezTo>
                    <a:pt x="8" y="686"/>
                    <a:pt x="8" y="686"/>
                    <a:pt x="8" y="686"/>
                  </a:cubicBezTo>
                  <a:cubicBezTo>
                    <a:pt x="9" y="693"/>
                    <a:pt x="9" y="693"/>
                    <a:pt x="9" y="693"/>
                  </a:cubicBezTo>
                  <a:cubicBezTo>
                    <a:pt x="2" y="692"/>
                    <a:pt x="2" y="692"/>
                    <a:pt x="2" y="692"/>
                  </a:cubicBezTo>
                  <a:cubicBezTo>
                    <a:pt x="0" y="683"/>
                    <a:pt x="0" y="683"/>
                    <a:pt x="0" y="683"/>
                  </a:cubicBezTo>
                  <a:cubicBezTo>
                    <a:pt x="9" y="678"/>
                    <a:pt x="9" y="678"/>
                    <a:pt x="9" y="678"/>
                  </a:cubicBezTo>
                  <a:cubicBezTo>
                    <a:pt x="17" y="672"/>
                    <a:pt x="17" y="672"/>
                    <a:pt x="17" y="672"/>
                  </a:cubicBezTo>
                  <a:cubicBezTo>
                    <a:pt x="15" y="661"/>
                    <a:pt x="15" y="661"/>
                    <a:pt x="15" y="661"/>
                  </a:cubicBezTo>
                  <a:cubicBezTo>
                    <a:pt x="27" y="658"/>
                    <a:pt x="27" y="658"/>
                    <a:pt x="27" y="658"/>
                  </a:cubicBezTo>
                  <a:cubicBezTo>
                    <a:pt x="29" y="665"/>
                    <a:pt x="29" y="665"/>
                    <a:pt x="29" y="665"/>
                  </a:cubicBezTo>
                  <a:cubicBezTo>
                    <a:pt x="23" y="672"/>
                    <a:pt x="23" y="672"/>
                    <a:pt x="23" y="672"/>
                  </a:cubicBezTo>
                  <a:cubicBezTo>
                    <a:pt x="25" y="677"/>
                    <a:pt x="25" y="677"/>
                    <a:pt x="25" y="677"/>
                  </a:cubicBezTo>
                  <a:cubicBezTo>
                    <a:pt x="36" y="672"/>
                    <a:pt x="36" y="672"/>
                    <a:pt x="36" y="672"/>
                  </a:cubicBezTo>
                  <a:cubicBezTo>
                    <a:pt x="37" y="681"/>
                    <a:pt x="37" y="681"/>
                    <a:pt x="37" y="681"/>
                  </a:cubicBezTo>
                  <a:cubicBezTo>
                    <a:pt x="41" y="675"/>
                    <a:pt x="41" y="675"/>
                    <a:pt x="41" y="675"/>
                  </a:cubicBezTo>
                  <a:cubicBezTo>
                    <a:pt x="45" y="670"/>
                    <a:pt x="45" y="670"/>
                    <a:pt x="45" y="670"/>
                  </a:cubicBezTo>
                  <a:cubicBezTo>
                    <a:pt x="45" y="660"/>
                    <a:pt x="45" y="660"/>
                    <a:pt x="45" y="660"/>
                  </a:cubicBezTo>
                  <a:cubicBezTo>
                    <a:pt x="50" y="649"/>
                    <a:pt x="50" y="649"/>
                    <a:pt x="50" y="649"/>
                  </a:cubicBezTo>
                  <a:cubicBezTo>
                    <a:pt x="45" y="639"/>
                    <a:pt x="45" y="639"/>
                    <a:pt x="45" y="639"/>
                  </a:cubicBezTo>
                  <a:cubicBezTo>
                    <a:pt x="59" y="633"/>
                    <a:pt x="59" y="633"/>
                    <a:pt x="59" y="633"/>
                  </a:cubicBezTo>
                  <a:cubicBezTo>
                    <a:pt x="59" y="623"/>
                    <a:pt x="59" y="623"/>
                    <a:pt x="59" y="623"/>
                  </a:cubicBezTo>
                  <a:cubicBezTo>
                    <a:pt x="49" y="617"/>
                    <a:pt x="49" y="617"/>
                    <a:pt x="49" y="617"/>
                  </a:cubicBezTo>
                  <a:cubicBezTo>
                    <a:pt x="57" y="608"/>
                    <a:pt x="57" y="608"/>
                    <a:pt x="57" y="608"/>
                  </a:cubicBezTo>
                  <a:cubicBezTo>
                    <a:pt x="54" y="595"/>
                    <a:pt x="54" y="595"/>
                    <a:pt x="54" y="595"/>
                  </a:cubicBezTo>
                  <a:cubicBezTo>
                    <a:pt x="58" y="590"/>
                    <a:pt x="58" y="590"/>
                    <a:pt x="58" y="590"/>
                  </a:cubicBezTo>
                  <a:cubicBezTo>
                    <a:pt x="61" y="582"/>
                    <a:pt x="61" y="582"/>
                    <a:pt x="61" y="582"/>
                  </a:cubicBezTo>
                  <a:cubicBezTo>
                    <a:pt x="58" y="578"/>
                    <a:pt x="58" y="578"/>
                    <a:pt x="58" y="578"/>
                  </a:cubicBezTo>
                  <a:cubicBezTo>
                    <a:pt x="65" y="562"/>
                    <a:pt x="65" y="562"/>
                    <a:pt x="65" y="562"/>
                  </a:cubicBezTo>
                  <a:cubicBezTo>
                    <a:pt x="59" y="552"/>
                    <a:pt x="59" y="552"/>
                    <a:pt x="59" y="552"/>
                  </a:cubicBezTo>
                  <a:cubicBezTo>
                    <a:pt x="63" y="543"/>
                    <a:pt x="63" y="543"/>
                    <a:pt x="63" y="543"/>
                  </a:cubicBezTo>
                  <a:cubicBezTo>
                    <a:pt x="55" y="545"/>
                    <a:pt x="55" y="545"/>
                    <a:pt x="55" y="545"/>
                  </a:cubicBezTo>
                  <a:cubicBezTo>
                    <a:pt x="47" y="549"/>
                    <a:pt x="47" y="549"/>
                    <a:pt x="47" y="549"/>
                  </a:cubicBezTo>
                  <a:cubicBezTo>
                    <a:pt x="40" y="546"/>
                    <a:pt x="40" y="546"/>
                    <a:pt x="40" y="546"/>
                  </a:cubicBezTo>
                  <a:cubicBezTo>
                    <a:pt x="35" y="534"/>
                    <a:pt x="35" y="534"/>
                    <a:pt x="35" y="534"/>
                  </a:cubicBezTo>
                  <a:cubicBezTo>
                    <a:pt x="41" y="507"/>
                    <a:pt x="41" y="507"/>
                    <a:pt x="41" y="507"/>
                  </a:cubicBezTo>
                  <a:cubicBezTo>
                    <a:pt x="50" y="487"/>
                    <a:pt x="50" y="487"/>
                    <a:pt x="50" y="487"/>
                  </a:cubicBezTo>
                  <a:cubicBezTo>
                    <a:pt x="44" y="454"/>
                    <a:pt x="44" y="454"/>
                    <a:pt x="44" y="454"/>
                  </a:cubicBezTo>
                  <a:cubicBezTo>
                    <a:pt x="39" y="451"/>
                    <a:pt x="39" y="451"/>
                    <a:pt x="39" y="451"/>
                  </a:cubicBezTo>
                  <a:cubicBezTo>
                    <a:pt x="38" y="436"/>
                    <a:pt x="38" y="436"/>
                    <a:pt x="38" y="436"/>
                  </a:cubicBezTo>
                  <a:cubicBezTo>
                    <a:pt x="48" y="437"/>
                    <a:pt x="48" y="437"/>
                    <a:pt x="48" y="437"/>
                  </a:cubicBezTo>
                  <a:cubicBezTo>
                    <a:pt x="52" y="428"/>
                    <a:pt x="52" y="428"/>
                    <a:pt x="52" y="428"/>
                  </a:cubicBezTo>
                  <a:cubicBezTo>
                    <a:pt x="54" y="416"/>
                    <a:pt x="54" y="416"/>
                    <a:pt x="54" y="416"/>
                  </a:cubicBezTo>
                  <a:cubicBezTo>
                    <a:pt x="61" y="402"/>
                    <a:pt x="61" y="402"/>
                    <a:pt x="61" y="402"/>
                  </a:cubicBezTo>
                  <a:cubicBezTo>
                    <a:pt x="61" y="393"/>
                    <a:pt x="61" y="393"/>
                    <a:pt x="61" y="393"/>
                  </a:cubicBezTo>
                  <a:cubicBezTo>
                    <a:pt x="68" y="384"/>
                    <a:pt x="68" y="384"/>
                    <a:pt x="68" y="384"/>
                  </a:cubicBezTo>
                  <a:cubicBezTo>
                    <a:pt x="76" y="351"/>
                    <a:pt x="76" y="351"/>
                    <a:pt x="76" y="351"/>
                  </a:cubicBezTo>
                  <a:cubicBezTo>
                    <a:pt x="82" y="351"/>
                    <a:pt x="82" y="351"/>
                    <a:pt x="82" y="351"/>
                  </a:cubicBezTo>
                  <a:cubicBezTo>
                    <a:pt x="81" y="333"/>
                    <a:pt x="81" y="333"/>
                    <a:pt x="81" y="333"/>
                  </a:cubicBezTo>
                  <a:cubicBezTo>
                    <a:pt x="85" y="321"/>
                    <a:pt x="85" y="321"/>
                    <a:pt x="85" y="321"/>
                  </a:cubicBezTo>
                  <a:cubicBezTo>
                    <a:pt x="80" y="291"/>
                    <a:pt x="80" y="291"/>
                    <a:pt x="80" y="291"/>
                  </a:cubicBezTo>
                  <a:cubicBezTo>
                    <a:pt x="83" y="272"/>
                    <a:pt x="83" y="272"/>
                    <a:pt x="83" y="272"/>
                  </a:cubicBezTo>
                  <a:cubicBezTo>
                    <a:pt x="87" y="259"/>
                    <a:pt x="87" y="259"/>
                    <a:pt x="87" y="259"/>
                  </a:cubicBezTo>
                  <a:cubicBezTo>
                    <a:pt x="83" y="244"/>
                    <a:pt x="83" y="244"/>
                    <a:pt x="83" y="244"/>
                  </a:cubicBezTo>
                  <a:cubicBezTo>
                    <a:pt x="87" y="237"/>
                    <a:pt x="87" y="237"/>
                    <a:pt x="87" y="237"/>
                  </a:cubicBezTo>
                  <a:cubicBezTo>
                    <a:pt x="87" y="219"/>
                    <a:pt x="87" y="219"/>
                    <a:pt x="87" y="219"/>
                  </a:cubicBezTo>
                  <a:cubicBezTo>
                    <a:pt x="91" y="213"/>
                    <a:pt x="91" y="213"/>
                    <a:pt x="91" y="213"/>
                  </a:cubicBezTo>
                  <a:cubicBezTo>
                    <a:pt x="91" y="205"/>
                    <a:pt x="91" y="205"/>
                    <a:pt x="91" y="205"/>
                  </a:cubicBezTo>
                  <a:cubicBezTo>
                    <a:pt x="99" y="190"/>
                    <a:pt x="99" y="190"/>
                    <a:pt x="99" y="190"/>
                  </a:cubicBezTo>
                  <a:cubicBezTo>
                    <a:pt x="97" y="171"/>
                    <a:pt x="97" y="171"/>
                    <a:pt x="97" y="171"/>
                  </a:cubicBezTo>
                  <a:cubicBezTo>
                    <a:pt x="102" y="166"/>
                    <a:pt x="102" y="166"/>
                    <a:pt x="102" y="166"/>
                  </a:cubicBezTo>
                  <a:cubicBezTo>
                    <a:pt x="100" y="153"/>
                    <a:pt x="100" y="153"/>
                    <a:pt x="100" y="153"/>
                  </a:cubicBezTo>
                  <a:cubicBezTo>
                    <a:pt x="101" y="137"/>
                    <a:pt x="101" y="137"/>
                    <a:pt x="101" y="137"/>
                  </a:cubicBezTo>
                  <a:cubicBezTo>
                    <a:pt x="105" y="125"/>
                    <a:pt x="105" y="125"/>
                    <a:pt x="105" y="125"/>
                  </a:cubicBezTo>
                  <a:cubicBezTo>
                    <a:pt x="99" y="118"/>
                    <a:pt x="99" y="118"/>
                    <a:pt x="99" y="118"/>
                  </a:cubicBezTo>
                  <a:cubicBezTo>
                    <a:pt x="105" y="111"/>
                    <a:pt x="105" y="111"/>
                    <a:pt x="105" y="111"/>
                  </a:cubicBezTo>
                  <a:cubicBezTo>
                    <a:pt x="106" y="102"/>
                    <a:pt x="106" y="102"/>
                    <a:pt x="106" y="102"/>
                  </a:cubicBezTo>
                  <a:cubicBezTo>
                    <a:pt x="108" y="96"/>
                    <a:pt x="108" y="96"/>
                    <a:pt x="108" y="96"/>
                  </a:cubicBezTo>
                  <a:cubicBezTo>
                    <a:pt x="108" y="79"/>
                    <a:pt x="108" y="79"/>
                    <a:pt x="108" y="79"/>
                  </a:cubicBezTo>
                  <a:cubicBezTo>
                    <a:pt x="108" y="41"/>
                    <a:pt x="108" y="41"/>
                    <a:pt x="108" y="41"/>
                  </a:cubicBezTo>
                  <a:cubicBezTo>
                    <a:pt x="101" y="26"/>
                    <a:pt x="101" y="26"/>
                    <a:pt x="101" y="26"/>
                  </a:cubicBezTo>
                  <a:cubicBezTo>
                    <a:pt x="102" y="17"/>
                    <a:pt x="102" y="17"/>
                    <a:pt x="102" y="17"/>
                  </a:cubicBezTo>
                  <a:cubicBezTo>
                    <a:pt x="96" y="14"/>
                    <a:pt x="96" y="14"/>
                    <a:pt x="96" y="14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30" y="38"/>
                    <a:pt x="130" y="38"/>
                    <a:pt x="130" y="38"/>
                  </a:cubicBezTo>
                  <a:cubicBezTo>
                    <a:pt x="130" y="46"/>
                    <a:pt x="130" y="46"/>
                    <a:pt x="130" y="46"/>
                  </a:cubicBezTo>
                  <a:cubicBezTo>
                    <a:pt x="133" y="51"/>
                    <a:pt x="133" y="51"/>
                    <a:pt x="133" y="51"/>
                  </a:cubicBezTo>
                  <a:cubicBezTo>
                    <a:pt x="133" y="71"/>
                    <a:pt x="133" y="71"/>
                    <a:pt x="133" y="71"/>
                  </a:cubicBezTo>
                  <a:cubicBezTo>
                    <a:pt x="138" y="74"/>
                    <a:pt x="138" y="74"/>
                    <a:pt x="138" y="74"/>
                  </a:cubicBezTo>
                  <a:cubicBezTo>
                    <a:pt x="141" y="80"/>
                    <a:pt x="141" y="80"/>
                    <a:pt x="141" y="80"/>
                  </a:cubicBezTo>
                  <a:cubicBezTo>
                    <a:pt x="144" y="106"/>
                    <a:pt x="144" y="106"/>
                    <a:pt x="144" y="106"/>
                  </a:cubicBezTo>
                  <a:cubicBezTo>
                    <a:pt x="165" y="115"/>
                    <a:pt x="165" y="115"/>
                    <a:pt x="165" y="115"/>
                  </a:cubicBezTo>
                  <a:cubicBezTo>
                    <a:pt x="161" y="130"/>
                    <a:pt x="161" y="130"/>
                    <a:pt x="161" y="130"/>
                  </a:cubicBezTo>
                  <a:cubicBezTo>
                    <a:pt x="156" y="136"/>
                    <a:pt x="156" y="136"/>
                    <a:pt x="156" y="136"/>
                  </a:cubicBezTo>
                  <a:cubicBezTo>
                    <a:pt x="144" y="144"/>
                    <a:pt x="144" y="144"/>
                    <a:pt x="144" y="144"/>
                  </a:cubicBezTo>
                  <a:cubicBezTo>
                    <a:pt x="141" y="147"/>
                    <a:pt x="141" y="147"/>
                    <a:pt x="141" y="147"/>
                  </a:cubicBezTo>
                  <a:cubicBezTo>
                    <a:pt x="141" y="155"/>
                    <a:pt x="141" y="155"/>
                    <a:pt x="141" y="155"/>
                  </a:cubicBezTo>
                  <a:cubicBezTo>
                    <a:pt x="136" y="166"/>
                    <a:pt x="136" y="166"/>
                    <a:pt x="136" y="166"/>
                  </a:cubicBezTo>
                  <a:cubicBezTo>
                    <a:pt x="138" y="175"/>
                    <a:pt x="138" y="175"/>
                    <a:pt x="138" y="175"/>
                  </a:cubicBezTo>
                  <a:cubicBezTo>
                    <a:pt x="138" y="192"/>
                    <a:pt x="138" y="192"/>
                    <a:pt x="138" y="192"/>
                  </a:cubicBezTo>
                  <a:cubicBezTo>
                    <a:pt x="142" y="200"/>
                    <a:pt x="142" y="200"/>
                    <a:pt x="142" y="200"/>
                  </a:cubicBezTo>
                  <a:cubicBezTo>
                    <a:pt x="134" y="207"/>
                    <a:pt x="134" y="207"/>
                    <a:pt x="134" y="207"/>
                  </a:cubicBezTo>
                  <a:cubicBezTo>
                    <a:pt x="129" y="215"/>
                    <a:pt x="129" y="215"/>
                    <a:pt x="129" y="215"/>
                  </a:cubicBezTo>
                  <a:cubicBezTo>
                    <a:pt x="127" y="223"/>
                    <a:pt x="127" y="223"/>
                    <a:pt x="127" y="223"/>
                  </a:cubicBezTo>
                  <a:cubicBezTo>
                    <a:pt x="120" y="229"/>
                    <a:pt x="120" y="229"/>
                    <a:pt x="120" y="229"/>
                  </a:cubicBezTo>
                  <a:cubicBezTo>
                    <a:pt x="113" y="243"/>
                    <a:pt x="113" y="243"/>
                    <a:pt x="113" y="243"/>
                  </a:cubicBezTo>
                  <a:cubicBezTo>
                    <a:pt x="112" y="253"/>
                    <a:pt x="112" y="253"/>
                    <a:pt x="112" y="253"/>
                  </a:cubicBezTo>
                  <a:cubicBezTo>
                    <a:pt x="113" y="273"/>
                    <a:pt x="113" y="273"/>
                    <a:pt x="113" y="273"/>
                  </a:cubicBezTo>
                  <a:cubicBezTo>
                    <a:pt x="109" y="279"/>
                    <a:pt x="109" y="279"/>
                    <a:pt x="109" y="279"/>
                  </a:cubicBezTo>
                  <a:cubicBezTo>
                    <a:pt x="104" y="280"/>
                    <a:pt x="104" y="280"/>
                    <a:pt x="104" y="280"/>
                  </a:cubicBezTo>
                  <a:cubicBezTo>
                    <a:pt x="105" y="291"/>
                    <a:pt x="105" y="291"/>
                    <a:pt x="105" y="291"/>
                  </a:cubicBezTo>
                  <a:cubicBezTo>
                    <a:pt x="100" y="294"/>
                    <a:pt x="100" y="294"/>
                    <a:pt x="100" y="294"/>
                  </a:cubicBezTo>
                  <a:cubicBezTo>
                    <a:pt x="101" y="306"/>
                    <a:pt x="101" y="306"/>
                    <a:pt x="101" y="306"/>
                  </a:cubicBezTo>
                  <a:cubicBezTo>
                    <a:pt x="109" y="326"/>
                    <a:pt x="109" y="326"/>
                    <a:pt x="109" y="326"/>
                  </a:cubicBezTo>
                  <a:cubicBezTo>
                    <a:pt x="112" y="342"/>
                    <a:pt x="112" y="342"/>
                    <a:pt x="112" y="342"/>
                  </a:cubicBezTo>
                  <a:cubicBezTo>
                    <a:pt x="111" y="361"/>
                    <a:pt x="111" y="361"/>
                    <a:pt x="111" y="361"/>
                  </a:cubicBezTo>
                  <a:cubicBezTo>
                    <a:pt x="105" y="382"/>
                    <a:pt x="105" y="382"/>
                    <a:pt x="105" y="382"/>
                  </a:cubicBezTo>
                  <a:cubicBezTo>
                    <a:pt x="100" y="404"/>
                    <a:pt x="100" y="404"/>
                    <a:pt x="100" y="404"/>
                  </a:cubicBezTo>
                  <a:cubicBezTo>
                    <a:pt x="95" y="409"/>
                    <a:pt x="95" y="409"/>
                    <a:pt x="95" y="409"/>
                  </a:cubicBezTo>
                  <a:cubicBezTo>
                    <a:pt x="94" y="416"/>
                    <a:pt x="94" y="416"/>
                    <a:pt x="94" y="416"/>
                  </a:cubicBezTo>
                  <a:cubicBezTo>
                    <a:pt x="89" y="420"/>
                    <a:pt x="89" y="420"/>
                    <a:pt x="89" y="420"/>
                  </a:cubicBezTo>
                  <a:cubicBezTo>
                    <a:pt x="89" y="439"/>
                    <a:pt x="89" y="439"/>
                    <a:pt x="89" y="439"/>
                  </a:cubicBezTo>
                  <a:cubicBezTo>
                    <a:pt x="92" y="463"/>
                    <a:pt x="92" y="463"/>
                    <a:pt x="92" y="463"/>
                  </a:cubicBezTo>
                  <a:cubicBezTo>
                    <a:pt x="91" y="476"/>
                    <a:pt x="91" y="476"/>
                    <a:pt x="91" y="476"/>
                  </a:cubicBezTo>
                  <a:cubicBezTo>
                    <a:pt x="86" y="476"/>
                    <a:pt x="86" y="476"/>
                    <a:pt x="86" y="476"/>
                  </a:cubicBezTo>
                  <a:cubicBezTo>
                    <a:pt x="80" y="488"/>
                    <a:pt x="80" y="488"/>
                    <a:pt x="80" y="488"/>
                  </a:cubicBezTo>
                  <a:cubicBezTo>
                    <a:pt x="75" y="507"/>
                    <a:pt x="75" y="507"/>
                    <a:pt x="75" y="507"/>
                  </a:cubicBezTo>
                  <a:cubicBezTo>
                    <a:pt x="77" y="514"/>
                    <a:pt x="77" y="514"/>
                    <a:pt x="77" y="514"/>
                  </a:cubicBezTo>
                  <a:cubicBezTo>
                    <a:pt x="73" y="523"/>
                    <a:pt x="73" y="523"/>
                    <a:pt x="73" y="523"/>
                  </a:cubicBezTo>
                  <a:cubicBezTo>
                    <a:pt x="75" y="546"/>
                    <a:pt x="75" y="546"/>
                    <a:pt x="75" y="546"/>
                  </a:cubicBezTo>
                  <a:cubicBezTo>
                    <a:pt x="78" y="563"/>
                    <a:pt x="78" y="563"/>
                    <a:pt x="78" y="563"/>
                  </a:cubicBezTo>
                  <a:cubicBezTo>
                    <a:pt x="67" y="568"/>
                    <a:pt x="67" y="568"/>
                    <a:pt x="67" y="568"/>
                  </a:cubicBezTo>
                  <a:cubicBezTo>
                    <a:pt x="66" y="573"/>
                    <a:pt x="66" y="573"/>
                    <a:pt x="66" y="573"/>
                  </a:cubicBezTo>
                  <a:cubicBezTo>
                    <a:pt x="73" y="583"/>
                    <a:pt x="73" y="583"/>
                    <a:pt x="73" y="583"/>
                  </a:cubicBezTo>
                  <a:cubicBezTo>
                    <a:pt x="75" y="598"/>
                    <a:pt x="75" y="598"/>
                    <a:pt x="75" y="598"/>
                  </a:cubicBezTo>
                  <a:cubicBezTo>
                    <a:pt x="74" y="618"/>
                    <a:pt x="74" y="618"/>
                    <a:pt x="74" y="618"/>
                  </a:cubicBezTo>
                  <a:cubicBezTo>
                    <a:pt x="86" y="624"/>
                    <a:pt x="86" y="624"/>
                    <a:pt x="86" y="624"/>
                  </a:cubicBezTo>
                  <a:cubicBezTo>
                    <a:pt x="86" y="630"/>
                    <a:pt x="86" y="630"/>
                    <a:pt x="86" y="630"/>
                  </a:cubicBezTo>
                  <a:cubicBezTo>
                    <a:pt x="74" y="629"/>
                    <a:pt x="74" y="629"/>
                    <a:pt x="74" y="629"/>
                  </a:cubicBezTo>
                  <a:cubicBezTo>
                    <a:pt x="71" y="633"/>
                    <a:pt x="71" y="633"/>
                    <a:pt x="71" y="633"/>
                  </a:cubicBezTo>
                  <a:cubicBezTo>
                    <a:pt x="72" y="634"/>
                    <a:pt x="72" y="634"/>
                    <a:pt x="72" y="634"/>
                  </a:cubicBezTo>
                  <a:cubicBezTo>
                    <a:pt x="79" y="636"/>
                    <a:pt x="79" y="636"/>
                    <a:pt x="79" y="636"/>
                  </a:cubicBezTo>
                  <a:cubicBezTo>
                    <a:pt x="84" y="642"/>
                    <a:pt x="84" y="642"/>
                    <a:pt x="84" y="642"/>
                  </a:cubicBezTo>
                  <a:cubicBezTo>
                    <a:pt x="76" y="652"/>
                    <a:pt x="76" y="652"/>
                    <a:pt x="76" y="652"/>
                  </a:cubicBezTo>
                  <a:cubicBezTo>
                    <a:pt x="78" y="657"/>
                    <a:pt x="78" y="657"/>
                    <a:pt x="78" y="657"/>
                  </a:cubicBezTo>
                  <a:cubicBezTo>
                    <a:pt x="76" y="662"/>
                    <a:pt x="76" y="662"/>
                    <a:pt x="76" y="662"/>
                  </a:cubicBezTo>
                  <a:cubicBezTo>
                    <a:pt x="76" y="679"/>
                    <a:pt x="76" y="679"/>
                    <a:pt x="76" y="679"/>
                  </a:cubicBezTo>
                  <a:cubicBezTo>
                    <a:pt x="73" y="682"/>
                    <a:pt x="73" y="682"/>
                    <a:pt x="73" y="682"/>
                  </a:cubicBezTo>
                  <a:cubicBezTo>
                    <a:pt x="72" y="695"/>
                    <a:pt x="72" y="695"/>
                    <a:pt x="72" y="695"/>
                  </a:cubicBezTo>
                  <a:cubicBezTo>
                    <a:pt x="58" y="709"/>
                    <a:pt x="58" y="709"/>
                    <a:pt x="58" y="709"/>
                  </a:cubicBezTo>
                  <a:cubicBezTo>
                    <a:pt x="58" y="715"/>
                    <a:pt x="58" y="715"/>
                    <a:pt x="58" y="715"/>
                  </a:cubicBezTo>
                  <a:cubicBezTo>
                    <a:pt x="61" y="726"/>
                    <a:pt x="61" y="726"/>
                    <a:pt x="61" y="726"/>
                  </a:cubicBezTo>
                  <a:cubicBezTo>
                    <a:pt x="57" y="737"/>
                    <a:pt x="57" y="737"/>
                    <a:pt x="57" y="737"/>
                  </a:cubicBezTo>
                  <a:cubicBezTo>
                    <a:pt x="53" y="746"/>
                    <a:pt x="53" y="746"/>
                    <a:pt x="53" y="746"/>
                  </a:cubicBezTo>
                  <a:cubicBezTo>
                    <a:pt x="41" y="765"/>
                    <a:pt x="41" y="765"/>
                    <a:pt x="41" y="765"/>
                  </a:cubicBezTo>
                  <a:cubicBezTo>
                    <a:pt x="37" y="781"/>
                    <a:pt x="37" y="781"/>
                    <a:pt x="37" y="781"/>
                  </a:cubicBezTo>
                  <a:cubicBezTo>
                    <a:pt x="38" y="788"/>
                    <a:pt x="38" y="788"/>
                    <a:pt x="38" y="788"/>
                  </a:cubicBezTo>
                  <a:cubicBezTo>
                    <a:pt x="43" y="795"/>
                    <a:pt x="43" y="795"/>
                    <a:pt x="43" y="795"/>
                  </a:cubicBezTo>
                  <a:cubicBezTo>
                    <a:pt x="46" y="804"/>
                    <a:pt x="46" y="804"/>
                    <a:pt x="46" y="804"/>
                  </a:cubicBezTo>
                  <a:cubicBezTo>
                    <a:pt x="53" y="799"/>
                    <a:pt x="53" y="799"/>
                    <a:pt x="53" y="799"/>
                  </a:cubicBezTo>
                  <a:cubicBezTo>
                    <a:pt x="60" y="799"/>
                    <a:pt x="60" y="799"/>
                    <a:pt x="60" y="799"/>
                  </a:cubicBezTo>
                  <a:cubicBezTo>
                    <a:pt x="60" y="814"/>
                    <a:pt x="60" y="814"/>
                    <a:pt x="60" y="814"/>
                  </a:cubicBezTo>
                  <a:cubicBezTo>
                    <a:pt x="62" y="821"/>
                    <a:pt x="62" y="821"/>
                    <a:pt x="62" y="821"/>
                  </a:cubicBezTo>
                  <a:cubicBezTo>
                    <a:pt x="61" y="828"/>
                    <a:pt x="61" y="828"/>
                    <a:pt x="61" y="828"/>
                  </a:cubicBezTo>
                  <a:cubicBezTo>
                    <a:pt x="70" y="843"/>
                    <a:pt x="70" y="843"/>
                    <a:pt x="70" y="843"/>
                  </a:cubicBezTo>
                  <a:cubicBezTo>
                    <a:pt x="130" y="843"/>
                    <a:pt x="130" y="843"/>
                    <a:pt x="130" y="843"/>
                  </a:cubicBezTo>
                  <a:cubicBezTo>
                    <a:pt x="136" y="851"/>
                    <a:pt x="136" y="851"/>
                    <a:pt x="136" y="851"/>
                  </a:cubicBezTo>
                  <a:cubicBezTo>
                    <a:pt x="128" y="848"/>
                    <a:pt x="128" y="848"/>
                    <a:pt x="128" y="848"/>
                  </a:cubicBezTo>
                  <a:lnTo>
                    <a:pt x="121" y="848"/>
                  </a:lnTo>
                  <a:close/>
                  <a:moveTo>
                    <a:pt x="136" y="932"/>
                  </a:moveTo>
                  <a:cubicBezTo>
                    <a:pt x="136" y="903"/>
                    <a:pt x="136" y="903"/>
                    <a:pt x="136" y="903"/>
                  </a:cubicBezTo>
                  <a:cubicBezTo>
                    <a:pt x="137" y="864"/>
                    <a:pt x="137" y="864"/>
                    <a:pt x="137" y="864"/>
                  </a:cubicBezTo>
                  <a:cubicBezTo>
                    <a:pt x="132" y="858"/>
                    <a:pt x="132" y="858"/>
                    <a:pt x="132" y="858"/>
                  </a:cubicBezTo>
                  <a:cubicBezTo>
                    <a:pt x="125" y="860"/>
                    <a:pt x="125" y="860"/>
                    <a:pt x="125" y="860"/>
                  </a:cubicBezTo>
                  <a:cubicBezTo>
                    <a:pt x="122" y="857"/>
                    <a:pt x="122" y="857"/>
                    <a:pt x="122" y="857"/>
                  </a:cubicBezTo>
                  <a:cubicBezTo>
                    <a:pt x="117" y="857"/>
                    <a:pt x="117" y="857"/>
                    <a:pt x="117" y="857"/>
                  </a:cubicBezTo>
                  <a:cubicBezTo>
                    <a:pt x="112" y="867"/>
                    <a:pt x="112" y="867"/>
                    <a:pt x="112" y="867"/>
                  </a:cubicBezTo>
                  <a:cubicBezTo>
                    <a:pt x="104" y="865"/>
                    <a:pt x="104" y="865"/>
                    <a:pt x="104" y="865"/>
                  </a:cubicBezTo>
                  <a:cubicBezTo>
                    <a:pt x="101" y="867"/>
                    <a:pt x="101" y="867"/>
                    <a:pt x="101" y="867"/>
                  </a:cubicBezTo>
                  <a:cubicBezTo>
                    <a:pt x="106" y="871"/>
                    <a:pt x="106" y="871"/>
                    <a:pt x="106" y="871"/>
                  </a:cubicBezTo>
                  <a:cubicBezTo>
                    <a:pt x="103" y="875"/>
                    <a:pt x="103" y="875"/>
                    <a:pt x="103" y="875"/>
                  </a:cubicBezTo>
                  <a:cubicBezTo>
                    <a:pt x="100" y="874"/>
                    <a:pt x="100" y="874"/>
                    <a:pt x="100" y="874"/>
                  </a:cubicBezTo>
                  <a:cubicBezTo>
                    <a:pt x="99" y="884"/>
                    <a:pt x="99" y="884"/>
                    <a:pt x="99" y="884"/>
                  </a:cubicBezTo>
                  <a:cubicBezTo>
                    <a:pt x="105" y="887"/>
                    <a:pt x="105" y="887"/>
                    <a:pt x="105" y="887"/>
                  </a:cubicBezTo>
                  <a:cubicBezTo>
                    <a:pt x="113" y="887"/>
                    <a:pt x="113" y="887"/>
                    <a:pt x="113" y="887"/>
                  </a:cubicBezTo>
                  <a:cubicBezTo>
                    <a:pt x="122" y="887"/>
                    <a:pt x="122" y="887"/>
                    <a:pt x="122" y="887"/>
                  </a:cubicBezTo>
                  <a:cubicBezTo>
                    <a:pt x="123" y="891"/>
                    <a:pt x="123" y="891"/>
                    <a:pt x="123" y="891"/>
                  </a:cubicBezTo>
                  <a:cubicBezTo>
                    <a:pt x="117" y="893"/>
                    <a:pt x="117" y="893"/>
                    <a:pt x="117" y="893"/>
                  </a:cubicBezTo>
                  <a:cubicBezTo>
                    <a:pt x="109" y="894"/>
                    <a:pt x="109" y="894"/>
                    <a:pt x="109" y="894"/>
                  </a:cubicBezTo>
                  <a:cubicBezTo>
                    <a:pt x="106" y="896"/>
                    <a:pt x="106" y="896"/>
                    <a:pt x="106" y="896"/>
                  </a:cubicBezTo>
                  <a:cubicBezTo>
                    <a:pt x="108" y="905"/>
                    <a:pt x="108" y="905"/>
                    <a:pt x="108" y="905"/>
                  </a:cubicBezTo>
                  <a:cubicBezTo>
                    <a:pt x="114" y="911"/>
                    <a:pt x="114" y="911"/>
                    <a:pt x="114" y="911"/>
                  </a:cubicBezTo>
                  <a:cubicBezTo>
                    <a:pt x="129" y="916"/>
                    <a:pt x="129" y="916"/>
                    <a:pt x="129" y="916"/>
                  </a:cubicBezTo>
                  <a:cubicBezTo>
                    <a:pt x="125" y="920"/>
                    <a:pt x="125" y="920"/>
                    <a:pt x="125" y="920"/>
                  </a:cubicBezTo>
                  <a:cubicBezTo>
                    <a:pt x="117" y="918"/>
                    <a:pt x="117" y="918"/>
                    <a:pt x="117" y="918"/>
                  </a:cubicBezTo>
                  <a:cubicBezTo>
                    <a:pt x="112" y="915"/>
                    <a:pt x="112" y="915"/>
                    <a:pt x="112" y="915"/>
                  </a:cubicBezTo>
                  <a:cubicBezTo>
                    <a:pt x="108" y="915"/>
                    <a:pt x="108" y="915"/>
                    <a:pt x="108" y="915"/>
                  </a:cubicBezTo>
                  <a:cubicBezTo>
                    <a:pt x="106" y="917"/>
                    <a:pt x="106" y="917"/>
                    <a:pt x="106" y="917"/>
                  </a:cubicBezTo>
                  <a:cubicBezTo>
                    <a:pt x="97" y="916"/>
                    <a:pt x="97" y="916"/>
                    <a:pt x="97" y="916"/>
                  </a:cubicBezTo>
                  <a:cubicBezTo>
                    <a:pt x="105" y="924"/>
                    <a:pt x="105" y="924"/>
                    <a:pt x="105" y="924"/>
                  </a:cubicBezTo>
                  <a:cubicBezTo>
                    <a:pt x="100" y="923"/>
                    <a:pt x="100" y="923"/>
                    <a:pt x="100" y="923"/>
                  </a:cubicBezTo>
                  <a:cubicBezTo>
                    <a:pt x="94" y="919"/>
                    <a:pt x="94" y="919"/>
                    <a:pt x="94" y="919"/>
                  </a:cubicBezTo>
                  <a:cubicBezTo>
                    <a:pt x="91" y="921"/>
                    <a:pt x="91" y="921"/>
                    <a:pt x="91" y="921"/>
                  </a:cubicBezTo>
                  <a:cubicBezTo>
                    <a:pt x="84" y="919"/>
                    <a:pt x="84" y="919"/>
                    <a:pt x="84" y="919"/>
                  </a:cubicBezTo>
                  <a:cubicBezTo>
                    <a:pt x="72" y="921"/>
                    <a:pt x="72" y="921"/>
                    <a:pt x="72" y="921"/>
                  </a:cubicBezTo>
                  <a:cubicBezTo>
                    <a:pt x="72" y="924"/>
                    <a:pt x="72" y="924"/>
                    <a:pt x="72" y="924"/>
                  </a:cubicBezTo>
                  <a:cubicBezTo>
                    <a:pt x="92" y="927"/>
                    <a:pt x="92" y="927"/>
                    <a:pt x="92" y="927"/>
                  </a:cubicBezTo>
                  <a:cubicBezTo>
                    <a:pt x="92" y="931"/>
                    <a:pt x="92" y="931"/>
                    <a:pt x="92" y="931"/>
                  </a:cubicBezTo>
                  <a:cubicBezTo>
                    <a:pt x="102" y="931"/>
                    <a:pt x="102" y="931"/>
                    <a:pt x="102" y="931"/>
                  </a:cubicBezTo>
                  <a:cubicBezTo>
                    <a:pt x="104" y="932"/>
                    <a:pt x="104" y="932"/>
                    <a:pt x="104" y="932"/>
                  </a:cubicBezTo>
                  <a:cubicBezTo>
                    <a:pt x="123" y="933"/>
                    <a:pt x="123" y="933"/>
                    <a:pt x="123" y="933"/>
                  </a:cubicBezTo>
                  <a:cubicBezTo>
                    <a:pt x="131" y="935"/>
                    <a:pt x="131" y="935"/>
                    <a:pt x="131" y="935"/>
                  </a:cubicBezTo>
                  <a:lnTo>
                    <a:pt x="136" y="932"/>
                  </a:lnTo>
                  <a:close/>
                  <a:moveTo>
                    <a:pt x="167" y="940"/>
                  </a:moveTo>
                  <a:cubicBezTo>
                    <a:pt x="165" y="935"/>
                    <a:pt x="165" y="935"/>
                    <a:pt x="165" y="935"/>
                  </a:cubicBezTo>
                  <a:cubicBezTo>
                    <a:pt x="157" y="933"/>
                    <a:pt x="157" y="933"/>
                    <a:pt x="157" y="933"/>
                  </a:cubicBezTo>
                  <a:cubicBezTo>
                    <a:pt x="156" y="936"/>
                    <a:pt x="156" y="936"/>
                    <a:pt x="156" y="936"/>
                  </a:cubicBezTo>
                  <a:cubicBezTo>
                    <a:pt x="144" y="939"/>
                    <a:pt x="144" y="939"/>
                    <a:pt x="144" y="939"/>
                  </a:cubicBezTo>
                  <a:cubicBezTo>
                    <a:pt x="146" y="944"/>
                    <a:pt x="146" y="944"/>
                    <a:pt x="146" y="944"/>
                  </a:cubicBezTo>
                  <a:cubicBezTo>
                    <a:pt x="152" y="947"/>
                    <a:pt x="152" y="947"/>
                    <a:pt x="152" y="947"/>
                  </a:cubicBezTo>
                  <a:cubicBezTo>
                    <a:pt x="158" y="945"/>
                    <a:pt x="158" y="945"/>
                    <a:pt x="158" y="945"/>
                  </a:cubicBezTo>
                  <a:cubicBezTo>
                    <a:pt x="159" y="949"/>
                    <a:pt x="159" y="949"/>
                    <a:pt x="159" y="949"/>
                  </a:cubicBezTo>
                  <a:cubicBezTo>
                    <a:pt x="163" y="949"/>
                    <a:pt x="163" y="949"/>
                    <a:pt x="163" y="949"/>
                  </a:cubicBezTo>
                  <a:lnTo>
                    <a:pt x="167" y="940"/>
                  </a:lnTo>
                  <a:close/>
                  <a:moveTo>
                    <a:pt x="120" y="955"/>
                  </a:moveTo>
                  <a:cubicBezTo>
                    <a:pt x="124" y="954"/>
                    <a:pt x="124" y="954"/>
                    <a:pt x="124" y="954"/>
                  </a:cubicBezTo>
                  <a:cubicBezTo>
                    <a:pt x="121" y="949"/>
                    <a:pt x="121" y="949"/>
                    <a:pt x="121" y="949"/>
                  </a:cubicBezTo>
                  <a:cubicBezTo>
                    <a:pt x="124" y="947"/>
                    <a:pt x="124" y="947"/>
                    <a:pt x="124" y="947"/>
                  </a:cubicBezTo>
                  <a:cubicBezTo>
                    <a:pt x="130" y="947"/>
                    <a:pt x="130" y="947"/>
                    <a:pt x="130" y="947"/>
                  </a:cubicBezTo>
                  <a:cubicBezTo>
                    <a:pt x="132" y="955"/>
                    <a:pt x="132" y="955"/>
                    <a:pt x="132" y="955"/>
                  </a:cubicBezTo>
                  <a:cubicBezTo>
                    <a:pt x="140" y="955"/>
                    <a:pt x="140" y="955"/>
                    <a:pt x="140" y="955"/>
                  </a:cubicBezTo>
                  <a:cubicBezTo>
                    <a:pt x="147" y="959"/>
                    <a:pt x="147" y="959"/>
                    <a:pt x="147" y="959"/>
                  </a:cubicBezTo>
                  <a:cubicBezTo>
                    <a:pt x="149" y="957"/>
                    <a:pt x="149" y="957"/>
                    <a:pt x="149" y="957"/>
                  </a:cubicBezTo>
                  <a:cubicBezTo>
                    <a:pt x="144" y="952"/>
                    <a:pt x="144" y="952"/>
                    <a:pt x="144" y="952"/>
                  </a:cubicBezTo>
                  <a:cubicBezTo>
                    <a:pt x="136" y="949"/>
                    <a:pt x="136" y="949"/>
                    <a:pt x="136" y="949"/>
                  </a:cubicBezTo>
                  <a:cubicBezTo>
                    <a:pt x="142" y="945"/>
                    <a:pt x="142" y="945"/>
                    <a:pt x="142" y="945"/>
                  </a:cubicBezTo>
                  <a:cubicBezTo>
                    <a:pt x="133" y="944"/>
                    <a:pt x="133" y="944"/>
                    <a:pt x="133" y="944"/>
                  </a:cubicBezTo>
                  <a:cubicBezTo>
                    <a:pt x="132" y="942"/>
                    <a:pt x="132" y="942"/>
                    <a:pt x="132" y="942"/>
                  </a:cubicBezTo>
                  <a:cubicBezTo>
                    <a:pt x="138" y="942"/>
                    <a:pt x="138" y="942"/>
                    <a:pt x="138" y="942"/>
                  </a:cubicBezTo>
                  <a:cubicBezTo>
                    <a:pt x="140" y="938"/>
                    <a:pt x="140" y="938"/>
                    <a:pt x="140" y="938"/>
                  </a:cubicBezTo>
                  <a:cubicBezTo>
                    <a:pt x="126" y="938"/>
                    <a:pt x="126" y="938"/>
                    <a:pt x="126" y="938"/>
                  </a:cubicBezTo>
                  <a:cubicBezTo>
                    <a:pt x="126" y="938"/>
                    <a:pt x="118" y="944"/>
                    <a:pt x="117" y="944"/>
                  </a:cubicBezTo>
                  <a:cubicBezTo>
                    <a:pt x="116" y="944"/>
                    <a:pt x="111" y="944"/>
                    <a:pt x="111" y="944"/>
                  </a:cubicBezTo>
                  <a:lnTo>
                    <a:pt x="120" y="955"/>
                  </a:lnTo>
                  <a:close/>
                  <a:moveTo>
                    <a:pt x="88" y="938"/>
                  </a:moveTo>
                  <a:cubicBezTo>
                    <a:pt x="92" y="942"/>
                    <a:pt x="92" y="942"/>
                    <a:pt x="92" y="942"/>
                  </a:cubicBezTo>
                  <a:cubicBezTo>
                    <a:pt x="98" y="942"/>
                    <a:pt x="98" y="942"/>
                    <a:pt x="98" y="942"/>
                  </a:cubicBezTo>
                  <a:cubicBezTo>
                    <a:pt x="102" y="942"/>
                    <a:pt x="102" y="942"/>
                    <a:pt x="102" y="942"/>
                  </a:cubicBezTo>
                  <a:cubicBezTo>
                    <a:pt x="100" y="937"/>
                    <a:pt x="100" y="937"/>
                    <a:pt x="100" y="937"/>
                  </a:cubicBezTo>
                  <a:cubicBezTo>
                    <a:pt x="96" y="938"/>
                    <a:pt x="96" y="938"/>
                    <a:pt x="96" y="938"/>
                  </a:cubicBezTo>
                  <a:cubicBezTo>
                    <a:pt x="91" y="936"/>
                    <a:pt x="91" y="936"/>
                    <a:pt x="91" y="936"/>
                  </a:cubicBezTo>
                  <a:cubicBezTo>
                    <a:pt x="85" y="932"/>
                    <a:pt x="85" y="932"/>
                    <a:pt x="85" y="932"/>
                  </a:cubicBezTo>
                  <a:cubicBezTo>
                    <a:pt x="82" y="935"/>
                    <a:pt x="82" y="935"/>
                    <a:pt x="82" y="935"/>
                  </a:cubicBezTo>
                  <a:lnTo>
                    <a:pt x="88" y="938"/>
                  </a:lnTo>
                  <a:close/>
                  <a:moveTo>
                    <a:pt x="117" y="941"/>
                  </a:moveTo>
                  <a:cubicBezTo>
                    <a:pt x="122" y="937"/>
                    <a:pt x="122" y="937"/>
                    <a:pt x="122" y="937"/>
                  </a:cubicBezTo>
                  <a:cubicBezTo>
                    <a:pt x="117" y="936"/>
                    <a:pt x="117" y="936"/>
                    <a:pt x="117" y="936"/>
                  </a:cubicBezTo>
                  <a:cubicBezTo>
                    <a:pt x="108" y="938"/>
                    <a:pt x="108" y="938"/>
                    <a:pt x="108" y="938"/>
                  </a:cubicBezTo>
                  <a:lnTo>
                    <a:pt x="117" y="941"/>
                  </a:lnTo>
                  <a:close/>
                  <a:moveTo>
                    <a:pt x="41" y="900"/>
                  </a:moveTo>
                  <a:cubicBezTo>
                    <a:pt x="45" y="902"/>
                    <a:pt x="45" y="902"/>
                    <a:pt x="45" y="902"/>
                  </a:cubicBezTo>
                  <a:cubicBezTo>
                    <a:pt x="49" y="908"/>
                    <a:pt x="49" y="908"/>
                    <a:pt x="49" y="908"/>
                  </a:cubicBezTo>
                  <a:cubicBezTo>
                    <a:pt x="58" y="909"/>
                    <a:pt x="58" y="909"/>
                    <a:pt x="58" y="909"/>
                  </a:cubicBezTo>
                  <a:cubicBezTo>
                    <a:pt x="62" y="905"/>
                    <a:pt x="62" y="905"/>
                    <a:pt x="62" y="905"/>
                  </a:cubicBezTo>
                  <a:cubicBezTo>
                    <a:pt x="65" y="897"/>
                    <a:pt x="65" y="897"/>
                    <a:pt x="65" y="897"/>
                  </a:cubicBezTo>
                  <a:cubicBezTo>
                    <a:pt x="55" y="888"/>
                    <a:pt x="55" y="888"/>
                    <a:pt x="55" y="888"/>
                  </a:cubicBezTo>
                  <a:cubicBezTo>
                    <a:pt x="50" y="890"/>
                    <a:pt x="50" y="890"/>
                    <a:pt x="50" y="890"/>
                  </a:cubicBezTo>
                  <a:cubicBezTo>
                    <a:pt x="46" y="888"/>
                    <a:pt x="46" y="888"/>
                    <a:pt x="46" y="888"/>
                  </a:cubicBezTo>
                  <a:cubicBezTo>
                    <a:pt x="36" y="892"/>
                    <a:pt x="36" y="892"/>
                    <a:pt x="36" y="892"/>
                  </a:cubicBezTo>
                  <a:lnTo>
                    <a:pt x="41" y="900"/>
                  </a:lnTo>
                  <a:close/>
                  <a:moveTo>
                    <a:pt x="28" y="876"/>
                  </a:moveTo>
                  <a:cubicBezTo>
                    <a:pt x="32" y="878"/>
                    <a:pt x="32" y="878"/>
                    <a:pt x="32" y="878"/>
                  </a:cubicBezTo>
                  <a:cubicBezTo>
                    <a:pt x="39" y="882"/>
                    <a:pt x="39" y="882"/>
                    <a:pt x="39" y="882"/>
                  </a:cubicBezTo>
                  <a:cubicBezTo>
                    <a:pt x="46" y="886"/>
                    <a:pt x="46" y="886"/>
                    <a:pt x="46" y="886"/>
                  </a:cubicBezTo>
                  <a:cubicBezTo>
                    <a:pt x="50" y="885"/>
                    <a:pt x="50" y="885"/>
                    <a:pt x="50" y="885"/>
                  </a:cubicBezTo>
                  <a:cubicBezTo>
                    <a:pt x="46" y="879"/>
                    <a:pt x="46" y="879"/>
                    <a:pt x="46" y="879"/>
                  </a:cubicBezTo>
                  <a:cubicBezTo>
                    <a:pt x="40" y="878"/>
                    <a:pt x="40" y="878"/>
                    <a:pt x="40" y="878"/>
                  </a:cubicBezTo>
                  <a:cubicBezTo>
                    <a:pt x="38" y="874"/>
                    <a:pt x="38" y="874"/>
                    <a:pt x="38" y="874"/>
                  </a:cubicBezTo>
                  <a:cubicBezTo>
                    <a:pt x="33" y="873"/>
                    <a:pt x="33" y="873"/>
                    <a:pt x="33" y="873"/>
                  </a:cubicBezTo>
                  <a:cubicBezTo>
                    <a:pt x="21" y="865"/>
                    <a:pt x="21" y="865"/>
                    <a:pt x="21" y="865"/>
                  </a:cubicBezTo>
                  <a:cubicBezTo>
                    <a:pt x="21" y="871"/>
                    <a:pt x="21" y="871"/>
                    <a:pt x="21" y="871"/>
                  </a:cubicBezTo>
                  <a:lnTo>
                    <a:pt x="28" y="876"/>
                  </a:lnTo>
                  <a:close/>
                  <a:moveTo>
                    <a:pt x="69" y="910"/>
                  </a:moveTo>
                  <a:cubicBezTo>
                    <a:pt x="74" y="915"/>
                    <a:pt x="74" y="915"/>
                    <a:pt x="74" y="915"/>
                  </a:cubicBezTo>
                  <a:cubicBezTo>
                    <a:pt x="77" y="911"/>
                    <a:pt x="77" y="911"/>
                    <a:pt x="77" y="911"/>
                  </a:cubicBezTo>
                  <a:cubicBezTo>
                    <a:pt x="75" y="908"/>
                    <a:pt x="75" y="908"/>
                    <a:pt x="75" y="908"/>
                  </a:cubicBezTo>
                  <a:cubicBezTo>
                    <a:pt x="75" y="902"/>
                    <a:pt x="75" y="902"/>
                    <a:pt x="75" y="902"/>
                  </a:cubicBezTo>
                  <a:cubicBezTo>
                    <a:pt x="71" y="902"/>
                    <a:pt x="71" y="902"/>
                    <a:pt x="71" y="902"/>
                  </a:cubicBezTo>
                  <a:cubicBezTo>
                    <a:pt x="67" y="904"/>
                    <a:pt x="67" y="904"/>
                    <a:pt x="67" y="904"/>
                  </a:cubicBezTo>
                  <a:lnTo>
                    <a:pt x="69" y="910"/>
                  </a:lnTo>
                  <a:close/>
                  <a:moveTo>
                    <a:pt x="84" y="916"/>
                  </a:moveTo>
                  <a:cubicBezTo>
                    <a:pt x="88" y="912"/>
                    <a:pt x="88" y="912"/>
                    <a:pt x="88" y="912"/>
                  </a:cubicBezTo>
                  <a:cubicBezTo>
                    <a:pt x="81" y="906"/>
                    <a:pt x="81" y="906"/>
                    <a:pt x="81" y="906"/>
                  </a:cubicBezTo>
                  <a:cubicBezTo>
                    <a:pt x="78" y="906"/>
                    <a:pt x="78" y="906"/>
                    <a:pt x="78" y="906"/>
                  </a:cubicBezTo>
                  <a:lnTo>
                    <a:pt x="84" y="916"/>
                  </a:lnTo>
                  <a:close/>
                  <a:moveTo>
                    <a:pt x="100" y="907"/>
                  </a:moveTo>
                  <a:cubicBezTo>
                    <a:pt x="103" y="904"/>
                    <a:pt x="103" y="904"/>
                    <a:pt x="103" y="904"/>
                  </a:cubicBezTo>
                  <a:cubicBezTo>
                    <a:pt x="101" y="896"/>
                    <a:pt x="101" y="896"/>
                    <a:pt x="101" y="896"/>
                  </a:cubicBezTo>
                  <a:cubicBezTo>
                    <a:pt x="98" y="890"/>
                    <a:pt x="98" y="890"/>
                    <a:pt x="98" y="890"/>
                  </a:cubicBezTo>
                  <a:cubicBezTo>
                    <a:pt x="97" y="900"/>
                    <a:pt x="97" y="900"/>
                    <a:pt x="97" y="900"/>
                  </a:cubicBezTo>
                  <a:cubicBezTo>
                    <a:pt x="93" y="901"/>
                    <a:pt x="93" y="901"/>
                    <a:pt x="93" y="901"/>
                  </a:cubicBezTo>
                  <a:cubicBezTo>
                    <a:pt x="92" y="909"/>
                    <a:pt x="92" y="909"/>
                    <a:pt x="92" y="909"/>
                  </a:cubicBezTo>
                  <a:cubicBezTo>
                    <a:pt x="100" y="913"/>
                    <a:pt x="100" y="913"/>
                    <a:pt x="100" y="913"/>
                  </a:cubicBezTo>
                  <a:lnTo>
                    <a:pt x="100" y="907"/>
                  </a:lnTo>
                  <a:close/>
                  <a:moveTo>
                    <a:pt x="18" y="824"/>
                  </a:moveTo>
                  <a:cubicBezTo>
                    <a:pt x="25" y="822"/>
                    <a:pt x="25" y="822"/>
                    <a:pt x="25" y="822"/>
                  </a:cubicBezTo>
                  <a:cubicBezTo>
                    <a:pt x="24" y="815"/>
                    <a:pt x="24" y="815"/>
                    <a:pt x="24" y="815"/>
                  </a:cubicBezTo>
                  <a:cubicBezTo>
                    <a:pt x="25" y="812"/>
                    <a:pt x="25" y="812"/>
                    <a:pt x="25" y="812"/>
                  </a:cubicBezTo>
                  <a:cubicBezTo>
                    <a:pt x="25" y="804"/>
                    <a:pt x="25" y="804"/>
                    <a:pt x="25" y="804"/>
                  </a:cubicBezTo>
                  <a:cubicBezTo>
                    <a:pt x="20" y="804"/>
                    <a:pt x="20" y="804"/>
                    <a:pt x="20" y="804"/>
                  </a:cubicBezTo>
                  <a:cubicBezTo>
                    <a:pt x="16" y="800"/>
                    <a:pt x="16" y="800"/>
                    <a:pt x="16" y="800"/>
                  </a:cubicBezTo>
                  <a:cubicBezTo>
                    <a:pt x="15" y="813"/>
                    <a:pt x="15" y="813"/>
                    <a:pt x="15" y="813"/>
                  </a:cubicBezTo>
                  <a:cubicBezTo>
                    <a:pt x="18" y="814"/>
                    <a:pt x="18" y="814"/>
                    <a:pt x="18" y="814"/>
                  </a:cubicBezTo>
                  <a:lnTo>
                    <a:pt x="18" y="824"/>
                  </a:lnTo>
                  <a:close/>
                  <a:moveTo>
                    <a:pt x="17" y="781"/>
                  </a:moveTo>
                  <a:cubicBezTo>
                    <a:pt x="24" y="779"/>
                    <a:pt x="24" y="779"/>
                    <a:pt x="24" y="779"/>
                  </a:cubicBezTo>
                  <a:cubicBezTo>
                    <a:pt x="24" y="755"/>
                    <a:pt x="24" y="755"/>
                    <a:pt x="24" y="755"/>
                  </a:cubicBezTo>
                  <a:cubicBezTo>
                    <a:pt x="22" y="744"/>
                    <a:pt x="22" y="744"/>
                    <a:pt x="22" y="744"/>
                  </a:cubicBezTo>
                  <a:cubicBezTo>
                    <a:pt x="17" y="743"/>
                    <a:pt x="17" y="743"/>
                    <a:pt x="17" y="743"/>
                  </a:cubicBezTo>
                  <a:cubicBezTo>
                    <a:pt x="14" y="745"/>
                    <a:pt x="14" y="745"/>
                    <a:pt x="14" y="745"/>
                  </a:cubicBezTo>
                  <a:cubicBezTo>
                    <a:pt x="18" y="753"/>
                    <a:pt x="18" y="753"/>
                    <a:pt x="18" y="753"/>
                  </a:cubicBezTo>
                  <a:cubicBezTo>
                    <a:pt x="16" y="759"/>
                    <a:pt x="16" y="759"/>
                    <a:pt x="16" y="759"/>
                  </a:cubicBezTo>
                  <a:cubicBezTo>
                    <a:pt x="10" y="760"/>
                    <a:pt x="10" y="760"/>
                    <a:pt x="10" y="760"/>
                  </a:cubicBezTo>
                  <a:cubicBezTo>
                    <a:pt x="8" y="765"/>
                    <a:pt x="8" y="765"/>
                    <a:pt x="8" y="765"/>
                  </a:cubicBezTo>
                  <a:cubicBezTo>
                    <a:pt x="12" y="774"/>
                    <a:pt x="12" y="774"/>
                    <a:pt x="12" y="774"/>
                  </a:cubicBezTo>
                  <a:cubicBezTo>
                    <a:pt x="15" y="765"/>
                    <a:pt x="15" y="765"/>
                    <a:pt x="15" y="765"/>
                  </a:cubicBezTo>
                  <a:cubicBezTo>
                    <a:pt x="19" y="764"/>
                    <a:pt x="19" y="764"/>
                    <a:pt x="19" y="764"/>
                  </a:cubicBezTo>
                  <a:cubicBezTo>
                    <a:pt x="17" y="772"/>
                    <a:pt x="17" y="772"/>
                    <a:pt x="17" y="772"/>
                  </a:cubicBezTo>
                  <a:lnTo>
                    <a:pt x="17" y="781"/>
                  </a:lnTo>
                  <a:close/>
                  <a:moveTo>
                    <a:pt x="12" y="738"/>
                  </a:moveTo>
                  <a:cubicBezTo>
                    <a:pt x="10" y="728"/>
                    <a:pt x="10" y="728"/>
                    <a:pt x="10" y="728"/>
                  </a:cubicBezTo>
                  <a:cubicBezTo>
                    <a:pt x="7" y="728"/>
                    <a:pt x="7" y="728"/>
                    <a:pt x="7" y="728"/>
                  </a:cubicBezTo>
                  <a:cubicBezTo>
                    <a:pt x="5" y="738"/>
                    <a:pt x="5" y="738"/>
                    <a:pt x="5" y="738"/>
                  </a:cubicBezTo>
                  <a:lnTo>
                    <a:pt x="12" y="738"/>
                  </a:lnTo>
                  <a:close/>
                  <a:moveTo>
                    <a:pt x="22" y="741"/>
                  </a:moveTo>
                  <a:cubicBezTo>
                    <a:pt x="23" y="731"/>
                    <a:pt x="23" y="731"/>
                    <a:pt x="23" y="731"/>
                  </a:cubicBezTo>
                  <a:cubicBezTo>
                    <a:pt x="20" y="729"/>
                    <a:pt x="20" y="729"/>
                    <a:pt x="20" y="729"/>
                  </a:cubicBezTo>
                  <a:cubicBezTo>
                    <a:pt x="19" y="733"/>
                    <a:pt x="19" y="733"/>
                    <a:pt x="19" y="733"/>
                  </a:cubicBezTo>
                  <a:cubicBezTo>
                    <a:pt x="14" y="735"/>
                    <a:pt x="14" y="735"/>
                    <a:pt x="14" y="735"/>
                  </a:cubicBezTo>
                  <a:lnTo>
                    <a:pt x="22" y="741"/>
                  </a:lnTo>
                  <a:close/>
                  <a:moveTo>
                    <a:pt x="6" y="784"/>
                  </a:moveTo>
                  <a:cubicBezTo>
                    <a:pt x="6" y="790"/>
                    <a:pt x="6" y="790"/>
                    <a:pt x="6" y="790"/>
                  </a:cubicBezTo>
                  <a:cubicBezTo>
                    <a:pt x="11" y="792"/>
                    <a:pt x="11" y="792"/>
                    <a:pt x="11" y="792"/>
                  </a:cubicBezTo>
                  <a:cubicBezTo>
                    <a:pt x="15" y="787"/>
                    <a:pt x="15" y="787"/>
                    <a:pt x="15" y="787"/>
                  </a:cubicBezTo>
                  <a:cubicBezTo>
                    <a:pt x="14" y="784"/>
                    <a:pt x="14" y="784"/>
                    <a:pt x="14" y="784"/>
                  </a:cubicBezTo>
                  <a:cubicBezTo>
                    <a:pt x="10" y="787"/>
                    <a:pt x="10" y="787"/>
                    <a:pt x="10" y="787"/>
                  </a:cubicBezTo>
                  <a:lnTo>
                    <a:pt x="6" y="784"/>
                  </a:lnTo>
                  <a:close/>
                  <a:moveTo>
                    <a:pt x="18" y="841"/>
                  </a:moveTo>
                  <a:cubicBezTo>
                    <a:pt x="19" y="833"/>
                    <a:pt x="19" y="833"/>
                    <a:pt x="19" y="833"/>
                  </a:cubicBezTo>
                  <a:cubicBezTo>
                    <a:pt x="16" y="831"/>
                    <a:pt x="16" y="831"/>
                    <a:pt x="16" y="831"/>
                  </a:cubicBezTo>
                  <a:cubicBezTo>
                    <a:pt x="14" y="836"/>
                    <a:pt x="14" y="836"/>
                    <a:pt x="14" y="836"/>
                  </a:cubicBezTo>
                  <a:cubicBezTo>
                    <a:pt x="14" y="845"/>
                    <a:pt x="14" y="845"/>
                    <a:pt x="14" y="845"/>
                  </a:cubicBezTo>
                  <a:lnTo>
                    <a:pt x="18" y="841"/>
                  </a:lnTo>
                  <a:close/>
                  <a:moveTo>
                    <a:pt x="51" y="880"/>
                  </a:moveTo>
                  <a:cubicBezTo>
                    <a:pt x="55" y="882"/>
                    <a:pt x="55" y="882"/>
                    <a:pt x="55" y="882"/>
                  </a:cubicBezTo>
                  <a:cubicBezTo>
                    <a:pt x="61" y="876"/>
                    <a:pt x="61" y="876"/>
                    <a:pt x="61" y="876"/>
                  </a:cubicBezTo>
                  <a:cubicBezTo>
                    <a:pt x="64" y="872"/>
                    <a:pt x="64" y="872"/>
                    <a:pt x="64" y="872"/>
                  </a:cubicBezTo>
                  <a:cubicBezTo>
                    <a:pt x="70" y="872"/>
                    <a:pt x="70" y="872"/>
                    <a:pt x="70" y="872"/>
                  </a:cubicBezTo>
                  <a:cubicBezTo>
                    <a:pt x="78" y="867"/>
                    <a:pt x="78" y="867"/>
                    <a:pt x="78" y="867"/>
                  </a:cubicBezTo>
                  <a:cubicBezTo>
                    <a:pt x="77" y="864"/>
                    <a:pt x="77" y="864"/>
                    <a:pt x="77" y="864"/>
                  </a:cubicBezTo>
                  <a:cubicBezTo>
                    <a:pt x="67" y="863"/>
                    <a:pt x="67" y="863"/>
                    <a:pt x="67" y="863"/>
                  </a:cubicBezTo>
                  <a:cubicBezTo>
                    <a:pt x="61" y="869"/>
                    <a:pt x="61" y="869"/>
                    <a:pt x="61" y="869"/>
                  </a:cubicBezTo>
                  <a:cubicBezTo>
                    <a:pt x="54" y="870"/>
                    <a:pt x="54" y="870"/>
                    <a:pt x="54" y="870"/>
                  </a:cubicBezTo>
                  <a:cubicBezTo>
                    <a:pt x="54" y="877"/>
                    <a:pt x="54" y="877"/>
                    <a:pt x="54" y="877"/>
                  </a:cubicBezTo>
                  <a:lnTo>
                    <a:pt x="51" y="880"/>
                  </a:lnTo>
                  <a:close/>
                  <a:moveTo>
                    <a:pt x="36" y="626"/>
                  </a:moveTo>
                  <a:cubicBezTo>
                    <a:pt x="36" y="635"/>
                    <a:pt x="36" y="635"/>
                    <a:pt x="36" y="635"/>
                  </a:cubicBezTo>
                  <a:cubicBezTo>
                    <a:pt x="44" y="636"/>
                    <a:pt x="44" y="636"/>
                    <a:pt x="44" y="636"/>
                  </a:cubicBezTo>
                  <a:cubicBezTo>
                    <a:pt x="53" y="630"/>
                    <a:pt x="53" y="630"/>
                    <a:pt x="53" y="630"/>
                  </a:cubicBezTo>
                  <a:cubicBezTo>
                    <a:pt x="53" y="624"/>
                    <a:pt x="53" y="624"/>
                    <a:pt x="53" y="624"/>
                  </a:cubicBezTo>
                  <a:cubicBezTo>
                    <a:pt x="45" y="620"/>
                    <a:pt x="45" y="620"/>
                    <a:pt x="45" y="620"/>
                  </a:cubicBezTo>
                  <a:lnTo>
                    <a:pt x="36" y="626"/>
                  </a:lnTo>
                  <a:close/>
                  <a:moveTo>
                    <a:pt x="34" y="558"/>
                  </a:moveTo>
                  <a:cubicBezTo>
                    <a:pt x="31" y="564"/>
                    <a:pt x="31" y="564"/>
                    <a:pt x="31" y="564"/>
                  </a:cubicBezTo>
                  <a:cubicBezTo>
                    <a:pt x="31" y="581"/>
                    <a:pt x="31" y="581"/>
                    <a:pt x="31" y="581"/>
                  </a:cubicBezTo>
                  <a:cubicBezTo>
                    <a:pt x="26" y="593"/>
                    <a:pt x="26" y="593"/>
                    <a:pt x="26" y="593"/>
                  </a:cubicBezTo>
                  <a:cubicBezTo>
                    <a:pt x="39" y="594"/>
                    <a:pt x="39" y="594"/>
                    <a:pt x="39" y="594"/>
                  </a:cubicBezTo>
                  <a:cubicBezTo>
                    <a:pt x="44" y="582"/>
                    <a:pt x="44" y="582"/>
                    <a:pt x="44" y="582"/>
                  </a:cubicBezTo>
                  <a:cubicBezTo>
                    <a:pt x="40" y="568"/>
                    <a:pt x="40" y="568"/>
                    <a:pt x="40" y="568"/>
                  </a:cubicBezTo>
                  <a:cubicBezTo>
                    <a:pt x="45" y="566"/>
                    <a:pt x="45" y="566"/>
                    <a:pt x="45" y="566"/>
                  </a:cubicBezTo>
                  <a:cubicBezTo>
                    <a:pt x="48" y="553"/>
                    <a:pt x="48" y="553"/>
                    <a:pt x="48" y="553"/>
                  </a:cubicBezTo>
                  <a:cubicBezTo>
                    <a:pt x="35" y="553"/>
                    <a:pt x="35" y="553"/>
                    <a:pt x="35" y="553"/>
                  </a:cubicBezTo>
                  <a:lnTo>
                    <a:pt x="34" y="558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72" name="China">
              <a:extLst>
                <a:ext uri="{FF2B5EF4-FFF2-40B4-BE49-F238E27FC236}">
                  <a16:creationId xmlns="" xmlns:a16="http://schemas.microsoft.com/office/drawing/2014/main" id="{5C9BC0A4-4456-4529-8B12-B90E3DAF240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075413" y="2533195"/>
              <a:ext cx="1878117" cy="1427723"/>
            </a:xfrm>
            <a:custGeom>
              <a:avLst/>
              <a:gdLst/>
              <a:ahLst/>
              <a:cxnLst>
                <a:cxn ang="0">
                  <a:pos x="40" y="938"/>
                </a:cxn>
                <a:cxn ang="0">
                  <a:pos x="40" y="882"/>
                </a:cxn>
                <a:cxn ang="0">
                  <a:pos x="0" y="794"/>
                </a:cxn>
                <a:cxn ang="0">
                  <a:pos x="68" y="742"/>
                </a:cxn>
                <a:cxn ang="0">
                  <a:pos x="238" y="686"/>
                </a:cxn>
                <a:cxn ang="0">
                  <a:pos x="234" y="498"/>
                </a:cxn>
                <a:cxn ang="0">
                  <a:pos x="340" y="388"/>
                </a:cxn>
                <a:cxn ang="0">
                  <a:pos x="472" y="282"/>
                </a:cxn>
                <a:cxn ang="0">
                  <a:pos x="550" y="324"/>
                </a:cxn>
                <a:cxn ang="0">
                  <a:pos x="644" y="476"/>
                </a:cxn>
                <a:cxn ang="0">
                  <a:pos x="826" y="560"/>
                </a:cxn>
                <a:cxn ang="0">
                  <a:pos x="1068" y="644"/>
                </a:cxn>
                <a:cxn ang="0">
                  <a:pos x="1188" y="694"/>
                </a:cxn>
                <a:cxn ang="0">
                  <a:pos x="1402" y="610"/>
                </a:cxn>
                <a:cxn ang="0">
                  <a:pos x="1452" y="494"/>
                </a:cxn>
                <a:cxn ang="0">
                  <a:pos x="1644" y="462"/>
                </a:cxn>
                <a:cxn ang="0">
                  <a:pos x="1740" y="424"/>
                </a:cxn>
                <a:cxn ang="0">
                  <a:pos x="1648" y="372"/>
                </a:cxn>
                <a:cxn ang="0">
                  <a:pos x="1610" y="262"/>
                </a:cxn>
                <a:cxn ang="0">
                  <a:pos x="1714" y="234"/>
                </a:cxn>
                <a:cxn ang="0">
                  <a:pos x="1754" y="48"/>
                </a:cxn>
                <a:cxn ang="0">
                  <a:pos x="1928" y="30"/>
                </a:cxn>
                <a:cxn ang="0">
                  <a:pos x="2076" y="254"/>
                </a:cxn>
                <a:cxn ang="0">
                  <a:pos x="2162" y="350"/>
                </a:cxn>
                <a:cxn ang="0">
                  <a:pos x="2310" y="330"/>
                </a:cxn>
                <a:cxn ang="0">
                  <a:pos x="2172" y="522"/>
                </a:cxn>
                <a:cxn ang="0">
                  <a:pos x="2128" y="624"/>
                </a:cxn>
                <a:cxn ang="0">
                  <a:pos x="2076" y="694"/>
                </a:cxn>
                <a:cxn ang="0">
                  <a:pos x="1984" y="742"/>
                </a:cxn>
                <a:cxn ang="0">
                  <a:pos x="1858" y="800"/>
                </a:cxn>
                <a:cxn ang="0">
                  <a:pos x="1808" y="798"/>
                </a:cxn>
                <a:cxn ang="0">
                  <a:pos x="1788" y="746"/>
                </a:cxn>
                <a:cxn ang="0">
                  <a:pos x="1666" y="874"/>
                </a:cxn>
                <a:cxn ang="0">
                  <a:pos x="1730" y="920"/>
                </a:cxn>
                <a:cxn ang="0">
                  <a:pos x="1814" y="934"/>
                </a:cxn>
                <a:cxn ang="0">
                  <a:pos x="1772" y="1058"/>
                </a:cxn>
                <a:cxn ang="0">
                  <a:pos x="1788" y="1176"/>
                </a:cxn>
                <a:cxn ang="0">
                  <a:pos x="1806" y="1332"/>
                </a:cxn>
                <a:cxn ang="0">
                  <a:pos x="1744" y="1442"/>
                </a:cxn>
                <a:cxn ang="0">
                  <a:pos x="1566" y="1566"/>
                </a:cxn>
                <a:cxn ang="0">
                  <a:pos x="1442" y="1602"/>
                </a:cxn>
                <a:cxn ang="0">
                  <a:pos x="1370" y="1668"/>
                </a:cxn>
                <a:cxn ang="0">
                  <a:pos x="1288" y="1606"/>
                </a:cxn>
                <a:cxn ang="0">
                  <a:pos x="1230" y="1568"/>
                </a:cxn>
                <a:cxn ang="0">
                  <a:pos x="1062" y="1584"/>
                </a:cxn>
                <a:cxn ang="0">
                  <a:pos x="1012" y="1624"/>
                </a:cxn>
                <a:cxn ang="0">
                  <a:pos x="964" y="1550"/>
                </a:cxn>
                <a:cxn ang="0">
                  <a:pos x="904" y="1468"/>
                </a:cxn>
                <a:cxn ang="0">
                  <a:pos x="886" y="1340"/>
                </a:cxn>
                <a:cxn ang="0">
                  <a:pos x="818" y="1308"/>
                </a:cxn>
                <a:cxn ang="0">
                  <a:pos x="644" y="1348"/>
                </a:cxn>
                <a:cxn ang="0">
                  <a:pos x="576" y="1356"/>
                </a:cxn>
                <a:cxn ang="0">
                  <a:pos x="430" y="1336"/>
                </a:cxn>
                <a:cxn ang="0">
                  <a:pos x="274" y="1246"/>
                </a:cxn>
                <a:cxn ang="0">
                  <a:pos x="186" y="1166"/>
                </a:cxn>
                <a:cxn ang="0">
                  <a:pos x="206" y="1112"/>
                </a:cxn>
                <a:cxn ang="0">
                  <a:pos x="194" y="994"/>
                </a:cxn>
                <a:cxn ang="0">
                  <a:pos x="1330" y="1712"/>
                </a:cxn>
                <a:cxn ang="0">
                  <a:pos x="1376" y="1732"/>
                </a:cxn>
                <a:cxn ang="0">
                  <a:pos x="1408" y="1674"/>
                </a:cxn>
              </a:cxnLst>
              <a:rect l="0" t="0" r="r" b="b"/>
              <a:pathLst>
                <a:path w="2314" h="1744">
                  <a:moveTo>
                    <a:pt x="146" y="968"/>
                  </a:moveTo>
                  <a:lnTo>
                    <a:pt x="128" y="966"/>
                  </a:lnTo>
                  <a:lnTo>
                    <a:pt x="94" y="962"/>
                  </a:lnTo>
                  <a:lnTo>
                    <a:pt x="62" y="936"/>
                  </a:lnTo>
                  <a:lnTo>
                    <a:pt x="40" y="938"/>
                  </a:lnTo>
                  <a:lnTo>
                    <a:pt x="30" y="932"/>
                  </a:lnTo>
                  <a:lnTo>
                    <a:pt x="38" y="922"/>
                  </a:lnTo>
                  <a:lnTo>
                    <a:pt x="48" y="912"/>
                  </a:lnTo>
                  <a:lnTo>
                    <a:pt x="38" y="902"/>
                  </a:lnTo>
                  <a:lnTo>
                    <a:pt x="40" y="882"/>
                  </a:lnTo>
                  <a:lnTo>
                    <a:pt x="34" y="864"/>
                  </a:lnTo>
                  <a:lnTo>
                    <a:pt x="20" y="858"/>
                  </a:lnTo>
                  <a:lnTo>
                    <a:pt x="0" y="858"/>
                  </a:lnTo>
                  <a:lnTo>
                    <a:pt x="0" y="808"/>
                  </a:lnTo>
                  <a:lnTo>
                    <a:pt x="0" y="794"/>
                  </a:lnTo>
                  <a:lnTo>
                    <a:pt x="6" y="770"/>
                  </a:lnTo>
                  <a:lnTo>
                    <a:pt x="28" y="760"/>
                  </a:lnTo>
                  <a:lnTo>
                    <a:pt x="40" y="748"/>
                  </a:lnTo>
                  <a:lnTo>
                    <a:pt x="56" y="750"/>
                  </a:lnTo>
                  <a:lnTo>
                    <a:pt x="68" y="742"/>
                  </a:lnTo>
                  <a:lnTo>
                    <a:pt x="78" y="760"/>
                  </a:lnTo>
                  <a:lnTo>
                    <a:pt x="98" y="758"/>
                  </a:lnTo>
                  <a:lnTo>
                    <a:pt x="114" y="730"/>
                  </a:lnTo>
                  <a:lnTo>
                    <a:pt x="158" y="718"/>
                  </a:lnTo>
                  <a:lnTo>
                    <a:pt x="238" y="686"/>
                  </a:lnTo>
                  <a:lnTo>
                    <a:pt x="250" y="638"/>
                  </a:lnTo>
                  <a:lnTo>
                    <a:pt x="262" y="596"/>
                  </a:lnTo>
                  <a:lnTo>
                    <a:pt x="240" y="518"/>
                  </a:lnTo>
                  <a:lnTo>
                    <a:pt x="224" y="512"/>
                  </a:lnTo>
                  <a:lnTo>
                    <a:pt x="234" y="498"/>
                  </a:lnTo>
                  <a:lnTo>
                    <a:pt x="290" y="492"/>
                  </a:lnTo>
                  <a:lnTo>
                    <a:pt x="310" y="500"/>
                  </a:lnTo>
                  <a:lnTo>
                    <a:pt x="322" y="486"/>
                  </a:lnTo>
                  <a:lnTo>
                    <a:pt x="308" y="478"/>
                  </a:lnTo>
                  <a:lnTo>
                    <a:pt x="340" y="388"/>
                  </a:lnTo>
                  <a:lnTo>
                    <a:pt x="380" y="400"/>
                  </a:lnTo>
                  <a:lnTo>
                    <a:pt x="424" y="380"/>
                  </a:lnTo>
                  <a:lnTo>
                    <a:pt x="426" y="348"/>
                  </a:lnTo>
                  <a:lnTo>
                    <a:pt x="470" y="308"/>
                  </a:lnTo>
                  <a:lnTo>
                    <a:pt x="472" y="282"/>
                  </a:lnTo>
                  <a:lnTo>
                    <a:pt x="502" y="280"/>
                  </a:lnTo>
                  <a:lnTo>
                    <a:pt x="512" y="294"/>
                  </a:lnTo>
                  <a:lnTo>
                    <a:pt x="530" y="308"/>
                  </a:lnTo>
                  <a:lnTo>
                    <a:pt x="536" y="310"/>
                  </a:lnTo>
                  <a:lnTo>
                    <a:pt x="550" y="324"/>
                  </a:lnTo>
                  <a:lnTo>
                    <a:pt x="582" y="330"/>
                  </a:lnTo>
                  <a:lnTo>
                    <a:pt x="610" y="348"/>
                  </a:lnTo>
                  <a:lnTo>
                    <a:pt x="646" y="404"/>
                  </a:lnTo>
                  <a:lnTo>
                    <a:pt x="670" y="424"/>
                  </a:lnTo>
                  <a:lnTo>
                    <a:pt x="644" y="476"/>
                  </a:lnTo>
                  <a:lnTo>
                    <a:pt x="656" y="490"/>
                  </a:lnTo>
                  <a:lnTo>
                    <a:pt x="724" y="498"/>
                  </a:lnTo>
                  <a:lnTo>
                    <a:pt x="784" y="520"/>
                  </a:lnTo>
                  <a:lnTo>
                    <a:pt x="814" y="552"/>
                  </a:lnTo>
                  <a:lnTo>
                    <a:pt x="826" y="560"/>
                  </a:lnTo>
                  <a:lnTo>
                    <a:pt x="864" y="636"/>
                  </a:lnTo>
                  <a:lnTo>
                    <a:pt x="894" y="636"/>
                  </a:lnTo>
                  <a:lnTo>
                    <a:pt x="920" y="646"/>
                  </a:lnTo>
                  <a:lnTo>
                    <a:pt x="1012" y="648"/>
                  </a:lnTo>
                  <a:lnTo>
                    <a:pt x="1068" y="644"/>
                  </a:lnTo>
                  <a:lnTo>
                    <a:pt x="1090" y="668"/>
                  </a:lnTo>
                  <a:lnTo>
                    <a:pt x="1120" y="670"/>
                  </a:lnTo>
                  <a:lnTo>
                    <a:pt x="1142" y="686"/>
                  </a:lnTo>
                  <a:lnTo>
                    <a:pt x="1170" y="682"/>
                  </a:lnTo>
                  <a:lnTo>
                    <a:pt x="1188" y="694"/>
                  </a:lnTo>
                  <a:lnTo>
                    <a:pt x="1212" y="686"/>
                  </a:lnTo>
                  <a:lnTo>
                    <a:pt x="1228" y="666"/>
                  </a:lnTo>
                  <a:lnTo>
                    <a:pt x="1300" y="640"/>
                  </a:lnTo>
                  <a:lnTo>
                    <a:pt x="1384" y="638"/>
                  </a:lnTo>
                  <a:lnTo>
                    <a:pt x="1402" y="610"/>
                  </a:lnTo>
                  <a:lnTo>
                    <a:pt x="1438" y="592"/>
                  </a:lnTo>
                  <a:lnTo>
                    <a:pt x="1448" y="568"/>
                  </a:lnTo>
                  <a:lnTo>
                    <a:pt x="1418" y="546"/>
                  </a:lnTo>
                  <a:lnTo>
                    <a:pt x="1418" y="528"/>
                  </a:lnTo>
                  <a:lnTo>
                    <a:pt x="1452" y="494"/>
                  </a:lnTo>
                  <a:lnTo>
                    <a:pt x="1466" y="492"/>
                  </a:lnTo>
                  <a:lnTo>
                    <a:pt x="1502" y="514"/>
                  </a:lnTo>
                  <a:lnTo>
                    <a:pt x="1564" y="478"/>
                  </a:lnTo>
                  <a:lnTo>
                    <a:pt x="1604" y="484"/>
                  </a:lnTo>
                  <a:lnTo>
                    <a:pt x="1644" y="462"/>
                  </a:lnTo>
                  <a:lnTo>
                    <a:pt x="1666" y="460"/>
                  </a:lnTo>
                  <a:lnTo>
                    <a:pt x="1678" y="448"/>
                  </a:lnTo>
                  <a:lnTo>
                    <a:pt x="1698" y="446"/>
                  </a:lnTo>
                  <a:lnTo>
                    <a:pt x="1718" y="458"/>
                  </a:lnTo>
                  <a:lnTo>
                    <a:pt x="1740" y="424"/>
                  </a:lnTo>
                  <a:lnTo>
                    <a:pt x="1710" y="388"/>
                  </a:lnTo>
                  <a:lnTo>
                    <a:pt x="1708" y="372"/>
                  </a:lnTo>
                  <a:lnTo>
                    <a:pt x="1676" y="352"/>
                  </a:lnTo>
                  <a:lnTo>
                    <a:pt x="1664" y="354"/>
                  </a:lnTo>
                  <a:lnTo>
                    <a:pt x="1648" y="372"/>
                  </a:lnTo>
                  <a:lnTo>
                    <a:pt x="1630" y="362"/>
                  </a:lnTo>
                  <a:lnTo>
                    <a:pt x="1598" y="360"/>
                  </a:lnTo>
                  <a:lnTo>
                    <a:pt x="1586" y="338"/>
                  </a:lnTo>
                  <a:lnTo>
                    <a:pt x="1606" y="296"/>
                  </a:lnTo>
                  <a:lnTo>
                    <a:pt x="1610" y="262"/>
                  </a:lnTo>
                  <a:lnTo>
                    <a:pt x="1622" y="242"/>
                  </a:lnTo>
                  <a:lnTo>
                    <a:pt x="1648" y="240"/>
                  </a:lnTo>
                  <a:lnTo>
                    <a:pt x="1666" y="258"/>
                  </a:lnTo>
                  <a:lnTo>
                    <a:pt x="1698" y="234"/>
                  </a:lnTo>
                  <a:lnTo>
                    <a:pt x="1714" y="234"/>
                  </a:lnTo>
                  <a:lnTo>
                    <a:pt x="1724" y="214"/>
                  </a:lnTo>
                  <a:lnTo>
                    <a:pt x="1712" y="194"/>
                  </a:lnTo>
                  <a:lnTo>
                    <a:pt x="1766" y="104"/>
                  </a:lnTo>
                  <a:lnTo>
                    <a:pt x="1774" y="66"/>
                  </a:lnTo>
                  <a:lnTo>
                    <a:pt x="1754" y="48"/>
                  </a:lnTo>
                  <a:lnTo>
                    <a:pt x="1780" y="16"/>
                  </a:lnTo>
                  <a:lnTo>
                    <a:pt x="1804" y="10"/>
                  </a:lnTo>
                  <a:lnTo>
                    <a:pt x="1858" y="0"/>
                  </a:lnTo>
                  <a:lnTo>
                    <a:pt x="1906" y="14"/>
                  </a:lnTo>
                  <a:lnTo>
                    <a:pt x="1928" y="30"/>
                  </a:lnTo>
                  <a:lnTo>
                    <a:pt x="1962" y="32"/>
                  </a:lnTo>
                  <a:lnTo>
                    <a:pt x="1984" y="74"/>
                  </a:lnTo>
                  <a:lnTo>
                    <a:pt x="1992" y="110"/>
                  </a:lnTo>
                  <a:lnTo>
                    <a:pt x="2044" y="254"/>
                  </a:lnTo>
                  <a:lnTo>
                    <a:pt x="2076" y="254"/>
                  </a:lnTo>
                  <a:lnTo>
                    <a:pt x="2100" y="268"/>
                  </a:lnTo>
                  <a:lnTo>
                    <a:pt x="2114" y="264"/>
                  </a:lnTo>
                  <a:lnTo>
                    <a:pt x="2130" y="292"/>
                  </a:lnTo>
                  <a:lnTo>
                    <a:pt x="2152" y="298"/>
                  </a:lnTo>
                  <a:lnTo>
                    <a:pt x="2162" y="350"/>
                  </a:lnTo>
                  <a:lnTo>
                    <a:pt x="2186" y="364"/>
                  </a:lnTo>
                  <a:lnTo>
                    <a:pt x="2238" y="364"/>
                  </a:lnTo>
                  <a:lnTo>
                    <a:pt x="2260" y="340"/>
                  </a:lnTo>
                  <a:lnTo>
                    <a:pt x="2288" y="328"/>
                  </a:lnTo>
                  <a:lnTo>
                    <a:pt x="2310" y="330"/>
                  </a:lnTo>
                  <a:lnTo>
                    <a:pt x="2314" y="376"/>
                  </a:lnTo>
                  <a:lnTo>
                    <a:pt x="2282" y="446"/>
                  </a:lnTo>
                  <a:lnTo>
                    <a:pt x="2234" y="510"/>
                  </a:lnTo>
                  <a:lnTo>
                    <a:pt x="2204" y="506"/>
                  </a:lnTo>
                  <a:lnTo>
                    <a:pt x="2172" y="522"/>
                  </a:lnTo>
                  <a:lnTo>
                    <a:pt x="2178" y="586"/>
                  </a:lnTo>
                  <a:lnTo>
                    <a:pt x="2170" y="614"/>
                  </a:lnTo>
                  <a:lnTo>
                    <a:pt x="2154" y="622"/>
                  </a:lnTo>
                  <a:lnTo>
                    <a:pt x="2154" y="634"/>
                  </a:lnTo>
                  <a:lnTo>
                    <a:pt x="2128" y="624"/>
                  </a:lnTo>
                  <a:lnTo>
                    <a:pt x="2120" y="636"/>
                  </a:lnTo>
                  <a:lnTo>
                    <a:pt x="2104" y="642"/>
                  </a:lnTo>
                  <a:lnTo>
                    <a:pt x="2090" y="666"/>
                  </a:lnTo>
                  <a:lnTo>
                    <a:pt x="2068" y="674"/>
                  </a:lnTo>
                  <a:lnTo>
                    <a:pt x="2076" y="694"/>
                  </a:lnTo>
                  <a:lnTo>
                    <a:pt x="2070" y="708"/>
                  </a:lnTo>
                  <a:lnTo>
                    <a:pt x="2046" y="702"/>
                  </a:lnTo>
                  <a:lnTo>
                    <a:pt x="2030" y="688"/>
                  </a:lnTo>
                  <a:lnTo>
                    <a:pt x="2008" y="696"/>
                  </a:lnTo>
                  <a:lnTo>
                    <a:pt x="1984" y="742"/>
                  </a:lnTo>
                  <a:lnTo>
                    <a:pt x="1966" y="746"/>
                  </a:lnTo>
                  <a:lnTo>
                    <a:pt x="1954" y="756"/>
                  </a:lnTo>
                  <a:lnTo>
                    <a:pt x="1942" y="754"/>
                  </a:lnTo>
                  <a:lnTo>
                    <a:pt x="1906" y="788"/>
                  </a:lnTo>
                  <a:lnTo>
                    <a:pt x="1858" y="800"/>
                  </a:lnTo>
                  <a:lnTo>
                    <a:pt x="1816" y="838"/>
                  </a:lnTo>
                  <a:lnTo>
                    <a:pt x="1796" y="838"/>
                  </a:lnTo>
                  <a:lnTo>
                    <a:pt x="1820" y="808"/>
                  </a:lnTo>
                  <a:lnTo>
                    <a:pt x="1808" y="808"/>
                  </a:lnTo>
                  <a:lnTo>
                    <a:pt x="1808" y="798"/>
                  </a:lnTo>
                  <a:lnTo>
                    <a:pt x="1822" y="776"/>
                  </a:lnTo>
                  <a:lnTo>
                    <a:pt x="1828" y="748"/>
                  </a:lnTo>
                  <a:lnTo>
                    <a:pt x="1814" y="728"/>
                  </a:lnTo>
                  <a:lnTo>
                    <a:pt x="1788" y="732"/>
                  </a:lnTo>
                  <a:lnTo>
                    <a:pt x="1788" y="746"/>
                  </a:lnTo>
                  <a:lnTo>
                    <a:pt x="1758" y="780"/>
                  </a:lnTo>
                  <a:lnTo>
                    <a:pt x="1742" y="784"/>
                  </a:lnTo>
                  <a:lnTo>
                    <a:pt x="1712" y="830"/>
                  </a:lnTo>
                  <a:lnTo>
                    <a:pt x="1658" y="832"/>
                  </a:lnTo>
                  <a:lnTo>
                    <a:pt x="1666" y="874"/>
                  </a:lnTo>
                  <a:lnTo>
                    <a:pt x="1688" y="892"/>
                  </a:lnTo>
                  <a:lnTo>
                    <a:pt x="1696" y="884"/>
                  </a:lnTo>
                  <a:lnTo>
                    <a:pt x="1710" y="892"/>
                  </a:lnTo>
                  <a:lnTo>
                    <a:pt x="1710" y="906"/>
                  </a:lnTo>
                  <a:lnTo>
                    <a:pt x="1730" y="920"/>
                  </a:lnTo>
                  <a:lnTo>
                    <a:pt x="1776" y="894"/>
                  </a:lnTo>
                  <a:lnTo>
                    <a:pt x="1806" y="906"/>
                  </a:lnTo>
                  <a:lnTo>
                    <a:pt x="1854" y="914"/>
                  </a:lnTo>
                  <a:lnTo>
                    <a:pt x="1844" y="940"/>
                  </a:lnTo>
                  <a:lnTo>
                    <a:pt x="1814" y="934"/>
                  </a:lnTo>
                  <a:lnTo>
                    <a:pt x="1794" y="940"/>
                  </a:lnTo>
                  <a:lnTo>
                    <a:pt x="1752" y="972"/>
                  </a:lnTo>
                  <a:lnTo>
                    <a:pt x="1730" y="1038"/>
                  </a:lnTo>
                  <a:lnTo>
                    <a:pt x="1778" y="1042"/>
                  </a:lnTo>
                  <a:lnTo>
                    <a:pt x="1772" y="1058"/>
                  </a:lnTo>
                  <a:lnTo>
                    <a:pt x="1786" y="1078"/>
                  </a:lnTo>
                  <a:lnTo>
                    <a:pt x="1784" y="1092"/>
                  </a:lnTo>
                  <a:lnTo>
                    <a:pt x="1790" y="1132"/>
                  </a:lnTo>
                  <a:lnTo>
                    <a:pt x="1816" y="1154"/>
                  </a:lnTo>
                  <a:lnTo>
                    <a:pt x="1788" y="1176"/>
                  </a:lnTo>
                  <a:lnTo>
                    <a:pt x="1812" y="1202"/>
                  </a:lnTo>
                  <a:lnTo>
                    <a:pt x="1780" y="1248"/>
                  </a:lnTo>
                  <a:lnTo>
                    <a:pt x="1800" y="1258"/>
                  </a:lnTo>
                  <a:lnTo>
                    <a:pt x="1812" y="1286"/>
                  </a:lnTo>
                  <a:lnTo>
                    <a:pt x="1806" y="1332"/>
                  </a:lnTo>
                  <a:lnTo>
                    <a:pt x="1782" y="1358"/>
                  </a:lnTo>
                  <a:lnTo>
                    <a:pt x="1786" y="1374"/>
                  </a:lnTo>
                  <a:lnTo>
                    <a:pt x="1748" y="1396"/>
                  </a:lnTo>
                  <a:lnTo>
                    <a:pt x="1738" y="1410"/>
                  </a:lnTo>
                  <a:lnTo>
                    <a:pt x="1744" y="1442"/>
                  </a:lnTo>
                  <a:lnTo>
                    <a:pt x="1692" y="1492"/>
                  </a:lnTo>
                  <a:lnTo>
                    <a:pt x="1682" y="1486"/>
                  </a:lnTo>
                  <a:lnTo>
                    <a:pt x="1630" y="1532"/>
                  </a:lnTo>
                  <a:lnTo>
                    <a:pt x="1624" y="1556"/>
                  </a:lnTo>
                  <a:lnTo>
                    <a:pt x="1566" y="1566"/>
                  </a:lnTo>
                  <a:lnTo>
                    <a:pt x="1526" y="1582"/>
                  </a:lnTo>
                  <a:lnTo>
                    <a:pt x="1516" y="1560"/>
                  </a:lnTo>
                  <a:lnTo>
                    <a:pt x="1502" y="1560"/>
                  </a:lnTo>
                  <a:lnTo>
                    <a:pt x="1472" y="1604"/>
                  </a:lnTo>
                  <a:lnTo>
                    <a:pt x="1442" y="1602"/>
                  </a:lnTo>
                  <a:lnTo>
                    <a:pt x="1430" y="1618"/>
                  </a:lnTo>
                  <a:lnTo>
                    <a:pt x="1398" y="1622"/>
                  </a:lnTo>
                  <a:lnTo>
                    <a:pt x="1386" y="1636"/>
                  </a:lnTo>
                  <a:lnTo>
                    <a:pt x="1400" y="1648"/>
                  </a:lnTo>
                  <a:lnTo>
                    <a:pt x="1370" y="1668"/>
                  </a:lnTo>
                  <a:lnTo>
                    <a:pt x="1364" y="1644"/>
                  </a:lnTo>
                  <a:lnTo>
                    <a:pt x="1370" y="1614"/>
                  </a:lnTo>
                  <a:lnTo>
                    <a:pt x="1356" y="1606"/>
                  </a:lnTo>
                  <a:lnTo>
                    <a:pt x="1350" y="1618"/>
                  </a:lnTo>
                  <a:lnTo>
                    <a:pt x="1288" y="1606"/>
                  </a:lnTo>
                  <a:lnTo>
                    <a:pt x="1256" y="1608"/>
                  </a:lnTo>
                  <a:lnTo>
                    <a:pt x="1242" y="1598"/>
                  </a:lnTo>
                  <a:lnTo>
                    <a:pt x="1258" y="1578"/>
                  </a:lnTo>
                  <a:lnTo>
                    <a:pt x="1246" y="1568"/>
                  </a:lnTo>
                  <a:lnTo>
                    <a:pt x="1230" y="1568"/>
                  </a:lnTo>
                  <a:lnTo>
                    <a:pt x="1198" y="1550"/>
                  </a:lnTo>
                  <a:lnTo>
                    <a:pt x="1148" y="1578"/>
                  </a:lnTo>
                  <a:lnTo>
                    <a:pt x="1090" y="1576"/>
                  </a:lnTo>
                  <a:lnTo>
                    <a:pt x="1076" y="1584"/>
                  </a:lnTo>
                  <a:lnTo>
                    <a:pt x="1062" y="1584"/>
                  </a:lnTo>
                  <a:lnTo>
                    <a:pt x="1064" y="1622"/>
                  </a:lnTo>
                  <a:lnTo>
                    <a:pt x="1052" y="1640"/>
                  </a:lnTo>
                  <a:lnTo>
                    <a:pt x="1042" y="1622"/>
                  </a:lnTo>
                  <a:lnTo>
                    <a:pt x="1036" y="1608"/>
                  </a:lnTo>
                  <a:lnTo>
                    <a:pt x="1012" y="1624"/>
                  </a:lnTo>
                  <a:lnTo>
                    <a:pt x="990" y="1606"/>
                  </a:lnTo>
                  <a:lnTo>
                    <a:pt x="972" y="1608"/>
                  </a:lnTo>
                  <a:lnTo>
                    <a:pt x="958" y="1594"/>
                  </a:lnTo>
                  <a:lnTo>
                    <a:pt x="982" y="1554"/>
                  </a:lnTo>
                  <a:lnTo>
                    <a:pt x="964" y="1550"/>
                  </a:lnTo>
                  <a:lnTo>
                    <a:pt x="948" y="1518"/>
                  </a:lnTo>
                  <a:lnTo>
                    <a:pt x="904" y="1520"/>
                  </a:lnTo>
                  <a:lnTo>
                    <a:pt x="914" y="1498"/>
                  </a:lnTo>
                  <a:lnTo>
                    <a:pt x="898" y="1480"/>
                  </a:lnTo>
                  <a:lnTo>
                    <a:pt x="904" y="1468"/>
                  </a:lnTo>
                  <a:lnTo>
                    <a:pt x="940" y="1430"/>
                  </a:lnTo>
                  <a:lnTo>
                    <a:pt x="930" y="1360"/>
                  </a:lnTo>
                  <a:lnTo>
                    <a:pt x="912" y="1342"/>
                  </a:lnTo>
                  <a:lnTo>
                    <a:pt x="894" y="1336"/>
                  </a:lnTo>
                  <a:lnTo>
                    <a:pt x="886" y="1340"/>
                  </a:lnTo>
                  <a:lnTo>
                    <a:pt x="868" y="1336"/>
                  </a:lnTo>
                  <a:lnTo>
                    <a:pt x="856" y="1342"/>
                  </a:lnTo>
                  <a:lnTo>
                    <a:pt x="850" y="1314"/>
                  </a:lnTo>
                  <a:lnTo>
                    <a:pt x="834" y="1302"/>
                  </a:lnTo>
                  <a:lnTo>
                    <a:pt x="818" y="1308"/>
                  </a:lnTo>
                  <a:lnTo>
                    <a:pt x="782" y="1294"/>
                  </a:lnTo>
                  <a:lnTo>
                    <a:pt x="738" y="1320"/>
                  </a:lnTo>
                  <a:lnTo>
                    <a:pt x="726" y="1336"/>
                  </a:lnTo>
                  <a:lnTo>
                    <a:pt x="686" y="1346"/>
                  </a:lnTo>
                  <a:lnTo>
                    <a:pt x="644" y="1348"/>
                  </a:lnTo>
                  <a:lnTo>
                    <a:pt x="618" y="1342"/>
                  </a:lnTo>
                  <a:lnTo>
                    <a:pt x="600" y="1358"/>
                  </a:lnTo>
                  <a:lnTo>
                    <a:pt x="584" y="1384"/>
                  </a:lnTo>
                  <a:lnTo>
                    <a:pt x="574" y="1368"/>
                  </a:lnTo>
                  <a:lnTo>
                    <a:pt x="576" y="1356"/>
                  </a:lnTo>
                  <a:lnTo>
                    <a:pt x="564" y="1350"/>
                  </a:lnTo>
                  <a:lnTo>
                    <a:pt x="548" y="1354"/>
                  </a:lnTo>
                  <a:lnTo>
                    <a:pt x="486" y="1348"/>
                  </a:lnTo>
                  <a:lnTo>
                    <a:pt x="474" y="1354"/>
                  </a:lnTo>
                  <a:lnTo>
                    <a:pt x="430" y="1336"/>
                  </a:lnTo>
                  <a:lnTo>
                    <a:pt x="386" y="1296"/>
                  </a:lnTo>
                  <a:lnTo>
                    <a:pt x="374" y="1304"/>
                  </a:lnTo>
                  <a:lnTo>
                    <a:pt x="326" y="1274"/>
                  </a:lnTo>
                  <a:lnTo>
                    <a:pt x="288" y="1240"/>
                  </a:lnTo>
                  <a:lnTo>
                    <a:pt x="274" y="1246"/>
                  </a:lnTo>
                  <a:lnTo>
                    <a:pt x="258" y="1230"/>
                  </a:lnTo>
                  <a:lnTo>
                    <a:pt x="234" y="1212"/>
                  </a:lnTo>
                  <a:lnTo>
                    <a:pt x="202" y="1204"/>
                  </a:lnTo>
                  <a:lnTo>
                    <a:pt x="198" y="1180"/>
                  </a:lnTo>
                  <a:lnTo>
                    <a:pt x="186" y="1166"/>
                  </a:lnTo>
                  <a:lnTo>
                    <a:pt x="180" y="1144"/>
                  </a:lnTo>
                  <a:lnTo>
                    <a:pt x="206" y="1152"/>
                  </a:lnTo>
                  <a:lnTo>
                    <a:pt x="220" y="1140"/>
                  </a:lnTo>
                  <a:lnTo>
                    <a:pt x="206" y="1128"/>
                  </a:lnTo>
                  <a:lnTo>
                    <a:pt x="206" y="1112"/>
                  </a:lnTo>
                  <a:lnTo>
                    <a:pt x="194" y="1102"/>
                  </a:lnTo>
                  <a:lnTo>
                    <a:pt x="198" y="1066"/>
                  </a:lnTo>
                  <a:lnTo>
                    <a:pt x="204" y="1034"/>
                  </a:lnTo>
                  <a:lnTo>
                    <a:pt x="194" y="1020"/>
                  </a:lnTo>
                  <a:lnTo>
                    <a:pt x="194" y="994"/>
                  </a:lnTo>
                  <a:lnTo>
                    <a:pt x="170" y="982"/>
                  </a:lnTo>
                  <a:lnTo>
                    <a:pt x="146" y="968"/>
                  </a:lnTo>
                  <a:close/>
                  <a:moveTo>
                    <a:pt x="1344" y="1694"/>
                  </a:moveTo>
                  <a:lnTo>
                    <a:pt x="1346" y="1700"/>
                  </a:lnTo>
                  <a:lnTo>
                    <a:pt x="1330" y="1712"/>
                  </a:lnTo>
                  <a:lnTo>
                    <a:pt x="1334" y="1722"/>
                  </a:lnTo>
                  <a:lnTo>
                    <a:pt x="1332" y="1736"/>
                  </a:lnTo>
                  <a:lnTo>
                    <a:pt x="1360" y="1744"/>
                  </a:lnTo>
                  <a:lnTo>
                    <a:pt x="1368" y="1736"/>
                  </a:lnTo>
                  <a:lnTo>
                    <a:pt x="1376" y="1732"/>
                  </a:lnTo>
                  <a:lnTo>
                    <a:pt x="1386" y="1734"/>
                  </a:lnTo>
                  <a:lnTo>
                    <a:pt x="1400" y="1720"/>
                  </a:lnTo>
                  <a:lnTo>
                    <a:pt x="1400" y="1710"/>
                  </a:lnTo>
                  <a:lnTo>
                    <a:pt x="1416" y="1690"/>
                  </a:lnTo>
                  <a:lnTo>
                    <a:pt x="1408" y="1674"/>
                  </a:lnTo>
                  <a:lnTo>
                    <a:pt x="1394" y="1682"/>
                  </a:lnTo>
                  <a:lnTo>
                    <a:pt x="1352" y="1686"/>
                  </a:lnTo>
                  <a:lnTo>
                    <a:pt x="1344" y="1694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73" name="Colombia">
              <a:extLst>
                <a:ext uri="{FF2B5EF4-FFF2-40B4-BE49-F238E27FC236}">
                  <a16:creationId xmlns="" xmlns:a16="http://schemas.microsoft.com/office/drawing/2014/main" id="{A579955F-6AF7-4FBF-9116-936A318F5E70}"/>
                </a:ext>
              </a:extLst>
            </p:cNvPr>
            <p:cNvSpPr>
              <a:spLocks/>
            </p:cNvSpPr>
            <p:nvPr/>
          </p:nvSpPr>
          <p:spPr bwMode="gray">
            <a:xfrm>
              <a:off x="3261030" y="4251969"/>
              <a:ext cx="368985" cy="501472"/>
            </a:xfrm>
            <a:custGeom>
              <a:avLst/>
              <a:gdLst/>
              <a:ahLst/>
              <a:cxnLst>
                <a:cxn ang="0">
                  <a:pos x="50" y="183"/>
                </a:cxn>
                <a:cxn ang="0">
                  <a:pos x="48" y="161"/>
                </a:cxn>
                <a:cxn ang="0">
                  <a:pos x="60" y="143"/>
                </a:cxn>
                <a:cxn ang="0">
                  <a:pos x="76" y="137"/>
                </a:cxn>
                <a:cxn ang="0">
                  <a:pos x="86" y="116"/>
                </a:cxn>
                <a:cxn ang="0">
                  <a:pos x="133" y="88"/>
                </a:cxn>
                <a:cxn ang="0">
                  <a:pos x="155" y="28"/>
                </a:cxn>
                <a:cxn ang="0">
                  <a:pos x="185" y="14"/>
                </a:cxn>
                <a:cxn ang="0">
                  <a:pos x="243" y="0"/>
                </a:cxn>
                <a:cxn ang="0">
                  <a:pos x="255" y="20"/>
                </a:cxn>
                <a:cxn ang="0">
                  <a:pos x="223" y="84"/>
                </a:cxn>
                <a:cxn ang="0">
                  <a:pos x="239" y="139"/>
                </a:cxn>
                <a:cxn ang="0">
                  <a:pos x="279" y="181"/>
                </a:cxn>
                <a:cxn ang="0">
                  <a:pos x="367" y="215"/>
                </a:cxn>
                <a:cxn ang="0">
                  <a:pos x="441" y="221"/>
                </a:cxn>
                <a:cxn ang="0">
                  <a:pos x="429" y="293"/>
                </a:cxn>
                <a:cxn ang="0">
                  <a:pos x="421" y="329"/>
                </a:cxn>
                <a:cxn ang="0">
                  <a:pos x="435" y="341"/>
                </a:cxn>
                <a:cxn ang="0">
                  <a:pos x="453" y="381"/>
                </a:cxn>
                <a:cxn ang="0">
                  <a:pos x="435" y="369"/>
                </a:cxn>
                <a:cxn ang="0">
                  <a:pos x="401" y="371"/>
                </a:cxn>
                <a:cxn ang="0">
                  <a:pos x="341" y="379"/>
                </a:cxn>
                <a:cxn ang="0">
                  <a:pos x="367" y="409"/>
                </a:cxn>
                <a:cxn ang="0">
                  <a:pos x="339" y="421"/>
                </a:cxn>
                <a:cxn ang="0">
                  <a:pos x="361" y="451"/>
                </a:cxn>
                <a:cxn ang="0">
                  <a:pos x="363" y="499"/>
                </a:cxn>
                <a:cxn ang="0">
                  <a:pos x="317" y="601"/>
                </a:cxn>
                <a:cxn ang="0">
                  <a:pos x="299" y="535"/>
                </a:cxn>
                <a:cxn ang="0">
                  <a:pos x="247" y="519"/>
                </a:cxn>
                <a:cxn ang="0">
                  <a:pos x="195" y="499"/>
                </a:cxn>
                <a:cxn ang="0">
                  <a:pos x="32" y="419"/>
                </a:cxn>
                <a:cxn ang="0">
                  <a:pos x="0" y="385"/>
                </a:cxn>
                <a:cxn ang="0">
                  <a:pos x="14" y="369"/>
                </a:cxn>
                <a:cxn ang="0">
                  <a:pos x="44" y="351"/>
                </a:cxn>
                <a:cxn ang="0">
                  <a:pos x="60" y="297"/>
                </a:cxn>
                <a:cxn ang="0">
                  <a:pos x="70" y="225"/>
                </a:cxn>
                <a:cxn ang="0">
                  <a:pos x="64" y="197"/>
                </a:cxn>
              </a:cxnLst>
              <a:rect l="0" t="0" r="r" b="b"/>
              <a:pathLst>
                <a:path w="453" h="613">
                  <a:moveTo>
                    <a:pt x="64" y="197"/>
                  </a:moveTo>
                  <a:lnTo>
                    <a:pt x="50" y="183"/>
                  </a:lnTo>
                  <a:lnTo>
                    <a:pt x="50" y="173"/>
                  </a:lnTo>
                  <a:lnTo>
                    <a:pt x="48" y="161"/>
                  </a:lnTo>
                  <a:lnTo>
                    <a:pt x="60" y="153"/>
                  </a:lnTo>
                  <a:lnTo>
                    <a:pt x="60" y="143"/>
                  </a:lnTo>
                  <a:lnTo>
                    <a:pt x="58" y="118"/>
                  </a:lnTo>
                  <a:lnTo>
                    <a:pt x="76" y="137"/>
                  </a:lnTo>
                  <a:lnTo>
                    <a:pt x="88" y="145"/>
                  </a:lnTo>
                  <a:lnTo>
                    <a:pt x="86" y="116"/>
                  </a:lnTo>
                  <a:lnTo>
                    <a:pt x="115" y="92"/>
                  </a:lnTo>
                  <a:lnTo>
                    <a:pt x="133" y="88"/>
                  </a:lnTo>
                  <a:lnTo>
                    <a:pt x="135" y="50"/>
                  </a:lnTo>
                  <a:lnTo>
                    <a:pt x="155" y="28"/>
                  </a:lnTo>
                  <a:lnTo>
                    <a:pt x="185" y="30"/>
                  </a:lnTo>
                  <a:lnTo>
                    <a:pt x="185" y="14"/>
                  </a:lnTo>
                  <a:lnTo>
                    <a:pt x="219" y="18"/>
                  </a:lnTo>
                  <a:lnTo>
                    <a:pt x="243" y="0"/>
                  </a:lnTo>
                  <a:lnTo>
                    <a:pt x="261" y="0"/>
                  </a:lnTo>
                  <a:lnTo>
                    <a:pt x="255" y="20"/>
                  </a:lnTo>
                  <a:lnTo>
                    <a:pt x="225" y="52"/>
                  </a:lnTo>
                  <a:lnTo>
                    <a:pt x="223" y="84"/>
                  </a:lnTo>
                  <a:lnTo>
                    <a:pt x="235" y="100"/>
                  </a:lnTo>
                  <a:lnTo>
                    <a:pt x="239" y="139"/>
                  </a:lnTo>
                  <a:lnTo>
                    <a:pt x="251" y="169"/>
                  </a:lnTo>
                  <a:lnTo>
                    <a:pt x="279" y="181"/>
                  </a:lnTo>
                  <a:lnTo>
                    <a:pt x="329" y="181"/>
                  </a:lnTo>
                  <a:lnTo>
                    <a:pt x="367" y="215"/>
                  </a:lnTo>
                  <a:lnTo>
                    <a:pt x="429" y="211"/>
                  </a:lnTo>
                  <a:lnTo>
                    <a:pt x="441" y="221"/>
                  </a:lnTo>
                  <a:lnTo>
                    <a:pt x="427" y="251"/>
                  </a:lnTo>
                  <a:lnTo>
                    <a:pt x="429" y="293"/>
                  </a:lnTo>
                  <a:lnTo>
                    <a:pt x="439" y="321"/>
                  </a:lnTo>
                  <a:lnTo>
                    <a:pt x="421" y="329"/>
                  </a:lnTo>
                  <a:lnTo>
                    <a:pt x="417" y="341"/>
                  </a:lnTo>
                  <a:lnTo>
                    <a:pt x="435" y="341"/>
                  </a:lnTo>
                  <a:lnTo>
                    <a:pt x="449" y="361"/>
                  </a:lnTo>
                  <a:lnTo>
                    <a:pt x="453" y="381"/>
                  </a:lnTo>
                  <a:lnTo>
                    <a:pt x="445" y="385"/>
                  </a:lnTo>
                  <a:lnTo>
                    <a:pt x="435" y="369"/>
                  </a:lnTo>
                  <a:lnTo>
                    <a:pt x="417" y="375"/>
                  </a:lnTo>
                  <a:lnTo>
                    <a:pt x="401" y="371"/>
                  </a:lnTo>
                  <a:lnTo>
                    <a:pt x="389" y="379"/>
                  </a:lnTo>
                  <a:lnTo>
                    <a:pt x="341" y="379"/>
                  </a:lnTo>
                  <a:lnTo>
                    <a:pt x="341" y="403"/>
                  </a:lnTo>
                  <a:lnTo>
                    <a:pt x="367" y="409"/>
                  </a:lnTo>
                  <a:lnTo>
                    <a:pt x="367" y="421"/>
                  </a:lnTo>
                  <a:lnTo>
                    <a:pt x="339" y="421"/>
                  </a:lnTo>
                  <a:lnTo>
                    <a:pt x="335" y="443"/>
                  </a:lnTo>
                  <a:lnTo>
                    <a:pt x="361" y="451"/>
                  </a:lnTo>
                  <a:lnTo>
                    <a:pt x="359" y="473"/>
                  </a:lnTo>
                  <a:lnTo>
                    <a:pt x="363" y="499"/>
                  </a:lnTo>
                  <a:lnTo>
                    <a:pt x="343" y="613"/>
                  </a:lnTo>
                  <a:lnTo>
                    <a:pt x="317" y="601"/>
                  </a:lnTo>
                  <a:lnTo>
                    <a:pt x="339" y="539"/>
                  </a:lnTo>
                  <a:lnTo>
                    <a:pt x="299" y="535"/>
                  </a:lnTo>
                  <a:lnTo>
                    <a:pt x="259" y="529"/>
                  </a:lnTo>
                  <a:lnTo>
                    <a:pt x="247" y="519"/>
                  </a:lnTo>
                  <a:lnTo>
                    <a:pt x="235" y="517"/>
                  </a:lnTo>
                  <a:lnTo>
                    <a:pt x="195" y="499"/>
                  </a:lnTo>
                  <a:lnTo>
                    <a:pt x="139" y="453"/>
                  </a:lnTo>
                  <a:lnTo>
                    <a:pt x="32" y="419"/>
                  </a:lnTo>
                  <a:lnTo>
                    <a:pt x="6" y="403"/>
                  </a:lnTo>
                  <a:lnTo>
                    <a:pt x="0" y="385"/>
                  </a:lnTo>
                  <a:lnTo>
                    <a:pt x="16" y="383"/>
                  </a:lnTo>
                  <a:lnTo>
                    <a:pt x="14" y="369"/>
                  </a:lnTo>
                  <a:lnTo>
                    <a:pt x="20" y="353"/>
                  </a:lnTo>
                  <a:lnTo>
                    <a:pt x="44" y="351"/>
                  </a:lnTo>
                  <a:lnTo>
                    <a:pt x="76" y="307"/>
                  </a:lnTo>
                  <a:lnTo>
                    <a:pt x="60" y="297"/>
                  </a:lnTo>
                  <a:lnTo>
                    <a:pt x="64" y="243"/>
                  </a:lnTo>
                  <a:lnTo>
                    <a:pt x="70" y="225"/>
                  </a:lnTo>
                  <a:lnTo>
                    <a:pt x="60" y="215"/>
                  </a:lnTo>
                  <a:lnTo>
                    <a:pt x="64" y="197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74" name="Congo">
              <a:extLst>
                <a:ext uri="{FF2B5EF4-FFF2-40B4-BE49-F238E27FC236}">
                  <a16:creationId xmlns="" xmlns:a16="http://schemas.microsoft.com/office/drawing/2014/main" id="{D581AFAE-FC5E-44B5-98DA-A0FD369CDC8B}"/>
                </a:ext>
              </a:extLst>
            </p:cNvPr>
            <p:cNvSpPr>
              <a:spLocks/>
            </p:cNvSpPr>
            <p:nvPr/>
          </p:nvSpPr>
          <p:spPr bwMode="gray">
            <a:xfrm>
              <a:off x="6134823" y="4436824"/>
              <a:ext cx="244038" cy="293017"/>
            </a:xfrm>
            <a:custGeom>
              <a:avLst/>
              <a:gdLst/>
              <a:ahLst/>
              <a:cxnLst>
                <a:cxn ang="0">
                  <a:pos x="0" y="294"/>
                </a:cxn>
                <a:cxn ang="0">
                  <a:pos x="20" y="282"/>
                </a:cxn>
                <a:cxn ang="0">
                  <a:pos x="32" y="294"/>
                </a:cxn>
                <a:cxn ang="0">
                  <a:pos x="46" y="284"/>
                </a:cxn>
                <a:cxn ang="0">
                  <a:pos x="32" y="260"/>
                </a:cxn>
                <a:cxn ang="0">
                  <a:pos x="42" y="252"/>
                </a:cxn>
                <a:cxn ang="0">
                  <a:pos x="72" y="248"/>
                </a:cxn>
                <a:cxn ang="0">
                  <a:pos x="86" y="232"/>
                </a:cxn>
                <a:cxn ang="0">
                  <a:pos x="96" y="248"/>
                </a:cxn>
                <a:cxn ang="0">
                  <a:pos x="128" y="250"/>
                </a:cxn>
                <a:cxn ang="0">
                  <a:pos x="136" y="254"/>
                </a:cxn>
                <a:cxn ang="0">
                  <a:pos x="148" y="244"/>
                </a:cxn>
                <a:cxn ang="0">
                  <a:pos x="158" y="188"/>
                </a:cxn>
                <a:cxn ang="0">
                  <a:pos x="132" y="166"/>
                </a:cxn>
                <a:cxn ang="0">
                  <a:pos x="134" y="150"/>
                </a:cxn>
                <a:cxn ang="0">
                  <a:pos x="150" y="136"/>
                </a:cxn>
                <a:cxn ang="0">
                  <a:pos x="146" y="116"/>
                </a:cxn>
                <a:cxn ang="0">
                  <a:pos x="126" y="106"/>
                </a:cxn>
                <a:cxn ang="0">
                  <a:pos x="108" y="114"/>
                </a:cxn>
                <a:cxn ang="0">
                  <a:pos x="94" y="114"/>
                </a:cxn>
                <a:cxn ang="0">
                  <a:pos x="100" y="82"/>
                </a:cxn>
                <a:cxn ang="0">
                  <a:pos x="182" y="86"/>
                </a:cxn>
                <a:cxn ang="0">
                  <a:pos x="200" y="92"/>
                </a:cxn>
                <a:cxn ang="0">
                  <a:pos x="202" y="58"/>
                </a:cxn>
                <a:cxn ang="0">
                  <a:pos x="234" y="8"/>
                </a:cxn>
                <a:cxn ang="0">
                  <a:pos x="250" y="8"/>
                </a:cxn>
                <a:cxn ang="0">
                  <a:pos x="264" y="0"/>
                </a:cxn>
                <a:cxn ang="0">
                  <a:pos x="298" y="2"/>
                </a:cxn>
                <a:cxn ang="0">
                  <a:pos x="302" y="20"/>
                </a:cxn>
                <a:cxn ang="0">
                  <a:pos x="284" y="86"/>
                </a:cxn>
                <a:cxn ang="0">
                  <a:pos x="278" y="114"/>
                </a:cxn>
                <a:cxn ang="0">
                  <a:pos x="278" y="138"/>
                </a:cxn>
                <a:cxn ang="0">
                  <a:pos x="270" y="152"/>
                </a:cxn>
                <a:cxn ang="0">
                  <a:pos x="272" y="184"/>
                </a:cxn>
                <a:cxn ang="0">
                  <a:pos x="238" y="206"/>
                </a:cxn>
                <a:cxn ang="0">
                  <a:pos x="218" y="232"/>
                </a:cxn>
                <a:cxn ang="0">
                  <a:pos x="212" y="264"/>
                </a:cxn>
                <a:cxn ang="0">
                  <a:pos x="208" y="296"/>
                </a:cxn>
                <a:cxn ang="0">
                  <a:pos x="194" y="320"/>
                </a:cxn>
                <a:cxn ang="0">
                  <a:pos x="144" y="352"/>
                </a:cxn>
                <a:cxn ang="0">
                  <a:pos x="138" y="326"/>
                </a:cxn>
                <a:cxn ang="0">
                  <a:pos x="108" y="330"/>
                </a:cxn>
                <a:cxn ang="0">
                  <a:pos x="96" y="340"/>
                </a:cxn>
                <a:cxn ang="0">
                  <a:pos x="82" y="328"/>
                </a:cxn>
                <a:cxn ang="0">
                  <a:pos x="64" y="346"/>
                </a:cxn>
                <a:cxn ang="0">
                  <a:pos x="48" y="358"/>
                </a:cxn>
                <a:cxn ang="0">
                  <a:pos x="34" y="330"/>
                </a:cxn>
                <a:cxn ang="0">
                  <a:pos x="8" y="304"/>
                </a:cxn>
                <a:cxn ang="0">
                  <a:pos x="0" y="294"/>
                </a:cxn>
              </a:cxnLst>
              <a:rect l="0" t="0" r="r" b="b"/>
              <a:pathLst>
                <a:path w="302" h="358">
                  <a:moveTo>
                    <a:pt x="0" y="294"/>
                  </a:moveTo>
                  <a:lnTo>
                    <a:pt x="20" y="282"/>
                  </a:lnTo>
                  <a:lnTo>
                    <a:pt x="32" y="294"/>
                  </a:lnTo>
                  <a:lnTo>
                    <a:pt x="46" y="284"/>
                  </a:lnTo>
                  <a:lnTo>
                    <a:pt x="32" y="260"/>
                  </a:lnTo>
                  <a:lnTo>
                    <a:pt x="42" y="252"/>
                  </a:lnTo>
                  <a:lnTo>
                    <a:pt x="72" y="248"/>
                  </a:lnTo>
                  <a:lnTo>
                    <a:pt x="86" y="232"/>
                  </a:lnTo>
                  <a:lnTo>
                    <a:pt x="96" y="248"/>
                  </a:lnTo>
                  <a:lnTo>
                    <a:pt x="128" y="250"/>
                  </a:lnTo>
                  <a:lnTo>
                    <a:pt x="136" y="254"/>
                  </a:lnTo>
                  <a:lnTo>
                    <a:pt x="148" y="244"/>
                  </a:lnTo>
                  <a:lnTo>
                    <a:pt x="158" y="188"/>
                  </a:lnTo>
                  <a:lnTo>
                    <a:pt x="132" y="166"/>
                  </a:lnTo>
                  <a:lnTo>
                    <a:pt x="134" y="150"/>
                  </a:lnTo>
                  <a:lnTo>
                    <a:pt x="150" y="136"/>
                  </a:lnTo>
                  <a:lnTo>
                    <a:pt x="146" y="116"/>
                  </a:lnTo>
                  <a:lnTo>
                    <a:pt x="126" y="106"/>
                  </a:lnTo>
                  <a:lnTo>
                    <a:pt x="108" y="114"/>
                  </a:lnTo>
                  <a:lnTo>
                    <a:pt x="94" y="114"/>
                  </a:lnTo>
                  <a:lnTo>
                    <a:pt x="100" y="82"/>
                  </a:lnTo>
                  <a:lnTo>
                    <a:pt x="182" y="86"/>
                  </a:lnTo>
                  <a:lnTo>
                    <a:pt x="200" y="92"/>
                  </a:lnTo>
                  <a:lnTo>
                    <a:pt x="202" y="58"/>
                  </a:lnTo>
                  <a:lnTo>
                    <a:pt x="234" y="8"/>
                  </a:lnTo>
                  <a:lnTo>
                    <a:pt x="250" y="8"/>
                  </a:lnTo>
                  <a:lnTo>
                    <a:pt x="264" y="0"/>
                  </a:lnTo>
                  <a:lnTo>
                    <a:pt x="298" y="2"/>
                  </a:lnTo>
                  <a:lnTo>
                    <a:pt x="302" y="20"/>
                  </a:lnTo>
                  <a:lnTo>
                    <a:pt x="284" y="86"/>
                  </a:lnTo>
                  <a:lnTo>
                    <a:pt x="278" y="114"/>
                  </a:lnTo>
                  <a:lnTo>
                    <a:pt x="278" y="138"/>
                  </a:lnTo>
                  <a:lnTo>
                    <a:pt x="270" y="152"/>
                  </a:lnTo>
                  <a:lnTo>
                    <a:pt x="272" y="184"/>
                  </a:lnTo>
                  <a:lnTo>
                    <a:pt x="238" y="206"/>
                  </a:lnTo>
                  <a:lnTo>
                    <a:pt x="218" y="232"/>
                  </a:lnTo>
                  <a:lnTo>
                    <a:pt x="212" y="264"/>
                  </a:lnTo>
                  <a:lnTo>
                    <a:pt x="208" y="296"/>
                  </a:lnTo>
                  <a:lnTo>
                    <a:pt x="194" y="320"/>
                  </a:lnTo>
                  <a:lnTo>
                    <a:pt x="144" y="352"/>
                  </a:lnTo>
                  <a:lnTo>
                    <a:pt x="138" y="326"/>
                  </a:lnTo>
                  <a:lnTo>
                    <a:pt x="108" y="330"/>
                  </a:lnTo>
                  <a:lnTo>
                    <a:pt x="96" y="340"/>
                  </a:lnTo>
                  <a:lnTo>
                    <a:pt x="82" y="328"/>
                  </a:lnTo>
                  <a:lnTo>
                    <a:pt x="64" y="346"/>
                  </a:lnTo>
                  <a:lnTo>
                    <a:pt x="48" y="358"/>
                  </a:lnTo>
                  <a:lnTo>
                    <a:pt x="34" y="330"/>
                  </a:lnTo>
                  <a:lnTo>
                    <a:pt x="8" y="304"/>
                  </a:lnTo>
                  <a:lnTo>
                    <a:pt x="0" y="294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75" name="Congo DR">
              <a:extLst>
                <a:ext uri="{FF2B5EF4-FFF2-40B4-BE49-F238E27FC236}">
                  <a16:creationId xmlns="" xmlns:a16="http://schemas.microsoft.com/office/drawing/2014/main" id="{E3AC4A85-BB49-4DE5-BDB8-089FDF92924A}"/>
                </a:ext>
              </a:extLst>
            </p:cNvPr>
            <p:cNvSpPr>
              <a:spLocks/>
            </p:cNvSpPr>
            <p:nvPr/>
          </p:nvSpPr>
          <p:spPr bwMode="gray">
            <a:xfrm>
              <a:off x="6179724" y="4385694"/>
              <a:ext cx="591549" cy="603733"/>
            </a:xfrm>
            <a:custGeom>
              <a:avLst/>
              <a:gdLst/>
              <a:ahLst/>
              <a:cxnLst>
                <a:cxn ang="0">
                  <a:pos x="26" y="446"/>
                </a:cxn>
                <a:cxn ang="0">
                  <a:pos x="124" y="446"/>
                </a:cxn>
                <a:cxn ang="0">
                  <a:pos x="192" y="488"/>
                </a:cxn>
                <a:cxn ang="0">
                  <a:pos x="216" y="538"/>
                </a:cxn>
                <a:cxn ang="0">
                  <a:pos x="288" y="498"/>
                </a:cxn>
                <a:cxn ang="0">
                  <a:pos x="331" y="506"/>
                </a:cxn>
                <a:cxn ang="0">
                  <a:pos x="377" y="586"/>
                </a:cxn>
                <a:cxn ang="0">
                  <a:pos x="391" y="652"/>
                </a:cxn>
                <a:cxn ang="0">
                  <a:pos x="479" y="640"/>
                </a:cxn>
                <a:cxn ang="0">
                  <a:pos x="505" y="662"/>
                </a:cxn>
                <a:cxn ang="0">
                  <a:pos x="563" y="682"/>
                </a:cxn>
                <a:cxn ang="0">
                  <a:pos x="585" y="696"/>
                </a:cxn>
                <a:cxn ang="0">
                  <a:pos x="637" y="730"/>
                </a:cxn>
                <a:cxn ang="0">
                  <a:pos x="675" y="737"/>
                </a:cxn>
                <a:cxn ang="0">
                  <a:pos x="659" y="700"/>
                </a:cxn>
                <a:cxn ang="0">
                  <a:pos x="625" y="664"/>
                </a:cxn>
                <a:cxn ang="0">
                  <a:pos x="631" y="632"/>
                </a:cxn>
                <a:cxn ang="0">
                  <a:pos x="619" y="590"/>
                </a:cxn>
                <a:cxn ang="0">
                  <a:pos x="717" y="546"/>
                </a:cxn>
                <a:cxn ang="0">
                  <a:pos x="671" y="456"/>
                </a:cxn>
                <a:cxn ang="0">
                  <a:pos x="663" y="364"/>
                </a:cxn>
                <a:cxn ang="0">
                  <a:pos x="655" y="312"/>
                </a:cxn>
                <a:cxn ang="0">
                  <a:pos x="665" y="280"/>
                </a:cxn>
                <a:cxn ang="0">
                  <a:pos x="671" y="250"/>
                </a:cxn>
                <a:cxn ang="0">
                  <a:pos x="681" y="192"/>
                </a:cxn>
                <a:cxn ang="0">
                  <a:pos x="729" y="130"/>
                </a:cxn>
                <a:cxn ang="0">
                  <a:pos x="719" y="116"/>
                </a:cxn>
                <a:cxn ang="0">
                  <a:pos x="723" y="84"/>
                </a:cxn>
                <a:cxn ang="0">
                  <a:pos x="657" y="46"/>
                </a:cxn>
                <a:cxn ang="0">
                  <a:pos x="623" y="46"/>
                </a:cxn>
                <a:cxn ang="0">
                  <a:pos x="511" y="0"/>
                </a:cxn>
                <a:cxn ang="0">
                  <a:pos x="495" y="18"/>
                </a:cxn>
                <a:cxn ang="0">
                  <a:pos x="457" y="20"/>
                </a:cxn>
                <a:cxn ang="0">
                  <a:pos x="409" y="24"/>
                </a:cxn>
                <a:cxn ang="0">
                  <a:pos x="345" y="32"/>
                </a:cxn>
                <a:cxn ang="0">
                  <a:pos x="294" y="16"/>
                </a:cxn>
                <a:cxn ang="0">
                  <a:pos x="262" y="34"/>
                </a:cxn>
                <a:cxn ang="0">
                  <a:pos x="244" y="64"/>
                </a:cxn>
                <a:cxn ang="0">
                  <a:pos x="230" y="148"/>
                </a:cxn>
                <a:cxn ang="0">
                  <a:pos x="224" y="200"/>
                </a:cxn>
                <a:cxn ang="0">
                  <a:pos x="218" y="246"/>
                </a:cxn>
                <a:cxn ang="0">
                  <a:pos x="164" y="294"/>
                </a:cxn>
                <a:cxn ang="0">
                  <a:pos x="154" y="358"/>
                </a:cxn>
                <a:cxn ang="0">
                  <a:pos x="90" y="414"/>
                </a:cxn>
                <a:cxn ang="0">
                  <a:pos x="54" y="392"/>
                </a:cxn>
                <a:cxn ang="0">
                  <a:pos x="30" y="418"/>
                </a:cxn>
                <a:cxn ang="0">
                  <a:pos x="14" y="436"/>
                </a:cxn>
                <a:cxn ang="0">
                  <a:pos x="4" y="454"/>
                </a:cxn>
              </a:cxnLst>
              <a:rect l="0" t="0" r="r" b="b"/>
              <a:pathLst>
                <a:path w="729" h="737">
                  <a:moveTo>
                    <a:pt x="4" y="454"/>
                  </a:moveTo>
                  <a:lnTo>
                    <a:pt x="26" y="446"/>
                  </a:lnTo>
                  <a:lnTo>
                    <a:pt x="44" y="444"/>
                  </a:lnTo>
                  <a:lnTo>
                    <a:pt x="124" y="446"/>
                  </a:lnTo>
                  <a:lnTo>
                    <a:pt x="180" y="444"/>
                  </a:lnTo>
                  <a:lnTo>
                    <a:pt x="192" y="488"/>
                  </a:lnTo>
                  <a:lnTo>
                    <a:pt x="196" y="508"/>
                  </a:lnTo>
                  <a:lnTo>
                    <a:pt x="216" y="538"/>
                  </a:lnTo>
                  <a:lnTo>
                    <a:pt x="278" y="534"/>
                  </a:lnTo>
                  <a:lnTo>
                    <a:pt x="288" y="498"/>
                  </a:lnTo>
                  <a:lnTo>
                    <a:pt x="331" y="494"/>
                  </a:lnTo>
                  <a:lnTo>
                    <a:pt x="331" y="506"/>
                  </a:lnTo>
                  <a:lnTo>
                    <a:pt x="379" y="506"/>
                  </a:lnTo>
                  <a:lnTo>
                    <a:pt x="377" y="586"/>
                  </a:lnTo>
                  <a:lnTo>
                    <a:pt x="391" y="614"/>
                  </a:lnTo>
                  <a:lnTo>
                    <a:pt x="391" y="652"/>
                  </a:lnTo>
                  <a:lnTo>
                    <a:pt x="461" y="642"/>
                  </a:lnTo>
                  <a:lnTo>
                    <a:pt x="479" y="640"/>
                  </a:lnTo>
                  <a:lnTo>
                    <a:pt x="479" y="660"/>
                  </a:lnTo>
                  <a:lnTo>
                    <a:pt x="505" y="662"/>
                  </a:lnTo>
                  <a:lnTo>
                    <a:pt x="521" y="678"/>
                  </a:lnTo>
                  <a:lnTo>
                    <a:pt x="563" y="682"/>
                  </a:lnTo>
                  <a:lnTo>
                    <a:pt x="571" y="666"/>
                  </a:lnTo>
                  <a:lnTo>
                    <a:pt x="585" y="696"/>
                  </a:lnTo>
                  <a:lnTo>
                    <a:pt x="605" y="692"/>
                  </a:lnTo>
                  <a:lnTo>
                    <a:pt x="637" y="730"/>
                  </a:lnTo>
                  <a:lnTo>
                    <a:pt x="659" y="726"/>
                  </a:lnTo>
                  <a:lnTo>
                    <a:pt x="675" y="737"/>
                  </a:lnTo>
                  <a:lnTo>
                    <a:pt x="675" y="682"/>
                  </a:lnTo>
                  <a:lnTo>
                    <a:pt x="659" y="700"/>
                  </a:lnTo>
                  <a:lnTo>
                    <a:pt x="647" y="700"/>
                  </a:lnTo>
                  <a:lnTo>
                    <a:pt x="625" y="664"/>
                  </a:lnTo>
                  <a:lnTo>
                    <a:pt x="627" y="642"/>
                  </a:lnTo>
                  <a:lnTo>
                    <a:pt x="631" y="632"/>
                  </a:lnTo>
                  <a:lnTo>
                    <a:pt x="629" y="598"/>
                  </a:lnTo>
                  <a:lnTo>
                    <a:pt x="619" y="590"/>
                  </a:lnTo>
                  <a:lnTo>
                    <a:pt x="639" y="556"/>
                  </a:lnTo>
                  <a:lnTo>
                    <a:pt x="717" y="546"/>
                  </a:lnTo>
                  <a:lnTo>
                    <a:pt x="699" y="500"/>
                  </a:lnTo>
                  <a:lnTo>
                    <a:pt x="671" y="456"/>
                  </a:lnTo>
                  <a:lnTo>
                    <a:pt x="663" y="396"/>
                  </a:lnTo>
                  <a:lnTo>
                    <a:pt x="663" y="364"/>
                  </a:lnTo>
                  <a:lnTo>
                    <a:pt x="669" y="332"/>
                  </a:lnTo>
                  <a:lnTo>
                    <a:pt x="655" y="312"/>
                  </a:lnTo>
                  <a:lnTo>
                    <a:pt x="663" y="300"/>
                  </a:lnTo>
                  <a:lnTo>
                    <a:pt x="665" y="280"/>
                  </a:lnTo>
                  <a:lnTo>
                    <a:pt x="683" y="268"/>
                  </a:lnTo>
                  <a:lnTo>
                    <a:pt x="671" y="250"/>
                  </a:lnTo>
                  <a:lnTo>
                    <a:pt x="679" y="224"/>
                  </a:lnTo>
                  <a:lnTo>
                    <a:pt x="681" y="192"/>
                  </a:lnTo>
                  <a:lnTo>
                    <a:pt x="707" y="164"/>
                  </a:lnTo>
                  <a:lnTo>
                    <a:pt x="729" y="130"/>
                  </a:lnTo>
                  <a:lnTo>
                    <a:pt x="711" y="128"/>
                  </a:lnTo>
                  <a:lnTo>
                    <a:pt x="719" y="116"/>
                  </a:lnTo>
                  <a:lnTo>
                    <a:pt x="719" y="100"/>
                  </a:lnTo>
                  <a:lnTo>
                    <a:pt x="723" y="84"/>
                  </a:lnTo>
                  <a:lnTo>
                    <a:pt x="677" y="36"/>
                  </a:lnTo>
                  <a:lnTo>
                    <a:pt x="657" y="46"/>
                  </a:lnTo>
                  <a:lnTo>
                    <a:pt x="641" y="38"/>
                  </a:lnTo>
                  <a:lnTo>
                    <a:pt x="623" y="46"/>
                  </a:lnTo>
                  <a:lnTo>
                    <a:pt x="591" y="28"/>
                  </a:lnTo>
                  <a:lnTo>
                    <a:pt x="511" y="0"/>
                  </a:lnTo>
                  <a:lnTo>
                    <a:pt x="501" y="8"/>
                  </a:lnTo>
                  <a:lnTo>
                    <a:pt x="495" y="18"/>
                  </a:lnTo>
                  <a:lnTo>
                    <a:pt x="477" y="8"/>
                  </a:lnTo>
                  <a:lnTo>
                    <a:pt x="457" y="20"/>
                  </a:lnTo>
                  <a:lnTo>
                    <a:pt x="425" y="26"/>
                  </a:lnTo>
                  <a:lnTo>
                    <a:pt x="409" y="24"/>
                  </a:lnTo>
                  <a:lnTo>
                    <a:pt x="387" y="46"/>
                  </a:lnTo>
                  <a:lnTo>
                    <a:pt x="345" y="32"/>
                  </a:lnTo>
                  <a:lnTo>
                    <a:pt x="321" y="32"/>
                  </a:lnTo>
                  <a:lnTo>
                    <a:pt x="294" y="16"/>
                  </a:lnTo>
                  <a:lnTo>
                    <a:pt x="278" y="16"/>
                  </a:lnTo>
                  <a:lnTo>
                    <a:pt x="262" y="34"/>
                  </a:lnTo>
                  <a:lnTo>
                    <a:pt x="252" y="34"/>
                  </a:lnTo>
                  <a:lnTo>
                    <a:pt x="244" y="64"/>
                  </a:lnTo>
                  <a:lnTo>
                    <a:pt x="248" y="82"/>
                  </a:lnTo>
                  <a:lnTo>
                    <a:pt x="230" y="148"/>
                  </a:lnTo>
                  <a:lnTo>
                    <a:pt x="224" y="176"/>
                  </a:lnTo>
                  <a:lnTo>
                    <a:pt x="224" y="200"/>
                  </a:lnTo>
                  <a:lnTo>
                    <a:pt x="216" y="214"/>
                  </a:lnTo>
                  <a:lnTo>
                    <a:pt x="218" y="246"/>
                  </a:lnTo>
                  <a:lnTo>
                    <a:pt x="184" y="268"/>
                  </a:lnTo>
                  <a:lnTo>
                    <a:pt x="164" y="294"/>
                  </a:lnTo>
                  <a:lnTo>
                    <a:pt x="158" y="326"/>
                  </a:lnTo>
                  <a:lnTo>
                    <a:pt x="154" y="358"/>
                  </a:lnTo>
                  <a:lnTo>
                    <a:pt x="140" y="382"/>
                  </a:lnTo>
                  <a:lnTo>
                    <a:pt x="90" y="414"/>
                  </a:lnTo>
                  <a:lnTo>
                    <a:pt x="84" y="388"/>
                  </a:lnTo>
                  <a:lnTo>
                    <a:pt x="54" y="392"/>
                  </a:lnTo>
                  <a:lnTo>
                    <a:pt x="42" y="402"/>
                  </a:lnTo>
                  <a:lnTo>
                    <a:pt x="30" y="418"/>
                  </a:lnTo>
                  <a:lnTo>
                    <a:pt x="16" y="420"/>
                  </a:lnTo>
                  <a:lnTo>
                    <a:pt x="14" y="436"/>
                  </a:lnTo>
                  <a:lnTo>
                    <a:pt x="0" y="442"/>
                  </a:lnTo>
                  <a:lnTo>
                    <a:pt x="4" y="454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76" name="Costa Rica">
              <a:extLst>
                <a:ext uri="{FF2B5EF4-FFF2-40B4-BE49-F238E27FC236}">
                  <a16:creationId xmlns="" xmlns:a16="http://schemas.microsoft.com/office/drawing/2014/main" id="{A05A42E7-D628-4AFB-813E-A7E0463174AF}"/>
                </a:ext>
              </a:extLst>
            </p:cNvPr>
            <p:cNvSpPr>
              <a:spLocks/>
            </p:cNvSpPr>
            <p:nvPr/>
          </p:nvSpPr>
          <p:spPr bwMode="gray">
            <a:xfrm>
              <a:off x="3050182" y="4271633"/>
              <a:ext cx="101519" cy="94394"/>
            </a:xfrm>
            <a:custGeom>
              <a:avLst/>
              <a:gdLst/>
              <a:ahLst/>
              <a:cxnLst>
                <a:cxn ang="0">
                  <a:pos x="98" y="105"/>
                </a:cxn>
                <a:cxn ang="0">
                  <a:pos x="98" y="117"/>
                </a:cxn>
                <a:cxn ang="0">
                  <a:pos x="94" y="117"/>
                </a:cxn>
                <a:cxn ang="0">
                  <a:pos x="80" y="105"/>
                </a:cxn>
                <a:cxn ang="0">
                  <a:pos x="84" y="94"/>
                </a:cxn>
                <a:cxn ang="0">
                  <a:pos x="84" y="82"/>
                </a:cxn>
                <a:cxn ang="0">
                  <a:pos x="68" y="72"/>
                </a:cxn>
                <a:cxn ang="0">
                  <a:pos x="54" y="72"/>
                </a:cxn>
                <a:cxn ang="0">
                  <a:pos x="46" y="64"/>
                </a:cxn>
                <a:cxn ang="0">
                  <a:pos x="46" y="52"/>
                </a:cxn>
                <a:cxn ang="0">
                  <a:pos x="30" y="40"/>
                </a:cxn>
                <a:cxn ang="0">
                  <a:pos x="22" y="42"/>
                </a:cxn>
                <a:cxn ang="0">
                  <a:pos x="22" y="48"/>
                </a:cxn>
                <a:cxn ang="0">
                  <a:pos x="34" y="52"/>
                </a:cxn>
                <a:cxn ang="0">
                  <a:pos x="32" y="60"/>
                </a:cxn>
                <a:cxn ang="0">
                  <a:pos x="28" y="66"/>
                </a:cxn>
                <a:cxn ang="0">
                  <a:pos x="10" y="54"/>
                </a:cxn>
                <a:cxn ang="0">
                  <a:pos x="2" y="40"/>
                </a:cxn>
                <a:cxn ang="0">
                  <a:pos x="4" y="18"/>
                </a:cxn>
                <a:cxn ang="0">
                  <a:pos x="0" y="4"/>
                </a:cxn>
                <a:cxn ang="0">
                  <a:pos x="24" y="2"/>
                </a:cxn>
                <a:cxn ang="0">
                  <a:pos x="42" y="0"/>
                </a:cxn>
                <a:cxn ang="0">
                  <a:pos x="62" y="20"/>
                </a:cxn>
                <a:cxn ang="0">
                  <a:pos x="68" y="18"/>
                </a:cxn>
                <a:cxn ang="0">
                  <a:pos x="76" y="10"/>
                </a:cxn>
                <a:cxn ang="0">
                  <a:pos x="84" y="12"/>
                </a:cxn>
                <a:cxn ang="0">
                  <a:pos x="86" y="26"/>
                </a:cxn>
                <a:cxn ang="0">
                  <a:pos x="96" y="32"/>
                </a:cxn>
                <a:cxn ang="0">
                  <a:pos x="98" y="44"/>
                </a:cxn>
                <a:cxn ang="0">
                  <a:pos x="114" y="50"/>
                </a:cxn>
                <a:cxn ang="0">
                  <a:pos x="126" y="64"/>
                </a:cxn>
                <a:cxn ang="0">
                  <a:pos x="102" y="70"/>
                </a:cxn>
                <a:cxn ang="0">
                  <a:pos x="98" y="74"/>
                </a:cxn>
                <a:cxn ang="0">
                  <a:pos x="100" y="94"/>
                </a:cxn>
                <a:cxn ang="0">
                  <a:pos x="90" y="96"/>
                </a:cxn>
                <a:cxn ang="0">
                  <a:pos x="90" y="101"/>
                </a:cxn>
                <a:cxn ang="0">
                  <a:pos x="98" y="105"/>
                </a:cxn>
              </a:cxnLst>
              <a:rect l="0" t="0" r="r" b="b"/>
              <a:pathLst>
                <a:path w="126" h="117">
                  <a:moveTo>
                    <a:pt x="98" y="105"/>
                  </a:moveTo>
                  <a:lnTo>
                    <a:pt x="98" y="117"/>
                  </a:lnTo>
                  <a:lnTo>
                    <a:pt x="94" y="117"/>
                  </a:lnTo>
                  <a:lnTo>
                    <a:pt x="80" y="105"/>
                  </a:lnTo>
                  <a:lnTo>
                    <a:pt x="84" y="94"/>
                  </a:lnTo>
                  <a:lnTo>
                    <a:pt x="84" y="82"/>
                  </a:lnTo>
                  <a:lnTo>
                    <a:pt x="68" y="72"/>
                  </a:lnTo>
                  <a:lnTo>
                    <a:pt x="54" y="72"/>
                  </a:lnTo>
                  <a:lnTo>
                    <a:pt x="46" y="64"/>
                  </a:lnTo>
                  <a:lnTo>
                    <a:pt x="46" y="52"/>
                  </a:lnTo>
                  <a:lnTo>
                    <a:pt x="30" y="40"/>
                  </a:lnTo>
                  <a:lnTo>
                    <a:pt x="22" y="42"/>
                  </a:lnTo>
                  <a:lnTo>
                    <a:pt x="22" y="48"/>
                  </a:lnTo>
                  <a:lnTo>
                    <a:pt x="34" y="52"/>
                  </a:lnTo>
                  <a:lnTo>
                    <a:pt x="32" y="60"/>
                  </a:lnTo>
                  <a:lnTo>
                    <a:pt x="28" y="66"/>
                  </a:lnTo>
                  <a:lnTo>
                    <a:pt x="10" y="54"/>
                  </a:lnTo>
                  <a:lnTo>
                    <a:pt x="2" y="40"/>
                  </a:lnTo>
                  <a:lnTo>
                    <a:pt x="4" y="18"/>
                  </a:lnTo>
                  <a:lnTo>
                    <a:pt x="0" y="4"/>
                  </a:lnTo>
                  <a:lnTo>
                    <a:pt x="24" y="2"/>
                  </a:lnTo>
                  <a:lnTo>
                    <a:pt x="42" y="0"/>
                  </a:lnTo>
                  <a:lnTo>
                    <a:pt x="62" y="20"/>
                  </a:lnTo>
                  <a:lnTo>
                    <a:pt x="68" y="18"/>
                  </a:lnTo>
                  <a:lnTo>
                    <a:pt x="76" y="10"/>
                  </a:lnTo>
                  <a:lnTo>
                    <a:pt x="84" y="12"/>
                  </a:lnTo>
                  <a:lnTo>
                    <a:pt x="86" y="26"/>
                  </a:lnTo>
                  <a:lnTo>
                    <a:pt x="96" y="32"/>
                  </a:lnTo>
                  <a:lnTo>
                    <a:pt x="98" y="44"/>
                  </a:lnTo>
                  <a:lnTo>
                    <a:pt x="114" y="50"/>
                  </a:lnTo>
                  <a:lnTo>
                    <a:pt x="126" y="64"/>
                  </a:lnTo>
                  <a:lnTo>
                    <a:pt x="102" y="70"/>
                  </a:lnTo>
                  <a:lnTo>
                    <a:pt x="98" y="74"/>
                  </a:lnTo>
                  <a:lnTo>
                    <a:pt x="100" y="94"/>
                  </a:lnTo>
                  <a:lnTo>
                    <a:pt x="90" y="96"/>
                  </a:lnTo>
                  <a:lnTo>
                    <a:pt x="90" y="101"/>
                  </a:lnTo>
                  <a:lnTo>
                    <a:pt x="98" y="105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77" name="Croatia">
              <a:extLst>
                <a:ext uri="{FF2B5EF4-FFF2-40B4-BE49-F238E27FC236}">
                  <a16:creationId xmlns="" xmlns:a16="http://schemas.microsoft.com/office/drawing/2014/main" id="{433F5637-A3F6-4F66-8261-54A48707A7AD}"/>
                </a:ext>
              </a:extLst>
            </p:cNvPr>
            <p:cNvSpPr>
              <a:spLocks/>
            </p:cNvSpPr>
            <p:nvPr/>
          </p:nvSpPr>
          <p:spPr bwMode="gray">
            <a:xfrm>
              <a:off x="6214866" y="2891109"/>
              <a:ext cx="183517" cy="151425"/>
            </a:xfrm>
            <a:custGeom>
              <a:avLst/>
              <a:gdLst/>
              <a:ahLst/>
              <a:cxnLst>
                <a:cxn ang="0">
                  <a:pos x="0" y="56"/>
                </a:cxn>
                <a:cxn ang="0">
                  <a:pos x="20" y="44"/>
                </a:cxn>
                <a:cxn ang="0">
                  <a:pos x="40" y="44"/>
                </a:cxn>
                <a:cxn ang="0">
                  <a:pos x="56" y="42"/>
                </a:cxn>
                <a:cxn ang="0">
                  <a:pos x="70" y="48"/>
                </a:cxn>
                <a:cxn ang="0">
                  <a:pos x="84" y="46"/>
                </a:cxn>
                <a:cxn ang="0">
                  <a:pos x="82" y="34"/>
                </a:cxn>
                <a:cxn ang="0">
                  <a:pos x="92" y="24"/>
                </a:cxn>
                <a:cxn ang="0">
                  <a:pos x="92" y="8"/>
                </a:cxn>
                <a:cxn ang="0">
                  <a:pos x="106" y="0"/>
                </a:cxn>
                <a:cxn ang="0">
                  <a:pos x="114" y="4"/>
                </a:cxn>
                <a:cxn ang="0">
                  <a:pos x="118" y="16"/>
                </a:cxn>
                <a:cxn ang="0">
                  <a:pos x="168" y="36"/>
                </a:cxn>
                <a:cxn ang="0">
                  <a:pos x="202" y="32"/>
                </a:cxn>
                <a:cxn ang="0">
                  <a:pos x="210" y="50"/>
                </a:cxn>
                <a:cxn ang="0">
                  <a:pos x="226" y="60"/>
                </a:cxn>
                <a:cxn ang="0">
                  <a:pos x="214" y="80"/>
                </a:cxn>
                <a:cxn ang="0">
                  <a:pos x="202" y="74"/>
                </a:cxn>
                <a:cxn ang="0">
                  <a:pos x="150" y="74"/>
                </a:cxn>
                <a:cxn ang="0">
                  <a:pos x="136" y="66"/>
                </a:cxn>
                <a:cxn ang="0">
                  <a:pos x="120" y="70"/>
                </a:cxn>
                <a:cxn ang="0">
                  <a:pos x="100" y="58"/>
                </a:cxn>
                <a:cxn ang="0">
                  <a:pos x="98" y="80"/>
                </a:cxn>
                <a:cxn ang="0">
                  <a:pos x="114" y="102"/>
                </a:cxn>
                <a:cxn ang="0">
                  <a:pos x="134" y="132"/>
                </a:cxn>
                <a:cxn ang="0">
                  <a:pos x="160" y="148"/>
                </a:cxn>
                <a:cxn ang="0">
                  <a:pos x="164" y="160"/>
                </a:cxn>
                <a:cxn ang="0">
                  <a:pos x="172" y="184"/>
                </a:cxn>
                <a:cxn ang="0">
                  <a:pos x="144" y="172"/>
                </a:cxn>
                <a:cxn ang="0">
                  <a:pos x="126" y="154"/>
                </a:cxn>
                <a:cxn ang="0">
                  <a:pos x="104" y="156"/>
                </a:cxn>
                <a:cxn ang="0">
                  <a:pos x="84" y="136"/>
                </a:cxn>
                <a:cxn ang="0">
                  <a:pos x="62" y="118"/>
                </a:cxn>
                <a:cxn ang="0">
                  <a:pos x="56" y="100"/>
                </a:cxn>
                <a:cxn ang="0">
                  <a:pos x="56" y="82"/>
                </a:cxn>
                <a:cxn ang="0">
                  <a:pos x="52" y="68"/>
                </a:cxn>
                <a:cxn ang="0">
                  <a:pos x="42" y="58"/>
                </a:cxn>
                <a:cxn ang="0">
                  <a:pos x="32" y="58"/>
                </a:cxn>
                <a:cxn ang="0">
                  <a:pos x="30" y="72"/>
                </a:cxn>
                <a:cxn ang="0">
                  <a:pos x="22" y="90"/>
                </a:cxn>
                <a:cxn ang="0">
                  <a:pos x="8" y="76"/>
                </a:cxn>
                <a:cxn ang="0">
                  <a:pos x="0" y="56"/>
                </a:cxn>
              </a:cxnLst>
              <a:rect l="0" t="0" r="r" b="b"/>
              <a:pathLst>
                <a:path w="226" h="184">
                  <a:moveTo>
                    <a:pt x="0" y="56"/>
                  </a:moveTo>
                  <a:lnTo>
                    <a:pt x="20" y="44"/>
                  </a:lnTo>
                  <a:lnTo>
                    <a:pt x="40" y="44"/>
                  </a:lnTo>
                  <a:lnTo>
                    <a:pt x="56" y="42"/>
                  </a:lnTo>
                  <a:lnTo>
                    <a:pt x="70" y="48"/>
                  </a:lnTo>
                  <a:lnTo>
                    <a:pt x="84" y="46"/>
                  </a:lnTo>
                  <a:lnTo>
                    <a:pt x="82" y="34"/>
                  </a:lnTo>
                  <a:lnTo>
                    <a:pt x="92" y="24"/>
                  </a:lnTo>
                  <a:lnTo>
                    <a:pt x="92" y="8"/>
                  </a:lnTo>
                  <a:lnTo>
                    <a:pt x="106" y="0"/>
                  </a:lnTo>
                  <a:lnTo>
                    <a:pt x="114" y="4"/>
                  </a:lnTo>
                  <a:lnTo>
                    <a:pt x="118" y="16"/>
                  </a:lnTo>
                  <a:lnTo>
                    <a:pt x="168" y="36"/>
                  </a:lnTo>
                  <a:lnTo>
                    <a:pt x="202" y="32"/>
                  </a:lnTo>
                  <a:lnTo>
                    <a:pt x="210" y="50"/>
                  </a:lnTo>
                  <a:lnTo>
                    <a:pt x="226" y="60"/>
                  </a:lnTo>
                  <a:lnTo>
                    <a:pt x="214" y="80"/>
                  </a:lnTo>
                  <a:lnTo>
                    <a:pt x="202" y="74"/>
                  </a:lnTo>
                  <a:lnTo>
                    <a:pt x="150" y="74"/>
                  </a:lnTo>
                  <a:lnTo>
                    <a:pt x="136" y="66"/>
                  </a:lnTo>
                  <a:lnTo>
                    <a:pt x="120" y="70"/>
                  </a:lnTo>
                  <a:lnTo>
                    <a:pt x="100" y="58"/>
                  </a:lnTo>
                  <a:lnTo>
                    <a:pt x="98" y="80"/>
                  </a:lnTo>
                  <a:lnTo>
                    <a:pt x="114" y="102"/>
                  </a:lnTo>
                  <a:lnTo>
                    <a:pt x="134" y="132"/>
                  </a:lnTo>
                  <a:lnTo>
                    <a:pt x="160" y="148"/>
                  </a:lnTo>
                  <a:lnTo>
                    <a:pt x="164" y="160"/>
                  </a:lnTo>
                  <a:lnTo>
                    <a:pt x="172" y="184"/>
                  </a:lnTo>
                  <a:lnTo>
                    <a:pt x="144" y="172"/>
                  </a:lnTo>
                  <a:lnTo>
                    <a:pt x="126" y="154"/>
                  </a:lnTo>
                  <a:lnTo>
                    <a:pt x="104" y="156"/>
                  </a:lnTo>
                  <a:lnTo>
                    <a:pt x="84" y="136"/>
                  </a:lnTo>
                  <a:lnTo>
                    <a:pt x="62" y="118"/>
                  </a:lnTo>
                  <a:lnTo>
                    <a:pt x="56" y="100"/>
                  </a:lnTo>
                  <a:lnTo>
                    <a:pt x="56" y="82"/>
                  </a:lnTo>
                  <a:lnTo>
                    <a:pt x="52" y="68"/>
                  </a:lnTo>
                  <a:lnTo>
                    <a:pt x="42" y="58"/>
                  </a:lnTo>
                  <a:lnTo>
                    <a:pt x="32" y="58"/>
                  </a:lnTo>
                  <a:lnTo>
                    <a:pt x="30" y="72"/>
                  </a:lnTo>
                  <a:lnTo>
                    <a:pt x="22" y="90"/>
                  </a:lnTo>
                  <a:lnTo>
                    <a:pt x="8" y="76"/>
                  </a:lnTo>
                  <a:lnTo>
                    <a:pt x="0" y="56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78" name="Cuba">
              <a:extLst>
                <a:ext uri="{FF2B5EF4-FFF2-40B4-BE49-F238E27FC236}">
                  <a16:creationId xmlns="" xmlns:a16="http://schemas.microsoft.com/office/drawing/2014/main" id="{4C97DE6C-18D5-4764-92AB-564FAE34EC87}"/>
                </a:ext>
              </a:extLst>
            </p:cNvPr>
            <p:cNvSpPr>
              <a:spLocks/>
            </p:cNvSpPr>
            <p:nvPr/>
          </p:nvSpPr>
          <p:spPr bwMode="gray">
            <a:xfrm>
              <a:off x="3151702" y="3870455"/>
              <a:ext cx="324082" cy="114060"/>
            </a:xfrm>
            <a:custGeom>
              <a:avLst/>
              <a:gdLst/>
              <a:ahLst/>
              <a:cxnLst>
                <a:cxn ang="0">
                  <a:pos x="0" y="50"/>
                </a:cxn>
                <a:cxn ang="0">
                  <a:pos x="14" y="28"/>
                </a:cxn>
                <a:cxn ang="0">
                  <a:pos x="64" y="8"/>
                </a:cxn>
                <a:cxn ang="0">
                  <a:pos x="110" y="10"/>
                </a:cxn>
                <a:cxn ang="0">
                  <a:pos x="130" y="0"/>
                </a:cxn>
                <a:cxn ang="0">
                  <a:pos x="154" y="8"/>
                </a:cxn>
                <a:cxn ang="0">
                  <a:pos x="174" y="16"/>
                </a:cxn>
                <a:cxn ang="0">
                  <a:pos x="206" y="38"/>
                </a:cxn>
                <a:cxn ang="0">
                  <a:pos x="230" y="40"/>
                </a:cxn>
                <a:cxn ang="0">
                  <a:pos x="268" y="70"/>
                </a:cxn>
                <a:cxn ang="0">
                  <a:pos x="302" y="82"/>
                </a:cxn>
                <a:cxn ang="0">
                  <a:pos x="343" y="88"/>
                </a:cxn>
                <a:cxn ang="0">
                  <a:pos x="343" y="104"/>
                </a:cxn>
                <a:cxn ang="0">
                  <a:pos x="369" y="102"/>
                </a:cxn>
                <a:cxn ang="0">
                  <a:pos x="401" y="126"/>
                </a:cxn>
                <a:cxn ang="0">
                  <a:pos x="347" y="136"/>
                </a:cxn>
                <a:cxn ang="0">
                  <a:pos x="318" y="134"/>
                </a:cxn>
                <a:cxn ang="0">
                  <a:pos x="262" y="140"/>
                </a:cxn>
                <a:cxn ang="0">
                  <a:pos x="280" y="124"/>
                </a:cxn>
                <a:cxn ang="0">
                  <a:pos x="280" y="106"/>
                </a:cxn>
                <a:cxn ang="0">
                  <a:pos x="248" y="106"/>
                </a:cxn>
                <a:cxn ang="0">
                  <a:pos x="228" y="90"/>
                </a:cxn>
                <a:cxn ang="0">
                  <a:pos x="220" y="72"/>
                </a:cxn>
                <a:cxn ang="0">
                  <a:pos x="202" y="72"/>
                </a:cxn>
                <a:cxn ang="0">
                  <a:pos x="176" y="58"/>
                </a:cxn>
                <a:cxn ang="0">
                  <a:pos x="158" y="44"/>
                </a:cxn>
                <a:cxn ang="0">
                  <a:pos x="138" y="38"/>
                </a:cxn>
                <a:cxn ang="0">
                  <a:pos x="124" y="48"/>
                </a:cxn>
                <a:cxn ang="0">
                  <a:pos x="104" y="40"/>
                </a:cxn>
                <a:cxn ang="0">
                  <a:pos x="112" y="26"/>
                </a:cxn>
                <a:cxn ang="0">
                  <a:pos x="74" y="24"/>
                </a:cxn>
                <a:cxn ang="0">
                  <a:pos x="46" y="42"/>
                </a:cxn>
                <a:cxn ang="0">
                  <a:pos x="34" y="44"/>
                </a:cxn>
                <a:cxn ang="0">
                  <a:pos x="30" y="56"/>
                </a:cxn>
                <a:cxn ang="0">
                  <a:pos x="8" y="60"/>
                </a:cxn>
                <a:cxn ang="0">
                  <a:pos x="0" y="50"/>
                </a:cxn>
              </a:cxnLst>
              <a:rect l="0" t="0" r="r" b="b"/>
              <a:pathLst>
                <a:path w="401" h="140">
                  <a:moveTo>
                    <a:pt x="0" y="50"/>
                  </a:moveTo>
                  <a:lnTo>
                    <a:pt x="14" y="28"/>
                  </a:lnTo>
                  <a:lnTo>
                    <a:pt x="64" y="8"/>
                  </a:lnTo>
                  <a:lnTo>
                    <a:pt x="110" y="10"/>
                  </a:lnTo>
                  <a:lnTo>
                    <a:pt x="130" y="0"/>
                  </a:lnTo>
                  <a:lnTo>
                    <a:pt x="154" y="8"/>
                  </a:lnTo>
                  <a:lnTo>
                    <a:pt x="174" y="16"/>
                  </a:lnTo>
                  <a:lnTo>
                    <a:pt x="206" y="38"/>
                  </a:lnTo>
                  <a:lnTo>
                    <a:pt x="230" y="40"/>
                  </a:lnTo>
                  <a:lnTo>
                    <a:pt x="268" y="70"/>
                  </a:lnTo>
                  <a:lnTo>
                    <a:pt x="302" y="82"/>
                  </a:lnTo>
                  <a:lnTo>
                    <a:pt x="343" y="88"/>
                  </a:lnTo>
                  <a:lnTo>
                    <a:pt x="343" y="104"/>
                  </a:lnTo>
                  <a:lnTo>
                    <a:pt x="369" y="102"/>
                  </a:lnTo>
                  <a:lnTo>
                    <a:pt x="401" y="126"/>
                  </a:lnTo>
                  <a:lnTo>
                    <a:pt x="347" y="136"/>
                  </a:lnTo>
                  <a:lnTo>
                    <a:pt x="318" y="134"/>
                  </a:lnTo>
                  <a:lnTo>
                    <a:pt x="262" y="140"/>
                  </a:lnTo>
                  <a:lnTo>
                    <a:pt x="280" y="124"/>
                  </a:lnTo>
                  <a:lnTo>
                    <a:pt x="280" y="106"/>
                  </a:lnTo>
                  <a:lnTo>
                    <a:pt x="248" y="106"/>
                  </a:lnTo>
                  <a:lnTo>
                    <a:pt x="228" y="90"/>
                  </a:lnTo>
                  <a:lnTo>
                    <a:pt x="220" y="72"/>
                  </a:lnTo>
                  <a:lnTo>
                    <a:pt x="202" y="72"/>
                  </a:lnTo>
                  <a:lnTo>
                    <a:pt x="176" y="58"/>
                  </a:lnTo>
                  <a:lnTo>
                    <a:pt x="158" y="44"/>
                  </a:lnTo>
                  <a:lnTo>
                    <a:pt x="138" y="38"/>
                  </a:lnTo>
                  <a:lnTo>
                    <a:pt x="124" y="48"/>
                  </a:lnTo>
                  <a:lnTo>
                    <a:pt x="104" y="40"/>
                  </a:lnTo>
                  <a:lnTo>
                    <a:pt x="112" y="26"/>
                  </a:lnTo>
                  <a:lnTo>
                    <a:pt x="74" y="24"/>
                  </a:lnTo>
                  <a:lnTo>
                    <a:pt x="46" y="42"/>
                  </a:lnTo>
                  <a:lnTo>
                    <a:pt x="34" y="44"/>
                  </a:lnTo>
                  <a:lnTo>
                    <a:pt x="30" y="56"/>
                  </a:lnTo>
                  <a:lnTo>
                    <a:pt x="8" y="60"/>
                  </a:lnTo>
                  <a:lnTo>
                    <a:pt x="0" y="50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79" name="Cyprus">
              <a:extLst>
                <a:ext uri="{FF2B5EF4-FFF2-40B4-BE49-F238E27FC236}">
                  <a16:creationId xmlns="" xmlns:a16="http://schemas.microsoft.com/office/drawing/2014/main" id="{6556E453-D01B-4504-A2B9-C22BF80CE2C5}"/>
                </a:ext>
              </a:extLst>
            </p:cNvPr>
            <p:cNvSpPr>
              <a:spLocks/>
            </p:cNvSpPr>
            <p:nvPr/>
          </p:nvSpPr>
          <p:spPr bwMode="gray">
            <a:xfrm>
              <a:off x="6792748" y="3345384"/>
              <a:ext cx="70282" cy="43264"/>
            </a:xfrm>
            <a:custGeom>
              <a:avLst/>
              <a:gdLst/>
              <a:ahLst/>
              <a:cxnLst>
                <a:cxn ang="0">
                  <a:pos x="2" y="36"/>
                </a:cxn>
                <a:cxn ang="0">
                  <a:pos x="24" y="28"/>
                </a:cxn>
                <a:cxn ang="0">
                  <a:pos x="44" y="24"/>
                </a:cxn>
                <a:cxn ang="0">
                  <a:pos x="84" y="0"/>
                </a:cxn>
                <a:cxn ang="0">
                  <a:pos x="88" y="8"/>
                </a:cxn>
                <a:cxn ang="0">
                  <a:pos x="68" y="24"/>
                </a:cxn>
                <a:cxn ang="0">
                  <a:pos x="72" y="36"/>
                </a:cxn>
                <a:cxn ang="0">
                  <a:pos x="48" y="42"/>
                </a:cxn>
                <a:cxn ang="0">
                  <a:pos x="38" y="52"/>
                </a:cxn>
                <a:cxn ang="0">
                  <a:pos x="0" y="46"/>
                </a:cxn>
                <a:cxn ang="0">
                  <a:pos x="2" y="36"/>
                </a:cxn>
              </a:cxnLst>
              <a:rect l="0" t="0" r="r" b="b"/>
              <a:pathLst>
                <a:path w="88" h="52">
                  <a:moveTo>
                    <a:pt x="2" y="36"/>
                  </a:moveTo>
                  <a:lnTo>
                    <a:pt x="24" y="28"/>
                  </a:lnTo>
                  <a:lnTo>
                    <a:pt x="44" y="24"/>
                  </a:lnTo>
                  <a:lnTo>
                    <a:pt x="84" y="0"/>
                  </a:lnTo>
                  <a:lnTo>
                    <a:pt x="88" y="8"/>
                  </a:lnTo>
                  <a:lnTo>
                    <a:pt x="68" y="24"/>
                  </a:lnTo>
                  <a:lnTo>
                    <a:pt x="72" y="36"/>
                  </a:lnTo>
                  <a:lnTo>
                    <a:pt x="48" y="42"/>
                  </a:lnTo>
                  <a:lnTo>
                    <a:pt x="38" y="52"/>
                  </a:lnTo>
                  <a:lnTo>
                    <a:pt x="0" y="46"/>
                  </a:lnTo>
                  <a:lnTo>
                    <a:pt x="2" y="36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80" name="Czech Republic">
              <a:extLst>
                <a:ext uri="{FF2B5EF4-FFF2-40B4-BE49-F238E27FC236}">
                  <a16:creationId xmlns="" xmlns:a16="http://schemas.microsoft.com/office/drawing/2014/main" id="{856FB322-EF31-4353-B4F8-5193121A58AA}"/>
                </a:ext>
              </a:extLst>
            </p:cNvPr>
            <p:cNvSpPr>
              <a:spLocks/>
            </p:cNvSpPr>
            <p:nvPr/>
          </p:nvSpPr>
          <p:spPr bwMode="gray">
            <a:xfrm>
              <a:off x="6175819" y="2662987"/>
              <a:ext cx="199135" cy="125860"/>
            </a:xfrm>
            <a:custGeom>
              <a:avLst/>
              <a:gdLst/>
              <a:ahLst/>
              <a:cxnLst>
                <a:cxn ang="0">
                  <a:pos x="248" y="94"/>
                </a:cxn>
                <a:cxn ang="0">
                  <a:pos x="242" y="104"/>
                </a:cxn>
                <a:cxn ang="0">
                  <a:pos x="240" y="120"/>
                </a:cxn>
                <a:cxn ang="0">
                  <a:pos x="226" y="124"/>
                </a:cxn>
                <a:cxn ang="0">
                  <a:pos x="218" y="136"/>
                </a:cxn>
                <a:cxn ang="0">
                  <a:pos x="202" y="134"/>
                </a:cxn>
                <a:cxn ang="0">
                  <a:pos x="190" y="144"/>
                </a:cxn>
                <a:cxn ang="0">
                  <a:pos x="174" y="134"/>
                </a:cxn>
                <a:cxn ang="0">
                  <a:pos x="156" y="134"/>
                </a:cxn>
                <a:cxn ang="0">
                  <a:pos x="134" y="130"/>
                </a:cxn>
                <a:cxn ang="0">
                  <a:pos x="112" y="126"/>
                </a:cxn>
                <a:cxn ang="0">
                  <a:pos x="96" y="150"/>
                </a:cxn>
                <a:cxn ang="0">
                  <a:pos x="80" y="152"/>
                </a:cxn>
                <a:cxn ang="0">
                  <a:pos x="76" y="146"/>
                </a:cxn>
                <a:cxn ang="0">
                  <a:pos x="62" y="124"/>
                </a:cxn>
                <a:cxn ang="0">
                  <a:pos x="52" y="124"/>
                </a:cxn>
                <a:cxn ang="0">
                  <a:pos x="42" y="110"/>
                </a:cxn>
                <a:cxn ang="0">
                  <a:pos x="16" y="98"/>
                </a:cxn>
                <a:cxn ang="0">
                  <a:pos x="12" y="72"/>
                </a:cxn>
                <a:cxn ang="0">
                  <a:pos x="0" y="60"/>
                </a:cxn>
                <a:cxn ang="0">
                  <a:pos x="2" y="54"/>
                </a:cxn>
                <a:cxn ang="0">
                  <a:pos x="20" y="52"/>
                </a:cxn>
                <a:cxn ang="0">
                  <a:pos x="46" y="38"/>
                </a:cxn>
                <a:cxn ang="0">
                  <a:pos x="68" y="24"/>
                </a:cxn>
                <a:cxn ang="0">
                  <a:pos x="86" y="20"/>
                </a:cxn>
                <a:cxn ang="0">
                  <a:pos x="94" y="6"/>
                </a:cxn>
                <a:cxn ang="0">
                  <a:pos x="108" y="10"/>
                </a:cxn>
                <a:cxn ang="0">
                  <a:pos x="116" y="0"/>
                </a:cxn>
                <a:cxn ang="0">
                  <a:pos x="130" y="22"/>
                </a:cxn>
                <a:cxn ang="0">
                  <a:pos x="154" y="30"/>
                </a:cxn>
                <a:cxn ang="0">
                  <a:pos x="160" y="48"/>
                </a:cxn>
                <a:cxn ang="0">
                  <a:pos x="180" y="62"/>
                </a:cxn>
                <a:cxn ang="0">
                  <a:pos x="184" y="42"/>
                </a:cxn>
                <a:cxn ang="0">
                  <a:pos x="204" y="48"/>
                </a:cxn>
                <a:cxn ang="0">
                  <a:pos x="218" y="62"/>
                </a:cxn>
                <a:cxn ang="0">
                  <a:pos x="242" y="68"/>
                </a:cxn>
                <a:cxn ang="0">
                  <a:pos x="248" y="94"/>
                </a:cxn>
              </a:cxnLst>
              <a:rect l="0" t="0" r="r" b="b"/>
              <a:pathLst>
                <a:path w="248" h="152">
                  <a:moveTo>
                    <a:pt x="248" y="94"/>
                  </a:moveTo>
                  <a:lnTo>
                    <a:pt x="242" y="104"/>
                  </a:lnTo>
                  <a:lnTo>
                    <a:pt x="240" y="120"/>
                  </a:lnTo>
                  <a:lnTo>
                    <a:pt x="226" y="124"/>
                  </a:lnTo>
                  <a:lnTo>
                    <a:pt x="218" y="136"/>
                  </a:lnTo>
                  <a:lnTo>
                    <a:pt x="202" y="134"/>
                  </a:lnTo>
                  <a:lnTo>
                    <a:pt x="190" y="144"/>
                  </a:lnTo>
                  <a:lnTo>
                    <a:pt x="174" y="134"/>
                  </a:lnTo>
                  <a:lnTo>
                    <a:pt x="156" y="134"/>
                  </a:lnTo>
                  <a:lnTo>
                    <a:pt x="134" y="130"/>
                  </a:lnTo>
                  <a:lnTo>
                    <a:pt x="112" y="126"/>
                  </a:lnTo>
                  <a:lnTo>
                    <a:pt x="96" y="150"/>
                  </a:lnTo>
                  <a:lnTo>
                    <a:pt x="80" y="152"/>
                  </a:lnTo>
                  <a:lnTo>
                    <a:pt x="76" y="146"/>
                  </a:lnTo>
                  <a:lnTo>
                    <a:pt x="62" y="124"/>
                  </a:lnTo>
                  <a:lnTo>
                    <a:pt x="52" y="124"/>
                  </a:lnTo>
                  <a:lnTo>
                    <a:pt x="42" y="110"/>
                  </a:lnTo>
                  <a:lnTo>
                    <a:pt x="16" y="98"/>
                  </a:lnTo>
                  <a:lnTo>
                    <a:pt x="12" y="72"/>
                  </a:lnTo>
                  <a:lnTo>
                    <a:pt x="0" y="60"/>
                  </a:lnTo>
                  <a:lnTo>
                    <a:pt x="2" y="54"/>
                  </a:lnTo>
                  <a:lnTo>
                    <a:pt x="20" y="52"/>
                  </a:lnTo>
                  <a:lnTo>
                    <a:pt x="46" y="38"/>
                  </a:lnTo>
                  <a:lnTo>
                    <a:pt x="68" y="24"/>
                  </a:lnTo>
                  <a:lnTo>
                    <a:pt x="86" y="20"/>
                  </a:lnTo>
                  <a:lnTo>
                    <a:pt x="94" y="6"/>
                  </a:lnTo>
                  <a:lnTo>
                    <a:pt x="108" y="10"/>
                  </a:lnTo>
                  <a:lnTo>
                    <a:pt x="116" y="0"/>
                  </a:lnTo>
                  <a:lnTo>
                    <a:pt x="130" y="22"/>
                  </a:lnTo>
                  <a:lnTo>
                    <a:pt x="154" y="30"/>
                  </a:lnTo>
                  <a:lnTo>
                    <a:pt x="160" y="48"/>
                  </a:lnTo>
                  <a:lnTo>
                    <a:pt x="180" y="62"/>
                  </a:lnTo>
                  <a:lnTo>
                    <a:pt x="184" y="42"/>
                  </a:lnTo>
                  <a:lnTo>
                    <a:pt x="204" y="48"/>
                  </a:lnTo>
                  <a:lnTo>
                    <a:pt x="218" y="62"/>
                  </a:lnTo>
                  <a:lnTo>
                    <a:pt x="242" y="68"/>
                  </a:lnTo>
                  <a:lnTo>
                    <a:pt x="248" y="94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81" name="Denmark">
              <a:extLst>
                <a:ext uri="{FF2B5EF4-FFF2-40B4-BE49-F238E27FC236}">
                  <a16:creationId xmlns="" xmlns:a16="http://schemas.microsoft.com/office/drawing/2014/main" id="{1E22982D-7152-4C59-8035-42785382D9C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060634" y="2295242"/>
              <a:ext cx="121043" cy="182891"/>
            </a:xfrm>
            <a:custGeom>
              <a:avLst/>
              <a:gdLst/>
              <a:ahLst/>
              <a:cxnLst>
                <a:cxn ang="0">
                  <a:pos x="16" y="54"/>
                </a:cxn>
                <a:cxn ang="0">
                  <a:pos x="56" y="32"/>
                </a:cxn>
                <a:cxn ang="0">
                  <a:pos x="62" y="6"/>
                </a:cxn>
                <a:cxn ang="0">
                  <a:pos x="74" y="0"/>
                </a:cxn>
                <a:cxn ang="0">
                  <a:pos x="78" y="34"/>
                </a:cxn>
                <a:cxn ang="0">
                  <a:pos x="66" y="52"/>
                </a:cxn>
                <a:cxn ang="0">
                  <a:pos x="70" y="72"/>
                </a:cxn>
                <a:cxn ang="0">
                  <a:pos x="84" y="96"/>
                </a:cxn>
                <a:cxn ang="0">
                  <a:pos x="84" y="110"/>
                </a:cxn>
                <a:cxn ang="0">
                  <a:pos x="74" y="122"/>
                </a:cxn>
                <a:cxn ang="0">
                  <a:pos x="62" y="118"/>
                </a:cxn>
                <a:cxn ang="0">
                  <a:pos x="60" y="148"/>
                </a:cxn>
                <a:cxn ang="0">
                  <a:pos x="46" y="172"/>
                </a:cxn>
                <a:cxn ang="0">
                  <a:pos x="42" y="192"/>
                </a:cxn>
                <a:cxn ang="0">
                  <a:pos x="50" y="214"/>
                </a:cxn>
                <a:cxn ang="0">
                  <a:pos x="12" y="206"/>
                </a:cxn>
                <a:cxn ang="0">
                  <a:pos x="12" y="168"/>
                </a:cxn>
                <a:cxn ang="0">
                  <a:pos x="4" y="166"/>
                </a:cxn>
                <a:cxn ang="0">
                  <a:pos x="8" y="124"/>
                </a:cxn>
                <a:cxn ang="0">
                  <a:pos x="0" y="112"/>
                </a:cxn>
                <a:cxn ang="0">
                  <a:pos x="6" y="96"/>
                </a:cxn>
                <a:cxn ang="0">
                  <a:pos x="2" y="74"/>
                </a:cxn>
                <a:cxn ang="0">
                  <a:pos x="16" y="54"/>
                </a:cxn>
                <a:cxn ang="0">
                  <a:pos x="90" y="168"/>
                </a:cxn>
                <a:cxn ang="0">
                  <a:pos x="100" y="186"/>
                </a:cxn>
                <a:cxn ang="0">
                  <a:pos x="114" y="186"/>
                </a:cxn>
                <a:cxn ang="0">
                  <a:pos x="122" y="200"/>
                </a:cxn>
                <a:cxn ang="0">
                  <a:pos x="120" y="212"/>
                </a:cxn>
                <a:cxn ang="0">
                  <a:pos x="102" y="216"/>
                </a:cxn>
                <a:cxn ang="0">
                  <a:pos x="96" y="206"/>
                </a:cxn>
                <a:cxn ang="0">
                  <a:pos x="86" y="206"/>
                </a:cxn>
                <a:cxn ang="0">
                  <a:pos x="84" y="220"/>
                </a:cxn>
                <a:cxn ang="0">
                  <a:pos x="110" y="226"/>
                </a:cxn>
                <a:cxn ang="0">
                  <a:pos x="118" y="218"/>
                </a:cxn>
                <a:cxn ang="0">
                  <a:pos x="128" y="226"/>
                </a:cxn>
                <a:cxn ang="0">
                  <a:pos x="132" y="206"/>
                </a:cxn>
                <a:cxn ang="0">
                  <a:pos x="134" y="190"/>
                </a:cxn>
                <a:cxn ang="0">
                  <a:pos x="142" y="180"/>
                </a:cxn>
                <a:cxn ang="0">
                  <a:pos x="148" y="160"/>
                </a:cxn>
                <a:cxn ang="0">
                  <a:pos x="144" y="124"/>
                </a:cxn>
                <a:cxn ang="0">
                  <a:pos x="116" y="132"/>
                </a:cxn>
                <a:cxn ang="0">
                  <a:pos x="90" y="152"/>
                </a:cxn>
                <a:cxn ang="0">
                  <a:pos x="90" y="168"/>
                </a:cxn>
                <a:cxn ang="0">
                  <a:pos x="60" y="202"/>
                </a:cxn>
                <a:cxn ang="0">
                  <a:pos x="74" y="200"/>
                </a:cxn>
                <a:cxn ang="0">
                  <a:pos x="88" y="188"/>
                </a:cxn>
                <a:cxn ang="0">
                  <a:pos x="76" y="170"/>
                </a:cxn>
                <a:cxn ang="0">
                  <a:pos x="54" y="172"/>
                </a:cxn>
                <a:cxn ang="0">
                  <a:pos x="60" y="202"/>
                </a:cxn>
              </a:cxnLst>
              <a:rect l="0" t="0" r="r" b="b"/>
              <a:pathLst>
                <a:path w="148" h="226">
                  <a:moveTo>
                    <a:pt x="16" y="54"/>
                  </a:moveTo>
                  <a:lnTo>
                    <a:pt x="56" y="32"/>
                  </a:lnTo>
                  <a:lnTo>
                    <a:pt x="62" y="6"/>
                  </a:lnTo>
                  <a:lnTo>
                    <a:pt x="74" y="0"/>
                  </a:lnTo>
                  <a:lnTo>
                    <a:pt x="78" y="34"/>
                  </a:lnTo>
                  <a:lnTo>
                    <a:pt x="66" y="52"/>
                  </a:lnTo>
                  <a:lnTo>
                    <a:pt x="70" y="72"/>
                  </a:lnTo>
                  <a:lnTo>
                    <a:pt x="84" y="96"/>
                  </a:lnTo>
                  <a:lnTo>
                    <a:pt x="84" y="110"/>
                  </a:lnTo>
                  <a:lnTo>
                    <a:pt x="74" y="122"/>
                  </a:lnTo>
                  <a:lnTo>
                    <a:pt x="62" y="118"/>
                  </a:lnTo>
                  <a:lnTo>
                    <a:pt x="60" y="148"/>
                  </a:lnTo>
                  <a:lnTo>
                    <a:pt x="46" y="172"/>
                  </a:lnTo>
                  <a:lnTo>
                    <a:pt x="42" y="192"/>
                  </a:lnTo>
                  <a:lnTo>
                    <a:pt x="50" y="214"/>
                  </a:lnTo>
                  <a:lnTo>
                    <a:pt x="12" y="206"/>
                  </a:lnTo>
                  <a:lnTo>
                    <a:pt x="12" y="168"/>
                  </a:lnTo>
                  <a:lnTo>
                    <a:pt x="4" y="166"/>
                  </a:lnTo>
                  <a:lnTo>
                    <a:pt x="8" y="124"/>
                  </a:lnTo>
                  <a:lnTo>
                    <a:pt x="0" y="112"/>
                  </a:lnTo>
                  <a:lnTo>
                    <a:pt x="6" y="96"/>
                  </a:lnTo>
                  <a:lnTo>
                    <a:pt x="2" y="74"/>
                  </a:lnTo>
                  <a:lnTo>
                    <a:pt x="16" y="54"/>
                  </a:lnTo>
                  <a:close/>
                  <a:moveTo>
                    <a:pt x="90" y="168"/>
                  </a:moveTo>
                  <a:lnTo>
                    <a:pt x="100" y="186"/>
                  </a:lnTo>
                  <a:lnTo>
                    <a:pt x="114" y="186"/>
                  </a:lnTo>
                  <a:lnTo>
                    <a:pt x="122" y="200"/>
                  </a:lnTo>
                  <a:lnTo>
                    <a:pt x="120" y="212"/>
                  </a:lnTo>
                  <a:lnTo>
                    <a:pt x="102" y="216"/>
                  </a:lnTo>
                  <a:lnTo>
                    <a:pt x="96" y="206"/>
                  </a:lnTo>
                  <a:lnTo>
                    <a:pt x="86" y="206"/>
                  </a:lnTo>
                  <a:lnTo>
                    <a:pt x="84" y="220"/>
                  </a:lnTo>
                  <a:lnTo>
                    <a:pt x="110" y="226"/>
                  </a:lnTo>
                  <a:lnTo>
                    <a:pt x="118" y="218"/>
                  </a:lnTo>
                  <a:lnTo>
                    <a:pt x="128" y="226"/>
                  </a:lnTo>
                  <a:lnTo>
                    <a:pt x="132" y="206"/>
                  </a:lnTo>
                  <a:lnTo>
                    <a:pt x="134" y="190"/>
                  </a:lnTo>
                  <a:lnTo>
                    <a:pt x="142" y="180"/>
                  </a:lnTo>
                  <a:lnTo>
                    <a:pt x="148" y="160"/>
                  </a:lnTo>
                  <a:lnTo>
                    <a:pt x="144" y="124"/>
                  </a:lnTo>
                  <a:lnTo>
                    <a:pt x="116" y="132"/>
                  </a:lnTo>
                  <a:lnTo>
                    <a:pt x="90" y="152"/>
                  </a:lnTo>
                  <a:lnTo>
                    <a:pt x="90" y="168"/>
                  </a:lnTo>
                  <a:close/>
                  <a:moveTo>
                    <a:pt x="60" y="202"/>
                  </a:moveTo>
                  <a:lnTo>
                    <a:pt x="74" y="200"/>
                  </a:lnTo>
                  <a:lnTo>
                    <a:pt x="88" y="188"/>
                  </a:lnTo>
                  <a:lnTo>
                    <a:pt x="76" y="170"/>
                  </a:lnTo>
                  <a:lnTo>
                    <a:pt x="54" y="172"/>
                  </a:lnTo>
                  <a:lnTo>
                    <a:pt x="60" y="202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82" name="Djitouti">
              <a:extLst>
                <a:ext uri="{FF2B5EF4-FFF2-40B4-BE49-F238E27FC236}">
                  <a16:creationId xmlns="" xmlns:a16="http://schemas.microsoft.com/office/drawing/2014/main" id="{87F84CDE-9B24-4769-850D-80A13A575CE3}"/>
                </a:ext>
              </a:extLst>
            </p:cNvPr>
            <p:cNvSpPr>
              <a:spLocks/>
            </p:cNvSpPr>
            <p:nvPr/>
          </p:nvSpPr>
          <p:spPr bwMode="gray">
            <a:xfrm>
              <a:off x="7099261" y="4161506"/>
              <a:ext cx="58569" cy="47198"/>
            </a:xfrm>
            <a:custGeom>
              <a:avLst/>
              <a:gdLst/>
              <a:ahLst/>
              <a:cxnLst>
                <a:cxn ang="0">
                  <a:pos x="36" y="34"/>
                </a:cxn>
                <a:cxn ang="0">
                  <a:pos x="42" y="40"/>
                </a:cxn>
                <a:cxn ang="0">
                  <a:pos x="60" y="36"/>
                </a:cxn>
                <a:cxn ang="0">
                  <a:pos x="64" y="44"/>
                </a:cxn>
                <a:cxn ang="0">
                  <a:pos x="8" y="60"/>
                </a:cxn>
                <a:cxn ang="0">
                  <a:pos x="0" y="48"/>
                </a:cxn>
                <a:cxn ang="0">
                  <a:pos x="12" y="34"/>
                </a:cxn>
                <a:cxn ang="0">
                  <a:pos x="20" y="12"/>
                </a:cxn>
                <a:cxn ang="0">
                  <a:pos x="54" y="0"/>
                </a:cxn>
                <a:cxn ang="0">
                  <a:pos x="70" y="4"/>
                </a:cxn>
                <a:cxn ang="0">
                  <a:pos x="68" y="18"/>
                </a:cxn>
                <a:cxn ang="0">
                  <a:pos x="58" y="22"/>
                </a:cxn>
                <a:cxn ang="0">
                  <a:pos x="36" y="34"/>
                </a:cxn>
              </a:cxnLst>
              <a:rect l="0" t="0" r="r" b="b"/>
              <a:pathLst>
                <a:path w="70" h="60">
                  <a:moveTo>
                    <a:pt x="36" y="34"/>
                  </a:moveTo>
                  <a:lnTo>
                    <a:pt x="42" y="40"/>
                  </a:lnTo>
                  <a:lnTo>
                    <a:pt x="60" y="36"/>
                  </a:lnTo>
                  <a:lnTo>
                    <a:pt x="64" y="44"/>
                  </a:lnTo>
                  <a:lnTo>
                    <a:pt x="8" y="60"/>
                  </a:lnTo>
                  <a:lnTo>
                    <a:pt x="0" y="48"/>
                  </a:lnTo>
                  <a:lnTo>
                    <a:pt x="12" y="34"/>
                  </a:lnTo>
                  <a:lnTo>
                    <a:pt x="20" y="12"/>
                  </a:lnTo>
                  <a:lnTo>
                    <a:pt x="54" y="0"/>
                  </a:lnTo>
                  <a:lnTo>
                    <a:pt x="70" y="4"/>
                  </a:lnTo>
                  <a:lnTo>
                    <a:pt x="68" y="18"/>
                  </a:lnTo>
                  <a:lnTo>
                    <a:pt x="58" y="22"/>
                  </a:lnTo>
                  <a:lnTo>
                    <a:pt x="36" y="34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83" name="Dominican Republic">
              <a:extLst>
                <a:ext uri="{FF2B5EF4-FFF2-40B4-BE49-F238E27FC236}">
                  <a16:creationId xmlns="" xmlns:a16="http://schemas.microsoft.com/office/drawing/2014/main" id="{747112B1-CAB7-48B5-B3D3-F25E5399BE2A}"/>
                </a:ext>
              </a:extLst>
            </p:cNvPr>
            <p:cNvSpPr>
              <a:spLocks/>
            </p:cNvSpPr>
            <p:nvPr/>
          </p:nvSpPr>
          <p:spPr bwMode="gray">
            <a:xfrm>
              <a:off x="3538257" y="3978616"/>
              <a:ext cx="117138" cy="72763"/>
            </a:xfrm>
            <a:custGeom>
              <a:avLst/>
              <a:gdLst/>
              <a:ahLst/>
              <a:cxnLst>
                <a:cxn ang="0">
                  <a:pos x="0" y="60"/>
                </a:cxn>
                <a:cxn ang="0">
                  <a:pos x="10" y="14"/>
                </a:cxn>
                <a:cxn ang="0">
                  <a:pos x="24" y="2"/>
                </a:cxn>
                <a:cxn ang="0">
                  <a:pos x="56" y="0"/>
                </a:cxn>
                <a:cxn ang="0">
                  <a:pos x="84" y="12"/>
                </a:cxn>
                <a:cxn ang="0">
                  <a:pos x="118" y="20"/>
                </a:cxn>
                <a:cxn ang="0">
                  <a:pos x="114" y="30"/>
                </a:cxn>
                <a:cxn ang="0">
                  <a:pos x="146" y="46"/>
                </a:cxn>
                <a:cxn ang="0">
                  <a:pos x="134" y="58"/>
                </a:cxn>
                <a:cxn ang="0">
                  <a:pos x="108" y="50"/>
                </a:cxn>
                <a:cxn ang="0">
                  <a:pos x="88" y="54"/>
                </a:cxn>
                <a:cxn ang="0">
                  <a:pos x="78" y="66"/>
                </a:cxn>
                <a:cxn ang="0">
                  <a:pos x="44" y="52"/>
                </a:cxn>
                <a:cxn ang="0">
                  <a:pos x="46" y="70"/>
                </a:cxn>
                <a:cxn ang="0">
                  <a:pos x="26" y="90"/>
                </a:cxn>
                <a:cxn ang="0">
                  <a:pos x="20" y="76"/>
                </a:cxn>
                <a:cxn ang="0">
                  <a:pos x="0" y="60"/>
                </a:cxn>
              </a:cxnLst>
              <a:rect l="0" t="0" r="r" b="b"/>
              <a:pathLst>
                <a:path w="146" h="90">
                  <a:moveTo>
                    <a:pt x="0" y="60"/>
                  </a:moveTo>
                  <a:lnTo>
                    <a:pt x="10" y="14"/>
                  </a:lnTo>
                  <a:lnTo>
                    <a:pt x="24" y="2"/>
                  </a:lnTo>
                  <a:lnTo>
                    <a:pt x="56" y="0"/>
                  </a:lnTo>
                  <a:lnTo>
                    <a:pt x="84" y="12"/>
                  </a:lnTo>
                  <a:lnTo>
                    <a:pt x="118" y="20"/>
                  </a:lnTo>
                  <a:lnTo>
                    <a:pt x="114" y="30"/>
                  </a:lnTo>
                  <a:lnTo>
                    <a:pt x="146" y="46"/>
                  </a:lnTo>
                  <a:lnTo>
                    <a:pt x="134" y="58"/>
                  </a:lnTo>
                  <a:lnTo>
                    <a:pt x="108" y="50"/>
                  </a:lnTo>
                  <a:lnTo>
                    <a:pt x="88" y="54"/>
                  </a:lnTo>
                  <a:lnTo>
                    <a:pt x="78" y="66"/>
                  </a:lnTo>
                  <a:lnTo>
                    <a:pt x="44" y="52"/>
                  </a:lnTo>
                  <a:lnTo>
                    <a:pt x="46" y="70"/>
                  </a:lnTo>
                  <a:lnTo>
                    <a:pt x="26" y="90"/>
                  </a:lnTo>
                  <a:lnTo>
                    <a:pt x="20" y="76"/>
                  </a:lnTo>
                  <a:lnTo>
                    <a:pt x="0" y="60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84" name="East Timor">
              <a:extLst>
                <a:ext uri="{FF2B5EF4-FFF2-40B4-BE49-F238E27FC236}">
                  <a16:creationId xmlns="" xmlns:a16="http://schemas.microsoft.com/office/drawing/2014/main" id="{BC83DE9D-C5BA-4B76-9F02-D14CC30176ED}"/>
                </a:ext>
              </a:extLst>
            </p:cNvPr>
            <p:cNvSpPr>
              <a:spLocks/>
            </p:cNvSpPr>
            <p:nvPr/>
          </p:nvSpPr>
          <p:spPr bwMode="gray">
            <a:xfrm>
              <a:off x="9654825" y="4810471"/>
              <a:ext cx="76141" cy="33432"/>
            </a:xfrm>
            <a:custGeom>
              <a:avLst/>
              <a:gdLst/>
              <a:ahLst/>
              <a:cxnLst>
                <a:cxn ang="0">
                  <a:pos x="10" y="44"/>
                </a:cxn>
                <a:cxn ang="0">
                  <a:pos x="12" y="28"/>
                </a:cxn>
                <a:cxn ang="0">
                  <a:pos x="0" y="22"/>
                </a:cxn>
                <a:cxn ang="0">
                  <a:pos x="12" y="8"/>
                </a:cxn>
                <a:cxn ang="0">
                  <a:pos x="58" y="0"/>
                </a:cxn>
                <a:cxn ang="0">
                  <a:pos x="94" y="0"/>
                </a:cxn>
                <a:cxn ang="0">
                  <a:pos x="64" y="24"/>
                </a:cxn>
                <a:cxn ang="0">
                  <a:pos x="42" y="26"/>
                </a:cxn>
                <a:cxn ang="0">
                  <a:pos x="10" y="44"/>
                </a:cxn>
              </a:cxnLst>
              <a:rect l="0" t="0" r="r" b="b"/>
              <a:pathLst>
                <a:path w="94" h="44">
                  <a:moveTo>
                    <a:pt x="10" y="44"/>
                  </a:moveTo>
                  <a:lnTo>
                    <a:pt x="12" y="28"/>
                  </a:lnTo>
                  <a:lnTo>
                    <a:pt x="0" y="22"/>
                  </a:lnTo>
                  <a:lnTo>
                    <a:pt x="12" y="8"/>
                  </a:lnTo>
                  <a:lnTo>
                    <a:pt x="58" y="0"/>
                  </a:lnTo>
                  <a:lnTo>
                    <a:pt x="94" y="0"/>
                  </a:lnTo>
                  <a:lnTo>
                    <a:pt x="64" y="24"/>
                  </a:lnTo>
                  <a:lnTo>
                    <a:pt x="42" y="26"/>
                  </a:lnTo>
                  <a:lnTo>
                    <a:pt x="10" y="44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85" name="Ecuador">
              <a:extLst>
                <a:ext uri="{FF2B5EF4-FFF2-40B4-BE49-F238E27FC236}">
                  <a16:creationId xmlns="" xmlns:a16="http://schemas.microsoft.com/office/drawing/2014/main" id="{0CF0EDC2-A408-4498-990D-AC681E4C1A1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866664" y="4582350"/>
              <a:ext cx="507600" cy="196656"/>
            </a:xfrm>
            <a:custGeom>
              <a:avLst/>
              <a:gdLst/>
              <a:ahLst/>
              <a:cxnLst>
                <a:cxn ang="0">
                  <a:pos x="611" y="98"/>
                </a:cxn>
                <a:cxn ang="0">
                  <a:pos x="582" y="128"/>
                </a:cxn>
                <a:cxn ang="0">
                  <a:pos x="550" y="148"/>
                </a:cxn>
                <a:cxn ang="0">
                  <a:pos x="524" y="158"/>
                </a:cxn>
                <a:cxn ang="0">
                  <a:pos x="516" y="166"/>
                </a:cxn>
                <a:cxn ang="0">
                  <a:pos x="520" y="182"/>
                </a:cxn>
                <a:cxn ang="0">
                  <a:pos x="520" y="198"/>
                </a:cxn>
                <a:cxn ang="0">
                  <a:pos x="514" y="210"/>
                </a:cxn>
                <a:cxn ang="0">
                  <a:pos x="496" y="222"/>
                </a:cxn>
                <a:cxn ang="0">
                  <a:pos x="484" y="226"/>
                </a:cxn>
                <a:cxn ang="0">
                  <a:pos x="474" y="240"/>
                </a:cxn>
                <a:cxn ang="0">
                  <a:pos x="454" y="220"/>
                </a:cxn>
                <a:cxn ang="0">
                  <a:pos x="438" y="222"/>
                </a:cxn>
                <a:cxn ang="0">
                  <a:pos x="432" y="214"/>
                </a:cxn>
                <a:cxn ang="0">
                  <a:pos x="440" y="200"/>
                </a:cxn>
                <a:cxn ang="0">
                  <a:pos x="436" y="186"/>
                </a:cxn>
                <a:cxn ang="0">
                  <a:pos x="456" y="176"/>
                </a:cxn>
                <a:cxn ang="0">
                  <a:pos x="468" y="158"/>
                </a:cxn>
                <a:cxn ang="0">
                  <a:pos x="468" y="144"/>
                </a:cxn>
                <a:cxn ang="0">
                  <a:pos x="464" y="138"/>
                </a:cxn>
                <a:cxn ang="0">
                  <a:pos x="446" y="152"/>
                </a:cxn>
                <a:cxn ang="0">
                  <a:pos x="420" y="138"/>
                </a:cxn>
                <a:cxn ang="0">
                  <a:pos x="418" y="130"/>
                </a:cxn>
                <a:cxn ang="0">
                  <a:pos x="426" y="120"/>
                </a:cxn>
                <a:cxn ang="0">
                  <a:pos x="420" y="102"/>
                </a:cxn>
                <a:cxn ang="0">
                  <a:pos x="426" y="96"/>
                </a:cxn>
                <a:cxn ang="0">
                  <a:pos x="420" y="82"/>
                </a:cxn>
                <a:cxn ang="0">
                  <a:pos x="434" y="76"/>
                </a:cxn>
                <a:cxn ang="0">
                  <a:pos x="436" y="54"/>
                </a:cxn>
                <a:cxn ang="0">
                  <a:pos x="444" y="42"/>
                </a:cxn>
                <a:cxn ang="0">
                  <a:pos x="444" y="20"/>
                </a:cxn>
                <a:cxn ang="0">
                  <a:pos x="464" y="16"/>
                </a:cxn>
                <a:cxn ang="0">
                  <a:pos x="494" y="0"/>
                </a:cxn>
                <a:cxn ang="0">
                  <a:pos x="520" y="16"/>
                </a:cxn>
                <a:cxn ang="0">
                  <a:pos x="627" y="50"/>
                </a:cxn>
                <a:cxn ang="0">
                  <a:pos x="625" y="76"/>
                </a:cxn>
                <a:cxn ang="0">
                  <a:pos x="611" y="98"/>
                </a:cxn>
                <a:cxn ang="0">
                  <a:pos x="10" y="56"/>
                </a:cxn>
                <a:cxn ang="0">
                  <a:pos x="22" y="86"/>
                </a:cxn>
                <a:cxn ang="0">
                  <a:pos x="8" y="100"/>
                </a:cxn>
                <a:cxn ang="0">
                  <a:pos x="24" y="102"/>
                </a:cxn>
                <a:cxn ang="0">
                  <a:pos x="36" y="94"/>
                </a:cxn>
                <a:cxn ang="0">
                  <a:pos x="36" y="82"/>
                </a:cxn>
                <a:cxn ang="0">
                  <a:pos x="28" y="82"/>
                </a:cxn>
                <a:cxn ang="0">
                  <a:pos x="30" y="72"/>
                </a:cxn>
                <a:cxn ang="0">
                  <a:pos x="16" y="44"/>
                </a:cxn>
                <a:cxn ang="0">
                  <a:pos x="0" y="48"/>
                </a:cxn>
                <a:cxn ang="0">
                  <a:pos x="10" y="56"/>
                </a:cxn>
              </a:cxnLst>
              <a:rect l="0" t="0" r="r" b="b"/>
              <a:pathLst>
                <a:path w="627" h="240">
                  <a:moveTo>
                    <a:pt x="611" y="98"/>
                  </a:moveTo>
                  <a:lnTo>
                    <a:pt x="582" y="128"/>
                  </a:lnTo>
                  <a:lnTo>
                    <a:pt x="550" y="148"/>
                  </a:lnTo>
                  <a:lnTo>
                    <a:pt x="524" y="158"/>
                  </a:lnTo>
                  <a:lnTo>
                    <a:pt x="516" y="166"/>
                  </a:lnTo>
                  <a:lnTo>
                    <a:pt x="520" y="182"/>
                  </a:lnTo>
                  <a:lnTo>
                    <a:pt x="520" y="198"/>
                  </a:lnTo>
                  <a:lnTo>
                    <a:pt x="514" y="210"/>
                  </a:lnTo>
                  <a:lnTo>
                    <a:pt x="496" y="222"/>
                  </a:lnTo>
                  <a:lnTo>
                    <a:pt x="484" y="226"/>
                  </a:lnTo>
                  <a:lnTo>
                    <a:pt x="474" y="240"/>
                  </a:lnTo>
                  <a:lnTo>
                    <a:pt x="454" y="220"/>
                  </a:lnTo>
                  <a:lnTo>
                    <a:pt x="438" y="222"/>
                  </a:lnTo>
                  <a:lnTo>
                    <a:pt x="432" y="214"/>
                  </a:lnTo>
                  <a:lnTo>
                    <a:pt x="440" y="200"/>
                  </a:lnTo>
                  <a:lnTo>
                    <a:pt x="436" y="186"/>
                  </a:lnTo>
                  <a:lnTo>
                    <a:pt x="456" y="176"/>
                  </a:lnTo>
                  <a:lnTo>
                    <a:pt x="468" y="158"/>
                  </a:lnTo>
                  <a:lnTo>
                    <a:pt x="468" y="144"/>
                  </a:lnTo>
                  <a:lnTo>
                    <a:pt x="464" y="138"/>
                  </a:lnTo>
                  <a:lnTo>
                    <a:pt x="446" y="152"/>
                  </a:lnTo>
                  <a:lnTo>
                    <a:pt x="420" y="138"/>
                  </a:lnTo>
                  <a:lnTo>
                    <a:pt x="418" y="130"/>
                  </a:lnTo>
                  <a:lnTo>
                    <a:pt x="426" y="120"/>
                  </a:lnTo>
                  <a:lnTo>
                    <a:pt x="420" y="102"/>
                  </a:lnTo>
                  <a:lnTo>
                    <a:pt x="426" y="96"/>
                  </a:lnTo>
                  <a:lnTo>
                    <a:pt x="420" y="82"/>
                  </a:lnTo>
                  <a:lnTo>
                    <a:pt x="434" y="76"/>
                  </a:lnTo>
                  <a:lnTo>
                    <a:pt x="436" y="54"/>
                  </a:lnTo>
                  <a:lnTo>
                    <a:pt x="444" y="42"/>
                  </a:lnTo>
                  <a:lnTo>
                    <a:pt x="444" y="20"/>
                  </a:lnTo>
                  <a:lnTo>
                    <a:pt x="464" y="16"/>
                  </a:lnTo>
                  <a:lnTo>
                    <a:pt x="494" y="0"/>
                  </a:lnTo>
                  <a:lnTo>
                    <a:pt x="520" y="16"/>
                  </a:lnTo>
                  <a:lnTo>
                    <a:pt x="627" y="50"/>
                  </a:lnTo>
                  <a:lnTo>
                    <a:pt x="625" y="76"/>
                  </a:lnTo>
                  <a:lnTo>
                    <a:pt x="611" y="98"/>
                  </a:lnTo>
                  <a:close/>
                  <a:moveTo>
                    <a:pt x="10" y="56"/>
                  </a:moveTo>
                  <a:lnTo>
                    <a:pt x="22" y="86"/>
                  </a:lnTo>
                  <a:lnTo>
                    <a:pt x="8" y="100"/>
                  </a:lnTo>
                  <a:lnTo>
                    <a:pt x="24" y="102"/>
                  </a:lnTo>
                  <a:lnTo>
                    <a:pt x="36" y="94"/>
                  </a:lnTo>
                  <a:lnTo>
                    <a:pt x="36" y="82"/>
                  </a:lnTo>
                  <a:lnTo>
                    <a:pt x="28" y="82"/>
                  </a:lnTo>
                  <a:lnTo>
                    <a:pt x="30" y="72"/>
                  </a:lnTo>
                  <a:lnTo>
                    <a:pt x="16" y="44"/>
                  </a:lnTo>
                  <a:lnTo>
                    <a:pt x="0" y="48"/>
                  </a:lnTo>
                  <a:lnTo>
                    <a:pt x="10" y="56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86" name="Egypt">
              <a:extLst>
                <a:ext uri="{FF2B5EF4-FFF2-40B4-BE49-F238E27FC236}">
                  <a16:creationId xmlns="" xmlns:a16="http://schemas.microsoft.com/office/drawing/2014/main" id="{FD2C5FE2-7A2E-43C1-A878-235410BD389A}"/>
                </a:ext>
              </a:extLst>
            </p:cNvPr>
            <p:cNvSpPr>
              <a:spLocks/>
            </p:cNvSpPr>
            <p:nvPr/>
          </p:nvSpPr>
          <p:spPr bwMode="gray">
            <a:xfrm>
              <a:off x="6570186" y="3496810"/>
              <a:ext cx="374842" cy="353980"/>
            </a:xfrm>
            <a:custGeom>
              <a:avLst/>
              <a:gdLst/>
              <a:ahLst/>
              <a:cxnLst>
                <a:cxn ang="0">
                  <a:pos x="288" y="88"/>
                </a:cxn>
                <a:cxn ang="0">
                  <a:pos x="288" y="109"/>
                </a:cxn>
                <a:cxn ang="0">
                  <a:pos x="292" y="123"/>
                </a:cxn>
                <a:cxn ang="0">
                  <a:pos x="334" y="175"/>
                </a:cxn>
                <a:cxn ang="0">
                  <a:pos x="340" y="221"/>
                </a:cxn>
                <a:cxn ang="0">
                  <a:pos x="374" y="285"/>
                </a:cxn>
                <a:cxn ang="0">
                  <a:pos x="394" y="329"/>
                </a:cxn>
                <a:cxn ang="0">
                  <a:pos x="412" y="337"/>
                </a:cxn>
                <a:cxn ang="0">
                  <a:pos x="418" y="343"/>
                </a:cxn>
                <a:cxn ang="0">
                  <a:pos x="402" y="343"/>
                </a:cxn>
                <a:cxn ang="0">
                  <a:pos x="406" y="379"/>
                </a:cxn>
                <a:cxn ang="0">
                  <a:pos x="448" y="419"/>
                </a:cxn>
                <a:cxn ang="0">
                  <a:pos x="462" y="423"/>
                </a:cxn>
                <a:cxn ang="0">
                  <a:pos x="462" y="435"/>
                </a:cxn>
                <a:cxn ang="0">
                  <a:pos x="14" y="433"/>
                </a:cxn>
                <a:cxn ang="0">
                  <a:pos x="10" y="102"/>
                </a:cxn>
                <a:cxn ang="0">
                  <a:pos x="0" y="86"/>
                </a:cxn>
                <a:cxn ang="0">
                  <a:pos x="10" y="58"/>
                </a:cxn>
                <a:cxn ang="0">
                  <a:pos x="0" y="34"/>
                </a:cxn>
                <a:cxn ang="0">
                  <a:pos x="4" y="24"/>
                </a:cxn>
                <a:cxn ang="0">
                  <a:pos x="18" y="4"/>
                </a:cxn>
                <a:cxn ang="0">
                  <a:pos x="40" y="0"/>
                </a:cxn>
                <a:cxn ang="0">
                  <a:pos x="100" y="16"/>
                </a:cxn>
                <a:cxn ang="0">
                  <a:pos x="108" y="12"/>
                </a:cxn>
                <a:cxn ang="0">
                  <a:pos x="158" y="34"/>
                </a:cxn>
                <a:cxn ang="0">
                  <a:pos x="178" y="34"/>
                </a:cxn>
                <a:cxn ang="0">
                  <a:pos x="208" y="16"/>
                </a:cxn>
                <a:cxn ang="0">
                  <a:pos x="220" y="16"/>
                </a:cxn>
                <a:cxn ang="0">
                  <a:pos x="252" y="4"/>
                </a:cxn>
                <a:cxn ang="0">
                  <a:pos x="276" y="12"/>
                </a:cxn>
                <a:cxn ang="0">
                  <a:pos x="276" y="18"/>
                </a:cxn>
                <a:cxn ang="0">
                  <a:pos x="290" y="24"/>
                </a:cxn>
                <a:cxn ang="0">
                  <a:pos x="294" y="14"/>
                </a:cxn>
                <a:cxn ang="0">
                  <a:pos x="304" y="28"/>
                </a:cxn>
                <a:cxn ang="0">
                  <a:pos x="320" y="30"/>
                </a:cxn>
                <a:cxn ang="0">
                  <a:pos x="340" y="28"/>
                </a:cxn>
                <a:cxn ang="0">
                  <a:pos x="360" y="10"/>
                </a:cxn>
                <a:cxn ang="0">
                  <a:pos x="360" y="24"/>
                </a:cxn>
                <a:cxn ang="0">
                  <a:pos x="366" y="34"/>
                </a:cxn>
                <a:cxn ang="0">
                  <a:pos x="370" y="58"/>
                </a:cxn>
                <a:cxn ang="0">
                  <a:pos x="378" y="84"/>
                </a:cxn>
                <a:cxn ang="0">
                  <a:pos x="382" y="102"/>
                </a:cxn>
                <a:cxn ang="0">
                  <a:pos x="364" y="141"/>
                </a:cxn>
                <a:cxn ang="0">
                  <a:pos x="360" y="157"/>
                </a:cxn>
                <a:cxn ang="0">
                  <a:pos x="350" y="171"/>
                </a:cxn>
                <a:cxn ang="0">
                  <a:pos x="318" y="141"/>
                </a:cxn>
                <a:cxn ang="0">
                  <a:pos x="318" y="129"/>
                </a:cxn>
                <a:cxn ang="0">
                  <a:pos x="300" y="109"/>
                </a:cxn>
                <a:cxn ang="0">
                  <a:pos x="294" y="90"/>
                </a:cxn>
                <a:cxn ang="0">
                  <a:pos x="288" y="70"/>
                </a:cxn>
                <a:cxn ang="0">
                  <a:pos x="286" y="72"/>
                </a:cxn>
                <a:cxn ang="0">
                  <a:pos x="288" y="88"/>
                </a:cxn>
              </a:cxnLst>
              <a:rect l="0" t="0" r="r" b="b"/>
              <a:pathLst>
                <a:path w="462" h="435">
                  <a:moveTo>
                    <a:pt x="288" y="88"/>
                  </a:moveTo>
                  <a:lnTo>
                    <a:pt x="288" y="109"/>
                  </a:lnTo>
                  <a:lnTo>
                    <a:pt x="292" y="123"/>
                  </a:lnTo>
                  <a:lnTo>
                    <a:pt x="334" y="175"/>
                  </a:lnTo>
                  <a:lnTo>
                    <a:pt x="340" y="221"/>
                  </a:lnTo>
                  <a:lnTo>
                    <a:pt x="374" y="285"/>
                  </a:lnTo>
                  <a:lnTo>
                    <a:pt x="394" y="329"/>
                  </a:lnTo>
                  <a:lnTo>
                    <a:pt x="412" y="337"/>
                  </a:lnTo>
                  <a:lnTo>
                    <a:pt x="418" y="343"/>
                  </a:lnTo>
                  <a:lnTo>
                    <a:pt x="402" y="343"/>
                  </a:lnTo>
                  <a:lnTo>
                    <a:pt x="406" y="379"/>
                  </a:lnTo>
                  <a:lnTo>
                    <a:pt x="448" y="419"/>
                  </a:lnTo>
                  <a:lnTo>
                    <a:pt x="462" y="423"/>
                  </a:lnTo>
                  <a:lnTo>
                    <a:pt x="462" y="435"/>
                  </a:lnTo>
                  <a:lnTo>
                    <a:pt x="14" y="433"/>
                  </a:lnTo>
                  <a:lnTo>
                    <a:pt x="10" y="102"/>
                  </a:lnTo>
                  <a:lnTo>
                    <a:pt x="0" y="86"/>
                  </a:lnTo>
                  <a:lnTo>
                    <a:pt x="10" y="58"/>
                  </a:lnTo>
                  <a:lnTo>
                    <a:pt x="0" y="34"/>
                  </a:lnTo>
                  <a:lnTo>
                    <a:pt x="4" y="24"/>
                  </a:lnTo>
                  <a:lnTo>
                    <a:pt x="18" y="4"/>
                  </a:lnTo>
                  <a:lnTo>
                    <a:pt x="40" y="0"/>
                  </a:lnTo>
                  <a:lnTo>
                    <a:pt x="100" y="16"/>
                  </a:lnTo>
                  <a:lnTo>
                    <a:pt x="108" y="12"/>
                  </a:lnTo>
                  <a:lnTo>
                    <a:pt x="158" y="34"/>
                  </a:lnTo>
                  <a:lnTo>
                    <a:pt x="178" y="34"/>
                  </a:lnTo>
                  <a:lnTo>
                    <a:pt x="208" y="16"/>
                  </a:lnTo>
                  <a:lnTo>
                    <a:pt x="220" y="16"/>
                  </a:lnTo>
                  <a:lnTo>
                    <a:pt x="252" y="4"/>
                  </a:lnTo>
                  <a:lnTo>
                    <a:pt x="276" y="12"/>
                  </a:lnTo>
                  <a:lnTo>
                    <a:pt x="276" y="18"/>
                  </a:lnTo>
                  <a:lnTo>
                    <a:pt x="290" y="24"/>
                  </a:lnTo>
                  <a:lnTo>
                    <a:pt x="294" y="14"/>
                  </a:lnTo>
                  <a:lnTo>
                    <a:pt x="304" y="28"/>
                  </a:lnTo>
                  <a:lnTo>
                    <a:pt x="320" y="30"/>
                  </a:lnTo>
                  <a:lnTo>
                    <a:pt x="340" y="28"/>
                  </a:lnTo>
                  <a:lnTo>
                    <a:pt x="360" y="10"/>
                  </a:lnTo>
                  <a:lnTo>
                    <a:pt x="360" y="24"/>
                  </a:lnTo>
                  <a:lnTo>
                    <a:pt x="366" y="34"/>
                  </a:lnTo>
                  <a:lnTo>
                    <a:pt x="370" y="58"/>
                  </a:lnTo>
                  <a:lnTo>
                    <a:pt x="378" y="84"/>
                  </a:lnTo>
                  <a:lnTo>
                    <a:pt x="382" y="102"/>
                  </a:lnTo>
                  <a:lnTo>
                    <a:pt x="364" y="141"/>
                  </a:lnTo>
                  <a:lnTo>
                    <a:pt x="360" y="157"/>
                  </a:lnTo>
                  <a:lnTo>
                    <a:pt x="350" y="171"/>
                  </a:lnTo>
                  <a:lnTo>
                    <a:pt x="318" y="141"/>
                  </a:lnTo>
                  <a:lnTo>
                    <a:pt x="318" y="129"/>
                  </a:lnTo>
                  <a:lnTo>
                    <a:pt x="300" y="109"/>
                  </a:lnTo>
                  <a:lnTo>
                    <a:pt x="294" y="90"/>
                  </a:lnTo>
                  <a:lnTo>
                    <a:pt x="288" y="70"/>
                  </a:lnTo>
                  <a:lnTo>
                    <a:pt x="286" y="72"/>
                  </a:lnTo>
                  <a:lnTo>
                    <a:pt x="288" y="88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87" name="Equatorial Guinea">
              <a:extLst>
                <a:ext uri="{FF2B5EF4-FFF2-40B4-BE49-F238E27FC236}">
                  <a16:creationId xmlns="" xmlns:a16="http://schemas.microsoft.com/office/drawing/2014/main" id="{7EA8BD27-BDA3-4E7E-85CD-A58042EEA21D}"/>
                </a:ext>
              </a:extLst>
            </p:cNvPr>
            <p:cNvSpPr>
              <a:spLocks/>
            </p:cNvSpPr>
            <p:nvPr/>
          </p:nvSpPr>
          <p:spPr bwMode="gray">
            <a:xfrm>
              <a:off x="6097728" y="4499755"/>
              <a:ext cx="62474" cy="33432"/>
            </a:xfrm>
            <a:custGeom>
              <a:avLst/>
              <a:gdLst/>
              <a:ahLst/>
              <a:cxnLst>
                <a:cxn ang="0">
                  <a:pos x="0" y="40"/>
                </a:cxn>
                <a:cxn ang="0">
                  <a:pos x="30" y="38"/>
                </a:cxn>
                <a:cxn ang="0">
                  <a:pos x="74" y="38"/>
                </a:cxn>
                <a:cxn ang="0">
                  <a:pos x="78" y="0"/>
                </a:cxn>
                <a:cxn ang="0">
                  <a:pos x="6" y="0"/>
                </a:cxn>
                <a:cxn ang="0">
                  <a:pos x="0" y="28"/>
                </a:cxn>
                <a:cxn ang="0">
                  <a:pos x="0" y="40"/>
                </a:cxn>
              </a:cxnLst>
              <a:rect l="0" t="0" r="r" b="b"/>
              <a:pathLst>
                <a:path w="78" h="40">
                  <a:moveTo>
                    <a:pt x="0" y="40"/>
                  </a:moveTo>
                  <a:lnTo>
                    <a:pt x="30" y="38"/>
                  </a:lnTo>
                  <a:lnTo>
                    <a:pt x="74" y="38"/>
                  </a:lnTo>
                  <a:lnTo>
                    <a:pt x="78" y="0"/>
                  </a:lnTo>
                  <a:lnTo>
                    <a:pt x="6" y="0"/>
                  </a:lnTo>
                  <a:lnTo>
                    <a:pt x="0" y="28"/>
                  </a:lnTo>
                  <a:lnTo>
                    <a:pt x="0" y="40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88" name="Eritrea">
              <a:extLst>
                <a:ext uri="{FF2B5EF4-FFF2-40B4-BE49-F238E27FC236}">
                  <a16:creationId xmlns="" xmlns:a16="http://schemas.microsoft.com/office/drawing/2014/main" id="{231DA74A-DEDA-4E94-ACED-58423C5A4A2C}"/>
                </a:ext>
              </a:extLst>
            </p:cNvPr>
            <p:cNvSpPr>
              <a:spLocks/>
            </p:cNvSpPr>
            <p:nvPr/>
          </p:nvSpPr>
          <p:spPr bwMode="gray">
            <a:xfrm>
              <a:off x="6933315" y="3980583"/>
              <a:ext cx="210849" cy="190756"/>
            </a:xfrm>
            <a:custGeom>
              <a:avLst/>
              <a:gdLst/>
              <a:ahLst/>
              <a:cxnLst>
                <a:cxn ang="0">
                  <a:pos x="30" y="152"/>
                </a:cxn>
                <a:cxn ang="0">
                  <a:pos x="2" y="154"/>
                </a:cxn>
                <a:cxn ang="0">
                  <a:pos x="0" y="120"/>
                </a:cxn>
                <a:cxn ang="0">
                  <a:pos x="16" y="112"/>
                </a:cxn>
                <a:cxn ang="0">
                  <a:pos x="26" y="88"/>
                </a:cxn>
                <a:cxn ang="0">
                  <a:pos x="24" y="40"/>
                </a:cxn>
                <a:cxn ang="0">
                  <a:pos x="38" y="38"/>
                </a:cxn>
                <a:cxn ang="0">
                  <a:pos x="48" y="20"/>
                </a:cxn>
                <a:cxn ang="0">
                  <a:pos x="68" y="14"/>
                </a:cxn>
                <a:cxn ang="0">
                  <a:pos x="86" y="0"/>
                </a:cxn>
                <a:cxn ang="0">
                  <a:pos x="96" y="20"/>
                </a:cxn>
                <a:cxn ang="0">
                  <a:pos x="96" y="32"/>
                </a:cxn>
                <a:cxn ang="0">
                  <a:pos x="114" y="74"/>
                </a:cxn>
                <a:cxn ang="0">
                  <a:pos x="120" y="104"/>
                </a:cxn>
                <a:cxn ang="0">
                  <a:pos x="146" y="122"/>
                </a:cxn>
                <a:cxn ang="0">
                  <a:pos x="158" y="122"/>
                </a:cxn>
                <a:cxn ang="0">
                  <a:pos x="178" y="132"/>
                </a:cxn>
                <a:cxn ang="0">
                  <a:pos x="182" y="142"/>
                </a:cxn>
                <a:cxn ang="0">
                  <a:pos x="204" y="154"/>
                </a:cxn>
                <a:cxn ang="0">
                  <a:pos x="210" y="162"/>
                </a:cxn>
                <a:cxn ang="0">
                  <a:pos x="230" y="188"/>
                </a:cxn>
                <a:cxn ang="0">
                  <a:pos x="244" y="196"/>
                </a:cxn>
                <a:cxn ang="0">
                  <a:pos x="260" y="220"/>
                </a:cxn>
                <a:cxn ang="0">
                  <a:pos x="226" y="232"/>
                </a:cxn>
                <a:cxn ang="0">
                  <a:pos x="214" y="200"/>
                </a:cxn>
                <a:cxn ang="0">
                  <a:pos x="188" y="174"/>
                </a:cxn>
                <a:cxn ang="0">
                  <a:pos x="156" y="146"/>
                </a:cxn>
                <a:cxn ang="0">
                  <a:pos x="122" y="142"/>
                </a:cxn>
                <a:cxn ang="0">
                  <a:pos x="106" y="134"/>
                </a:cxn>
                <a:cxn ang="0">
                  <a:pos x="90" y="136"/>
                </a:cxn>
                <a:cxn ang="0">
                  <a:pos x="68" y="126"/>
                </a:cxn>
                <a:cxn ang="0">
                  <a:pos x="46" y="130"/>
                </a:cxn>
                <a:cxn ang="0">
                  <a:pos x="30" y="152"/>
                </a:cxn>
              </a:cxnLst>
              <a:rect l="0" t="0" r="r" b="b"/>
              <a:pathLst>
                <a:path w="260" h="232">
                  <a:moveTo>
                    <a:pt x="30" y="152"/>
                  </a:moveTo>
                  <a:lnTo>
                    <a:pt x="2" y="154"/>
                  </a:lnTo>
                  <a:lnTo>
                    <a:pt x="0" y="120"/>
                  </a:lnTo>
                  <a:lnTo>
                    <a:pt x="16" y="112"/>
                  </a:lnTo>
                  <a:lnTo>
                    <a:pt x="26" y="88"/>
                  </a:lnTo>
                  <a:lnTo>
                    <a:pt x="24" y="40"/>
                  </a:lnTo>
                  <a:lnTo>
                    <a:pt x="38" y="38"/>
                  </a:lnTo>
                  <a:lnTo>
                    <a:pt x="48" y="20"/>
                  </a:lnTo>
                  <a:lnTo>
                    <a:pt x="68" y="14"/>
                  </a:lnTo>
                  <a:lnTo>
                    <a:pt x="86" y="0"/>
                  </a:lnTo>
                  <a:lnTo>
                    <a:pt x="96" y="20"/>
                  </a:lnTo>
                  <a:lnTo>
                    <a:pt x="96" y="32"/>
                  </a:lnTo>
                  <a:lnTo>
                    <a:pt x="114" y="74"/>
                  </a:lnTo>
                  <a:lnTo>
                    <a:pt x="120" y="104"/>
                  </a:lnTo>
                  <a:lnTo>
                    <a:pt x="146" y="122"/>
                  </a:lnTo>
                  <a:lnTo>
                    <a:pt x="158" y="122"/>
                  </a:lnTo>
                  <a:lnTo>
                    <a:pt x="178" y="132"/>
                  </a:lnTo>
                  <a:lnTo>
                    <a:pt x="182" y="142"/>
                  </a:lnTo>
                  <a:lnTo>
                    <a:pt x="204" y="154"/>
                  </a:lnTo>
                  <a:lnTo>
                    <a:pt x="210" y="162"/>
                  </a:lnTo>
                  <a:lnTo>
                    <a:pt x="230" y="188"/>
                  </a:lnTo>
                  <a:lnTo>
                    <a:pt x="244" y="196"/>
                  </a:lnTo>
                  <a:lnTo>
                    <a:pt x="260" y="220"/>
                  </a:lnTo>
                  <a:lnTo>
                    <a:pt x="226" y="232"/>
                  </a:lnTo>
                  <a:lnTo>
                    <a:pt x="214" y="200"/>
                  </a:lnTo>
                  <a:lnTo>
                    <a:pt x="188" y="174"/>
                  </a:lnTo>
                  <a:lnTo>
                    <a:pt x="156" y="146"/>
                  </a:lnTo>
                  <a:lnTo>
                    <a:pt x="122" y="142"/>
                  </a:lnTo>
                  <a:lnTo>
                    <a:pt x="106" y="134"/>
                  </a:lnTo>
                  <a:lnTo>
                    <a:pt x="90" y="136"/>
                  </a:lnTo>
                  <a:lnTo>
                    <a:pt x="68" y="126"/>
                  </a:lnTo>
                  <a:lnTo>
                    <a:pt x="46" y="130"/>
                  </a:lnTo>
                  <a:lnTo>
                    <a:pt x="30" y="152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89" name="Estonia">
              <a:extLst>
                <a:ext uri="{FF2B5EF4-FFF2-40B4-BE49-F238E27FC236}">
                  <a16:creationId xmlns="" xmlns:a16="http://schemas.microsoft.com/office/drawing/2014/main" id="{6C714BB7-B39A-4E05-B2C5-990228E47FF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470620" y="2189047"/>
              <a:ext cx="201087" cy="141592"/>
            </a:xfrm>
            <a:custGeom>
              <a:avLst/>
              <a:gdLst/>
              <a:ahLst/>
              <a:cxnLst>
                <a:cxn ang="0">
                  <a:pos x="202" y="166"/>
                </a:cxn>
                <a:cxn ang="0">
                  <a:pos x="182" y="164"/>
                </a:cxn>
                <a:cxn ang="0">
                  <a:pos x="178" y="154"/>
                </a:cxn>
                <a:cxn ang="0">
                  <a:pos x="152" y="132"/>
                </a:cxn>
                <a:cxn ang="0">
                  <a:pos x="146" y="122"/>
                </a:cxn>
                <a:cxn ang="0">
                  <a:pos x="134" y="120"/>
                </a:cxn>
                <a:cxn ang="0">
                  <a:pos x="120" y="128"/>
                </a:cxn>
                <a:cxn ang="0">
                  <a:pos x="98" y="126"/>
                </a:cxn>
                <a:cxn ang="0">
                  <a:pos x="102" y="88"/>
                </a:cxn>
                <a:cxn ang="0">
                  <a:pos x="84" y="94"/>
                </a:cxn>
                <a:cxn ang="0">
                  <a:pos x="70" y="80"/>
                </a:cxn>
                <a:cxn ang="0">
                  <a:pos x="70" y="64"/>
                </a:cxn>
                <a:cxn ang="0">
                  <a:pos x="66" y="48"/>
                </a:cxn>
                <a:cxn ang="0">
                  <a:pos x="68" y="36"/>
                </a:cxn>
                <a:cxn ang="0">
                  <a:pos x="88" y="32"/>
                </a:cxn>
                <a:cxn ang="0">
                  <a:pos x="102" y="18"/>
                </a:cxn>
                <a:cxn ang="0">
                  <a:pos x="140" y="14"/>
                </a:cxn>
                <a:cxn ang="0">
                  <a:pos x="174" y="6"/>
                </a:cxn>
                <a:cxn ang="0">
                  <a:pos x="188" y="0"/>
                </a:cxn>
                <a:cxn ang="0">
                  <a:pos x="198" y="8"/>
                </a:cxn>
                <a:cxn ang="0">
                  <a:pos x="246" y="8"/>
                </a:cxn>
                <a:cxn ang="0">
                  <a:pos x="220" y="58"/>
                </a:cxn>
                <a:cxn ang="0">
                  <a:pos x="234" y="158"/>
                </a:cxn>
                <a:cxn ang="0">
                  <a:pos x="218" y="174"/>
                </a:cxn>
                <a:cxn ang="0">
                  <a:pos x="202" y="166"/>
                </a:cxn>
                <a:cxn ang="0">
                  <a:pos x="0" y="96"/>
                </a:cxn>
                <a:cxn ang="0">
                  <a:pos x="10" y="102"/>
                </a:cxn>
                <a:cxn ang="0">
                  <a:pos x="48" y="90"/>
                </a:cxn>
                <a:cxn ang="0">
                  <a:pos x="58" y="76"/>
                </a:cxn>
                <a:cxn ang="0">
                  <a:pos x="56" y="66"/>
                </a:cxn>
                <a:cxn ang="0">
                  <a:pos x="30" y="70"/>
                </a:cxn>
                <a:cxn ang="0">
                  <a:pos x="4" y="78"/>
                </a:cxn>
                <a:cxn ang="0">
                  <a:pos x="0" y="96"/>
                </a:cxn>
              </a:cxnLst>
              <a:rect l="0" t="0" r="r" b="b"/>
              <a:pathLst>
                <a:path w="246" h="174">
                  <a:moveTo>
                    <a:pt x="202" y="166"/>
                  </a:moveTo>
                  <a:lnTo>
                    <a:pt x="182" y="164"/>
                  </a:lnTo>
                  <a:lnTo>
                    <a:pt x="178" y="154"/>
                  </a:lnTo>
                  <a:lnTo>
                    <a:pt x="152" y="132"/>
                  </a:lnTo>
                  <a:lnTo>
                    <a:pt x="146" y="122"/>
                  </a:lnTo>
                  <a:lnTo>
                    <a:pt x="134" y="120"/>
                  </a:lnTo>
                  <a:lnTo>
                    <a:pt x="120" y="128"/>
                  </a:lnTo>
                  <a:lnTo>
                    <a:pt x="98" y="126"/>
                  </a:lnTo>
                  <a:lnTo>
                    <a:pt x="102" y="88"/>
                  </a:lnTo>
                  <a:lnTo>
                    <a:pt x="84" y="94"/>
                  </a:lnTo>
                  <a:lnTo>
                    <a:pt x="70" y="80"/>
                  </a:lnTo>
                  <a:lnTo>
                    <a:pt x="70" y="64"/>
                  </a:lnTo>
                  <a:lnTo>
                    <a:pt x="66" y="48"/>
                  </a:lnTo>
                  <a:lnTo>
                    <a:pt x="68" y="36"/>
                  </a:lnTo>
                  <a:lnTo>
                    <a:pt x="88" y="32"/>
                  </a:lnTo>
                  <a:lnTo>
                    <a:pt x="102" y="18"/>
                  </a:lnTo>
                  <a:lnTo>
                    <a:pt x="140" y="14"/>
                  </a:lnTo>
                  <a:lnTo>
                    <a:pt x="174" y="6"/>
                  </a:lnTo>
                  <a:lnTo>
                    <a:pt x="188" y="0"/>
                  </a:lnTo>
                  <a:lnTo>
                    <a:pt x="198" y="8"/>
                  </a:lnTo>
                  <a:lnTo>
                    <a:pt x="246" y="8"/>
                  </a:lnTo>
                  <a:lnTo>
                    <a:pt x="220" y="58"/>
                  </a:lnTo>
                  <a:lnTo>
                    <a:pt x="234" y="158"/>
                  </a:lnTo>
                  <a:lnTo>
                    <a:pt x="218" y="174"/>
                  </a:lnTo>
                  <a:lnTo>
                    <a:pt x="202" y="166"/>
                  </a:lnTo>
                  <a:close/>
                  <a:moveTo>
                    <a:pt x="0" y="96"/>
                  </a:moveTo>
                  <a:lnTo>
                    <a:pt x="10" y="102"/>
                  </a:lnTo>
                  <a:lnTo>
                    <a:pt x="48" y="90"/>
                  </a:lnTo>
                  <a:lnTo>
                    <a:pt x="58" y="76"/>
                  </a:lnTo>
                  <a:lnTo>
                    <a:pt x="56" y="66"/>
                  </a:lnTo>
                  <a:lnTo>
                    <a:pt x="30" y="70"/>
                  </a:lnTo>
                  <a:lnTo>
                    <a:pt x="4" y="78"/>
                  </a:lnTo>
                  <a:lnTo>
                    <a:pt x="0" y="96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90" name="Ethiopia">
              <a:extLst>
                <a:ext uri="{FF2B5EF4-FFF2-40B4-BE49-F238E27FC236}">
                  <a16:creationId xmlns="" xmlns:a16="http://schemas.microsoft.com/office/drawing/2014/main" id="{F4093ADC-50A9-4989-8AE2-6A33CCD2FF9D}"/>
                </a:ext>
              </a:extLst>
            </p:cNvPr>
            <p:cNvSpPr>
              <a:spLocks/>
            </p:cNvSpPr>
            <p:nvPr/>
          </p:nvSpPr>
          <p:spPr bwMode="gray">
            <a:xfrm>
              <a:off x="6831794" y="4084810"/>
              <a:ext cx="456838" cy="363814"/>
            </a:xfrm>
            <a:custGeom>
              <a:avLst/>
              <a:gdLst/>
              <a:ahLst/>
              <a:cxnLst>
                <a:cxn ang="0">
                  <a:pos x="106" y="407"/>
                </a:cxn>
                <a:cxn ang="0">
                  <a:pos x="104" y="379"/>
                </a:cxn>
                <a:cxn ang="0">
                  <a:pos x="72" y="369"/>
                </a:cxn>
                <a:cxn ang="0">
                  <a:pos x="70" y="335"/>
                </a:cxn>
                <a:cxn ang="0">
                  <a:pos x="52" y="325"/>
                </a:cxn>
                <a:cxn ang="0">
                  <a:pos x="42" y="307"/>
                </a:cxn>
                <a:cxn ang="0">
                  <a:pos x="0" y="289"/>
                </a:cxn>
                <a:cxn ang="0">
                  <a:pos x="10" y="259"/>
                </a:cxn>
                <a:cxn ang="0">
                  <a:pos x="42" y="261"/>
                </a:cxn>
                <a:cxn ang="0">
                  <a:pos x="38" y="202"/>
                </a:cxn>
                <a:cxn ang="0">
                  <a:pos x="46" y="164"/>
                </a:cxn>
                <a:cxn ang="0">
                  <a:pos x="68" y="158"/>
                </a:cxn>
                <a:cxn ang="0">
                  <a:pos x="64" y="136"/>
                </a:cxn>
                <a:cxn ang="0">
                  <a:pos x="76" y="118"/>
                </a:cxn>
                <a:cxn ang="0">
                  <a:pos x="98" y="90"/>
                </a:cxn>
                <a:cxn ang="0">
                  <a:pos x="116" y="90"/>
                </a:cxn>
                <a:cxn ang="0">
                  <a:pos x="128" y="56"/>
                </a:cxn>
                <a:cxn ang="0">
                  <a:pos x="126" y="28"/>
                </a:cxn>
                <a:cxn ang="0">
                  <a:pos x="154" y="26"/>
                </a:cxn>
                <a:cxn ang="0">
                  <a:pos x="170" y="4"/>
                </a:cxn>
                <a:cxn ang="0">
                  <a:pos x="192" y="0"/>
                </a:cxn>
                <a:cxn ang="0">
                  <a:pos x="214" y="10"/>
                </a:cxn>
                <a:cxn ang="0">
                  <a:pos x="230" y="8"/>
                </a:cxn>
                <a:cxn ang="0">
                  <a:pos x="246" y="16"/>
                </a:cxn>
                <a:cxn ang="0">
                  <a:pos x="280" y="20"/>
                </a:cxn>
                <a:cxn ang="0">
                  <a:pos x="312" y="48"/>
                </a:cxn>
                <a:cxn ang="0">
                  <a:pos x="338" y="74"/>
                </a:cxn>
                <a:cxn ang="0">
                  <a:pos x="350" y="106"/>
                </a:cxn>
                <a:cxn ang="0">
                  <a:pos x="342" y="128"/>
                </a:cxn>
                <a:cxn ang="0">
                  <a:pos x="330" y="142"/>
                </a:cxn>
                <a:cxn ang="0">
                  <a:pos x="338" y="154"/>
                </a:cxn>
                <a:cxn ang="0">
                  <a:pos x="394" y="138"/>
                </a:cxn>
                <a:cxn ang="0">
                  <a:pos x="376" y="160"/>
                </a:cxn>
                <a:cxn ang="0">
                  <a:pos x="410" y="236"/>
                </a:cxn>
                <a:cxn ang="0">
                  <a:pos x="466" y="259"/>
                </a:cxn>
                <a:cxn ang="0">
                  <a:pos x="512" y="275"/>
                </a:cxn>
                <a:cxn ang="0">
                  <a:pos x="560" y="279"/>
                </a:cxn>
                <a:cxn ang="0">
                  <a:pos x="450" y="393"/>
                </a:cxn>
                <a:cxn ang="0">
                  <a:pos x="380" y="405"/>
                </a:cxn>
                <a:cxn ang="0">
                  <a:pos x="364" y="425"/>
                </a:cxn>
                <a:cxn ang="0">
                  <a:pos x="334" y="427"/>
                </a:cxn>
                <a:cxn ang="0">
                  <a:pos x="318" y="427"/>
                </a:cxn>
                <a:cxn ang="0">
                  <a:pos x="298" y="411"/>
                </a:cxn>
                <a:cxn ang="0">
                  <a:pos x="270" y="431"/>
                </a:cxn>
                <a:cxn ang="0">
                  <a:pos x="260" y="431"/>
                </a:cxn>
                <a:cxn ang="0">
                  <a:pos x="240" y="445"/>
                </a:cxn>
                <a:cxn ang="0">
                  <a:pos x="212" y="435"/>
                </a:cxn>
                <a:cxn ang="0">
                  <a:pos x="182" y="433"/>
                </a:cxn>
                <a:cxn ang="0">
                  <a:pos x="154" y="409"/>
                </a:cxn>
                <a:cxn ang="0">
                  <a:pos x="106" y="407"/>
                </a:cxn>
              </a:cxnLst>
              <a:rect l="0" t="0" r="r" b="b"/>
              <a:pathLst>
                <a:path w="560" h="445">
                  <a:moveTo>
                    <a:pt x="106" y="407"/>
                  </a:moveTo>
                  <a:lnTo>
                    <a:pt x="104" y="379"/>
                  </a:lnTo>
                  <a:lnTo>
                    <a:pt x="72" y="369"/>
                  </a:lnTo>
                  <a:lnTo>
                    <a:pt x="70" y="335"/>
                  </a:lnTo>
                  <a:lnTo>
                    <a:pt x="52" y="325"/>
                  </a:lnTo>
                  <a:lnTo>
                    <a:pt x="42" y="307"/>
                  </a:lnTo>
                  <a:lnTo>
                    <a:pt x="0" y="289"/>
                  </a:lnTo>
                  <a:lnTo>
                    <a:pt x="10" y="259"/>
                  </a:lnTo>
                  <a:lnTo>
                    <a:pt x="42" y="261"/>
                  </a:lnTo>
                  <a:lnTo>
                    <a:pt x="38" y="202"/>
                  </a:lnTo>
                  <a:lnTo>
                    <a:pt x="46" y="164"/>
                  </a:lnTo>
                  <a:lnTo>
                    <a:pt x="68" y="158"/>
                  </a:lnTo>
                  <a:lnTo>
                    <a:pt x="64" y="136"/>
                  </a:lnTo>
                  <a:lnTo>
                    <a:pt x="76" y="118"/>
                  </a:lnTo>
                  <a:lnTo>
                    <a:pt x="98" y="90"/>
                  </a:lnTo>
                  <a:lnTo>
                    <a:pt x="116" y="90"/>
                  </a:lnTo>
                  <a:lnTo>
                    <a:pt x="128" y="56"/>
                  </a:lnTo>
                  <a:lnTo>
                    <a:pt x="126" y="28"/>
                  </a:lnTo>
                  <a:lnTo>
                    <a:pt x="154" y="26"/>
                  </a:lnTo>
                  <a:lnTo>
                    <a:pt x="170" y="4"/>
                  </a:lnTo>
                  <a:lnTo>
                    <a:pt x="192" y="0"/>
                  </a:lnTo>
                  <a:lnTo>
                    <a:pt x="214" y="10"/>
                  </a:lnTo>
                  <a:lnTo>
                    <a:pt x="230" y="8"/>
                  </a:lnTo>
                  <a:lnTo>
                    <a:pt x="246" y="16"/>
                  </a:lnTo>
                  <a:lnTo>
                    <a:pt x="280" y="20"/>
                  </a:lnTo>
                  <a:lnTo>
                    <a:pt x="312" y="48"/>
                  </a:lnTo>
                  <a:lnTo>
                    <a:pt x="338" y="74"/>
                  </a:lnTo>
                  <a:lnTo>
                    <a:pt x="350" y="106"/>
                  </a:lnTo>
                  <a:lnTo>
                    <a:pt x="342" y="128"/>
                  </a:lnTo>
                  <a:lnTo>
                    <a:pt x="330" y="142"/>
                  </a:lnTo>
                  <a:lnTo>
                    <a:pt x="338" y="154"/>
                  </a:lnTo>
                  <a:lnTo>
                    <a:pt x="394" y="138"/>
                  </a:lnTo>
                  <a:lnTo>
                    <a:pt x="376" y="160"/>
                  </a:lnTo>
                  <a:lnTo>
                    <a:pt x="410" y="236"/>
                  </a:lnTo>
                  <a:lnTo>
                    <a:pt x="466" y="259"/>
                  </a:lnTo>
                  <a:lnTo>
                    <a:pt x="512" y="275"/>
                  </a:lnTo>
                  <a:lnTo>
                    <a:pt x="560" y="279"/>
                  </a:lnTo>
                  <a:lnTo>
                    <a:pt x="450" y="393"/>
                  </a:lnTo>
                  <a:lnTo>
                    <a:pt x="380" y="405"/>
                  </a:lnTo>
                  <a:lnTo>
                    <a:pt x="364" y="425"/>
                  </a:lnTo>
                  <a:lnTo>
                    <a:pt x="334" y="427"/>
                  </a:lnTo>
                  <a:lnTo>
                    <a:pt x="318" y="427"/>
                  </a:lnTo>
                  <a:lnTo>
                    <a:pt x="298" y="411"/>
                  </a:lnTo>
                  <a:lnTo>
                    <a:pt x="270" y="431"/>
                  </a:lnTo>
                  <a:lnTo>
                    <a:pt x="260" y="431"/>
                  </a:lnTo>
                  <a:lnTo>
                    <a:pt x="240" y="445"/>
                  </a:lnTo>
                  <a:lnTo>
                    <a:pt x="212" y="435"/>
                  </a:lnTo>
                  <a:lnTo>
                    <a:pt x="182" y="433"/>
                  </a:lnTo>
                  <a:lnTo>
                    <a:pt x="154" y="409"/>
                  </a:lnTo>
                  <a:lnTo>
                    <a:pt x="106" y="407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91" name="Falkland Islands">
              <a:extLst>
                <a:ext uri="{FF2B5EF4-FFF2-40B4-BE49-F238E27FC236}">
                  <a16:creationId xmlns="" xmlns:a16="http://schemas.microsoft.com/office/drawing/2014/main" id="{36C522F6-2012-4D50-B044-B5F987918241}"/>
                </a:ext>
              </a:extLst>
            </p:cNvPr>
            <p:cNvSpPr>
              <a:spLocks noChangeAspect="1" noEditPoints="1"/>
            </p:cNvSpPr>
            <p:nvPr/>
          </p:nvSpPr>
          <p:spPr bwMode="gray">
            <a:xfrm>
              <a:off x="3823295" y="6531211"/>
              <a:ext cx="107376" cy="58998"/>
            </a:xfrm>
            <a:custGeom>
              <a:avLst/>
              <a:gdLst/>
              <a:ahLst/>
              <a:cxnLst>
                <a:cxn ang="0">
                  <a:pos x="85" y="38"/>
                </a:cxn>
                <a:cxn ang="0">
                  <a:pos x="73" y="40"/>
                </a:cxn>
                <a:cxn ang="0">
                  <a:pos x="69" y="61"/>
                </a:cxn>
                <a:cxn ang="0">
                  <a:pos x="71" y="73"/>
                </a:cxn>
                <a:cxn ang="0">
                  <a:pos x="61" y="83"/>
                </a:cxn>
                <a:cxn ang="0">
                  <a:pos x="69" y="85"/>
                </a:cxn>
                <a:cxn ang="0">
                  <a:pos x="76" y="78"/>
                </a:cxn>
                <a:cxn ang="0">
                  <a:pos x="80" y="66"/>
                </a:cxn>
                <a:cxn ang="0">
                  <a:pos x="90" y="64"/>
                </a:cxn>
                <a:cxn ang="0">
                  <a:pos x="94" y="52"/>
                </a:cxn>
                <a:cxn ang="0">
                  <a:pos x="109" y="59"/>
                </a:cxn>
                <a:cxn ang="0">
                  <a:pos x="111" y="50"/>
                </a:cxn>
                <a:cxn ang="0">
                  <a:pos x="128" y="45"/>
                </a:cxn>
                <a:cxn ang="0">
                  <a:pos x="132" y="38"/>
                </a:cxn>
                <a:cxn ang="0">
                  <a:pos x="144" y="35"/>
                </a:cxn>
                <a:cxn ang="0">
                  <a:pos x="158" y="26"/>
                </a:cxn>
                <a:cxn ang="0">
                  <a:pos x="156" y="12"/>
                </a:cxn>
                <a:cxn ang="0">
                  <a:pos x="146" y="7"/>
                </a:cxn>
                <a:cxn ang="0">
                  <a:pos x="132" y="7"/>
                </a:cxn>
                <a:cxn ang="0">
                  <a:pos x="128" y="19"/>
                </a:cxn>
                <a:cxn ang="0">
                  <a:pos x="120" y="16"/>
                </a:cxn>
                <a:cxn ang="0">
                  <a:pos x="118" y="5"/>
                </a:cxn>
                <a:cxn ang="0">
                  <a:pos x="102" y="0"/>
                </a:cxn>
                <a:cxn ang="0">
                  <a:pos x="94" y="21"/>
                </a:cxn>
                <a:cxn ang="0">
                  <a:pos x="94" y="38"/>
                </a:cxn>
                <a:cxn ang="0">
                  <a:pos x="85" y="38"/>
                </a:cxn>
                <a:cxn ang="0">
                  <a:pos x="87" y="14"/>
                </a:cxn>
                <a:cxn ang="0">
                  <a:pos x="80" y="7"/>
                </a:cxn>
                <a:cxn ang="0">
                  <a:pos x="76" y="12"/>
                </a:cxn>
                <a:cxn ang="0">
                  <a:pos x="61" y="12"/>
                </a:cxn>
                <a:cxn ang="0">
                  <a:pos x="57" y="2"/>
                </a:cxn>
                <a:cxn ang="0">
                  <a:pos x="40" y="2"/>
                </a:cxn>
                <a:cxn ang="0">
                  <a:pos x="24" y="12"/>
                </a:cxn>
                <a:cxn ang="0">
                  <a:pos x="31" y="14"/>
                </a:cxn>
                <a:cxn ang="0">
                  <a:pos x="33" y="21"/>
                </a:cxn>
                <a:cxn ang="0">
                  <a:pos x="47" y="24"/>
                </a:cxn>
                <a:cxn ang="0">
                  <a:pos x="52" y="31"/>
                </a:cxn>
                <a:cxn ang="0">
                  <a:pos x="45" y="33"/>
                </a:cxn>
                <a:cxn ang="0">
                  <a:pos x="24" y="31"/>
                </a:cxn>
                <a:cxn ang="0">
                  <a:pos x="24" y="38"/>
                </a:cxn>
                <a:cxn ang="0">
                  <a:pos x="35" y="38"/>
                </a:cxn>
                <a:cxn ang="0">
                  <a:pos x="33" y="45"/>
                </a:cxn>
                <a:cxn ang="0">
                  <a:pos x="28" y="52"/>
                </a:cxn>
                <a:cxn ang="0">
                  <a:pos x="14" y="47"/>
                </a:cxn>
                <a:cxn ang="0">
                  <a:pos x="7" y="40"/>
                </a:cxn>
                <a:cxn ang="0">
                  <a:pos x="0" y="45"/>
                </a:cxn>
                <a:cxn ang="0">
                  <a:pos x="5" y="59"/>
                </a:cxn>
                <a:cxn ang="0">
                  <a:pos x="12" y="66"/>
                </a:cxn>
                <a:cxn ang="0">
                  <a:pos x="17" y="64"/>
                </a:cxn>
                <a:cxn ang="0">
                  <a:pos x="28" y="71"/>
                </a:cxn>
                <a:cxn ang="0">
                  <a:pos x="35" y="64"/>
                </a:cxn>
                <a:cxn ang="0">
                  <a:pos x="38" y="57"/>
                </a:cxn>
                <a:cxn ang="0">
                  <a:pos x="54" y="52"/>
                </a:cxn>
                <a:cxn ang="0">
                  <a:pos x="69" y="31"/>
                </a:cxn>
                <a:cxn ang="0">
                  <a:pos x="87" y="14"/>
                </a:cxn>
              </a:cxnLst>
              <a:rect l="0" t="0" r="r" b="b"/>
              <a:pathLst>
                <a:path w="158" h="85">
                  <a:moveTo>
                    <a:pt x="85" y="38"/>
                  </a:moveTo>
                  <a:lnTo>
                    <a:pt x="73" y="40"/>
                  </a:lnTo>
                  <a:lnTo>
                    <a:pt x="69" y="61"/>
                  </a:lnTo>
                  <a:lnTo>
                    <a:pt x="71" y="73"/>
                  </a:lnTo>
                  <a:lnTo>
                    <a:pt x="61" y="83"/>
                  </a:lnTo>
                  <a:lnTo>
                    <a:pt x="69" y="85"/>
                  </a:lnTo>
                  <a:lnTo>
                    <a:pt x="76" y="78"/>
                  </a:lnTo>
                  <a:lnTo>
                    <a:pt x="80" y="66"/>
                  </a:lnTo>
                  <a:lnTo>
                    <a:pt x="90" y="64"/>
                  </a:lnTo>
                  <a:lnTo>
                    <a:pt x="94" y="52"/>
                  </a:lnTo>
                  <a:lnTo>
                    <a:pt x="109" y="59"/>
                  </a:lnTo>
                  <a:lnTo>
                    <a:pt x="111" y="50"/>
                  </a:lnTo>
                  <a:lnTo>
                    <a:pt x="128" y="45"/>
                  </a:lnTo>
                  <a:lnTo>
                    <a:pt x="132" y="38"/>
                  </a:lnTo>
                  <a:lnTo>
                    <a:pt x="144" y="35"/>
                  </a:lnTo>
                  <a:lnTo>
                    <a:pt x="158" y="26"/>
                  </a:lnTo>
                  <a:lnTo>
                    <a:pt x="156" y="12"/>
                  </a:lnTo>
                  <a:lnTo>
                    <a:pt x="146" y="7"/>
                  </a:lnTo>
                  <a:lnTo>
                    <a:pt x="132" y="7"/>
                  </a:lnTo>
                  <a:lnTo>
                    <a:pt x="128" y="19"/>
                  </a:lnTo>
                  <a:lnTo>
                    <a:pt x="120" y="16"/>
                  </a:lnTo>
                  <a:lnTo>
                    <a:pt x="118" y="5"/>
                  </a:lnTo>
                  <a:lnTo>
                    <a:pt x="102" y="0"/>
                  </a:lnTo>
                  <a:lnTo>
                    <a:pt x="94" y="21"/>
                  </a:lnTo>
                  <a:lnTo>
                    <a:pt x="94" y="38"/>
                  </a:lnTo>
                  <a:lnTo>
                    <a:pt x="85" y="38"/>
                  </a:lnTo>
                  <a:close/>
                  <a:moveTo>
                    <a:pt x="87" y="14"/>
                  </a:moveTo>
                  <a:lnTo>
                    <a:pt x="80" y="7"/>
                  </a:lnTo>
                  <a:lnTo>
                    <a:pt x="76" y="12"/>
                  </a:lnTo>
                  <a:lnTo>
                    <a:pt x="61" y="12"/>
                  </a:lnTo>
                  <a:lnTo>
                    <a:pt x="57" y="2"/>
                  </a:lnTo>
                  <a:lnTo>
                    <a:pt x="40" y="2"/>
                  </a:lnTo>
                  <a:lnTo>
                    <a:pt x="24" y="12"/>
                  </a:lnTo>
                  <a:lnTo>
                    <a:pt x="31" y="14"/>
                  </a:lnTo>
                  <a:lnTo>
                    <a:pt x="33" y="21"/>
                  </a:lnTo>
                  <a:lnTo>
                    <a:pt x="47" y="24"/>
                  </a:lnTo>
                  <a:lnTo>
                    <a:pt x="52" y="31"/>
                  </a:lnTo>
                  <a:lnTo>
                    <a:pt x="45" y="33"/>
                  </a:lnTo>
                  <a:lnTo>
                    <a:pt x="24" y="31"/>
                  </a:lnTo>
                  <a:lnTo>
                    <a:pt x="24" y="38"/>
                  </a:lnTo>
                  <a:lnTo>
                    <a:pt x="35" y="38"/>
                  </a:lnTo>
                  <a:lnTo>
                    <a:pt x="33" y="45"/>
                  </a:lnTo>
                  <a:lnTo>
                    <a:pt x="28" y="52"/>
                  </a:lnTo>
                  <a:lnTo>
                    <a:pt x="14" y="47"/>
                  </a:lnTo>
                  <a:lnTo>
                    <a:pt x="7" y="40"/>
                  </a:lnTo>
                  <a:lnTo>
                    <a:pt x="0" y="45"/>
                  </a:lnTo>
                  <a:lnTo>
                    <a:pt x="5" y="59"/>
                  </a:lnTo>
                  <a:lnTo>
                    <a:pt x="12" y="66"/>
                  </a:lnTo>
                  <a:lnTo>
                    <a:pt x="17" y="64"/>
                  </a:lnTo>
                  <a:lnTo>
                    <a:pt x="28" y="71"/>
                  </a:lnTo>
                  <a:lnTo>
                    <a:pt x="35" y="64"/>
                  </a:lnTo>
                  <a:lnTo>
                    <a:pt x="38" y="57"/>
                  </a:lnTo>
                  <a:lnTo>
                    <a:pt x="54" y="52"/>
                  </a:lnTo>
                  <a:lnTo>
                    <a:pt x="69" y="31"/>
                  </a:lnTo>
                  <a:lnTo>
                    <a:pt x="87" y="14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8001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92" name="Fiji">
              <a:extLst>
                <a:ext uri="{FF2B5EF4-FFF2-40B4-BE49-F238E27FC236}">
                  <a16:creationId xmlns="" xmlns:a16="http://schemas.microsoft.com/office/drawing/2014/main" id="{578EACFF-7846-4731-A329-042B5262C6A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1281096" y="5044490"/>
              <a:ext cx="78092" cy="84563"/>
            </a:xfrm>
            <a:custGeom>
              <a:avLst/>
              <a:gdLst/>
              <a:ahLst/>
              <a:cxnLst>
                <a:cxn ang="0">
                  <a:pos x="14" y="60"/>
                </a:cxn>
                <a:cxn ang="0">
                  <a:pos x="40" y="60"/>
                </a:cxn>
                <a:cxn ang="0">
                  <a:pos x="56" y="80"/>
                </a:cxn>
                <a:cxn ang="0">
                  <a:pos x="52" y="102"/>
                </a:cxn>
                <a:cxn ang="0">
                  <a:pos x="28" y="96"/>
                </a:cxn>
                <a:cxn ang="0">
                  <a:pos x="8" y="96"/>
                </a:cxn>
                <a:cxn ang="0">
                  <a:pos x="0" y="84"/>
                </a:cxn>
                <a:cxn ang="0">
                  <a:pos x="14" y="60"/>
                </a:cxn>
                <a:cxn ang="0">
                  <a:pos x="68" y="42"/>
                </a:cxn>
                <a:cxn ang="0">
                  <a:pos x="90" y="32"/>
                </a:cxn>
                <a:cxn ang="0">
                  <a:pos x="96" y="0"/>
                </a:cxn>
                <a:cxn ang="0">
                  <a:pos x="48" y="28"/>
                </a:cxn>
                <a:cxn ang="0">
                  <a:pos x="68" y="42"/>
                </a:cxn>
              </a:cxnLst>
              <a:rect l="0" t="0" r="r" b="b"/>
              <a:pathLst>
                <a:path w="96" h="102">
                  <a:moveTo>
                    <a:pt x="14" y="60"/>
                  </a:moveTo>
                  <a:lnTo>
                    <a:pt x="40" y="60"/>
                  </a:lnTo>
                  <a:lnTo>
                    <a:pt x="56" y="80"/>
                  </a:lnTo>
                  <a:lnTo>
                    <a:pt x="52" y="102"/>
                  </a:lnTo>
                  <a:lnTo>
                    <a:pt x="28" y="96"/>
                  </a:lnTo>
                  <a:lnTo>
                    <a:pt x="8" y="96"/>
                  </a:lnTo>
                  <a:lnTo>
                    <a:pt x="0" y="84"/>
                  </a:lnTo>
                  <a:lnTo>
                    <a:pt x="14" y="60"/>
                  </a:lnTo>
                  <a:close/>
                  <a:moveTo>
                    <a:pt x="68" y="42"/>
                  </a:moveTo>
                  <a:lnTo>
                    <a:pt x="90" y="32"/>
                  </a:lnTo>
                  <a:lnTo>
                    <a:pt x="96" y="0"/>
                  </a:lnTo>
                  <a:lnTo>
                    <a:pt x="48" y="28"/>
                  </a:lnTo>
                  <a:lnTo>
                    <a:pt x="68" y="42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93" name="Finland">
              <a:extLst>
                <a:ext uri="{FF2B5EF4-FFF2-40B4-BE49-F238E27FC236}">
                  <a16:creationId xmlns="" xmlns:a16="http://schemas.microsoft.com/office/drawing/2014/main" id="{EA9557E9-944D-4363-995B-58AADF58CBFA}"/>
                </a:ext>
              </a:extLst>
            </p:cNvPr>
            <p:cNvSpPr>
              <a:spLocks/>
            </p:cNvSpPr>
            <p:nvPr/>
          </p:nvSpPr>
          <p:spPr bwMode="gray">
            <a:xfrm>
              <a:off x="6427668" y="1386691"/>
              <a:ext cx="351415" cy="774824"/>
            </a:xfrm>
            <a:custGeom>
              <a:avLst/>
              <a:gdLst/>
              <a:ahLst/>
              <a:cxnLst>
                <a:cxn ang="0">
                  <a:pos x="294" y="912"/>
                </a:cxn>
                <a:cxn ang="0">
                  <a:pos x="320" y="888"/>
                </a:cxn>
                <a:cxn ang="0">
                  <a:pos x="428" y="710"/>
                </a:cxn>
                <a:cxn ang="0">
                  <a:pos x="412" y="684"/>
                </a:cxn>
                <a:cxn ang="0">
                  <a:pos x="388" y="602"/>
                </a:cxn>
                <a:cxn ang="0">
                  <a:pos x="384" y="566"/>
                </a:cxn>
                <a:cxn ang="0">
                  <a:pos x="364" y="552"/>
                </a:cxn>
                <a:cxn ang="0">
                  <a:pos x="368" y="502"/>
                </a:cxn>
                <a:cxn ang="0">
                  <a:pos x="368" y="462"/>
                </a:cxn>
                <a:cxn ang="0">
                  <a:pos x="384" y="420"/>
                </a:cxn>
                <a:cxn ang="0">
                  <a:pos x="346" y="334"/>
                </a:cxn>
                <a:cxn ang="0">
                  <a:pos x="364" y="210"/>
                </a:cxn>
                <a:cxn ang="0">
                  <a:pos x="316" y="130"/>
                </a:cxn>
                <a:cxn ang="0">
                  <a:pos x="308" y="100"/>
                </a:cxn>
                <a:cxn ang="0">
                  <a:pos x="314" y="52"/>
                </a:cxn>
                <a:cxn ang="0">
                  <a:pos x="324" y="16"/>
                </a:cxn>
                <a:cxn ang="0">
                  <a:pos x="286" y="0"/>
                </a:cxn>
                <a:cxn ang="0">
                  <a:pos x="172" y="154"/>
                </a:cxn>
                <a:cxn ang="0">
                  <a:pos x="90" y="132"/>
                </a:cxn>
                <a:cxn ang="0">
                  <a:pos x="40" y="74"/>
                </a:cxn>
                <a:cxn ang="0">
                  <a:pos x="0" y="100"/>
                </a:cxn>
                <a:cxn ang="0">
                  <a:pos x="106" y="178"/>
                </a:cxn>
                <a:cxn ang="0">
                  <a:pos x="132" y="274"/>
                </a:cxn>
                <a:cxn ang="0">
                  <a:pos x="140" y="388"/>
                </a:cxn>
                <a:cxn ang="0">
                  <a:pos x="162" y="456"/>
                </a:cxn>
                <a:cxn ang="0">
                  <a:pos x="188" y="498"/>
                </a:cxn>
                <a:cxn ang="0">
                  <a:pos x="182" y="538"/>
                </a:cxn>
                <a:cxn ang="0">
                  <a:pos x="116" y="600"/>
                </a:cxn>
                <a:cxn ang="0">
                  <a:pos x="44" y="684"/>
                </a:cxn>
                <a:cxn ang="0">
                  <a:pos x="32" y="742"/>
                </a:cxn>
                <a:cxn ang="0">
                  <a:pos x="42" y="802"/>
                </a:cxn>
                <a:cxn ang="0">
                  <a:pos x="40" y="824"/>
                </a:cxn>
                <a:cxn ang="0">
                  <a:pos x="44" y="884"/>
                </a:cxn>
                <a:cxn ang="0">
                  <a:pos x="78" y="918"/>
                </a:cxn>
                <a:cxn ang="0">
                  <a:pos x="98" y="930"/>
                </a:cxn>
                <a:cxn ang="0">
                  <a:pos x="112" y="948"/>
                </a:cxn>
                <a:cxn ang="0">
                  <a:pos x="160" y="950"/>
                </a:cxn>
                <a:cxn ang="0">
                  <a:pos x="202" y="928"/>
                </a:cxn>
                <a:cxn ang="0">
                  <a:pos x="262" y="916"/>
                </a:cxn>
              </a:cxnLst>
              <a:rect l="0" t="0" r="r" b="b"/>
              <a:pathLst>
                <a:path w="432" h="950">
                  <a:moveTo>
                    <a:pt x="278" y="924"/>
                  </a:moveTo>
                  <a:lnTo>
                    <a:pt x="294" y="912"/>
                  </a:lnTo>
                  <a:lnTo>
                    <a:pt x="298" y="888"/>
                  </a:lnTo>
                  <a:lnTo>
                    <a:pt x="320" y="888"/>
                  </a:lnTo>
                  <a:lnTo>
                    <a:pt x="432" y="740"/>
                  </a:lnTo>
                  <a:lnTo>
                    <a:pt x="428" y="710"/>
                  </a:lnTo>
                  <a:lnTo>
                    <a:pt x="412" y="698"/>
                  </a:lnTo>
                  <a:lnTo>
                    <a:pt x="412" y="684"/>
                  </a:lnTo>
                  <a:lnTo>
                    <a:pt x="364" y="646"/>
                  </a:lnTo>
                  <a:lnTo>
                    <a:pt x="388" y="602"/>
                  </a:lnTo>
                  <a:lnTo>
                    <a:pt x="374" y="574"/>
                  </a:lnTo>
                  <a:lnTo>
                    <a:pt x="384" y="566"/>
                  </a:lnTo>
                  <a:lnTo>
                    <a:pt x="378" y="552"/>
                  </a:lnTo>
                  <a:lnTo>
                    <a:pt x="364" y="552"/>
                  </a:lnTo>
                  <a:lnTo>
                    <a:pt x="356" y="516"/>
                  </a:lnTo>
                  <a:lnTo>
                    <a:pt x="368" y="502"/>
                  </a:lnTo>
                  <a:lnTo>
                    <a:pt x="362" y="484"/>
                  </a:lnTo>
                  <a:lnTo>
                    <a:pt x="368" y="462"/>
                  </a:lnTo>
                  <a:lnTo>
                    <a:pt x="366" y="432"/>
                  </a:lnTo>
                  <a:lnTo>
                    <a:pt x="384" y="420"/>
                  </a:lnTo>
                  <a:lnTo>
                    <a:pt x="360" y="392"/>
                  </a:lnTo>
                  <a:lnTo>
                    <a:pt x="346" y="334"/>
                  </a:lnTo>
                  <a:lnTo>
                    <a:pt x="328" y="310"/>
                  </a:lnTo>
                  <a:lnTo>
                    <a:pt x="364" y="210"/>
                  </a:lnTo>
                  <a:lnTo>
                    <a:pt x="330" y="182"/>
                  </a:lnTo>
                  <a:lnTo>
                    <a:pt x="316" y="130"/>
                  </a:lnTo>
                  <a:lnTo>
                    <a:pt x="326" y="104"/>
                  </a:lnTo>
                  <a:lnTo>
                    <a:pt x="308" y="100"/>
                  </a:lnTo>
                  <a:lnTo>
                    <a:pt x="322" y="84"/>
                  </a:lnTo>
                  <a:lnTo>
                    <a:pt x="314" y="52"/>
                  </a:lnTo>
                  <a:lnTo>
                    <a:pt x="328" y="28"/>
                  </a:lnTo>
                  <a:lnTo>
                    <a:pt x="324" y="16"/>
                  </a:lnTo>
                  <a:lnTo>
                    <a:pt x="306" y="14"/>
                  </a:lnTo>
                  <a:lnTo>
                    <a:pt x="286" y="0"/>
                  </a:lnTo>
                  <a:lnTo>
                    <a:pt x="242" y="14"/>
                  </a:lnTo>
                  <a:lnTo>
                    <a:pt x="172" y="154"/>
                  </a:lnTo>
                  <a:lnTo>
                    <a:pt x="146" y="134"/>
                  </a:lnTo>
                  <a:lnTo>
                    <a:pt x="90" y="132"/>
                  </a:lnTo>
                  <a:lnTo>
                    <a:pt x="66" y="94"/>
                  </a:lnTo>
                  <a:lnTo>
                    <a:pt x="40" y="74"/>
                  </a:lnTo>
                  <a:lnTo>
                    <a:pt x="30" y="102"/>
                  </a:lnTo>
                  <a:lnTo>
                    <a:pt x="0" y="100"/>
                  </a:lnTo>
                  <a:lnTo>
                    <a:pt x="58" y="150"/>
                  </a:lnTo>
                  <a:lnTo>
                    <a:pt x="106" y="178"/>
                  </a:lnTo>
                  <a:lnTo>
                    <a:pt x="124" y="204"/>
                  </a:lnTo>
                  <a:lnTo>
                    <a:pt x="132" y="274"/>
                  </a:lnTo>
                  <a:lnTo>
                    <a:pt x="148" y="344"/>
                  </a:lnTo>
                  <a:lnTo>
                    <a:pt x="140" y="388"/>
                  </a:lnTo>
                  <a:lnTo>
                    <a:pt x="148" y="448"/>
                  </a:lnTo>
                  <a:lnTo>
                    <a:pt x="162" y="456"/>
                  </a:lnTo>
                  <a:lnTo>
                    <a:pt x="178" y="470"/>
                  </a:lnTo>
                  <a:lnTo>
                    <a:pt x="188" y="498"/>
                  </a:lnTo>
                  <a:lnTo>
                    <a:pt x="194" y="530"/>
                  </a:lnTo>
                  <a:lnTo>
                    <a:pt x="182" y="538"/>
                  </a:lnTo>
                  <a:lnTo>
                    <a:pt x="134" y="592"/>
                  </a:lnTo>
                  <a:lnTo>
                    <a:pt x="116" y="600"/>
                  </a:lnTo>
                  <a:lnTo>
                    <a:pt x="64" y="676"/>
                  </a:lnTo>
                  <a:lnTo>
                    <a:pt x="44" y="684"/>
                  </a:lnTo>
                  <a:lnTo>
                    <a:pt x="42" y="702"/>
                  </a:lnTo>
                  <a:lnTo>
                    <a:pt x="32" y="742"/>
                  </a:lnTo>
                  <a:lnTo>
                    <a:pt x="40" y="760"/>
                  </a:lnTo>
                  <a:lnTo>
                    <a:pt x="42" y="802"/>
                  </a:lnTo>
                  <a:lnTo>
                    <a:pt x="46" y="810"/>
                  </a:lnTo>
                  <a:lnTo>
                    <a:pt x="40" y="824"/>
                  </a:lnTo>
                  <a:lnTo>
                    <a:pt x="38" y="848"/>
                  </a:lnTo>
                  <a:lnTo>
                    <a:pt x="44" y="884"/>
                  </a:lnTo>
                  <a:lnTo>
                    <a:pt x="74" y="900"/>
                  </a:lnTo>
                  <a:lnTo>
                    <a:pt x="78" y="918"/>
                  </a:lnTo>
                  <a:lnTo>
                    <a:pt x="98" y="914"/>
                  </a:lnTo>
                  <a:lnTo>
                    <a:pt x="98" y="930"/>
                  </a:lnTo>
                  <a:lnTo>
                    <a:pt x="108" y="938"/>
                  </a:lnTo>
                  <a:lnTo>
                    <a:pt x="112" y="948"/>
                  </a:lnTo>
                  <a:lnTo>
                    <a:pt x="150" y="948"/>
                  </a:lnTo>
                  <a:lnTo>
                    <a:pt x="160" y="950"/>
                  </a:lnTo>
                  <a:lnTo>
                    <a:pt x="184" y="934"/>
                  </a:lnTo>
                  <a:lnTo>
                    <a:pt x="202" y="928"/>
                  </a:lnTo>
                  <a:lnTo>
                    <a:pt x="234" y="930"/>
                  </a:lnTo>
                  <a:lnTo>
                    <a:pt x="262" y="916"/>
                  </a:lnTo>
                  <a:lnTo>
                    <a:pt x="278" y="924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94" name="France">
              <a:extLst>
                <a:ext uri="{FF2B5EF4-FFF2-40B4-BE49-F238E27FC236}">
                  <a16:creationId xmlns="" xmlns:a16="http://schemas.microsoft.com/office/drawing/2014/main" id="{E5A6D888-14FC-4389-9B3C-DA728355762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656507" y="2659055"/>
              <a:ext cx="439269" cy="450341"/>
            </a:xfrm>
            <a:custGeom>
              <a:avLst/>
              <a:gdLst/>
              <a:ahLst/>
              <a:cxnLst>
                <a:cxn ang="0">
                  <a:pos x="436" y="228"/>
                </a:cxn>
                <a:cxn ang="0">
                  <a:pos x="422" y="256"/>
                </a:cxn>
                <a:cxn ang="0">
                  <a:pos x="406" y="298"/>
                </a:cxn>
                <a:cxn ang="0">
                  <a:pos x="434" y="284"/>
                </a:cxn>
                <a:cxn ang="0">
                  <a:pos x="450" y="312"/>
                </a:cxn>
                <a:cxn ang="0">
                  <a:pos x="440" y="350"/>
                </a:cxn>
                <a:cxn ang="0">
                  <a:pos x="426" y="372"/>
                </a:cxn>
                <a:cxn ang="0">
                  <a:pos x="436" y="406"/>
                </a:cxn>
                <a:cxn ang="0">
                  <a:pos x="476" y="406"/>
                </a:cxn>
                <a:cxn ang="0">
                  <a:pos x="456" y="440"/>
                </a:cxn>
                <a:cxn ang="0">
                  <a:pos x="432" y="458"/>
                </a:cxn>
                <a:cxn ang="0">
                  <a:pos x="382" y="452"/>
                </a:cxn>
                <a:cxn ang="0">
                  <a:pos x="348" y="462"/>
                </a:cxn>
                <a:cxn ang="0">
                  <a:pos x="328" y="450"/>
                </a:cxn>
                <a:cxn ang="0">
                  <a:pos x="310" y="492"/>
                </a:cxn>
                <a:cxn ang="0">
                  <a:pos x="260" y="496"/>
                </a:cxn>
                <a:cxn ang="0">
                  <a:pos x="238" y="480"/>
                </a:cxn>
                <a:cxn ang="0">
                  <a:pos x="186" y="486"/>
                </a:cxn>
                <a:cxn ang="0">
                  <a:pos x="154" y="470"/>
                </a:cxn>
                <a:cxn ang="0">
                  <a:pos x="132" y="458"/>
                </a:cxn>
                <a:cxn ang="0">
                  <a:pos x="134" y="410"/>
                </a:cxn>
                <a:cxn ang="0">
                  <a:pos x="146" y="382"/>
                </a:cxn>
                <a:cxn ang="0">
                  <a:pos x="136" y="302"/>
                </a:cxn>
                <a:cxn ang="0">
                  <a:pos x="108" y="264"/>
                </a:cxn>
                <a:cxn ang="0">
                  <a:pos x="110" y="238"/>
                </a:cxn>
                <a:cxn ang="0">
                  <a:pos x="84" y="222"/>
                </a:cxn>
                <a:cxn ang="0">
                  <a:pos x="56" y="214"/>
                </a:cxn>
                <a:cxn ang="0">
                  <a:pos x="10" y="204"/>
                </a:cxn>
                <a:cxn ang="0">
                  <a:pos x="8" y="176"/>
                </a:cxn>
                <a:cxn ang="0">
                  <a:pos x="26" y="152"/>
                </a:cxn>
                <a:cxn ang="0">
                  <a:pos x="50" y="146"/>
                </a:cxn>
                <a:cxn ang="0">
                  <a:pos x="86" y="164"/>
                </a:cxn>
                <a:cxn ang="0">
                  <a:pos x="122" y="118"/>
                </a:cxn>
                <a:cxn ang="0">
                  <a:pos x="116" y="94"/>
                </a:cxn>
                <a:cxn ang="0">
                  <a:pos x="140" y="112"/>
                </a:cxn>
                <a:cxn ang="0">
                  <a:pos x="170" y="108"/>
                </a:cxn>
                <a:cxn ang="0">
                  <a:pos x="206" y="84"/>
                </a:cxn>
                <a:cxn ang="0">
                  <a:pos x="248" y="56"/>
                </a:cxn>
                <a:cxn ang="0">
                  <a:pos x="252" y="14"/>
                </a:cxn>
                <a:cxn ang="0">
                  <a:pos x="282" y="14"/>
                </a:cxn>
                <a:cxn ang="0">
                  <a:pos x="300" y="32"/>
                </a:cxn>
                <a:cxn ang="0">
                  <a:pos x="326" y="42"/>
                </a:cxn>
                <a:cxn ang="0">
                  <a:pos x="334" y="64"/>
                </a:cxn>
                <a:cxn ang="0">
                  <a:pos x="360" y="62"/>
                </a:cxn>
                <a:cxn ang="0">
                  <a:pos x="390" y="102"/>
                </a:cxn>
                <a:cxn ang="0">
                  <a:pos x="426" y="102"/>
                </a:cxn>
                <a:cxn ang="0">
                  <a:pos x="448" y="116"/>
                </a:cxn>
                <a:cxn ang="0">
                  <a:pos x="472" y="182"/>
                </a:cxn>
                <a:cxn ang="0">
                  <a:pos x="458" y="220"/>
                </a:cxn>
                <a:cxn ang="0">
                  <a:pos x="510" y="514"/>
                </a:cxn>
                <a:cxn ang="0">
                  <a:pos x="518" y="552"/>
                </a:cxn>
                <a:cxn ang="0">
                  <a:pos x="538" y="538"/>
                </a:cxn>
                <a:cxn ang="0">
                  <a:pos x="536" y="492"/>
                </a:cxn>
                <a:cxn ang="0">
                  <a:pos x="528" y="476"/>
                </a:cxn>
                <a:cxn ang="0">
                  <a:pos x="512" y="498"/>
                </a:cxn>
              </a:cxnLst>
              <a:rect l="0" t="0" r="r" b="b"/>
              <a:pathLst>
                <a:path w="540" h="552">
                  <a:moveTo>
                    <a:pt x="446" y="218"/>
                  </a:moveTo>
                  <a:lnTo>
                    <a:pt x="436" y="228"/>
                  </a:lnTo>
                  <a:lnTo>
                    <a:pt x="442" y="238"/>
                  </a:lnTo>
                  <a:lnTo>
                    <a:pt x="422" y="256"/>
                  </a:lnTo>
                  <a:lnTo>
                    <a:pt x="412" y="278"/>
                  </a:lnTo>
                  <a:lnTo>
                    <a:pt x="406" y="298"/>
                  </a:lnTo>
                  <a:lnTo>
                    <a:pt x="422" y="298"/>
                  </a:lnTo>
                  <a:lnTo>
                    <a:pt x="434" y="284"/>
                  </a:lnTo>
                  <a:lnTo>
                    <a:pt x="446" y="294"/>
                  </a:lnTo>
                  <a:lnTo>
                    <a:pt x="450" y="312"/>
                  </a:lnTo>
                  <a:lnTo>
                    <a:pt x="440" y="328"/>
                  </a:lnTo>
                  <a:lnTo>
                    <a:pt x="440" y="350"/>
                  </a:lnTo>
                  <a:lnTo>
                    <a:pt x="424" y="358"/>
                  </a:lnTo>
                  <a:lnTo>
                    <a:pt x="426" y="372"/>
                  </a:lnTo>
                  <a:lnTo>
                    <a:pt x="436" y="384"/>
                  </a:lnTo>
                  <a:lnTo>
                    <a:pt x="436" y="406"/>
                  </a:lnTo>
                  <a:lnTo>
                    <a:pt x="454" y="410"/>
                  </a:lnTo>
                  <a:lnTo>
                    <a:pt x="476" y="406"/>
                  </a:lnTo>
                  <a:lnTo>
                    <a:pt x="482" y="422"/>
                  </a:lnTo>
                  <a:lnTo>
                    <a:pt x="456" y="440"/>
                  </a:lnTo>
                  <a:lnTo>
                    <a:pt x="434" y="452"/>
                  </a:lnTo>
                  <a:lnTo>
                    <a:pt x="432" y="458"/>
                  </a:lnTo>
                  <a:lnTo>
                    <a:pt x="410" y="466"/>
                  </a:lnTo>
                  <a:lnTo>
                    <a:pt x="382" y="452"/>
                  </a:lnTo>
                  <a:lnTo>
                    <a:pt x="364" y="444"/>
                  </a:lnTo>
                  <a:lnTo>
                    <a:pt x="348" y="462"/>
                  </a:lnTo>
                  <a:lnTo>
                    <a:pt x="338" y="460"/>
                  </a:lnTo>
                  <a:lnTo>
                    <a:pt x="328" y="450"/>
                  </a:lnTo>
                  <a:lnTo>
                    <a:pt x="312" y="458"/>
                  </a:lnTo>
                  <a:lnTo>
                    <a:pt x="310" y="492"/>
                  </a:lnTo>
                  <a:lnTo>
                    <a:pt x="284" y="496"/>
                  </a:lnTo>
                  <a:lnTo>
                    <a:pt x="260" y="496"/>
                  </a:lnTo>
                  <a:lnTo>
                    <a:pt x="256" y="486"/>
                  </a:lnTo>
                  <a:lnTo>
                    <a:pt x="238" y="480"/>
                  </a:lnTo>
                  <a:lnTo>
                    <a:pt x="214" y="480"/>
                  </a:lnTo>
                  <a:lnTo>
                    <a:pt x="186" y="486"/>
                  </a:lnTo>
                  <a:lnTo>
                    <a:pt x="168" y="480"/>
                  </a:lnTo>
                  <a:lnTo>
                    <a:pt x="154" y="470"/>
                  </a:lnTo>
                  <a:lnTo>
                    <a:pt x="140" y="466"/>
                  </a:lnTo>
                  <a:lnTo>
                    <a:pt x="132" y="458"/>
                  </a:lnTo>
                  <a:lnTo>
                    <a:pt x="122" y="448"/>
                  </a:lnTo>
                  <a:lnTo>
                    <a:pt x="134" y="410"/>
                  </a:lnTo>
                  <a:lnTo>
                    <a:pt x="138" y="386"/>
                  </a:lnTo>
                  <a:lnTo>
                    <a:pt x="146" y="382"/>
                  </a:lnTo>
                  <a:lnTo>
                    <a:pt x="140" y="340"/>
                  </a:lnTo>
                  <a:lnTo>
                    <a:pt x="136" y="302"/>
                  </a:lnTo>
                  <a:lnTo>
                    <a:pt x="122" y="286"/>
                  </a:lnTo>
                  <a:lnTo>
                    <a:pt x="108" y="264"/>
                  </a:lnTo>
                  <a:lnTo>
                    <a:pt x="114" y="254"/>
                  </a:lnTo>
                  <a:lnTo>
                    <a:pt x="110" y="238"/>
                  </a:lnTo>
                  <a:lnTo>
                    <a:pt x="100" y="236"/>
                  </a:lnTo>
                  <a:lnTo>
                    <a:pt x="84" y="222"/>
                  </a:lnTo>
                  <a:lnTo>
                    <a:pt x="64" y="224"/>
                  </a:lnTo>
                  <a:lnTo>
                    <a:pt x="56" y="214"/>
                  </a:lnTo>
                  <a:lnTo>
                    <a:pt x="22" y="198"/>
                  </a:lnTo>
                  <a:lnTo>
                    <a:pt x="10" y="204"/>
                  </a:lnTo>
                  <a:lnTo>
                    <a:pt x="0" y="188"/>
                  </a:lnTo>
                  <a:lnTo>
                    <a:pt x="8" y="176"/>
                  </a:lnTo>
                  <a:lnTo>
                    <a:pt x="8" y="166"/>
                  </a:lnTo>
                  <a:lnTo>
                    <a:pt x="26" y="152"/>
                  </a:lnTo>
                  <a:lnTo>
                    <a:pt x="38" y="156"/>
                  </a:lnTo>
                  <a:lnTo>
                    <a:pt x="50" y="146"/>
                  </a:lnTo>
                  <a:lnTo>
                    <a:pt x="66" y="146"/>
                  </a:lnTo>
                  <a:lnTo>
                    <a:pt x="86" y="164"/>
                  </a:lnTo>
                  <a:lnTo>
                    <a:pt x="120" y="152"/>
                  </a:lnTo>
                  <a:lnTo>
                    <a:pt x="122" y="118"/>
                  </a:lnTo>
                  <a:lnTo>
                    <a:pt x="108" y="102"/>
                  </a:lnTo>
                  <a:lnTo>
                    <a:pt x="116" y="94"/>
                  </a:lnTo>
                  <a:lnTo>
                    <a:pt x="132" y="96"/>
                  </a:lnTo>
                  <a:lnTo>
                    <a:pt x="140" y="112"/>
                  </a:lnTo>
                  <a:lnTo>
                    <a:pt x="156" y="104"/>
                  </a:lnTo>
                  <a:lnTo>
                    <a:pt x="170" y="108"/>
                  </a:lnTo>
                  <a:lnTo>
                    <a:pt x="196" y="102"/>
                  </a:lnTo>
                  <a:lnTo>
                    <a:pt x="206" y="84"/>
                  </a:lnTo>
                  <a:lnTo>
                    <a:pt x="226" y="80"/>
                  </a:lnTo>
                  <a:lnTo>
                    <a:pt x="248" y="56"/>
                  </a:lnTo>
                  <a:lnTo>
                    <a:pt x="246" y="36"/>
                  </a:lnTo>
                  <a:lnTo>
                    <a:pt x="252" y="14"/>
                  </a:lnTo>
                  <a:lnTo>
                    <a:pt x="274" y="0"/>
                  </a:lnTo>
                  <a:lnTo>
                    <a:pt x="282" y="14"/>
                  </a:lnTo>
                  <a:lnTo>
                    <a:pt x="294" y="22"/>
                  </a:lnTo>
                  <a:lnTo>
                    <a:pt x="300" y="32"/>
                  </a:lnTo>
                  <a:lnTo>
                    <a:pt x="314" y="42"/>
                  </a:lnTo>
                  <a:lnTo>
                    <a:pt x="326" y="42"/>
                  </a:lnTo>
                  <a:lnTo>
                    <a:pt x="328" y="56"/>
                  </a:lnTo>
                  <a:lnTo>
                    <a:pt x="334" y="64"/>
                  </a:lnTo>
                  <a:lnTo>
                    <a:pt x="346" y="70"/>
                  </a:lnTo>
                  <a:lnTo>
                    <a:pt x="360" y="62"/>
                  </a:lnTo>
                  <a:lnTo>
                    <a:pt x="364" y="78"/>
                  </a:lnTo>
                  <a:lnTo>
                    <a:pt x="390" y="102"/>
                  </a:lnTo>
                  <a:lnTo>
                    <a:pt x="400" y="102"/>
                  </a:lnTo>
                  <a:lnTo>
                    <a:pt x="426" y="102"/>
                  </a:lnTo>
                  <a:lnTo>
                    <a:pt x="434" y="114"/>
                  </a:lnTo>
                  <a:lnTo>
                    <a:pt x="448" y="116"/>
                  </a:lnTo>
                  <a:lnTo>
                    <a:pt x="486" y="148"/>
                  </a:lnTo>
                  <a:lnTo>
                    <a:pt x="472" y="182"/>
                  </a:lnTo>
                  <a:lnTo>
                    <a:pt x="474" y="212"/>
                  </a:lnTo>
                  <a:lnTo>
                    <a:pt x="458" y="220"/>
                  </a:lnTo>
                  <a:lnTo>
                    <a:pt x="446" y="218"/>
                  </a:lnTo>
                  <a:close/>
                  <a:moveTo>
                    <a:pt x="510" y="514"/>
                  </a:moveTo>
                  <a:lnTo>
                    <a:pt x="506" y="534"/>
                  </a:lnTo>
                  <a:lnTo>
                    <a:pt x="518" y="552"/>
                  </a:lnTo>
                  <a:lnTo>
                    <a:pt x="530" y="552"/>
                  </a:lnTo>
                  <a:lnTo>
                    <a:pt x="538" y="538"/>
                  </a:lnTo>
                  <a:lnTo>
                    <a:pt x="540" y="512"/>
                  </a:lnTo>
                  <a:lnTo>
                    <a:pt x="536" y="492"/>
                  </a:lnTo>
                  <a:lnTo>
                    <a:pt x="536" y="478"/>
                  </a:lnTo>
                  <a:lnTo>
                    <a:pt x="528" y="476"/>
                  </a:lnTo>
                  <a:lnTo>
                    <a:pt x="524" y="492"/>
                  </a:lnTo>
                  <a:lnTo>
                    <a:pt x="512" y="498"/>
                  </a:lnTo>
                  <a:lnTo>
                    <a:pt x="510" y="514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95" name="French Guiana">
              <a:extLst>
                <a:ext uri="{FF2B5EF4-FFF2-40B4-BE49-F238E27FC236}">
                  <a16:creationId xmlns="" xmlns:a16="http://schemas.microsoft.com/office/drawing/2014/main" id="{8E5EE0EE-F723-45B4-8F48-669F631D0D74}"/>
                </a:ext>
              </a:extLst>
            </p:cNvPr>
            <p:cNvSpPr>
              <a:spLocks/>
            </p:cNvSpPr>
            <p:nvPr/>
          </p:nvSpPr>
          <p:spPr bwMode="gray">
            <a:xfrm>
              <a:off x="4020477" y="4442724"/>
              <a:ext cx="83949" cy="114060"/>
            </a:xfrm>
            <a:custGeom>
              <a:avLst/>
              <a:gdLst/>
              <a:ahLst/>
              <a:cxnLst>
                <a:cxn ang="0">
                  <a:pos x="16" y="134"/>
                </a:cxn>
                <a:cxn ang="0">
                  <a:pos x="0" y="130"/>
                </a:cxn>
                <a:cxn ang="0">
                  <a:pos x="14" y="108"/>
                </a:cxn>
                <a:cxn ang="0">
                  <a:pos x="10" y="94"/>
                </a:cxn>
                <a:cxn ang="0">
                  <a:pos x="18" y="84"/>
                </a:cxn>
                <a:cxn ang="0">
                  <a:pos x="4" y="70"/>
                </a:cxn>
                <a:cxn ang="0">
                  <a:pos x="0" y="46"/>
                </a:cxn>
                <a:cxn ang="0">
                  <a:pos x="4" y="24"/>
                </a:cxn>
                <a:cxn ang="0">
                  <a:pos x="24" y="0"/>
                </a:cxn>
                <a:cxn ang="0">
                  <a:pos x="38" y="0"/>
                </a:cxn>
                <a:cxn ang="0">
                  <a:pos x="44" y="6"/>
                </a:cxn>
                <a:cxn ang="0">
                  <a:pos x="56" y="8"/>
                </a:cxn>
                <a:cxn ang="0">
                  <a:pos x="74" y="16"/>
                </a:cxn>
                <a:cxn ang="0">
                  <a:pos x="104" y="44"/>
                </a:cxn>
                <a:cxn ang="0">
                  <a:pos x="96" y="70"/>
                </a:cxn>
                <a:cxn ang="0">
                  <a:pos x="80" y="94"/>
                </a:cxn>
                <a:cxn ang="0">
                  <a:pos x="72" y="126"/>
                </a:cxn>
                <a:cxn ang="0">
                  <a:pos x="54" y="140"/>
                </a:cxn>
                <a:cxn ang="0">
                  <a:pos x="48" y="128"/>
                </a:cxn>
                <a:cxn ang="0">
                  <a:pos x="32" y="122"/>
                </a:cxn>
                <a:cxn ang="0">
                  <a:pos x="16" y="134"/>
                </a:cxn>
              </a:cxnLst>
              <a:rect l="0" t="0" r="r" b="b"/>
              <a:pathLst>
                <a:path w="104" h="140">
                  <a:moveTo>
                    <a:pt x="16" y="134"/>
                  </a:moveTo>
                  <a:lnTo>
                    <a:pt x="0" y="130"/>
                  </a:lnTo>
                  <a:lnTo>
                    <a:pt x="14" y="108"/>
                  </a:lnTo>
                  <a:lnTo>
                    <a:pt x="10" y="94"/>
                  </a:lnTo>
                  <a:lnTo>
                    <a:pt x="18" y="84"/>
                  </a:lnTo>
                  <a:lnTo>
                    <a:pt x="4" y="70"/>
                  </a:lnTo>
                  <a:lnTo>
                    <a:pt x="0" y="46"/>
                  </a:lnTo>
                  <a:lnTo>
                    <a:pt x="4" y="24"/>
                  </a:lnTo>
                  <a:lnTo>
                    <a:pt x="24" y="0"/>
                  </a:lnTo>
                  <a:lnTo>
                    <a:pt x="38" y="0"/>
                  </a:lnTo>
                  <a:lnTo>
                    <a:pt x="44" y="6"/>
                  </a:lnTo>
                  <a:lnTo>
                    <a:pt x="56" y="8"/>
                  </a:lnTo>
                  <a:lnTo>
                    <a:pt x="74" y="16"/>
                  </a:lnTo>
                  <a:lnTo>
                    <a:pt x="104" y="44"/>
                  </a:lnTo>
                  <a:lnTo>
                    <a:pt x="96" y="70"/>
                  </a:lnTo>
                  <a:lnTo>
                    <a:pt x="80" y="94"/>
                  </a:lnTo>
                  <a:lnTo>
                    <a:pt x="72" y="126"/>
                  </a:lnTo>
                  <a:lnTo>
                    <a:pt x="54" y="140"/>
                  </a:lnTo>
                  <a:lnTo>
                    <a:pt x="48" y="128"/>
                  </a:lnTo>
                  <a:lnTo>
                    <a:pt x="32" y="122"/>
                  </a:lnTo>
                  <a:lnTo>
                    <a:pt x="16" y="134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96" name="Gabon">
              <a:extLst>
                <a:ext uri="{FF2B5EF4-FFF2-40B4-BE49-F238E27FC236}">
                  <a16:creationId xmlns="" xmlns:a16="http://schemas.microsoft.com/office/drawing/2014/main" id="{28E41F58-8C5E-4191-96D9-B5B1CC2C7C6C}"/>
                </a:ext>
              </a:extLst>
            </p:cNvPr>
            <p:cNvSpPr>
              <a:spLocks/>
            </p:cNvSpPr>
            <p:nvPr/>
          </p:nvSpPr>
          <p:spPr bwMode="gray">
            <a:xfrm>
              <a:off x="6078205" y="4495822"/>
              <a:ext cx="185469" cy="182889"/>
            </a:xfrm>
            <a:custGeom>
              <a:avLst/>
              <a:gdLst/>
              <a:ahLst/>
              <a:cxnLst>
                <a:cxn ang="0">
                  <a:pos x="104" y="4"/>
                </a:cxn>
                <a:cxn ang="0">
                  <a:pos x="172" y="0"/>
                </a:cxn>
                <a:cxn ang="0">
                  <a:pos x="172" y="10"/>
                </a:cxn>
                <a:cxn ang="0">
                  <a:pos x="166" y="42"/>
                </a:cxn>
                <a:cxn ang="0">
                  <a:pos x="180" y="42"/>
                </a:cxn>
                <a:cxn ang="0">
                  <a:pos x="198" y="34"/>
                </a:cxn>
                <a:cxn ang="0">
                  <a:pos x="218" y="44"/>
                </a:cxn>
                <a:cxn ang="0">
                  <a:pos x="222" y="64"/>
                </a:cxn>
                <a:cxn ang="0">
                  <a:pos x="206" y="78"/>
                </a:cxn>
                <a:cxn ang="0">
                  <a:pos x="204" y="94"/>
                </a:cxn>
                <a:cxn ang="0">
                  <a:pos x="230" y="116"/>
                </a:cxn>
                <a:cxn ang="0">
                  <a:pos x="220" y="172"/>
                </a:cxn>
                <a:cxn ang="0">
                  <a:pos x="208" y="182"/>
                </a:cxn>
                <a:cxn ang="0">
                  <a:pos x="200" y="178"/>
                </a:cxn>
                <a:cxn ang="0">
                  <a:pos x="168" y="176"/>
                </a:cxn>
                <a:cxn ang="0">
                  <a:pos x="158" y="160"/>
                </a:cxn>
                <a:cxn ang="0">
                  <a:pos x="144" y="176"/>
                </a:cxn>
                <a:cxn ang="0">
                  <a:pos x="114" y="180"/>
                </a:cxn>
                <a:cxn ang="0">
                  <a:pos x="104" y="188"/>
                </a:cxn>
                <a:cxn ang="0">
                  <a:pos x="118" y="212"/>
                </a:cxn>
                <a:cxn ang="0">
                  <a:pos x="104" y="222"/>
                </a:cxn>
                <a:cxn ang="0">
                  <a:pos x="92" y="210"/>
                </a:cxn>
                <a:cxn ang="0">
                  <a:pos x="72" y="222"/>
                </a:cxn>
                <a:cxn ang="0">
                  <a:pos x="42" y="192"/>
                </a:cxn>
                <a:cxn ang="0">
                  <a:pos x="40" y="182"/>
                </a:cxn>
                <a:cxn ang="0">
                  <a:pos x="28" y="174"/>
                </a:cxn>
                <a:cxn ang="0">
                  <a:pos x="24" y="146"/>
                </a:cxn>
                <a:cxn ang="0">
                  <a:pos x="28" y="124"/>
                </a:cxn>
                <a:cxn ang="0">
                  <a:pos x="14" y="118"/>
                </a:cxn>
                <a:cxn ang="0">
                  <a:pos x="0" y="108"/>
                </a:cxn>
                <a:cxn ang="0">
                  <a:pos x="2" y="96"/>
                </a:cxn>
                <a:cxn ang="0">
                  <a:pos x="14" y="92"/>
                </a:cxn>
                <a:cxn ang="0">
                  <a:pos x="22" y="80"/>
                </a:cxn>
                <a:cxn ang="0">
                  <a:pos x="32" y="62"/>
                </a:cxn>
                <a:cxn ang="0">
                  <a:pos x="26" y="44"/>
                </a:cxn>
                <a:cxn ang="0">
                  <a:pos x="56" y="42"/>
                </a:cxn>
                <a:cxn ang="0">
                  <a:pos x="100" y="42"/>
                </a:cxn>
                <a:cxn ang="0">
                  <a:pos x="104" y="4"/>
                </a:cxn>
              </a:cxnLst>
              <a:rect l="0" t="0" r="r" b="b"/>
              <a:pathLst>
                <a:path w="230" h="222">
                  <a:moveTo>
                    <a:pt x="104" y="4"/>
                  </a:moveTo>
                  <a:lnTo>
                    <a:pt x="172" y="0"/>
                  </a:lnTo>
                  <a:lnTo>
                    <a:pt x="172" y="10"/>
                  </a:lnTo>
                  <a:lnTo>
                    <a:pt x="166" y="42"/>
                  </a:lnTo>
                  <a:lnTo>
                    <a:pt x="180" y="42"/>
                  </a:lnTo>
                  <a:lnTo>
                    <a:pt x="198" y="34"/>
                  </a:lnTo>
                  <a:lnTo>
                    <a:pt x="218" y="44"/>
                  </a:lnTo>
                  <a:lnTo>
                    <a:pt x="222" y="64"/>
                  </a:lnTo>
                  <a:lnTo>
                    <a:pt x="206" y="78"/>
                  </a:lnTo>
                  <a:lnTo>
                    <a:pt x="204" y="94"/>
                  </a:lnTo>
                  <a:lnTo>
                    <a:pt x="230" y="116"/>
                  </a:lnTo>
                  <a:lnTo>
                    <a:pt x="220" y="172"/>
                  </a:lnTo>
                  <a:lnTo>
                    <a:pt x="208" y="182"/>
                  </a:lnTo>
                  <a:lnTo>
                    <a:pt x="200" y="178"/>
                  </a:lnTo>
                  <a:lnTo>
                    <a:pt x="168" y="176"/>
                  </a:lnTo>
                  <a:lnTo>
                    <a:pt x="158" y="160"/>
                  </a:lnTo>
                  <a:lnTo>
                    <a:pt x="144" y="176"/>
                  </a:lnTo>
                  <a:lnTo>
                    <a:pt x="114" y="180"/>
                  </a:lnTo>
                  <a:lnTo>
                    <a:pt x="104" y="188"/>
                  </a:lnTo>
                  <a:lnTo>
                    <a:pt x="118" y="212"/>
                  </a:lnTo>
                  <a:lnTo>
                    <a:pt x="104" y="222"/>
                  </a:lnTo>
                  <a:lnTo>
                    <a:pt x="92" y="210"/>
                  </a:lnTo>
                  <a:lnTo>
                    <a:pt x="72" y="222"/>
                  </a:lnTo>
                  <a:lnTo>
                    <a:pt x="42" y="192"/>
                  </a:lnTo>
                  <a:lnTo>
                    <a:pt x="40" y="182"/>
                  </a:lnTo>
                  <a:lnTo>
                    <a:pt x="28" y="174"/>
                  </a:lnTo>
                  <a:lnTo>
                    <a:pt x="24" y="146"/>
                  </a:lnTo>
                  <a:lnTo>
                    <a:pt x="28" y="124"/>
                  </a:lnTo>
                  <a:lnTo>
                    <a:pt x="14" y="118"/>
                  </a:lnTo>
                  <a:lnTo>
                    <a:pt x="0" y="108"/>
                  </a:lnTo>
                  <a:lnTo>
                    <a:pt x="2" y="96"/>
                  </a:lnTo>
                  <a:lnTo>
                    <a:pt x="14" y="92"/>
                  </a:lnTo>
                  <a:lnTo>
                    <a:pt x="22" y="80"/>
                  </a:lnTo>
                  <a:lnTo>
                    <a:pt x="32" y="62"/>
                  </a:lnTo>
                  <a:lnTo>
                    <a:pt x="26" y="44"/>
                  </a:lnTo>
                  <a:lnTo>
                    <a:pt x="56" y="42"/>
                  </a:lnTo>
                  <a:lnTo>
                    <a:pt x="100" y="42"/>
                  </a:lnTo>
                  <a:lnTo>
                    <a:pt x="104" y="4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97" name="Gambia">
              <a:extLst>
                <a:ext uri="{FF2B5EF4-FFF2-40B4-BE49-F238E27FC236}">
                  <a16:creationId xmlns="" xmlns:a16="http://schemas.microsoft.com/office/drawing/2014/main" id="{F03C81FB-76E1-40FE-821D-9DF186752428}"/>
                </a:ext>
              </a:extLst>
            </p:cNvPr>
            <p:cNvSpPr>
              <a:spLocks/>
            </p:cNvSpPr>
            <p:nvPr/>
          </p:nvSpPr>
          <p:spPr bwMode="gray">
            <a:xfrm>
              <a:off x="5283618" y="4112342"/>
              <a:ext cx="91758" cy="29499"/>
            </a:xfrm>
            <a:custGeom>
              <a:avLst/>
              <a:gdLst/>
              <a:ahLst/>
              <a:cxnLst>
                <a:cxn ang="0">
                  <a:pos x="0" y="34"/>
                </a:cxn>
                <a:cxn ang="0">
                  <a:pos x="50" y="28"/>
                </a:cxn>
                <a:cxn ang="0">
                  <a:pos x="62" y="22"/>
                </a:cxn>
                <a:cxn ang="0">
                  <a:pos x="78" y="22"/>
                </a:cxn>
                <a:cxn ang="0">
                  <a:pos x="102" y="30"/>
                </a:cxn>
                <a:cxn ang="0">
                  <a:pos x="112" y="22"/>
                </a:cxn>
                <a:cxn ang="0">
                  <a:pos x="106" y="14"/>
                </a:cxn>
                <a:cxn ang="0">
                  <a:pos x="94" y="14"/>
                </a:cxn>
                <a:cxn ang="0">
                  <a:pos x="78" y="4"/>
                </a:cxn>
                <a:cxn ang="0">
                  <a:pos x="70" y="0"/>
                </a:cxn>
                <a:cxn ang="0">
                  <a:pos x="62" y="6"/>
                </a:cxn>
                <a:cxn ang="0">
                  <a:pos x="46" y="6"/>
                </a:cxn>
                <a:cxn ang="0">
                  <a:pos x="12" y="4"/>
                </a:cxn>
                <a:cxn ang="0">
                  <a:pos x="12" y="14"/>
                </a:cxn>
                <a:cxn ang="0">
                  <a:pos x="0" y="34"/>
                </a:cxn>
              </a:cxnLst>
              <a:rect l="0" t="0" r="r" b="b"/>
              <a:pathLst>
                <a:path w="112" h="34">
                  <a:moveTo>
                    <a:pt x="0" y="34"/>
                  </a:moveTo>
                  <a:lnTo>
                    <a:pt x="50" y="28"/>
                  </a:lnTo>
                  <a:lnTo>
                    <a:pt x="62" y="22"/>
                  </a:lnTo>
                  <a:lnTo>
                    <a:pt x="78" y="22"/>
                  </a:lnTo>
                  <a:lnTo>
                    <a:pt x="102" y="30"/>
                  </a:lnTo>
                  <a:lnTo>
                    <a:pt x="112" y="22"/>
                  </a:lnTo>
                  <a:lnTo>
                    <a:pt x="106" y="14"/>
                  </a:lnTo>
                  <a:lnTo>
                    <a:pt x="94" y="14"/>
                  </a:lnTo>
                  <a:lnTo>
                    <a:pt x="78" y="4"/>
                  </a:lnTo>
                  <a:lnTo>
                    <a:pt x="70" y="0"/>
                  </a:lnTo>
                  <a:lnTo>
                    <a:pt x="62" y="6"/>
                  </a:lnTo>
                  <a:lnTo>
                    <a:pt x="46" y="6"/>
                  </a:lnTo>
                  <a:lnTo>
                    <a:pt x="12" y="4"/>
                  </a:lnTo>
                  <a:lnTo>
                    <a:pt x="12" y="14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98" name="Georgia">
              <a:extLst>
                <a:ext uri="{FF2B5EF4-FFF2-40B4-BE49-F238E27FC236}">
                  <a16:creationId xmlns="" xmlns:a16="http://schemas.microsoft.com/office/drawing/2014/main" id="{12979468-8D91-43CF-BD40-04479FC39E23}"/>
                </a:ext>
              </a:extLst>
            </p:cNvPr>
            <p:cNvSpPr>
              <a:spLocks/>
            </p:cNvSpPr>
            <p:nvPr/>
          </p:nvSpPr>
          <p:spPr bwMode="gray">
            <a:xfrm>
              <a:off x="7042643" y="3020902"/>
              <a:ext cx="191325" cy="102261"/>
            </a:xfrm>
            <a:custGeom>
              <a:avLst/>
              <a:gdLst/>
              <a:ahLst/>
              <a:cxnLst>
                <a:cxn ang="0">
                  <a:pos x="232" y="86"/>
                </a:cxn>
                <a:cxn ang="0">
                  <a:pos x="226" y="106"/>
                </a:cxn>
                <a:cxn ang="0">
                  <a:pos x="236" y="114"/>
                </a:cxn>
                <a:cxn ang="0">
                  <a:pos x="238" y="122"/>
                </a:cxn>
                <a:cxn ang="0">
                  <a:pos x="210" y="124"/>
                </a:cxn>
                <a:cxn ang="0">
                  <a:pos x="198" y="112"/>
                </a:cxn>
                <a:cxn ang="0">
                  <a:pos x="184" y="114"/>
                </a:cxn>
                <a:cxn ang="0">
                  <a:pos x="174" y="122"/>
                </a:cxn>
                <a:cxn ang="0">
                  <a:pos x="128" y="124"/>
                </a:cxn>
                <a:cxn ang="0">
                  <a:pos x="104" y="108"/>
                </a:cxn>
                <a:cxn ang="0">
                  <a:pos x="88" y="112"/>
                </a:cxn>
                <a:cxn ang="0">
                  <a:pos x="44" y="104"/>
                </a:cxn>
                <a:cxn ang="0">
                  <a:pos x="58" y="84"/>
                </a:cxn>
                <a:cxn ang="0">
                  <a:pos x="60" y="56"/>
                </a:cxn>
                <a:cxn ang="0">
                  <a:pos x="42" y="36"/>
                </a:cxn>
                <a:cxn ang="0">
                  <a:pos x="24" y="22"/>
                </a:cxn>
                <a:cxn ang="0">
                  <a:pos x="14" y="24"/>
                </a:cxn>
                <a:cxn ang="0">
                  <a:pos x="0" y="10"/>
                </a:cxn>
                <a:cxn ang="0">
                  <a:pos x="8" y="2"/>
                </a:cxn>
                <a:cxn ang="0">
                  <a:pos x="36" y="0"/>
                </a:cxn>
                <a:cxn ang="0">
                  <a:pos x="98" y="8"/>
                </a:cxn>
                <a:cxn ang="0">
                  <a:pos x="110" y="2"/>
                </a:cxn>
                <a:cxn ang="0">
                  <a:pos x="122" y="14"/>
                </a:cxn>
                <a:cxn ang="0">
                  <a:pos x="148" y="28"/>
                </a:cxn>
                <a:cxn ang="0">
                  <a:pos x="156" y="40"/>
                </a:cxn>
                <a:cxn ang="0">
                  <a:pos x="168" y="32"/>
                </a:cxn>
                <a:cxn ang="0">
                  <a:pos x="182" y="40"/>
                </a:cxn>
                <a:cxn ang="0">
                  <a:pos x="194" y="40"/>
                </a:cxn>
                <a:cxn ang="0">
                  <a:pos x="208" y="50"/>
                </a:cxn>
                <a:cxn ang="0">
                  <a:pos x="208" y="64"/>
                </a:cxn>
                <a:cxn ang="0">
                  <a:pos x="198" y="74"/>
                </a:cxn>
                <a:cxn ang="0">
                  <a:pos x="232" y="86"/>
                </a:cxn>
              </a:cxnLst>
              <a:rect l="0" t="0" r="r" b="b"/>
              <a:pathLst>
                <a:path w="238" h="124">
                  <a:moveTo>
                    <a:pt x="232" y="86"/>
                  </a:moveTo>
                  <a:lnTo>
                    <a:pt x="226" y="106"/>
                  </a:lnTo>
                  <a:lnTo>
                    <a:pt x="236" y="114"/>
                  </a:lnTo>
                  <a:lnTo>
                    <a:pt x="238" y="122"/>
                  </a:lnTo>
                  <a:lnTo>
                    <a:pt x="210" y="124"/>
                  </a:lnTo>
                  <a:lnTo>
                    <a:pt x="198" y="112"/>
                  </a:lnTo>
                  <a:lnTo>
                    <a:pt x="184" y="114"/>
                  </a:lnTo>
                  <a:lnTo>
                    <a:pt x="174" y="122"/>
                  </a:lnTo>
                  <a:lnTo>
                    <a:pt x="128" y="124"/>
                  </a:lnTo>
                  <a:lnTo>
                    <a:pt x="104" y="108"/>
                  </a:lnTo>
                  <a:lnTo>
                    <a:pt x="88" y="112"/>
                  </a:lnTo>
                  <a:lnTo>
                    <a:pt x="44" y="104"/>
                  </a:lnTo>
                  <a:lnTo>
                    <a:pt x="58" y="84"/>
                  </a:lnTo>
                  <a:lnTo>
                    <a:pt x="60" y="56"/>
                  </a:lnTo>
                  <a:lnTo>
                    <a:pt x="42" y="36"/>
                  </a:lnTo>
                  <a:lnTo>
                    <a:pt x="24" y="22"/>
                  </a:lnTo>
                  <a:lnTo>
                    <a:pt x="14" y="24"/>
                  </a:lnTo>
                  <a:lnTo>
                    <a:pt x="0" y="10"/>
                  </a:lnTo>
                  <a:lnTo>
                    <a:pt x="8" y="2"/>
                  </a:lnTo>
                  <a:lnTo>
                    <a:pt x="36" y="0"/>
                  </a:lnTo>
                  <a:lnTo>
                    <a:pt x="98" y="8"/>
                  </a:lnTo>
                  <a:lnTo>
                    <a:pt x="110" y="2"/>
                  </a:lnTo>
                  <a:lnTo>
                    <a:pt x="122" y="14"/>
                  </a:lnTo>
                  <a:lnTo>
                    <a:pt x="148" y="28"/>
                  </a:lnTo>
                  <a:lnTo>
                    <a:pt x="156" y="40"/>
                  </a:lnTo>
                  <a:lnTo>
                    <a:pt x="168" y="32"/>
                  </a:lnTo>
                  <a:lnTo>
                    <a:pt x="182" y="40"/>
                  </a:lnTo>
                  <a:lnTo>
                    <a:pt x="194" y="40"/>
                  </a:lnTo>
                  <a:lnTo>
                    <a:pt x="208" y="50"/>
                  </a:lnTo>
                  <a:lnTo>
                    <a:pt x="208" y="64"/>
                  </a:lnTo>
                  <a:lnTo>
                    <a:pt x="198" y="74"/>
                  </a:lnTo>
                  <a:lnTo>
                    <a:pt x="232" y="86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99" name="Germany">
              <a:extLst>
                <a:ext uri="{FF2B5EF4-FFF2-40B4-BE49-F238E27FC236}">
                  <a16:creationId xmlns="" xmlns:a16="http://schemas.microsoft.com/office/drawing/2014/main" id="{47D37164-D751-43C6-A47B-CCDEB02A8871}"/>
                </a:ext>
              </a:extLst>
            </p:cNvPr>
            <p:cNvSpPr>
              <a:spLocks/>
            </p:cNvSpPr>
            <p:nvPr/>
          </p:nvSpPr>
          <p:spPr bwMode="gray">
            <a:xfrm>
              <a:off x="5988399" y="2462399"/>
              <a:ext cx="281133" cy="373647"/>
            </a:xfrm>
            <a:custGeom>
              <a:avLst/>
              <a:gdLst/>
              <a:ahLst/>
              <a:cxnLst>
                <a:cxn ang="0">
                  <a:pos x="80" y="88"/>
                </a:cxn>
                <a:cxn ang="0">
                  <a:pos x="48" y="96"/>
                </a:cxn>
                <a:cxn ang="0">
                  <a:pos x="40" y="142"/>
                </a:cxn>
                <a:cxn ang="0">
                  <a:pos x="28" y="152"/>
                </a:cxn>
                <a:cxn ang="0">
                  <a:pos x="38" y="172"/>
                </a:cxn>
                <a:cxn ang="0">
                  <a:pos x="22" y="194"/>
                </a:cxn>
                <a:cxn ang="0">
                  <a:pos x="0" y="200"/>
                </a:cxn>
                <a:cxn ang="0">
                  <a:pos x="8" y="228"/>
                </a:cxn>
                <a:cxn ang="0">
                  <a:pos x="4" y="256"/>
                </a:cxn>
                <a:cxn ang="0">
                  <a:pos x="16" y="288"/>
                </a:cxn>
                <a:cxn ang="0">
                  <a:pos x="20" y="322"/>
                </a:cxn>
                <a:cxn ang="0">
                  <a:pos x="28" y="354"/>
                </a:cxn>
                <a:cxn ang="0">
                  <a:pos x="80" y="388"/>
                </a:cxn>
                <a:cxn ang="0">
                  <a:pos x="68" y="452"/>
                </a:cxn>
                <a:cxn ang="0">
                  <a:pos x="102" y="448"/>
                </a:cxn>
                <a:cxn ang="0">
                  <a:pos x="132" y="450"/>
                </a:cxn>
                <a:cxn ang="0">
                  <a:pos x="228" y="454"/>
                </a:cxn>
                <a:cxn ang="0">
                  <a:pos x="262" y="456"/>
                </a:cxn>
                <a:cxn ang="0">
                  <a:pos x="258" y="432"/>
                </a:cxn>
                <a:cxn ang="0">
                  <a:pos x="274" y="408"/>
                </a:cxn>
                <a:cxn ang="0">
                  <a:pos x="308" y="392"/>
                </a:cxn>
                <a:cxn ang="0">
                  <a:pos x="284" y="370"/>
                </a:cxn>
                <a:cxn ang="0">
                  <a:pos x="248" y="344"/>
                </a:cxn>
                <a:cxn ang="0">
                  <a:pos x="232" y="306"/>
                </a:cxn>
                <a:cxn ang="0">
                  <a:pos x="252" y="298"/>
                </a:cxn>
                <a:cxn ang="0">
                  <a:pos x="300" y="270"/>
                </a:cxn>
                <a:cxn ang="0">
                  <a:pos x="326" y="252"/>
                </a:cxn>
                <a:cxn ang="0">
                  <a:pos x="348" y="246"/>
                </a:cxn>
                <a:cxn ang="0">
                  <a:pos x="328" y="198"/>
                </a:cxn>
                <a:cxn ang="0">
                  <a:pos x="304" y="136"/>
                </a:cxn>
                <a:cxn ang="0">
                  <a:pos x="300" y="106"/>
                </a:cxn>
                <a:cxn ang="0">
                  <a:pos x="282" y="62"/>
                </a:cxn>
                <a:cxn ang="0">
                  <a:pos x="268" y="26"/>
                </a:cxn>
                <a:cxn ang="0">
                  <a:pos x="252" y="44"/>
                </a:cxn>
                <a:cxn ang="0">
                  <a:pos x="226" y="62"/>
                </a:cxn>
                <a:cxn ang="0">
                  <a:pos x="200" y="76"/>
                </a:cxn>
                <a:cxn ang="0">
                  <a:pos x="180" y="46"/>
                </a:cxn>
                <a:cxn ang="0">
                  <a:pos x="152" y="16"/>
                </a:cxn>
                <a:cxn ang="0">
                  <a:pos x="104" y="0"/>
                </a:cxn>
                <a:cxn ang="0">
                  <a:pos x="112" y="24"/>
                </a:cxn>
                <a:cxn ang="0">
                  <a:pos x="114" y="52"/>
                </a:cxn>
                <a:cxn ang="0">
                  <a:pos x="110" y="72"/>
                </a:cxn>
                <a:cxn ang="0">
                  <a:pos x="88" y="96"/>
                </a:cxn>
              </a:cxnLst>
              <a:rect l="0" t="0" r="r" b="b"/>
              <a:pathLst>
                <a:path w="348" h="458">
                  <a:moveTo>
                    <a:pt x="88" y="96"/>
                  </a:moveTo>
                  <a:lnTo>
                    <a:pt x="80" y="88"/>
                  </a:lnTo>
                  <a:lnTo>
                    <a:pt x="64" y="94"/>
                  </a:lnTo>
                  <a:lnTo>
                    <a:pt x="48" y="96"/>
                  </a:lnTo>
                  <a:lnTo>
                    <a:pt x="48" y="112"/>
                  </a:lnTo>
                  <a:lnTo>
                    <a:pt x="40" y="142"/>
                  </a:lnTo>
                  <a:lnTo>
                    <a:pt x="26" y="142"/>
                  </a:lnTo>
                  <a:lnTo>
                    <a:pt x="28" y="152"/>
                  </a:lnTo>
                  <a:lnTo>
                    <a:pt x="38" y="156"/>
                  </a:lnTo>
                  <a:lnTo>
                    <a:pt x="38" y="172"/>
                  </a:lnTo>
                  <a:lnTo>
                    <a:pt x="28" y="182"/>
                  </a:lnTo>
                  <a:lnTo>
                    <a:pt x="22" y="194"/>
                  </a:lnTo>
                  <a:lnTo>
                    <a:pt x="8" y="194"/>
                  </a:lnTo>
                  <a:lnTo>
                    <a:pt x="0" y="200"/>
                  </a:lnTo>
                  <a:lnTo>
                    <a:pt x="2" y="214"/>
                  </a:lnTo>
                  <a:lnTo>
                    <a:pt x="8" y="228"/>
                  </a:lnTo>
                  <a:lnTo>
                    <a:pt x="0" y="242"/>
                  </a:lnTo>
                  <a:lnTo>
                    <a:pt x="4" y="256"/>
                  </a:lnTo>
                  <a:lnTo>
                    <a:pt x="4" y="266"/>
                  </a:lnTo>
                  <a:lnTo>
                    <a:pt x="16" y="288"/>
                  </a:lnTo>
                  <a:lnTo>
                    <a:pt x="6" y="302"/>
                  </a:lnTo>
                  <a:lnTo>
                    <a:pt x="20" y="322"/>
                  </a:lnTo>
                  <a:lnTo>
                    <a:pt x="20" y="342"/>
                  </a:lnTo>
                  <a:lnTo>
                    <a:pt x="28" y="354"/>
                  </a:lnTo>
                  <a:lnTo>
                    <a:pt x="42" y="356"/>
                  </a:lnTo>
                  <a:lnTo>
                    <a:pt x="80" y="388"/>
                  </a:lnTo>
                  <a:lnTo>
                    <a:pt x="66" y="422"/>
                  </a:lnTo>
                  <a:lnTo>
                    <a:pt x="68" y="452"/>
                  </a:lnTo>
                  <a:lnTo>
                    <a:pt x="82" y="458"/>
                  </a:lnTo>
                  <a:lnTo>
                    <a:pt x="102" y="448"/>
                  </a:lnTo>
                  <a:lnTo>
                    <a:pt x="114" y="452"/>
                  </a:lnTo>
                  <a:lnTo>
                    <a:pt x="132" y="450"/>
                  </a:lnTo>
                  <a:lnTo>
                    <a:pt x="142" y="458"/>
                  </a:lnTo>
                  <a:lnTo>
                    <a:pt x="228" y="454"/>
                  </a:lnTo>
                  <a:lnTo>
                    <a:pt x="244" y="446"/>
                  </a:lnTo>
                  <a:lnTo>
                    <a:pt x="262" y="456"/>
                  </a:lnTo>
                  <a:lnTo>
                    <a:pt x="274" y="450"/>
                  </a:lnTo>
                  <a:lnTo>
                    <a:pt x="258" y="432"/>
                  </a:lnTo>
                  <a:lnTo>
                    <a:pt x="256" y="418"/>
                  </a:lnTo>
                  <a:lnTo>
                    <a:pt x="274" y="408"/>
                  </a:lnTo>
                  <a:lnTo>
                    <a:pt x="290" y="394"/>
                  </a:lnTo>
                  <a:lnTo>
                    <a:pt x="308" y="392"/>
                  </a:lnTo>
                  <a:lnTo>
                    <a:pt x="294" y="370"/>
                  </a:lnTo>
                  <a:lnTo>
                    <a:pt x="284" y="370"/>
                  </a:lnTo>
                  <a:lnTo>
                    <a:pt x="274" y="356"/>
                  </a:lnTo>
                  <a:lnTo>
                    <a:pt x="248" y="344"/>
                  </a:lnTo>
                  <a:lnTo>
                    <a:pt x="244" y="318"/>
                  </a:lnTo>
                  <a:lnTo>
                    <a:pt x="232" y="306"/>
                  </a:lnTo>
                  <a:lnTo>
                    <a:pt x="234" y="300"/>
                  </a:lnTo>
                  <a:lnTo>
                    <a:pt x="252" y="298"/>
                  </a:lnTo>
                  <a:lnTo>
                    <a:pt x="278" y="284"/>
                  </a:lnTo>
                  <a:lnTo>
                    <a:pt x="300" y="270"/>
                  </a:lnTo>
                  <a:lnTo>
                    <a:pt x="318" y="266"/>
                  </a:lnTo>
                  <a:lnTo>
                    <a:pt x="326" y="252"/>
                  </a:lnTo>
                  <a:lnTo>
                    <a:pt x="340" y="256"/>
                  </a:lnTo>
                  <a:lnTo>
                    <a:pt x="348" y="246"/>
                  </a:lnTo>
                  <a:lnTo>
                    <a:pt x="326" y="218"/>
                  </a:lnTo>
                  <a:lnTo>
                    <a:pt x="328" y="198"/>
                  </a:lnTo>
                  <a:lnTo>
                    <a:pt x="324" y="156"/>
                  </a:lnTo>
                  <a:lnTo>
                    <a:pt x="304" y="136"/>
                  </a:lnTo>
                  <a:lnTo>
                    <a:pt x="306" y="122"/>
                  </a:lnTo>
                  <a:lnTo>
                    <a:pt x="300" y="106"/>
                  </a:lnTo>
                  <a:lnTo>
                    <a:pt x="302" y="78"/>
                  </a:lnTo>
                  <a:lnTo>
                    <a:pt x="282" y="62"/>
                  </a:lnTo>
                  <a:lnTo>
                    <a:pt x="280" y="30"/>
                  </a:lnTo>
                  <a:lnTo>
                    <a:pt x="268" y="26"/>
                  </a:lnTo>
                  <a:lnTo>
                    <a:pt x="262" y="50"/>
                  </a:lnTo>
                  <a:lnTo>
                    <a:pt x="252" y="44"/>
                  </a:lnTo>
                  <a:lnTo>
                    <a:pt x="238" y="44"/>
                  </a:lnTo>
                  <a:lnTo>
                    <a:pt x="226" y="62"/>
                  </a:lnTo>
                  <a:lnTo>
                    <a:pt x="214" y="62"/>
                  </a:lnTo>
                  <a:lnTo>
                    <a:pt x="200" y="76"/>
                  </a:lnTo>
                  <a:lnTo>
                    <a:pt x="176" y="68"/>
                  </a:lnTo>
                  <a:lnTo>
                    <a:pt x="180" y="46"/>
                  </a:lnTo>
                  <a:lnTo>
                    <a:pt x="152" y="38"/>
                  </a:lnTo>
                  <a:lnTo>
                    <a:pt x="152" y="16"/>
                  </a:lnTo>
                  <a:lnTo>
                    <a:pt x="142" y="8"/>
                  </a:lnTo>
                  <a:lnTo>
                    <a:pt x="104" y="0"/>
                  </a:lnTo>
                  <a:lnTo>
                    <a:pt x="100" y="16"/>
                  </a:lnTo>
                  <a:lnTo>
                    <a:pt x="112" y="24"/>
                  </a:lnTo>
                  <a:lnTo>
                    <a:pt x="106" y="42"/>
                  </a:lnTo>
                  <a:lnTo>
                    <a:pt x="114" y="52"/>
                  </a:lnTo>
                  <a:lnTo>
                    <a:pt x="106" y="62"/>
                  </a:lnTo>
                  <a:lnTo>
                    <a:pt x="110" y="72"/>
                  </a:lnTo>
                  <a:lnTo>
                    <a:pt x="100" y="90"/>
                  </a:lnTo>
                  <a:lnTo>
                    <a:pt x="88" y="96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00" name="Ghana">
              <a:extLst>
                <a:ext uri="{FF2B5EF4-FFF2-40B4-BE49-F238E27FC236}">
                  <a16:creationId xmlns="" xmlns:a16="http://schemas.microsoft.com/office/drawing/2014/main" id="{45D7F5FE-94F4-4477-BE93-22400C5E7FF7}"/>
                </a:ext>
              </a:extLst>
            </p:cNvPr>
            <p:cNvSpPr>
              <a:spLocks/>
            </p:cNvSpPr>
            <p:nvPr/>
          </p:nvSpPr>
          <p:spPr bwMode="gray">
            <a:xfrm>
              <a:off x="5703362" y="4202804"/>
              <a:ext cx="140566" cy="206490"/>
            </a:xfrm>
            <a:custGeom>
              <a:avLst/>
              <a:gdLst/>
              <a:ahLst/>
              <a:cxnLst>
                <a:cxn ang="0">
                  <a:pos x="0" y="233"/>
                </a:cxn>
                <a:cxn ang="0">
                  <a:pos x="18" y="225"/>
                </a:cxn>
                <a:cxn ang="0">
                  <a:pos x="0" y="181"/>
                </a:cxn>
                <a:cxn ang="0">
                  <a:pos x="0" y="155"/>
                </a:cxn>
                <a:cxn ang="0">
                  <a:pos x="22" y="105"/>
                </a:cxn>
                <a:cxn ang="0">
                  <a:pos x="16" y="66"/>
                </a:cxn>
                <a:cxn ang="0">
                  <a:pos x="12" y="8"/>
                </a:cxn>
                <a:cxn ang="0">
                  <a:pos x="106" y="8"/>
                </a:cxn>
                <a:cxn ang="0">
                  <a:pos x="114" y="0"/>
                </a:cxn>
                <a:cxn ang="0">
                  <a:pos x="132" y="0"/>
                </a:cxn>
                <a:cxn ang="0">
                  <a:pos x="130" y="8"/>
                </a:cxn>
                <a:cxn ang="0">
                  <a:pos x="128" y="14"/>
                </a:cxn>
                <a:cxn ang="0">
                  <a:pos x="136" y="22"/>
                </a:cxn>
                <a:cxn ang="0">
                  <a:pos x="140" y="50"/>
                </a:cxn>
                <a:cxn ang="0">
                  <a:pos x="144" y="80"/>
                </a:cxn>
                <a:cxn ang="0">
                  <a:pos x="134" y="96"/>
                </a:cxn>
                <a:cxn ang="0">
                  <a:pos x="146" y="117"/>
                </a:cxn>
                <a:cxn ang="0">
                  <a:pos x="150" y="161"/>
                </a:cxn>
                <a:cxn ang="0">
                  <a:pos x="172" y="191"/>
                </a:cxn>
                <a:cxn ang="0">
                  <a:pos x="154" y="205"/>
                </a:cxn>
                <a:cxn ang="0">
                  <a:pos x="118" y="207"/>
                </a:cxn>
                <a:cxn ang="0">
                  <a:pos x="78" y="233"/>
                </a:cxn>
                <a:cxn ang="0">
                  <a:pos x="48" y="237"/>
                </a:cxn>
                <a:cxn ang="0">
                  <a:pos x="36" y="251"/>
                </a:cxn>
                <a:cxn ang="0">
                  <a:pos x="24" y="239"/>
                </a:cxn>
                <a:cxn ang="0">
                  <a:pos x="0" y="233"/>
                </a:cxn>
              </a:cxnLst>
              <a:rect l="0" t="0" r="r" b="b"/>
              <a:pathLst>
                <a:path w="172" h="251">
                  <a:moveTo>
                    <a:pt x="0" y="233"/>
                  </a:moveTo>
                  <a:lnTo>
                    <a:pt x="18" y="225"/>
                  </a:lnTo>
                  <a:lnTo>
                    <a:pt x="0" y="181"/>
                  </a:lnTo>
                  <a:lnTo>
                    <a:pt x="0" y="155"/>
                  </a:lnTo>
                  <a:lnTo>
                    <a:pt x="22" y="105"/>
                  </a:lnTo>
                  <a:lnTo>
                    <a:pt x="16" y="66"/>
                  </a:lnTo>
                  <a:lnTo>
                    <a:pt x="12" y="8"/>
                  </a:lnTo>
                  <a:lnTo>
                    <a:pt x="106" y="8"/>
                  </a:lnTo>
                  <a:lnTo>
                    <a:pt x="114" y="0"/>
                  </a:lnTo>
                  <a:lnTo>
                    <a:pt x="132" y="0"/>
                  </a:lnTo>
                  <a:lnTo>
                    <a:pt x="130" y="8"/>
                  </a:lnTo>
                  <a:lnTo>
                    <a:pt x="128" y="14"/>
                  </a:lnTo>
                  <a:lnTo>
                    <a:pt x="136" y="22"/>
                  </a:lnTo>
                  <a:lnTo>
                    <a:pt x="140" y="50"/>
                  </a:lnTo>
                  <a:lnTo>
                    <a:pt x="144" y="80"/>
                  </a:lnTo>
                  <a:lnTo>
                    <a:pt x="134" y="96"/>
                  </a:lnTo>
                  <a:lnTo>
                    <a:pt x="146" y="117"/>
                  </a:lnTo>
                  <a:lnTo>
                    <a:pt x="150" y="161"/>
                  </a:lnTo>
                  <a:lnTo>
                    <a:pt x="172" y="191"/>
                  </a:lnTo>
                  <a:lnTo>
                    <a:pt x="154" y="205"/>
                  </a:lnTo>
                  <a:lnTo>
                    <a:pt x="118" y="207"/>
                  </a:lnTo>
                  <a:lnTo>
                    <a:pt x="78" y="233"/>
                  </a:lnTo>
                  <a:lnTo>
                    <a:pt x="48" y="237"/>
                  </a:lnTo>
                  <a:lnTo>
                    <a:pt x="36" y="251"/>
                  </a:lnTo>
                  <a:lnTo>
                    <a:pt x="24" y="239"/>
                  </a:lnTo>
                  <a:lnTo>
                    <a:pt x="0" y="233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01" name="Greece">
              <a:extLst>
                <a:ext uri="{FF2B5EF4-FFF2-40B4-BE49-F238E27FC236}">
                  <a16:creationId xmlns="" xmlns:a16="http://schemas.microsoft.com/office/drawing/2014/main" id="{403BAA98-93C3-498B-A3D0-146387B68D5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423763" y="3091698"/>
              <a:ext cx="191325" cy="283184"/>
            </a:xfrm>
            <a:custGeom>
              <a:avLst/>
              <a:gdLst/>
              <a:ahLst/>
              <a:cxnLst>
                <a:cxn ang="0">
                  <a:pos x="0" y="118"/>
                </a:cxn>
                <a:cxn ang="0">
                  <a:pos x="12" y="96"/>
                </a:cxn>
                <a:cxn ang="0">
                  <a:pos x="38" y="72"/>
                </a:cxn>
                <a:cxn ang="0">
                  <a:pos x="44" y="62"/>
                </a:cxn>
                <a:cxn ang="0">
                  <a:pos x="82" y="38"/>
                </a:cxn>
                <a:cxn ang="0">
                  <a:pos x="108" y="24"/>
                </a:cxn>
                <a:cxn ang="0">
                  <a:pos x="150" y="14"/>
                </a:cxn>
                <a:cxn ang="0">
                  <a:pos x="186" y="26"/>
                </a:cxn>
                <a:cxn ang="0">
                  <a:pos x="218" y="10"/>
                </a:cxn>
                <a:cxn ang="0">
                  <a:pos x="232" y="8"/>
                </a:cxn>
                <a:cxn ang="0">
                  <a:pos x="216" y="54"/>
                </a:cxn>
                <a:cxn ang="0">
                  <a:pos x="162" y="48"/>
                </a:cxn>
                <a:cxn ang="0">
                  <a:pos x="134" y="66"/>
                </a:cxn>
                <a:cxn ang="0">
                  <a:pos x="136" y="86"/>
                </a:cxn>
                <a:cxn ang="0">
                  <a:pos x="122" y="96"/>
                </a:cxn>
                <a:cxn ang="0">
                  <a:pos x="100" y="86"/>
                </a:cxn>
                <a:cxn ang="0">
                  <a:pos x="88" y="94"/>
                </a:cxn>
                <a:cxn ang="0">
                  <a:pos x="106" y="130"/>
                </a:cxn>
                <a:cxn ang="0">
                  <a:pos x="116" y="146"/>
                </a:cxn>
                <a:cxn ang="0">
                  <a:pos x="130" y="168"/>
                </a:cxn>
                <a:cxn ang="0">
                  <a:pos x="158" y="200"/>
                </a:cxn>
                <a:cxn ang="0">
                  <a:pos x="142" y="216"/>
                </a:cxn>
                <a:cxn ang="0">
                  <a:pos x="106" y="198"/>
                </a:cxn>
                <a:cxn ang="0">
                  <a:pos x="120" y="236"/>
                </a:cxn>
                <a:cxn ang="0">
                  <a:pos x="106" y="248"/>
                </a:cxn>
                <a:cxn ang="0">
                  <a:pos x="90" y="258"/>
                </a:cxn>
                <a:cxn ang="0">
                  <a:pos x="70" y="254"/>
                </a:cxn>
                <a:cxn ang="0">
                  <a:pos x="48" y="248"/>
                </a:cxn>
                <a:cxn ang="0">
                  <a:pos x="36" y="206"/>
                </a:cxn>
                <a:cxn ang="0">
                  <a:pos x="58" y="194"/>
                </a:cxn>
                <a:cxn ang="0">
                  <a:pos x="94" y="204"/>
                </a:cxn>
                <a:cxn ang="0">
                  <a:pos x="82" y="184"/>
                </a:cxn>
                <a:cxn ang="0">
                  <a:pos x="46" y="178"/>
                </a:cxn>
                <a:cxn ang="0">
                  <a:pos x="16" y="158"/>
                </a:cxn>
                <a:cxn ang="0">
                  <a:pos x="0" y="132"/>
                </a:cxn>
                <a:cxn ang="0">
                  <a:pos x="160" y="338"/>
                </a:cxn>
                <a:cxn ang="0">
                  <a:pos x="226" y="342"/>
                </a:cxn>
                <a:cxn ang="0">
                  <a:pos x="210" y="332"/>
                </a:cxn>
                <a:cxn ang="0">
                  <a:pos x="168" y="322"/>
                </a:cxn>
                <a:cxn ang="0">
                  <a:pos x="150" y="320"/>
                </a:cxn>
                <a:cxn ang="0">
                  <a:pos x="130" y="330"/>
                </a:cxn>
              </a:cxnLst>
              <a:rect l="0" t="0" r="r" b="b"/>
              <a:pathLst>
                <a:path w="234" h="346">
                  <a:moveTo>
                    <a:pt x="0" y="132"/>
                  </a:moveTo>
                  <a:lnTo>
                    <a:pt x="0" y="118"/>
                  </a:lnTo>
                  <a:lnTo>
                    <a:pt x="12" y="106"/>
                  </a:lnTo>
                  <a:lnTo>
                    <a:pt x="12" y="96"/>
                  </a:lnTo>
                  <a:lnTo>
                    <a:pt x="24" y="80"/>
                  </a:lnTo>
                  <a:lnTo>
                    <a:pt x="38" y="72"/>
                  </a:lnTo>
                  <a:lnTo>
                    <a:pt x="38" y="54"/>
                  </a:lnTo>
                  <a:lnTo>
                    <a:pt x="44" y="62"/>
                  </a:lnTo>
                  <a:lnTo>
                    <a:pt x="62" y="48"/>
                  </a:lnTo>
                  <a:lnTo>
                    <a:pt x="82" y="38"/>
                  </a:lnTo>
                  <a:lnTo>
                    <a:pt x="98" y="28"/>
                  </a:lnTo>
                  <a:lnTo>
                    <a:pt x="108" y="24"/>
                  </a:lnTo>
                  <a:lnTo>
                    <a:pt x="130" y="24"/>
                  </a:lnTo>
                  <a:lnTo>
                    <a:pt x="150" y="14"/>
                  </a:lnTo>
                  <a:lnTo>
                    <a:pt x="172" y="20"/>
                  </a:lnTo>
                  <a:lnTo>
                    <a:pt x="186" y="26"/>
                  </a:lnTo>
                  <a:lnTo>
                    <a:pt x="216" y="24"/>
                  </a:lnTo>
                  <a:lnTo>
                    <a:pt x="218" y="10"/>
                  </a:lnTo>
                  <a:lnTo>
                    <a:pt x="224" y="0"/>
                  </a:lnTo>
                  <a:lnTo>
                    <a:pt x="232" y="8"/>
                  </a:lnTo>
                  <a:lnTo>
                    <a:pt x="230" y="28"/>
                  </a:lnTo>
                  <a:lnTo>
                    <a:pt x="216" y="54"/>
                  </a:lnTo>
                  <a:lnTo>
                    <a:pt x="188" y="46"/>
                  </a:lnTo>
                  <a:lnTo>
                    <a:pt x="162" y="48"/>
                  </a:lnTo>
                  <a:lnTo>
                    <a:pt x="142" y="58"/>
                  </a:lnTo>
                  <a:lnTo>
                    <a:pt x="134" y="66"/>
                  </a:lnTo>
                  <a:lnTo>
                    <a:pt x="154" y="84"/>
                  </a:lnTo>
                  <a:lnTo>
                    <a:pt x="136" y="86"/>
                  </a:lnTo>
                  <a:lnTo>
                    <a:pt x="138" y="96"/>
                  </a:lnTo>
                  <a:lnTo>
                    <a:pt x="122" y="96"/>
                  </a:lnTo>
                  <a:lnTo>
                    <a:pt x="112" y="88"/>
                  </a:lnTo>
                  <a:lnTo>
                    <a:pt x="100" y="86"/>
                  </a:lnTo>
                  <a:lnTo>
                    <a:pt x="90" y="76"/>
                  </a:lnTo>
                  <a:lnTo>
                    <a:pt x="88" y="94"/>
                  </a:lnTo>
                  <a:lnTo>
                    <a:pt x="98" y="110"/>
                  </a:lnTo>
                  <a:lnTo>
                    <a:pt x="106" y="130"/>
                  </a:lnTo>
                  <a:lnTo>
                    <a:pt x="102" y="146"/>
                  </a:lnTo>
                  <a:lnTo>
                    <a:pt x="116" y="146"/>
                  </a:lnTo>
                  <a:lnTo>
                    <a:pt x="122" y="160"/>
                  </a:lnTo>
                  <a:lnTo>
                    <a:pt x="130" y="168"/>
                  </a:lnTo>
                  <a:lnTo>
                    <a:pt x="146" y="174"/>
                  </a:lnTo>
                  <a:lnTo>
                    <a:pt x="158" y="200"/>
                  </a:lnTo>
                  <a:lnTo>
                    <a:pt x="140" y="198"/>
                  </a:lnTo>
                  <a:lnTo>
                    <a:pt x="142" y="216"/>
                  </a:lnTo>
                  <a:lnTo>
                    <a:pt x="128" y="200"/>
                  </a:lnTo>
                  <a:lnTo>
                    <a:pt x="106" y="198"/>
                  </a:lnTo>
                  <a:lnTo>
                    <a:pt x="116" y="218"/>
                  </a:lnTo>
                  <a:lnTo>
                    <a:pt x="120" y="236"/>
                  </a:lnTo>
                  <a:lnTo>
                    <a:pt x="106" y="234"/>
                  </a:lnTo>
                  <a:lnTo>
                    <a:pt x="106" y="248"/>
                  </a:lnTo>
                  <a:lnTo>
                    <a:pt x="112" y="272"/>
                  </a:lnTo>
                  <a:lnTo>
                    <a:pt x="90" y="258"/>
                  </a:lnTo>
                  <a:lnTo>
                    <a:pt x="84" y="274"/>
                  </a:lnTo>
                  <a:lnTo>
                    <a:pt x="70" y="254"/>
                  </a:lnTo>
                  <a:lnTo>
                    <a:pt x="60" y="264"/>
                  </a:lnTo>
                  <a:lnTo>
                    <a:pt x="48" y="248"/>
                  </a:lnTo>
                  <a:lnTo>
                    <a:pt x="48" y="230"/>
                  </a:lnTo>
                  <a:lnTo>
                    <a:pt x="36" y="206"/>
                  </a:lnTo>
                  <a:lnTo>
                    <a:pt x="44" y="194"/>
                  </a:lnTo>
                  <a:lnTo>
                    <a:pt x="58" y="194"/>
                  </a:lnTo>
                  <a:lnTo>
                    <a:pt x="68" y="190"/>
                  </a:lnTo>
                  <a:lnTo>
                    <a:pt x="94" y="204"/>
                  </a:lnTo>
                  <a:lnTo>
                    <a:pt x="102" y="194"/>
                  </a:lnTo>
                  <a:lnTo>
                    <a:pt x="82" y="184"/>
                  </a:lnTo>
                  <a:lnTo>
                    <a:pt x="52" y="182"/>
                  </a:lnTo>
                  <a:lnTo>
                    <a:pt x="46" y="178"/>
                  </a:lnTo>
                  <a:lnTo>
                    <a:pt x="36" y="184"/>
                  </a:lnTo>
                  <a:lnTo>
                    <a:pt x="16" y="158"/>
                  </a:lnTo>
                  <a:lnTo>
                    <a:pt x="18" y="148"/>
                  </a:lnTo>
                  <a:lnTo>
                    <a:pt x="0" y="132"/>
                  </a:lnTo>
                  <a:close/>
                  <a:moveTo>
                    <a:pt x="130" y="330"/>
                  </a:moveTo>
                  <a:lnTo>
                    <a:pt x="160" y="338"/>
                  </a:lnTo>
                  <a:lnTo>
                    <a:pt x="170" y="346"/>
                  </a:lnTo>
                  <a:lnTo>
                    <a:pt x="226" y="342"/>
                  </a:lnTo>
                  <a:lnTo>
                    <a:pt x="234" y="324"/>
                  </a:lnTo>
                  <a:lnTo>
                    <a:pt x="210" y="332"/>
                  </a:lnTo>
                  <a:lnTo>
                    <a:pt x="210" y="324"/>
                  </a:lnTo>
                  <a:lnTo>
                    <a:pt x="168" y="322"/>
                  </a:lnTo>
                  <a:lnTo>
                    <a:pt x="158" y="328"/>
                  </a:lnTo>
                  <a:lnTo>
                    <a:pt x="150" y="320"/>
                  </a:lnTo>
                  <a:lnTo>
                    <a:pt x="126" y="318"/>
                  </a:lnTo>
                  <a:lnTo>
                    <a:pt x="130" y="330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02" name="Greenland">
              <a:extLst>
                <a:ext uri="{FF2B5EF4-FFF2-40B4-BE49-F238E27FC236}">
                  <a16:creationId xmlns="" xmlns:a16="http://schemas.microsoft.com/office/drawing/2014/main" id="{90E5E72B-DB8C-4BF9-916C-6367AE2A4DE5}"/>
                </a:ext>
              </a:extLst>
            </p:cNvPr>
            <p:cNvSpPr>
              <a:spLocks/>
            </p:cNvSpPr>
            <p:nvPr/>
          </p:nvSpPr>
          <p:spPr bwMode="gray">
            <a:xfrm>
              <a:off x="3671014" y="859652"/>
              <a:ext cx="1497417" cy="1168136"/>
            </a:xfrm>
            <a:custGeom>
              <a:avLst/>
              <a:gdLst/>
              <a:ahLst/>
              <a:cxnLst>
                <a:cxn ang="0">
                  <a:pos x="25" y="143"/>
                </a:cxn>
                <a:cxn ang="0">
                  <a:pos x="96" y="119"/>
                </a:cxn>
                <a:cxn ang="0">
                  <a:pos x="70" y="96"/>
                </a:cxn>
                <a:cxn ang="0">
                  <a:pos x="150" y="69"/>
                </a:cxn>
                <a:cxn ang="0">
                  <a:pos x="231" y="51"/>
                </a:cxn>
                <a:cxn ang="0">
                  <a:pos x="276" y="72"/>
                </a:cxn>
                <a:cxn ang="0">
                  <a:pos x="291" y="45"/>
                </a:cxn>
                <a:cxn ang="0">
                  <a:pos x="330" y="60"/>
                </a:cxn>
                <a:cxn ang="0">
                  <a:pos x="345" y="39"/>
                </a:cxn>
                <a:cxn ang="0">
                  <a:pos x="378" y="24"/>
                </a:cxn>
                <a:cxn ang="0">
                  <a:pos x="433" y="17"/>
                </a:cxn>
                <a:cxn ang="0">
                  <a:pos x="489" y="2"/>
                </a:cxn>
                <a:cxn ang="0">
                  <a:pos x="561" y="0"/>
                </a:cxn>
                <a:cxn ang="0">
                  <a:pos x="589" y="6"/>
                </a:cxn>
                <a:cxn ang="0">
                  <a:pos x="568" y="18"/>
                </a:cxn>
                <a:cxn ang="0">
                  <a:pos x="568" y="26"/>
                </a:cxn>
                <a:cxn ang="0">
                  <a:pos x="628" y="21"/>
                </a:cxn>
                <a:cxn ang="0">
                  <a:pos x="666" y="33"/>
                </a:cxn>
                <a:cxn ang="0">
                  <a:pos x="612" y="54"/>
                </a:cxn>
                <a:cxn ang="0">
                  <a:pos x="631" y="65"/>
                </a:cxn>
                <a:cxn ang="0">
                  <a:pos x="643" y="89"/>
                </a:cxn>
                <a:cxn ang="0">
                  <a:pos x="742" y="62"/>
                </a:cxn>
                <a:cxn ang="0">
                  <a:pos x="783" y="65"/>
                </a:cxn>
                <a:cxn ang="0">
                  <a:pos x="745" y="96"/>
                </a:cxn>
                <a:cxn ang="0">
                  <a:pos x="700" y="123"/>
                </a:cxn>
                <a:cxn ang="0">
                  <a:pos x="681" y="149"/>
                </a:cxn>
                <a:cxn ang="0">
                  <a:pos x="684" y="168"/>
                </a:cxn>
                <a:cxn ang="0">
                  <a:pos x="697" y="198"/>
                </a:cxn>
                <a:cxn ang="0">
                  <a:pos x="687" y="212"/>
                </a:cxn>
                <a:cxn ang="0">
                  <a:pos x="664" y="234"/>
                </a:cxn>
                <a:cxn ang="0">
                  <a:pos x="663" y="267"/>
                </a:cxn>
                <a:cxn ang="0">
                  <a:pos x="651" y="287"/>
                </a:cxn>
                <a:cxn ang="0">
                  <a:pos x="663" y="314"/>
                </a:cxn>
                <a:cxn ang="0">
                  <a:pos x="658" y="344"/>
                </a:cxn>
                <a:cxn ang="0">
                  <a:pos x="630" y="344"/>
                </a:cxn>
                <a:cxn ang="0">
                  <a:pos x="595" y="354"/>
                </a:cxn>
                <a:cxn ang="0">
                  <a:pos x="619" y="369"/>
                </a:cxn>
                <a:cxn ang="0">
                  <a:pos x="612" y="390"/>
                </a:cxn>
                <a:cxn ang="0">
                  <a:pos x="544" y="413"/>
                </a:cxn>
                <a:cxn ang="0">
                  <a:pos x="499" y="432"/>
                </a:cxn>
                <a:cxn ang="0">
                  <a:pos x="448" y="470"/>
                </a:cxn>
                <a:cxn ang="0">
                  <a:pos x="409" y="516"/>
                </a:cxn>
                <a:cxn ang="0">
                  <a:pos x="376" y="576"/>
                </a:cxn>
                <a:cxn ang="0">
                  <a:pos x="355" y="606"/>
                </a:cxn>
                <a:cxn ang="0">
                  <a:pos x="310" y="582"/>
                </a:cxn>
                <a:cxn ang="0">
                  <a:pos x="265" y="521"/>
                </a:cxn>
                <a:cxn ang="0">
                  <a:pos x="240" y="479"/>
                </a:cxn>
                <a:cxn ang="0">
                  <a:pos x="255" y="440"/>
                </a:cxn>
                <a:cxn ang="0">
                  <a:pos x="268" y="407"/>
                </a:cxn>
                <a:cxn ang="0">
                  <a:pos x="268" y="362"/>
                </a:cxn>
                <a:cxn ang="0">
                  <a:pos x="250" y="326"/>
                </a:cxn>
                <a:cxn ang="0">
                  <a:pos x="208" y="317"/>
                </a:cxn>
                <a:cxn ang="0">
                  <a:pos x="196" y="255"/>
                </a:cxn>
                <a:cxn ang="0">
                  <a:pos x="153" y="213"/>
                </a:cxn>
                <a:cxn ang="0">
                  <a:pos x="102" y="210"/>
                </a:cxn>
                <a:cxn ang="0">
                  <a:pos x="78" y="218"/>
                </a:cxn>
                <a:cxn ang="0">
                  <a:pos x="46" y="213"/>
                </a:cxn>
                <a:cxn ang="0">
                  <a:pos x="9" y="197"/>
                </a:cxn>
                <a:cxn ang="0">
                  <a:pos x="33" y="176"/>
                </a:cxn>
                <a:cxn ang="0">
                  <a:pos x="0" y="162"/>
                </a:cxn>
              </a:cxnLst>
              <a:rect l="0" t="0" r="r" b="b"/>
              <a:pathLst>
                <a:path w="783" h="606">
                  <a:moveTo>
                    <a:pt x="6" y="149"/>
                  </a:moveTo>
                  <a:lnTo>
                    <a:pt x="25" y="143"/>
                  </a:lnTo>
                  <a:lnTo>
                    <a:pt x="67" y="143"/>
                  </a:lnTo>
                  <a:lnTo>
                    <a:pt x="96" y="119"/>
                  </a:lnTo>
                  <a:lnTo>
                    <a:pt x="63" y="114"/>
                  </a:lnTo>
                  <a:lnTo>
                    <a:pt x="70" y="96"/>
                  </a:lnTo>
                  <a:lnTo>
                    <a:pt x="123" y="83"/>
                  </a:lnTo>
                  <a:lnTo>
                    <a:pt x="150" y="69"/>
                  </a:lnTo>
                  <a:lnTo>
                    <a:pt x="196" y="50"/>
                  </a:lnTo>
                  <a:lnTo>
                    <a:pt x="231" y="51"/>
                  </a:lnTo>
                  <a:lnTo>
                    <a:pt x="255" y="66"/>
                  </a:lnTo>
                  <a:lnTo>
                    <a:pt x="276" y="72"/>
                  </a:lnTo>
                  <a:lnTo>
                    <a:pt x="279" y="51"/>
                  </a:lnTo>
                  <a:lnTo>
                    <a:pt x="291" y="45"/>
                  </a:lnTo>
                  <a:lnTo>
                    <a:pt x="306" y="53"/>
                  </a:lnTo>
                  <a:lnTo>
                    <a:pt x="330" y="60"/>
                  </a:lnTo>
                  <a:lnTo>
                    <a:pt x="328" y="42"/>
                  </a:lnTo>
                  <a:lnTo>
                    <a:pt x="345" y="39"/>
                  </a:lnTo>
                  <a:lnTo>
                    <a:pt x="370" y="39"/>
                  </a:lnTo>
                  <a:lnTo>
                    <a:pt x="378" y="24"/>
                  </a:lnTo>
                  <a:lnTo>
                    <a:pt x="409" y="24"/>
                  </a:lnTo>
                  <a:lnTo>
                    <a:pt x="433" y="17"/>
                  </a:lnTo>
                  <a:lnTo>
                    <a:pt x="448" y="3"/>
                  </a:lnTo>
                  <a:lnTo>
                    <a:pt x="489" y="2"/>
                  </a:lnTo>
                  <a:lnTo>
                    <a:pt x="532" y="6"/>
                  </a:lnTo>
                  <a:lnTo>
                    <a:pt x="561" y="0"/>
                  </a:lnTo>
                  <a:lnTo>
                    <a:pt x="570" y="6"/>
                  </a:lnTo>
                  <a:lnTo>
                    <a:pt x="589" y="6"/>
                  </a:lnTo>
                  <a:lnTo>
                    <a:pt x="595" y="14"/>
                  </a:lnTo>
                  <a:lnTo>
                    <a:pt x="568" y="18"/>
                  </a:lnTo>
                  <a:lnTo>
                    <a:pt x="543" y="23"/>
                  </a:lnTo>
                  <a:lnTo>
                    <a:pt x="568" y="26"/>
                  </a:lnTo>
                  <a:lnTo>
                    <a:pt x="591" y="21"/>
                  </a:lnTo>
                  <a:lnTo>
                    <a:pt x="628" y="21"/>
                  </a:lnTo>
                  <a:lnTo>
                    <a:pt x="645" y="33"/>
                  </a:lnTo>
                  <a:lnTo>
                    <a:pt x="666" y="33"/>
                  </a:lnTo>
                  <a:lnTo>
                    <a:pt x="649" y="54"/>
                  </a:lnTo>
                  <a:lnTo>
                    <a:pt x="612" y="54"/>
                  </a:lnTo>
                  <a:lnTo>
                    <a:pt x="597" y="65"/>
                  </a:lnTo>
                  <a:lnTo>
                    <a:pt x="631" y="65"/>
                  </a:lnTo>
                  <a:lnTo>
                    <a:pt x="663" y="66"/>
                  </a:lnTo>
                  <a:lnTo>
                    <a:pt x="643" y="89"/>
                  </a:lnTo>
                  <a:lnTo>
                    <a:pt x="682" y="60"/>
                  </a:lnTo>
                  <a:lnTo>
                    <a:pt x="742" y="62"/>
                  </a:lnTo>
                  <a:lnTo>
                    <a:pt x="763" y="56"/>
                  </a:lnTo>
                  <a:lnTo>
                    <a:pt x="783" y="65"/>
                  </a:lnTo>
                  <a:lnTo>
                    <a:pt x="775" y="81"/>
                  </a:lnTo>
                  <a:lnTo>
                    <a:pt x="745" y="96"/>
                  </a:lnTo>
                  <a:lnTo>
                    <a:pt x="715" y="99"/>
                  </a:lnTo>
                  <a:lnTo>
                    <a:pt x="700" y="123"/>
                  </a:lnTo>
                  <a:lnTo>
                    <a:pt x="694" y="137"/>
                  </a:lnTo>
                  <a:lnTo>
                    <a:pt x="681" y="149"/>
                  </a:lnTo>
                  <a:lnTo>
                    <a:pt x="666" y="156"/>
                  </a:lnTo>
                  <a:lnTo>
                    <a:pt x="684" y="168"/>
                  </a:lnTo>
                  <a:lnTo>
                    <a:pt x="705" y="191"/>
                  </a:lnTo>
                  <a:lnTo>
                    <a:pt x="697" y="198"/>
                  </a:lnTo>
                  <a:lnTo>
                    <a:pt x="678" y="198"/>
                  </a:lnTo>
                  <a:lnTo>
                    <a:pt x="687" y="212"/>
                  </a:lnTo>
                  <a:lnTo>
                    <a:pt x="688" y="227"/>
                  </a:lnTo>
                  <a:lnTo>
                    <a:pt x="664" y="234"/>
                  </a:lnTo>
                  <a:lnTo>
                    <a:pt x="657" y="251"/>
                  </a:lnTo>
                  <a:lnTo>
                    <a:pt x="663" y="267"/>
                  </a:lnTo>
                  <a:lnTo>
                    <a:pt x="678" y="275"/>
                  </a:lnTo>
                  <a:lnTo>
                    <a:pt x="651" y="287"/>
                  </a:lnTo>
                  <a:lnTo>
                    <a:pt x="640" y="290"/>
                  </a:lnTo>
                  <a:lnTo>
                    <a:pt x="663" y="314"/>
                  </a:lnTo>
                  <a:lnTo>
                    <a:pt x="649" y="326"/>
                  </a:lnTo>
                  <a:lnTo>
                    <a:pt x="658" y="344"/>
                  </a:lnTo>
                  <a:lnTo>
                    <a:pt x="648" y="356"/>
                  </a:lnTo>
                  <a:lnTo>
                    <a:pt x="630" y="344"/>
                  </a:lnTo>
                  <a:lnTo>
                    <a:pt x="610" y="344"/>
                  </a:lnTo>
                  <a:lnTo>
                    <a:pt x="595" y="354"/>
                  </a:lnTo>
                  <a:lnTo>
                    <a:pt x="600" y="369"/>
                  </a:lnTo>
                  <a:lnTo>
                    <a:pt x="619" y="369"/>
                  </a:lnTo>
                  <a:lnTo>
                    <a:pt x="637" y="378"/>
                  </a:lnTo>
                  <a:lnTo>
                    <a:pt x="612" y="390"/>
                  </a:lnTo>
                  <a:lnTo>
                    <a:pt x="582" y="413"/>
                  </a:lnTo>
                  <a:lnTo>
                    <a:pt x="544" y="413"/>
                  </a:lnTo>
                  <a:lnTo>
                    <a:pt x="525" y="426"/>
                  </a:lnTo>
                  <a:lnTo>
                    <a:pt x="499" y="432"/>
                  </a:lnTo>
                  <a:lnTo>
                    <a:pt x="475" y="461"/>
                  </a:lnTo>
                  <a:lnTo>
                    <a:pt x="448" y="470"/>
                  </a:lnTo>
                  <a:lnTo>
                    <a:pt x="418" y="489"/>
                  </a:lnTo>
                  <a:lnTo>
                    <a:pt x="409" y="516"/>
                  </a:lnTo>
                  <a:lnTo>
                    <a:pt x="399" y="542"/>
                  </a:lnTo>
                  <a:lnTo>
                    <a:pt x="376" y="576"/>
                  </a:lnTo>
                  <a:lnTo>
                    <a:pt x="378" y="597"/>
                  </a:lnTo>
                  <a:lnTo>
                    <a:pt x="355" y="606"/>
                  </a:lnTo>
                  <a:lnTo>
                    <a:pt x="331" y="584"/>
                  </a:lnTo>
                  <a:lnTo>
                    <a:pt x="310" y="582"/>
                  </a:lnTo>
                  <a:lnTo>
                    <a:pt x="285" y="551"/>
                  </a:lnTo>
                  <a:lnTo>
                    <a:pt x="265" y="521"/>
                  </a:lnTo>
                  <a:lnTo>
                    <a:pt x="258" y="492"/>
                  </a:lnTo>
                  <a:lnTo>
                    <a:pt x="240" y="479"/>
                  </a:lnTo>
                  <a:lnTo>
                    <a:pt x="243" y="452"/>
                  </a:lnTo>
                  <a:lnTo>
                    <a:pt x="255" y="440"/>
                  </a:lnTo>
                  <a:lnTo>
                    <a:pt x="268" y="425"/>
                  </a:lnTo>
                  <a:lnTo>
                    <a:pt x="268" y="407"/>
                  </a:lnTo>
                  <a:lnTo>
                    <a:pt x="279" y="381"/>
                  </a:lnTo>
                  <a:lnTo>
                    <a:pt x="268" y="362"/>
                  </a:lnTo>
                  <a:lnTo>
                    <a:pt x="273" y="335"/>
                  </a:lnTo>
                  <a:lnTo>
                    <a:pt x="250" y="326"/>
                  </a:lnTo>
                  <a:lnTo>
                    <a:pt x="217" y="329"/>
                  </a:lnTo>
                  <a:lnTo>
                    <a:pt x="208" y="317"/>
                  </a:lnTo>
                  <a:lnTo>
                    <a:pt x="216" y="296"/>
                  </a:lnTo>
                  <a:lnTo>
                    <a:pt x="196" y="255"/>
                  </a:lnTo>
                  <a:lnTo>
                    <a:pt x="181" y="233"/>
                  </a:lnTo>
                  <a:lnTo>
                    <a:pt x="153" y="213"/>
                  </a:lnTo>
                  <a:lnTo>
                    <a:pt x="126" y="209"/>
                  </a:lnTo>
                  <a:lnTo>
                    <a:pt x="102" y="210"/>
                  </a:lnTo>
                  <a:lnTo>
                    <a:pt x="94" y="219"/>
                  </a:lnTo>
                  <a:lnTo>
                    <a:pt x="78" y="218"/>
                  </a:lnTo>
                  <a:lnTo>
                    <a:pt x="66" y="204"/>
                  </a:lnTo>
                  <a:lnTo>
                    <a:pt x="46" y="213"/>
                  </a:lnTo>
                  <a:lnTo>
                    <a:pt x="22" y="212"/>
                  </a:lnTo>
                  <a:lnTo>
                    <a:pt x="9" y="197"/>
                  </a:lnTo>
                  <a:lnTo>
                    <a:pt x="18" y="185"/>
                  </a:lnTo>
                  <a:lnTo>
                    <a:pt x="33" y="176"/>
                  </a:lnTo>
                  <a:lnTo>
                    <a:pt x="13" y="173"/>
                  </a:lnTo>
                  <a:lnTo>
                    <a:pt x="0" y="162"/>
                  </a:lnTo>
                  <a:lnTo>
                    <a:pt x="6" y="149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03" name="Guernsey">
              <a:extLst>
                <a:ext uri="{FF2B5EF4-FFF2-40B4-BE49-F238E27FC236}">
                  <a16:creationId xmlns="" xmlns:a16="http://schemas.microsoft.com/office/drawing/2014/main" id="{F85D85F3-8CE0-4B9E-AEA9-E8E6898D1E0B}"/>
                </a:ext>
              </a:extLst>
            </p:cNvPr>
            <p:cNvSpPr>
              <a:spLocks/>
            </p:cNvSpPr>
            <p:nvPr/>
          </p:nvSpPr>
          <p:spPr bwMode="gray">
            <a:xfrm>
              <a:off x="5722886" y="2745584"/>
              <a:ext cx="13667" cy="13765"/>
            </a:xfrm>
            <a:custGeom>
              <a:avLst/>
              <a:gdLst/>
              <a:ahLst/>
              <a:cxnLst>
                <a:cxn ang="0">
                  <a:pos x="188" y="94"/>
                </a:cxn>
                <a:cxn ang="0">
                  <a:pos x="94" y="188"/>
                </a:cxn>
                <a:cxn ang="0">
                  <a:pos x="0" y="94"/>
                </a:cxn>
                <a:cxn ang="0">
                  <a:pos x="0" y="90"/>
                </a:cxn>
                <a:cxn ang="0">
                  <a:pos x="94" y="0"/>
                </a:cxn>
                <a:cxn ang="0">
                  <a:pos x="188" y="94"/>
                </a:cxn>
              </a:cxnLst>
              <a:rect l="0" t="0" r="r" b="b"/>
              <a:pathLst>
                <a:path w="188" h="188">
                  <a:moveTo>
                    <a:pt x="188" y="94"/>
                  </a:moveTo>
                  <a:cubicBezTo>
                    <a:pt x="188" y="146"/>
                    <a:pt x="146" y="188"/>
                    <a:pt x="94" y="188"/>
                  </a:cubicBezTo>
                  <a:cubicBezTo>
                    <a:pt x="42" y="188"/>
                    <a:pt x="0" y="146"/>
                    <a:pt x="0" y="94"/>
                  </a:cubicBezTo>
                  <a:cubicBezTo>
                    <a:pt x="0" y="93"/>
                    <a:pt x="0" y="91"/>
                    <a:pt x="0" y="90"/>
                  </a:cubicBezTo>
                  <a:cubicBezTo>
                    <a:pt x="3" y="40"/>
                    <a:pt x="44" y="0"/>
                    <a:pt x="94" y="0"/>
                  </a:cubicBezTo>
                  <a:cubicBezTo>
                    <a:pt x="146" y="0"/>
                    <a:pt x="188" y="43"/>
                    <a:pt x="188" y="94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04" name="Guinea">
              <a:extLst>
                <a:ext uri="{FF2B5EF4-FFF2-40B4-BE49-F238E27FC236}">
                  <a16:creationId xmlns="" xmlns:a16="http://schemas.microsoft.com/office/drawing/2014/main" id="{12E8DD5F-9FA4-41E2-9346-E4A5E883FFA9}"/>
                </a:ext>
              </a:extLst>
            </p:cNvPr>
            <p:cNvSpPr>
              <a:spLocks/>
            </p:cNvSpPr>
            <p:nvPr/>
          </p:nvSpPr>
          <p:spPr bwMode="gray">
            <a:xfrm>
              <a:off x="5344137" y="4161506"/>
              <a:ext cx="222562" cy="151425"/>
            </a:xfrm>
            <a:custGeom>
              <a:avLst/>
              <a:gdLst/>
              <a:ahLst/>
              <a:cxnLst>
                <a:cxn ang="0">
                  <a:pos x="14" y="84"/>
                </a:cxn>
                <a:cxn ang="0">
                  <a:pos x="0" y="72"/>
                </a:cxn>
                <a:cxn ang="0">
                  <a:pos x="10" y="54"/>
                </a:cxn>
                <a:cxn ang="0">
                  <a:pos x="20" y="46"/>
                </a:cxn>
                <a:cxn ang="0">
                  <a:pos x="34" y="36"/>
                </a:cxn>
                <a:cxn ang="0">
                  <a:pos x="46" y="30"/>
                </a:cxn>
                <a:cxn ang="0">
                  <a:pos x="48" y="20"/>
                </a:cxn>
                <a:cxn ang="0">
                  <a:pos x="42" y="16"/>
                </a:cxn>
                <a:cxn ang="0">
                  <a:pos x="48" y="12"/>
                </a:cxn>
                <a:cxn ang="0">
                  <a:pos x="48" y="2"/>
                </a:cxn>
                <a:cxn ang="0">
                  <a:pos x="62" y="0"/>
                </a:cxn>
                <a:cxn ang="0">
                  <a:pos x="76" y="8"/>
                </a:cxn>
                <a:cxn ang="0">
                  <a:pos x="109" y="8"/>
                </a:cxn>
                <a:cxn ang="0">
                  <a:pos x="125" y="4"/>
                </a:cxn>
                <a:cxn ang="0">
                  <a:pos x="137" y="16"/>
                </a:cxn>
                <a:cxn ang="0">
                  <a:pos x="153" y="12"/>
                </a:cxn>
                <a:cxn ang="0">
                  <a:pos x="161" y="28"/>
                </a:cxn>
                <a:cxn ang="0">
                  <a:pos x="219" y="0"/>
                </a:cxn>
                <a:cxn ang="0">
                  <a:pos x="229" y="8"/>
                </a:cxn>
                <a:cxn ang="0">
                  <a:pos x="235" y="38"/>
                </a:cxn>
                <a:cxn ang="0">
                  <a:pos x="251" y="42"/>
                </a:cxn>
                <a:cxn ang="0">
                  <a:pos x="251" y="54"/>
                </a:cxn>
                <a:cxn ang="0">
                  <a:pos x="241" y="70"/>
                </a:cxn>
                <a:cxn ang="0">
                  <a:pos x="261" y="70"/>
                </a:cxn>
                <a:cxn ang="0">
                  <a:pos x="267" y="94"/>
                </a:cxn>
                <a:cxn ang="0">
                  <a:pos x="265" y="110"/>
                </a:cxn>
                <a:cxn ang="0">
                  <a:pos x="273" y="122"/>
                </a:cxn>
                <a:cxn ang="0">
                  <a:pos x="273" y="151"/>
                </a:cxn>
                <a:cxn ang="0">
                  <a:pos x="263" y="155"/>
                </a:cxn>
                <a:cxn ang="0">
                  <a:pos x="259" y="173"/>
                </a:cxn>
                <a:cxn ang="0">
                  <a:pos x="245" y="177"/>
                </a:cxn>
                <a:cxn ang="0">
                  <a:pos x="223" y="185"/>
                </a:cxn>
                <a:cxn ang="0">
                  <a:pos x="207" y="183"/>
                </a:cxn>
                <a:cxn ang="0">
                  <a:pos x="205" y="157"/>
                </a:cxn>
                <a:cxn ang="0">
                  <a:pos x="181" y="161"/>
                </a:cxn>
                <a:cxn ang="0">
                  <a:pos x="167" y="169"/>
                </a:cxn>
                <a:cxn ang="0">
                  <a:pos x="155" y="124"/>
                </a:cxn>
                <a:cxn ang="0">
                  <a:pos x="141" y="112"/>
                </a:cxn>
                <a:cxn ang="0">
                  <a:pos x="133" y="108"/>
                </a:cxn>
                <a:cxn ang="0">
                  <a:pos x="117" y="112"/>
                </a:cxn>
                <a:cxn ang="0">
                  <a:pos x="103" y="110"/>
                </a:cxn>
                <a:cxn ang="0">
                  <a:pos x="58" y="132"/>
                </a:cxn>
                <a:cxn ang="0">
                  <a:pos x="54" y="114"/>
                </a:cxn>
                <a:cxn ang="0">
                  <a:pos x="40" y="110"/>
                </a:cxn>
                <a:cxn ang="0">
                  <a:pos x="22" y="96"/>
                </a:cxn>
                <a:cxn ang="0">
                  <a:pos x="22" y="84"/>
                </a:cxn>
                <a:cxn ang="0">
                  <a:pos x="14" y="84"/>
                </a:cxn>
              </a:cxnLst>
              <a:rect l="0" t="0" r="r" b="b"/>
              <a:pathLst>
                <a:path w="273" h="185">
                  <a:moveTo>
                    <a:pt x="14" y="84"/>
                  </a:moveTo>
                  <a:lnTo>
                    <a:pt x="0" y="72"/>
                  </a:lnTo>
                  <a:lnTo>
                    <a:pt x="10" y="54"/>
                  </a:lnTo>
                  <a:lnTo>
                    <a:pt x="20" y="46"/>
                  </a:lnTo>
                  <a:lnTo>
                    <a:pt x="34" y="36"/>
                  </a:lnTo>
                  <a:lnTo>
                    <a:pt x="46" y="30"/>
                  </a:lnTo>
                  <a:lnTo>
                    <a:pt x="48" y="20"/>
                  </a:lnTo>
                  <a:lnTo>
                    <a:pt x="42" y="16"/>
                  </a:lnTo>
                  <a:lnTo>
                    <a:pt x="48" y="12"/>
                  </a:lnTo>
                  <a:lnTo>
                    <a:pt x="48" y="2"/>
                  </a:lnTo>
                  <a:lnTo>
                    <a:pt x="62" y="0"/>
                  </a:lnTo>
                  <a:lnTo>
                    <a:pt x="76" y="8"/>
                  </a:lnTo>
                  <a:lnTo>
                    <a:pt x="109" y="8"/>
                  </a:lnTo>
                  <a:lnTo>
                    <a:pt x="125" y="4"/>
                  </a:lnTo>
                  <a:lnTo>
                    <a:pt x="137" y="16"/>
                  </a:lnTo>
                  <a:lnTo>
                    <a:pt x="153" y="12"/>
                  </a:lnTo>
                  <a:lnTo>
                    <a:pt x="161" y="28"/>
                  </a:lnTo>
                  <a:lnTo>
                    <a:pt x="219" y="0"/>
                  </a:lnTo>
                  <a:lnTo>
                    <a:pt x="229" y="8"/>
                  </a:lnTo>
                  <a:lnTo>
                    <a:pt x="235" y="38"/>
                  </a:lnTo>
                  <a:lnTo>
                    <a:pt x="251" y="42"/>
                  </a:lnTo>
                  <a:lnTo>
                    <a:pt x="251" y="54"/>
                  </a:lnTo>
                  <a:lnTo>
                    <a:pt x="241" y="70"/>
                  </a:lnTo>
                  <a:lnTo>
                    <a:pt x="261" y="70"/>
                  </a:lnTo>
                  <a:lnTo>
                    <a:pt x="267" y="94"/>
                  </a:lnTo>
                  <a:lnTo>
                    <a:pt x="265" y="110"/>
                  </a:lnTo>
                  <a:lnTo>
                    <a:pt x="273" y="122"/>
                  </a:lnTo>
                  <a:lnTo>
                    <a:pt x="273" y="151"/>
                  </a:lnTo>
                  <a:lnTo>
                    <a:pt x="263" y="155"/>
                  </a:lnTo>
                  <a:lnTo>
                    <a:pt x="259" y="173"/>
                  </a:lnTo>
                  <a:lnTo>
                    <a:pt x="245" y="177"/>
                  </a:lnTo>
                  <a:lnTo>
                    <a:pt x="223" y="185"/>
                  </a:lnTo>
                  <a:lnTo>
                    <a:pt x="207" y="183"/>
                  </a:lnTo>
                  <a:lnTo>
                    <a:pt x="205" y="157"/>
                  </a:lnTo>
                  <a:lnTo>
                    <a:pt x="181" y="161"/>
                  </a:lnTo>
                  <a:lnTo>
                    <a:pt x="167" y="169"/>
                  </a:lnTo>
                  <a:lnTo>
                    <a:pt x="155" y="124"/>
                  </a:lnTo>
                  <a:lnTo>
                    <a:pt x="141" y="112"/>
                  </a:lnTo>
                  <a:lnTo>
                    <a:pt x="133" y="108"/>
                  </a:lnTo>
                  <a:lnTo>
                    <a:pt x="117" y="112"/>
                  </a:lnTo>
                  <a:lnTo>
                    <a:pt x="103" y="110"/>
                  </a:lnTo>
                  <a:lnTo>
                    <a:pt x="58" y="132"/>
                  </a:lnTo>
                  <a:lnTo>
                    <a:pt x="54" y="114"/>
                  </a:lnTo>
                  <a:lnTo>
                    <a:pt x="40" y="110"/>
                  </a:lnTo>
                  <a:lnTo>
                    <a:pt x="22" y="96"/>
                  </a:lnTo>
                  <a:lnTo>
                    <a:pt x="22" y="84"/>
                  </a:lnTo>
                  <a:lnTo>
                    <a:pt x="14" y="84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05" name="Guinea Bissau">
              <a:extLst>
                <a:ext uri="{FF2B5EF4-FFF2-40B4-BE49-F238E27FC236}">
                  <a16:creationId xmlns="" xmlns:a16="http://schemas.microsoft.com/office/drawing/2014/main" id="{DC0EA51A-FF9D-4F2B-BA08-336EA5069568}"/>
                </a:ext>
              </a:extLst>
            </p:cNvPr>
            <p:cNvSpPr>
              <a:spLocks/>
            </p:cNvSpPr>
            <p:nvPr/>
          </p:nvSpPr>
          <p:spPr bwMode="gray">
            <a:xfrm>
              <a:off x="5289473" y="4153640"/>
              <a:ext cx="93711" cy="66863"/>
            </a:xfrm>
            <a:custGeom>
              <a:avLst/>
              <a:gdLst/>
              <a:ahLst/>
              <a:cxnLst>
                <a:cxn ang="0">
                  <a:pos x="10" y="32"/>
                </a:cxn>
                <a:cxn ang="0">
                  <a:pos x="0" y="16"/>
                </a:cxn>
                <a:cxn ang="0">
                  <a:pos x="30" y="14"/>
                </a:cxn>
                <a:cxn ang="0">
                  <a:pos x="40" y="4"/>
                </a:cxn>
                <a:cxn ang="0">
                  <a:pos x="54" y="0"/>
                </a:cxn>
                <a:cxn ang="0">
                  <a:pos x="68" y="8"/>
                </a:cxn>
                <a:cxn ang="0">
                  <a:pos x="116" y="10"/>
                </a:cxn>
                <a:cxn ang="0">
                  <a:pos x="116" y="20"/>
                </a:cxn>
                <a:cxn ang="0">
                  <a:pos x="110" y="24"/>
                </a:cxn>
                <a:cxn ang="0">
                  <a:pos x="116" y="28"/>
                </a:cxn>
                <a:cxn ang="0">
                  <a:pos x="114" y="38"/>
                </a:cxn>
                <a:cxn ang="0">
                  <a:pos x="102" y="44"/>
                </a:cxn>
                <a:cxn ang="0">
                  <a:pos x="88" y="54"/>
                </a:cxn>
                <a:cxn ang="0">
                  <a:pos x="78" y="62"/>
                </a:cxn>
                <a:cxn ang="0">
                  <a:pos x="68" y="80"/>
                </a:cxn>
                <a:cxn ang="0">
                  <a:pos x="56" y="78"/>
                </a:cxn>
                <a:cxn ang="0">
                  <a:pos x="56" y="60"/>
                </a:cxn>
                <a:cxn ang="0">
                  <a:pos x="74" y="44"/>
                </a:cxn>
                <a:cxn ang="0">
                  <a:pos x="72" y="30"/>
                </a:cxn>
                <a:cxn ang="0">
                  <a:pos x="48" y="32"/>
                </a:cxn>
                <a:cxn ang="0">
                  <a:pos x="28" y="38"/>
                </a:cxn>
                <a:cxn ang="0">
                  <a:pos x="10" y="32"/>
                </a:cxn>
              </a:cxnLst>
              <a:rect l="0" t="0" r="r" b="b"/>
              <a:pathLst>
                <a:path w="116" h="80">
                  <a:moveTo>
                    <a:pt x="10" y="32"/>
                  </a:moveTo>
                  <a:lnTo>
                    <a:pt x="0" y="16"/>
                  </a:lnTo>
                  <a:lnTo>
                    <a:pt x="30" y="14"/>
                  </a:lnTo>
                  <a:lnTo>
                    <a:pt x="40" y="4"/>
                  </a:lnTo>
                  <a:lnTo>
                    <a:pt x="54" y="0"/>
                  </a:lnTo>
                  <a:lnTo>
                    <a:pt x="68" y="8"/>
                  </a:lnTo>
                  <a:lnTo>
                    <a:pt x="116" y="10"/>
                  </a:lnTo>
                  <a:lnTo>
                    <a:pt x="116" y="20"/>
                  </a:lnTo>
                  <a:lnTo>
                    <a:pt x="110" y="24"/>
                  </a:lnTo>
                  <a:lnTo>
                    <a:pt x="116" y="28"/>
                  </a:lnTo>
                  <a:lnTo>
                    <a:pt x="114" y="38"/>
                  </a:lnTo>
                  <a:lnTo>
                    <a:pt x="102" y="44"/>
                  </a:lnTo>
                  <a:lnTo>
                    <a:pt x="88" y="54"/>
                  </a:lnTo>
                  <a:lnTo>
                    <a:pt x="78" y="62"/>
                  </a:lnTo>
                  <a:lnTo>
                    <a:pt x="68" y="80"/>
                  </a:lnTo>
                  <a:lnTo>
                    <a:pt x="56" y="78"/>
                  </a:lnTo>
                  <a:lnTo>
                    <a:pt x="56" y="60"/>
                  </a:lnTo>
                  <a:lnTo>
                    <a:pt x="74" y="44"/>
                  </a:lnTo>
                  <a:lnTo>
                    <a:pt x="72" y="30"/>
                  </a:lnTo>
                  <a:lnTo>
                    <a:pt x="48" y="32"/>
                  </a:lnTo>
                  <a:lnTo>
                    <a:pt x="28" y="38"/>
                  </a:lnTo>
                  <a:lnTo>
                    <a:pt x="10" y="32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06" name="Guyana">
              <a:extLst>
                <a:ext uri="{FF2B5EF4-FFF2-40B4-BE49-F238E27FC236}">
                  <a16:creationId xmlns="" xmlns:a16="http://schemas.microsoft.com/office/drawing/2014/main" id="{BBABAE5E-8D5E-461C-A93E-86163B6C3693}"/>
                </a:ext>
              </a:extLst>
            </p:cNvPr>
            <p:cNvSpPr>
              <a:spLocks/>
            </p:cNvSpPr>
            <p:nvPr/>
          </p:nvSpPr>
          <p:spPr bwMode="gray">
            <a:xfrm>
              <a:off x="3807675" y="4356195"/>
              <a:ext cx="136661" cy="226155"/>
            </a:xfrm>
            <a:custGeom>
              <a:avLst/>
              <a:gdLst/>
              <a:ahLst/>
              <a:cxnLst>
                <a:cxn ang="0">
                  <a:pos x="56" y="124"/>
                </a:cxn>
                <a:cxn ang="0">
                  <a:pos x="28" y="126"/>
                </a:cxn>
                <a:cxn ang="0">
                  <a:pos x="0" y="102"/>
                </a:cxn>
                <a:cxn ang="0">
                  <a:pos x="6" y="86"/>
                </a:cxn>
                <a:cxn ang="0">
                  <a:pos x="8" y="60"/>
                </a:cxn>
                <a:cxn ang="0">
                  <a:pos x="34" y="52"/>
                </a:cxn>
                <a:cxn ang="0">
                  <a:pos x="36" y="24"/>
                </a:cxn>
                <a:cxn ang="0">
                  <a:pos x="56" y="0"/>
                </a:cxn>
                <a:cxn ang="0">
                  <a:pos x="64" y="6"/>
                </a:cxn>
                <a:cxn ang="0">
                  <a:pos x="76" y="6"/>
                </a:cxn>
                <a:cxn ang="0">
                  <a:pos x="112" y="38"/>
                </a:cxn>
                <a:cxn ang="0">
                  <a:pos x="112" y="62"/>
                </a:cxn>
                <a:cxn ang="0">
                  <a:pos x="130" y="58"/>
                </a:cxn>
                <a:cxn ang="0">
                  <a:pos x="150" y="76"/>
                </a:cxn>
                <a:cxn ang="0">
                  <a:pos x="162" y="94"/>
                </a:cxn>
                <a:cxn ang="0">
                  <a:pos x="156" y="112"/>
                </a:cxn>
                <a:cxn ang="0">
                  <a:pos x="156" y="128"/>
                </a:cxn>
                <a:cxn ang="0">
                  <a:pos x="144" y="138"/>
                </a:cxn>
                <a:cxn ang="0">
                  <a:pos x="128" y="134"/>
                </a:cxn>
                <a:cxn ang="0">
                  <a:pos x="126" y="158"/>
                </a:cxn>
                <a:cxn ang="0">
                  <a:pos x="132" y="188"/>
                </a:cxn>
                <a:cxn ang="0">
                  <a:pos x="152" y="200"/>
                </a:cxn>
                <a:cxn ang="0">
                  <a:pos x="170" y="246"/>
                </a:cxn>
                <a:cxn ang="0">
                  <a:pos x="148" y="250"/>
                </a:cxn>
                <a:cxn ang="0">
                  <a:pos x="122" y="264"/>
                </a:cxn>
                <a:cxn ang="0">
                  <a:pos x="108" y="262"/>
                </a:cxn>
                <a:cxn ang="0">
                  <a:pos x="90" y="276"/>
                </a:cxn>
                <a:cxn ang="0">
                  <a:pos x="58" y="250"/>
                </a:cxn>
                <a:cxn ang="0">
                  <a:pos x="68" y="238"/>
                </a:cxn>
                <a:cxn ang="0">
                  <a:pos x="54" y="224"/>
                </a:cxn>
                <a:cxn ang="0">
                  <a:pos x="62" y="200"/>
                </a:cxn>
                <a:cxn ang="0">
                  <a:pos x="62" y="186"/>
                </a:cxn>
                <a:cxn ang="0">
                  <a:pos x="74" y="166"/>
                </a:cxn>
                <a:cxn ang="0">
                  <a:pos x="58" y="154"/>
                </a:cxn>
                <a:cxn ang="0">
                  <a:pos x="48" y="142"/>
                </a:cxn>
                <a:cxn ang="0">
                  <a:pos x="56" y="124"/>
                </a:cxn>
              </a:cxnLst>
              <a:rect l="0" t="0" r="r" b="b"/>
              <a:pathLst>
                <a:path w="170" h="276">
                  <a:moveTo>
                    <a:pt x="56" y="124"/>
                  </a:moveTo>
                  <a:lnTo>
                    <a:pt x="28" y="126"/>
                  </a:lnTo>
                  <a:lnTo>
                    <a:pt x="0" y="102"/>
                  </a:lnTo>
                  <a:lnTo>
                    <a:pt x="6" y="86"/>
                  </a:lnTo>
                  <a:lnTo>
                    <a:pt x="8" y="60"/>
                  </a:lnTo>
                  <a:lnTo>
                    <a:pt x="34" y="52"/>
                  </a:lnTo>
                  <a:lnTo>
                    <a:pt x="36" y="24"/>
                  </a:lnTo>
                  <a:lnTo>
                    <a:pt x="56" y="0"/>
                  </a:lnTo>
                  <a:lnTo>
                    <a:pt x="64" y="6"/>
                  </a:lnTo>
                  <a:lnTo>
                    <a:pt x="76" y="6"/>
                  </a:lnTo>
                  <a:lnTo>
                    <a:pt x="112" y="38"/>
                  </a:lnTo>
                  <a:lnTo>
                    <a:pt x="112" y="62"/>
                  </a:lnTo>
                  <a:lnTo>
                    <a:pt x="130" y="58"/>
                  </a:lnTo>
                  <a:lnTo>
                    <a:pt x="150" y="76"/>
                  </a:lnTo>
                  <a:lnTo>
                    <a:pt x="162" y="94"/>
                  </a:lnTo>
                  <a:lnTo>
                    <a:pt x="156" y="112"/>
                  </a:lnTo>
                  <a:lnTo>
                    <a:pt x="156" y="128"/>
                  </a:lnTo>
                  <a:lnTo>
                    <a:pt x="144" y="138"/>
                  </a:lnTo>
                  <a:lnTo>
                    <a:pt x="128" y="134"/>
                  </a:lnTo>
                  <a:lnTo>
                    <a:pt x="126" y="158"/>
                  </a:lnTo>
                  <a:lnTo>
                    <a:pt x="132" y="188"/>
                  </a:lnTo>
                  <a:lnTo>
                    <a:pt x="152" y="200"/>
                  </a:lnTo>
                  <a:lnTo>
                    <a:pt x="170" y="246"/>
                  </a:lnTo>
                  <a:lnTo>
                    <a:pt x="148" y="250"/>
                  </a:lnTo>
                  <a:lnTo>
                    <a:pt x="122" y="264"/>
                  </a:lnTo>
                  <a:lnTo>
                    <a:pt x="108" y="262"/>
                  </a:lnTo>
                  <a:lnTo>
                    <a:pt x="90" y="276"/>
                  </a:lnTo>
                  <a:lnTo>
                    <a:pt x="58" y="250"/>
                  </a:lnTo>
                  <a:lnTo>
                    <a:pt x="68" y="238"/>
                  </a:lnTo>
                  <a:lnTo>
                    <a:pt x="54" y="224"/>
                  </a:lnTo>
                  <a:lnTo>
                    <a:pt x="62" y="200"/>
                  </a:lnTo>
                  <a:lnTo>
                    <a:pt x="62" y="186"/>
                  </a:lnTo>
                  <a:lnTo>
                    <a:pt x="74" y="166"/>
                  </a:lnTo>
                  <a:lnTo>
                    <a:pt x="58" y="154"/>
                  </a:lnTo>
                  <a:lnTo>
                    <a:pt x="48" y="142"/>
                  </a:lnTo>
                  <a:lnTo>
                    <a:pt x="56" y="124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07" name="Haiti">
              <a:extLst>
                <a:ext uri="{FF2B5EF4-FFF2-40B4-BE49-F238E27FC236}">
                  <a16:creationId xmlns="" xmlns:a16="http://schemas.microsoft.com/office/drawing/2014/main" id="{DBB1AC60-7350-4466-918B-6BC70E0BC0F5}"/>
                </a:ext>
              </a:extLst>
            </p:cNvPr>
            <p:cNvSpPr>
              <a:spLocks/>
            </p:cNvSpPr>
            <p:nvPr/>
          </p:nvSpPr>
          <p:spPr bwMode="gray">
            <a:xfrm>
              <a:off x="3464070" y="3976649"/>
              <a:ext cx="81997" cy="64896"/>
            </a:xfrm>
            <a:custGeom>
              <a:avLst/>
              <a:gdLst/>
              <a:ahLst/>
              <a:cxnLst>
                <a:cxn ang="0">
                  <a:pos x="92" y="62"/>
                </a:cxn>
                <a:cxn ang="0">
                  <a:pos x="102" y="16"/>
                </a:cxn>
                <a:cxn ang="0">
                  <a:pos x="94" y="6"/>
                </a:cxn>
                <a:cxn ang="0">
                  <a:pos x="46" y="0"/>
                </a:cxn>
                <a:cxn ang="0">
                  <a:pos x="44" y="10"/>
                </a:cxn>
                <a:cxn ang="0">
                  <a:pos x="70" y="22"/>
                </a:cxn>
                <a:cxn ang="0">
                  <a:pos x="68" y="36"/>
                </a:cxn>
                <a:cxn ang="0">
                  <a:pos x="78" y="44"/>
                </a:cxn>
                <a:cxn ang="0">
                  <a:pos x="70" y="56"/>
                </a:cxn>
                <a:cxn ang="0">
                  <a:pos x="30" y="54"/>
                </a:cxn>
                <a:cxn ang="0">
                  <a:pos x="16" y="48"/>
                </a:cxn>
                <a:cxn ang="0">
                  <a:pos x="0" y="56"/>
                </a:cxn>
                <a:cxn ang="0">
                  <a:pos x="2" y="70"/>
                </a:cxn>
                <a:cxn ang="0">
                  <a:pos x="24" y="78"/>
                </a:cxn>
                <a:cxn ang="0">
                  <a:pos x="32" y="68"/>
                </a:cxn>
                <a:cxn ang="0">
                  <a:pos x="70" y="68"/>
                </a:cxn>
                <a:cxn ang="0">
                  <a:pos x="92" y="62"/>
                </a:cxn>
              </a:cxnLst>
              <a:rect l="0" t="0" r="r" b="b"/>
              <a:pathLst>
                <a:path w="102" h="78">
                  <a:moveTo>
                    <a:pt x="92" y="62"/>
                  </a:moveTo>
                  <a:lnTo>
                    <a:pt x="102" y="16"/>
                  </a:lnTo>
                  <a:lnTo>
                    <a:pt x="94" y="6"/>
                  </a:lnTo>
                  <a:lnTo>
                    <a:pt x="46" y="0"/>
                  </a:lnTo>
                  <a:lnTo>
                    <a:pt x="44" y="10"/>
                  </a:lnTo>
                  <a:lnTo>
                    <a:pt x="70" y="22"/>
                  </a:lnTo>
                  <a:lnTo>
                    <a:pt x="68" y="36"/>
                  </a:lnTo>
                  <a:lnTo>
                    <a:pt x="78" y="44"/>
                  </a:lnTo>
                  <a:lnTo>
                    <a:pt x="70" y="56"/>
                  </a:lnTo>
                  <a:lnTo>
                    <a:pt x="30" y="54"/>
                  </a:lnTo>
                  <a:lnTo>
                    <a:pt x="16" y="48"/>
                  </a:lnTo>
                  <a:lnTo>
                    <a:pt x="0" y="56"/>
                  </a:lnTo>
                  <a:lnTo>
                    <a:pt x="2" y="70"/>
                  </a:lnTo>
                  <a:lnTo>
                    <a:pt x="24" y="78"/>
                  </a:lnTo>
                  <a:lnTo>
                    <a:pt x="32" y="68"/>
                  </a:lnTo>
                  <a:lnTo>
                    <a:pt x="70" y="68"/>
                  </a:lnTo>
                  <a:lnTo>
                    <a:pt x="92" y="62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08" name="Honduras">
              <a:extLst>
                <a:ext uri="{FF2B5EF4-FFF2-40B4-BE49-F238E27FC236}">
                  <a16:creationId xmlns="" xmlns:a16="http://schemas.microsoft.com/office/drawing/2014/main" id="{D95F4AB6-BF35-4CFE-A9CF-345FF3311BFB}"/>
                </a:ext>
              </a:extLst>
            </p:cNvPr>
            <p:cNvSpPr>
              <a:spLocks/>
            </p:cNvSpPr>
            <p:nvPr/>
          </p:nvSpPr>
          <p:spPr bwMode="gray">
            <a:xfrm>
              <a:off x="2923281" y="4118241"/>
              <a:ext cx="183517" cy="84561"/>
            </a:xfrm>
            <a:custGeom>
              <a:avLst/>
              <a:gdLst/>
              <a:ahLst/>
              <a:cxnLst>
                <a:cxn ang="0">
                  <a:pos x="0" y="54"/>
                </a:cxn>
                <a:cxn ang="0">
                  <a:pos x="8" y="36"/>
                </a:cxn>
                <a:cxn ang="0">
                  <a:pos x="48" y="4"/>
                </a:cxn>
                <a:cxn ang="0">
                  <a:pos x="66" y="12"/>
                </a:cxn>
                <a:cxn ang="0">
                  <a:pos x="82" y="6"/>
                </a:cxn>
                <a:cxn ang="0">
                  <a:pos x="96" y="12"/>
                </a:cxn>
                <a:cxn ang="0">
                  <a:pos x="124" y="12"/>
                </a:cxn>
                <a:cxn ang="0">
                  <a:pos x="158" y="2"/>
                </a:cxn>
                <a:cxn ang="0">
                  <a:pos x="168" y="4"/>
                </a:cxn>
                <a:cxn ang="0">
                  <a:pos x="192" y="0"/>
                </a:cxn>
                <a:cxn ang="0">
                  <a:pos x="208" y="6"/>
                </a:cxn>
                <a:cxn ang="0">
                  <a:pos x="220" y="14"/>
                </a:cxn>
                <a:cxn ang="0">
                  <a:pos x="214" y="20"/>
                </a:cxn>
                <a:cxn ang="0">
                  <a:pos x="216" y="26"/>
                </a:cxn>
                <a:cxn ang="0">
                  <a:pos x="228" y="32"/>
                </a:cxn>
                <a:cxn ang="0">
                  <a:pos x="216" y="46"/>
                </a:cxn>
                <a:cxn ang="0">
                  <a:pos x="174" y="48"/>
                </a:cxn>
                <a:cxn ang="0">
                  <a:pos x="160" y="64"/>
                </a:cxn>
                <a:cxn ang="0">
                  <a:pos x="128" y="76"/>
                </a:cxn>
                <a:cxn ang="0">
                  <a:pos x="102" y="80"/>
                </a:cxn>
                <a:cxn ang="0">
                  <a:pos x="98" y="102"/>
                </a:cxn>
                <a:cxn ang="0">
                  <a:pos x="86" y="104"/>
                </a:cxn>
                <a:cxn ang="0">
                  <a:pos x="74" y="104"/>
                </a:cxn>
                <a:cxn ang="0">
                  <a:pos x="68" y="80"/>
                </a:cxn>
                <a:cxn ang="0">
                  <a:pos x="46" y="76"/>
                </a:cxn>
                <a:cxn ang="0">
                  <a:pos x="26" y="64"/>
                </a:cxn>
                <a:cxn ang="0">
                  <a:pos x="0" y="54"/>
                </a:cxn>
              </a:cxnLst>
              <a:rect l="0" t="0" r="r" b="b"/>
              <a:pathLst>
                <a:path w="228" h="104">
                  <a:moveTo>
                    <a:pt x="0" y="54"/>
                  </a:moveTo>
                  <a:lnTo>
                    <a:pt x="8" y="36"/>
                  </a:lnTo>
                  <a:lnTo>
                    <a:pt x="48" y="4"/>
                  </a:lnTo>
                  <a:lnTo>
                    <a:pt x="66" y="12"/>
                  </a:lnTo>
                  <a:lnTo>
                    <a:pt x="82" y="6"/>
                  </a:lnTo>
                  <a:lnTo>
                    <a:pt x="96" y="12"/>
                  </a:lnTo>
                  <a:lnTo>
                    <a:pt x="124" y="12"/>
                  </a:lnTo>
                  <a:lnTo>
                    <a:pt x="158" y="2"/>
                  </a:lnTo>
                  <a:lnTo>
                    <a:pt x="168" y="4"/>
                  </a:lnTo>
                  <a:lnTo>
                    <a:pt x="192" y="0"/>
                  </a:lnTo>
                  <a:lnTo>
                    <a:pt x="208" y="6"/>
                  </a:lnTo>
                  <a:lnTo>
                    <a:pt x="220" y="14"/>
                  </a:lnTo>
                  <a:lnTo>
                    <a:pt x="214" y="20"/>
                  </a:lnTo>
                  <a:lnTo>
                    <a:pt x="216" y="26"/>
                  </a:lnTo>
                  <a:lnTo>
                    <a:pt x="228" y="32"/>
                  </a:lnTo>
                  <a:lnTo>
                    <a:pt x="216" y="46"/>
                  </a:lnTo>
                  <a:lnTo>
                    <a:pt x="174" y="48"/>
                  </a:lnTo>
                  <a:lnTo>
                    <a:pt x="160" y="64"/>
                  </a:lnTo>
                  <a:lnTo>
                    <a:pt x="128" y="76"/>
                  </a:lnTo>
                  <a:lnTo>
                    <a:pt x="102" y="80"/>
                  </a:lnTo>
                  <a:lnTo>
                    <a:pt x="98" y="102"/>
                  </a:lnTo>
                  <a:lnTo>
                    <a:pt x="86" y="104"/>
                  </a:lnTo>
                  <a:lnTo>
                    <a:pt x="74" y="104"/>
                  </a:lnTo>
                  <a:lnTo>
                    <a:pt x="68" y="80"/>
                  </a:lnTo>
                  <a:lnTo>
                    <a:pt x="46" y="76"/>
                  </a:lnTo>
                  <a:lnTo>
                    <a:pt x="26" y="64"/>
                  </a:lnTo>
                  <a:lnTo>
                    <a:pt x="0" y="54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09" name="Hong Kong">
              <a:extLst>
                <a:ext uri="{FF2B5EF4-FFF2-40B4-BE49-F238E27FC236}">
                  <a16:creationId xmlns="" xmlns:a16="http://schemas.microsoft.com/office/drawing/2014/main" id="{E28D4524-A33F-4D6D-88EA-92554E52938F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309270" y="3805559"/>
              <a:ext cx="27332" cy="27532"/>
            </a:xfrm>
            <a:custGeom>
              <a:avLst/>
              <a:gdLst/>
              <a:ahLst/>
              <a:cxnLst>
                <a:cxn ang="0">
                  <a:pos x="188" y="94"/>
                </a:cxn>
                <a:cxn ang="0">
                  <a:pos x="94" y="188"/>
                </a:cxn>
                <a:cxn ang="0">
                  <a:pos x="0" y="94"/>
                </a:cxn>
                <a:cxn ang="0">
                  <a:pos x="0" y="90"/>
                </a:cxn>
                <a:cxn ang="0">
                  <a:pos x="94" y="0"/>
                </a:cxn>
                <a:cxn ang="0">
                  <a:pos x="188" y="94"/>
                </a:cxn>
              </a:cxnLst>
              <a:rect l="0" t="0" r="r" b="b"/>
              <a:pathLst>
                <a:path w="188" h="188">
                  <a:moveTo>
                    <a:pt x="188" y="94"/>
                  </a:moveTo>
                  <a:cubicBezTo>
                    <a:pt x="188" y="146"/>
                    <a:pt x="146" y="188"/>
                    <a:pt x="94" y="188"/>
                  </a:cubicBezTo>
                  <a:cubicBezTo>
                    <a:pt x="42" y="188"/>
                    <a:pt x="0" y="146"/>
                    <a:pt x="0" y="94"/>
                  </a:cubicBezTo>
                  <a:cubicBezTo>
                    <a:pt x="0" y="93"/>
                    <a:pt x="0" y="91"/>
                    <a:pt x="0" y="90"/>
                  </a:cubicBezTo>
                  <a:cubicBezTo>
                    <a:pt x="3" y="40"/>
                    <a:pt x="44" y="0"/>
                    <a:pt x="94" y="0"/>
                  </a:cubicBezTo>
                  <a:cubicBezTo>
                    <a:pt x="146" y="0"/>
                    <a:pt x="188" y="43"/>
                    <a:pt x="188" y="94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10" name="Hungary">
              <a:extLst>
                <a:ext uri="{FF2B5EF4-FFF2-40B4-BE49-F238E27FC236}">
                  <a16:creationId xmlns="" xmlns:a16="http://schemas.microsoft.com/office/drawing/2014/main" id="{EE92454D-8336-4FD5-8113-DB509673A960}"/>
                </a:ext>
              </a:extLst>
            </p:cNvPr>
            <p:cNvSpPr>
              <a:spLocks/>
            </p:cNvSpPr>
            <p:nvPr/>
          </p:nvSpPr>
          <p:spPr bwMode="gray">
            <a:xfrm>
              <a:off x="6296863" y="2784915"/>
              <a:ext cx="208897" cy="135692"/>
            </a:xfrm>
            <a:custGeom>
              <a:avLst/>
              <a:gdLst/>
              <a:ahLst/>
              <a:cxnLst>
                <a:cxn ang="0">
                  <a:pos x="154" y="144"/>
                </a:cxn>
                <a:cxn ang="0">
                  <a:pos x="170" y="140"/>
                </a:cxn>
                <a:cxn ang="0">
                  <a:pos x="190" y="132"/>
                </a:cxn>
                <a:cxn ang="0">
                  <a:pos x="208" y="106"/>
                </a:cxn>
                <a:cxn ang="0">
                  <a:pos x="222" y="68"/>
                </a:cxn>
                <a:cxn ang="0">
                  <a:pos x="236" y="54"/>
                </a:cxn>
                <a:cxn ang="0">
                  <a:pos x="252" y="52"/>
                </a:cxn>
                <a:cxn ang="0">
                  <a:pos x="256" y="36"/>
                </a:cxn>
                <a:cxn ang="0">
                  <a:pos x="242" y="26"/>
                </a:cxn>
                <a:cxn ang="0">
                  <a:pos x="232" y="4"/>
                </a:cxn>
                <a:cxn ang="0">
                  <a:pos x="216" y="14"/>
                </a:cxn>
                <a:cxn ang="0">
                  <a:pos x="202" y="2"/>
                </a:cxn>
                <a:cxn ang="0">
                  <a:pos x="190" y="4"/>
                </a:cxn>
                <a:cxn ang="0">
                  <a:pos x="170" y="0"/>
                </a:cxn>
                <a:cxn ang="0">
                  <a:pos x="160" y="4"/>
                </a:cxn>
                <a:cxn ang="0">
                  <a:pos x="144" y="18"/>
                </a:cxn>
                <a:cxn ang="0">
                  <a:pos x="106" y="18"/>
                </a:cxn>
                <a:cxn ang="0">
                  <a:pos x="100" y="34"/>
                </a:cxn>
                <a:cxn ang="0">
                  <a:pos x="54" y="34"/>
                </a:cxn>
                <a:cxn ang="0">
                  <a:pos x="46" y="26"/>
                </a:cxn>
                <a:cxn ang="0">
                  <a:pos x="38" y="38"/>
                </a:cxn>
                <a:cxn ang="0">
                  <a:pos x="34" y="58"/>
                </a:cxn>
                <a:cxn ang="0">
                  <a:pos x="16" y="52"/>
                </a:cxn>
                <a:cxn ang="0">
                  <a:pos x="10" y="66"/>
                </a:cxn>
                <a:cxn ang="0">
                  <a:pos x="4" y="84"/>
                </a:cxn>
                <a:cxn ang="0">
                  <a:pos x="0" y="102"/>
                </a:cxn>
                <a:cxn ang="0">
                  <a:pos x="2" y="130"/>
                </a:cxn>
                <a:cxn ang="0">
                  <a:pos x="10" y="134"/>
                </a:cxn>
                <a:cxn ang="0">
                  <a:pos x="14" y="146"/>
                </a:cxn>
                <a:cxn ang="0">
                  <a:pos x="64" y="166"/>
                </a:cxn>
                <a:cxn ang="0">
                  <a:pos x="98" y="162"/>
                </a:cxn>
                <a:cxn ang="0">
                  <a:pos x="134" y="140"/>
                </a:cxn>
                <a:cxn ang="0">
                  <a:pos x="154" y="144"/>
                </a:cxn>
              </a:cxnLst>
              <a:rect l="0" t="0" r="r" b="b"/>
              <a:pathLst>
                <a:path w="256" h="166">
                  <a:moveTo>
                    <a:pt x="154" y="144"/>
                  </a:moveTo>
                  <a:lnTo>
                    <a:pt x="170" y="140"/>
                  </a:lnTo>
                  <a:lnTo>
                    <a:pt x="190" y="132"/>
                  </a:lnTo>
                  <a:lnTo>
                    <a:pt x="208" y="106"/>
                  </a:lnTo>
                  <a:lnTo>
                    <a:pt x="222" y="68"/>
                  </a:lnTo>
                  <a:lnTo>
                    <a:pt x="236" y="54"/>
                  </a:lnTo>
                  <a:lnTo>
                    <a:pt x="252" y="52"/>
                  </a:lnTo>
                  <a:lnTo>
                    <a:pt x="256" y="36"/>
                  </a:lnTo>
                  <a:lnTo>
                    <a:pt x="242" y="26"/>
                  </a:lnTo>
                  <a:lnTo>
                    <a:pt x="232" y="4"/>
                  </a:lnTo>
                  <a:lnTo>
                    <a:pt x="216" y="14"/>
                  </a:lnTo>
                  <a:lnTo>
                    <a:pt x="202" y="2"/>
                  </a:lnTo>
                  <a:lnTo>
                    <a:pt x="190" y="4"/>
                  </a:lnTo>
                  <a:lnTo>
                    <a:pt x="170" y="0"/>
                  </a:lnTo>
                  <a:lnTo>
                    <a:pt x="160" y="4"/>
                  </a:lnTo>
                  <a:lnTo>
                    <a:pt x="144" y="18"/>
                  </a:lnTo>
                  <a:lnTo>
                    <a:pt x="106" y="18"/>
                  </a:lnTo>
                  <a:lnTo>
                    <a:pt x="100" y="34"/>
                  </a:lnTo>
                  <a:lnTo>
                    <a:pt x="54" y="34"/>
                  </a:lnTo>
                  <a:lnTo>
                    <a:pt x="46" y="26"/>
                  </a:lnTo>
                  <a:lnTo>
                    <a:pt x="38" y="38"/>
                  </a:lnTo>
                  <a:lnTo>
                    <a:pt x="34" y="58"/>
                  </a:lnTo>
                  <a:lnTo>
                    <a:pt x="16" y="52"/>
                  </a:lnTo>
                  <a:lnTo>
                    <a:pt x="10" y="66"/>
                  </a:lnTo>
                  <a:lnTo>
                    <a:pt x="4" y="84"/>
                  </a:lnTo>
                  <a:lnTo>
                    <a:pt x="0" y="102"/>
                  </a:lnTo>
                  <a:lnTo>
                    <a:pt x="2" y="130"/>
                  </a:lnTo>
                  <a:lnTo>
                    <a:pt x="10" y="134"/>
                  </a:lnTo>
                  <a:lnTo>
                    <a:pt x="14" y="146"/>
                  </a:lnTo>
                  <a:lnTo>
                    <a:pt x="64" y="166"/>
                  </a:lnTo>
                  <a:lnTo>
                    <a:pt x="98" y="162"/>
                  </a:lnTo>
                  <a:lnTo>
                    <a:pt x="134" y="140"/>
                  </a:lnTo>
                  <a:lnTo>
                    <a:pt x="154" y="144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11" name="Iceland">
              <a:extLst>
                <a:ext uri="{FF2B5EF4-FFF2-40B4-BE49-F238E27FC236}">
                  <a16:creationId xmlns="" xmlns:a16="http://schemas.microsoft.com/office/drawing/2014/main" id="{FB7D9D41-8651-4669-9C7E-38B51B7EAE34}"/>
                </a:ext>
              </a:extLst>
            </p:cNvPr>
            <p:cNvSpPr>
              <a:spLocks/>
            </p:cNvSpPr>
            <p:nvPr/>
          </p:nvSpPr>
          <p:spPr bwMode="gray">
            <a:xfrm>
              <a:off x="5055198" y="1699373"/>
              <a:ext cx="322130" cy="226155"/>
            </a:xfrm>
            <a:custGeom>
              <a:avLst/>
              <a:gdLst/>
              <a:ahLst/>
              <a:cxnLst>
                <a:cxn ang="0">
                  <a:pos x="68" y="0"/>
                </a:cxn>
                <a:cxn ang="0">
                  <a:pos x="110" y="76"/>
                </a:cxn>
                <a:cxn ang="0">
                  <a:pos x="110" y="102"/>
                </a:cxn>
                <a:cxn ang="0">
                  <a:pos x="146" y="80"/>
                </a:cxn>
                <a:cxn ang="0">
                  <a:pos x="152" y="36"/>
                </a:cxn>
                <a:cxn ang="0">
                  <a:pos x="178" y="44"/>
                </a:cxn>
                <a:cxn ang="0">
                  <a:pos x="214" y="52"/>
                </a:cxn>
                <a:cxn ang="0">
                  <a:pos x="256" y="52"/>
                </a:cxn>
                <a:cxn ang="0">
                  <a:pos x="282" y="40"/>
                </a:cxn>
                <a:cxn ang="0">
                  <a:pos x="306" y="4"/>
                </a:cxn>
                <a:cxn ang="0">
                  <a:pos x="322" y="34"/>
                </a:cxn>
                <a:cxn ang="0">
                  <a:pos x="358" y="14"/>
                </a:cxn>
                <a:cxn ang="0">
                  <a:pos x="358" y="42"/>
                </a:cxn>
                <a:cxn ang="0">
                  <a:pos x="370" y="72"/>
                </a:cxn>
                <a:cxn ang="0">
                  <a:pos x="380" y="94"/>
                </a:cxn>
                <a:cxn ang="0">
                  <a:pos x="398" y="136"/>
                </a:cxn>
                <a:cxn ang="0">
                  <a:pos x="392" y="156"/>
                </a:cxn>
                <a:cxn ang="0">
                  <a:pos x="370" y="178"/>
                </a:cxn>
                <a:cxn ang="0">
                  <a:pos x="328" y="188"/>
                </a:cxn>
                <a:cxn ang="0">
                  <a:pos x="316" y="216"/>
                </a:cxn>
                <a:cxn ang="0">
                  <a:pos x="298" y="240"/>
                </a:cxn>
                <a:cxn ang="0">
                  <a:pos x="246" y="268"/>
                </a:cxn>
                <a:cxn ang="0">
                  <a:pos x="214" y="278"/>
                </a:cxn>
                <a:cxn ang="0">
                  <a:pos x="116" y="242"/>
                </a:cxn>
                <a:cxn ang="0">
                  <a:pos x="84" y="244"/>
                </a:cxn>
                <a:cxn ang="0">
                  <a:pos x="62" y="230"/>
                </a:cxn>
                <a:cxn ang="0">
                  <a:pos x="86" y="182"/>
                </a:cxn>
                <a:cxn ang="0">
                  <a:pos x="72" y="168"/>
                </a:cxn>
                <a:cxn ang="0">
                  <a:pos x="16" y="180"/>
                </a:cxn>
                <a:cxn ang="0">
                  <a:pos x="36" y="152"/>
                </a:cxn>
                <a:cxn ang="0">
                  <a:pos x="76" y="124"/>
                </a:cxn>
                <a:cxn ang="0">
                  <a:pos x="66" y="94"/>
                </a:cxn>
                <a:cxn ang="0">
                  <a:pos x="0" y="106"/>
                </a:cxn>
                <a:cxn ang="0">
                  <a:pos x="16" y="88"/>
                </a:cxn>
                <a:cxn ang="0">
                  <a:pos x="26" y="62"/>
                </a:cxn>
                <a:cxn ang="0">
                  <a:pos x="32" y="26"/>
                </a:cxn>
                <a:cxn ang="0">
                  <a:pos x="58" y="34"/>
                </a:cxn>
              </a:cxnLst>
              <a:rect l="0" t="0" r="r" b="b"/>
              <a:pathLst>
                <a:path w="398" h="278">
                  <a:moveTo>
                    <a:pt x="38" y="6"/>
                  </a:moveTo>
                  <a:lnTo>
                    <a:pt x="68" y="0"/>
                  </a:lnTo>
                  <a:lnTo>
                    <a:pt x="108" y="46"/>
                  </a:lnTo>
                  <a:lnTo>
                    <a:pt x="110" y="76"/>
                  </a:lnTo>
                  <a:lnTo>
                    <a:pt x="104" y="82"/>
                  </a:lnTo>
                  <a:lnTo>
                    <a:pt x="110" y="102"/>
                  </a:lnTo>
                  <a:lnTo>
                    <a:pt x="120" y="108"/>
                  </a:lnTo>
                  <a:lnTo>
                    <a:pt x="146" y="80"/>
                  </a:lnTo>
                  <a:lnTo>
                    <a:pt x="140" y="42"/>
                  </a:lnTo>
                  <a:lnTo>
                    <a:pt x="152" y="36"/>
                  </a:lnTo>
                  <a:lnTo>
                    <a:pt x="174" y="64"/>
                  </a:lnTo>
                  <a:lnTo>
                    <a:pt x="178" y="44"/>
                  </a:lnTo>
                  <a:lnTo>
                    <a:pt x="200" y="34"/>
                  </a:lnTo>
                  <a:lnTo>
                    <a:pt x="214" y="52"/>
                  </a:lnTo>
                  <a:lnTo>
                    <a:pt x="228" y="34"/>
                  </a:lnTo>
                  <a:lnTo>
                    <a:pt x="256" y="52"/>
                  </a:lnTo>
                  <a:lnTo>
                    <a:pt x="264" y="34"/>
                  </a:lnTo>
                  <a:lnTo>
                    <a:pt x="282" y="40"/>
                  </a:lnTo>
                  <a:lnTo>
                    <a:pt x="282" y="6"/>
                  </a:lnTo>
                  <a:lnTo>
                    <a:pt x="306" y="4"/>
                  </a:lnTo>
                  <a:lnTo>
                    <a:pt x="320" y="20"/>
                  </a:lnTo>
                  <a:lnTo>
                    <a:pt x="322" y="34"/>
                  </a:lnTo>
                  <a:lnTo>
                    <a:pt x="334" y="38"/>
                  </a:lnTo>
                  <a:lnTo>
                    <a:pt x="358" y="14"/>
                  </a:lnTo>
                  <a:lnTo>
                    <a:pt x="374" y="12"/>
                  </a:lnTo>
                  <a:lnTo>
                    <a:pt x="358" y="42"/>
                  </a:lnTo>
                  <a:lnTo>
                    <a:pt x="370" y="54"/>
                  </a:lnTo>
                  <a:lnTo>
                    <a:pt x="370" y="72"/>
                  </a:lnTo>
                  <a:lnTo>
                    <a:pt x="380" y="78"/>
                  </a:lnTo>
                  <a:lnTo>
                    <a:pt x="380" y="94"/>
                  </a:lnTo>
                  <a:lnTo>
                    <a:pt x="398" y="98"/>
                  </a:lnTo>
                  <a:lnTo>
                    <a:pt x="398" y="136"/>
                  </a:lnTo>
                  <a:lnTo>
                    <a:pt x="390" y="140"/>
                  </a:lnTo>
                  <a:lnTo>
                    <a:pt x="392" y="156"/>
                  </a:lnTo>
                  <a:lnTo>
                    <a:pt x="376" y="166"/>
                  </a:lnTo>
                  <a:lnTo>
                    <a:pt x="370" y="178"/>
                  </a:lnTo>
                  <a:lnTo>
                    <a:pt x="352" y="192"/>
                  </a:lnTo>
                  <a:lnTo>
                    <a:pt x="328" y="188"/>
                  </a:lnTo>
                  <a:lnTo>
                    <a:pt x="328" y="202"/>
                  </a:lnTo>
                  <a:lnTo>
                    <a:pt x="316" y="216"/>
                  </a:lnTo>
                  <a:lnTo>
                    <a:pt x="312" y="228"/>
                  </a:lnTo>
                  <a:lnTo>
                    <a:pt x="298" y="240"/>
                  </a:lnTo>
                  <a:lnTo>
                    <a:pt x="256" y="244"/>
                  </a:lnTo>
                  <a:lnTo>
                    <a:pt x="246" y="268"/>
                  </a:lnTo>
                  <a:lnTo>
                    <a:pt x="228" y="270"/>
                  </a:lnTo>
                  <a:lnTo>
                    <a:pt x="214" y="278"/>
                  </a:lnTo>
                  <a:lnTo>
                    <a:pt x="132" y="248"/>
                  </a:lnTo>
                  <a:lnTo>
                    <a:pt x="116" y="242"/>
                  </a:lnTo>
                  <a:lnTo>
                    <a:pt x="112" y="234"/>
                  </a:lnTo>
                  <a:lnTo>
                    <a:pt x="84" y="244"/>
                  </a:lnTo>
                  <a:lnTo>
                    <a:pt x="60" y="244"/>
                  </a:lnTo>
                  <a:lnTo>
                    <a:pt x="62" y="230"/>
                  </a:lnTo>
                  <a:lnTo>
                    <a:pt x="86" y="214"/>
                  </a:lnTo>
                  <a:lnTo>
                    <a:pt x="86" y="182"/>
                  </a:lnTo>
                  <a:lnTo>
                    <a:pt x="74" y="186"/>
                  </a:lnTo>
                  <a:lnTo>
                    <a:pt x="72" y="168"/>
                  </a:lnTo>
                  <a:lnTo>
                    <a:pt x="28" y="174"/>
                  </a:lnTo>
                  <a:lnTo>
                    <a:pt x="16" y="180"/>
                  </a:lnTo>
                  <a:lnTo>
                    <a:pt x="10" y="164"/>
                  </a:lnTo>
                  <a:lnTo>
                    <a:pt x="36" y="152"/>
                  </a:lnTo>
                  <a:lnTo>
                    <a:pt x="76" y="136"/>
                  </a:lnTo>
                  <a:lnTo>
                    <a:pt x="76" y="124"/>
                  </a:lnTo>
                  <a:lnTo>
                    <a:pt x="94" y="110"/>
                  </a:lnTo>
                  <a:lnTo>
                    <a:pt x="66" y="94"/>
                  </a:lnTo>
                  <a:lnTo>
                    <a:pt x="32" y="110"/>
                  </a:lnTo>
                  <a:lnTo>
                    <a:pt x="0" y="106"/>
                  </a:lnTo>
                  <a:lnTo>
                    <a:pt x="2" y="90"/>
                  </a:lnTo>
                  <a:lnTo>
                    <a:pt x="16" y="88"/>
                  </a:lnTo>
                  <a:lnTo>
                    <a:pt x="16" y="74"/>
                  </a:lnTo>
                  <a:lnTo>
                    <a:pt x="26" y="62"/>
                  </a:lnTo>
                  <a:lnTo>
                    <a:pt x="22" y="40"/>
                  </a:lnTo>
                  <a:lnTo>
                    <a:pt x="32" y="26"/>
                  </a:lnTo>
                  <a:lnTo>
                    <a:pt x="46" y="36"/>
                  </a:lnTo>
                  <a:lnTo>
                    <a:pt x="58" y="34"/>
                  </a:lnTo>
                  <a:lnTo>
                    <a:pt x="38" y="6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12" name="India">
              <a:extLst>
                <a:ext uri="{FF2B5EF4-FFF2-40B4-BE49-F238E27FC236}">
                  <a16:creationId xmlns="" xmlns:a16="http://schemas.microsoft.com/office/drawing/2014/main" id="{27B4088C-ACB2-4437-AFE5-B152F8D4A271}"/>
                </a:ext>
              </a:extLst>
            </p:cNvPr>
            <p:cNvSpPr>
              <a:spLocks/>
            </p:cNvSpPr>
            <p:nvPr/>
          </p:nvSpPr>
          <p:spPr bwMode="gray">
            <a:xfrm>
              <a:off x="7899706" y="3325718"/>
              <a:ext cx="896106" cy="971480"/>
            </a:xfrm>
            <a:custGeom>
              <a:avLst/>
              <a:gdLst/>
              <a:ahLst/>
              <a:cxnLst>
                <a:cxn ang="0">
                  <a:pos x="72" y="616"/>
                </a:cxn>
                <a:cxn ang="0">
                  <a:pos x="110" y="702"/>
                </a:cxn>
                <a:cxn ang="0">
                  <a:pos x="172" y="670"/>
                </a:cxn>
                <a:cxn ang="0">
                  <a:pos x="244" y="938"/>
                </a:cxn>
                <a:cxn ang="0">
                  <a:pos x="294" y="1064"/>
                </a:cxn>
                <a:cxn ang="0">
                  <a:pos x="336" y="1166"/>
                </a:cxn>
                <a:cxn ang="0">
                  <a:pos x="392" y="1158"/>
                </a:cxn>
                <a:cxn ang="0">
                  <a:pos x="430" y="1110"/>
                </a:cxn>
                <a:cxn ang="0">
                  <a:pos x="460" y="1022"/>
                </a:cxn>
                <a:cxn ang="0">
                  <a:pos x="460" y="900"/>
                </a:cxn>
                <a:cxn ang="0">
                  <a:pos x="500" y="882"/>
                </a:cxn>
                <a:cxn ang="0">
                  <a:pos x="530" y="838"/>
                </a:cxn>
                <a:cxn ang="0">
                  <a:pos x="658" y="724"/>
                </a:cxn>
                <a:cxn ang="0">
                  <a:pos x="712" y="694"/>
                </a:cxn>
                <a:cxn ang="0">
                  <a:pos x="752" y="652"/>
                </a:cxn>
                <a:cxn ang="0">
                  <a:pos x="800" y="654"/>
                </a:cxn>
                <a:cxn ang="0">
                  <a:pos x="806" y="604"/>
                </a:cxn>
                <a:cxn ang="0">
                  <a:pos x="778" y="520"/>
                </a:cxn>
                <a:cxn ang="0">
                  <a:pos x="780" y="496"/>
                </a:cxn>
                <a:cxn ang="0">
                  <a:pos x="784" y="450"/>
                </a:cxn>
                <a:cxn ang="0">
                  <a:pos x="826" y="460"/>
                </a:cxn>
                <a:cxn ang="0">
                  <a:pos x="868" y="488"/>
                </a:cxn>
                <a:cxn ang="0">
                  <a:pos x="914" y="542"/>
                </a:cxn>
                <a:cxn ang="0">
                  <a:pos x="910" y="582"/>
                </a:cxn>
                <a:cxn ang="0">
                  <a:pos x="936" y="618"/>
                </a:cxn>
                <a:cxn ang="0">
                  <a:pos x="968" y="594"/>
                </a:cxn>
                <a:cxn ang="0">
                  <a:pos x="1008" y="504"/>
                </a:cxn>
                <a:cxn ang="0">
                  <a:pos x="1084" y="416"/>
                </a:cxn>
                <a:cxn ang="0">
                  <a:pos x="1104" y="374"/>
                </a:cxn>
                <a:cxn ang="0">
                  <a:pos x="1052" y="336"/>
                </a:cxn>
                <a:cxn ang="0">
                  <a:pos x="944" y="370"/>
                </a:cxn>
                <a:cxn ang="0">
                  <a:pos x="914" y="416"/>
                </a:cxn>
                <a:cxn ang="0">
                  <a:pos x="830" y="436"/>
                </a:cxn>
                <a:cxn ang="0">
                  <a:pos x="794" y="390"/>
                </a:cxn>
                <a:cxn ang="0">
                  <a:pos x="758" y="450"/>
                </a:cxn>
                <a:cxn ang="0">
                  <a:pos x="632" y="418"/>
                </a:cxn>
                <a:cxn ang="0">
                  <a:pos x="490" y="368"/>
                </a:cxn>
                <a:cxn ang="0">
                  <a:pos x="458" y="302"/>
                </a:cxn>
                <a:cxn ang="0">
                  <a:pos x="420" y="238"/>
                </a:cxn>
                <a:cxn ang="0">
                  <a:pos x="424" y="186"/>
                </a:cxn>
                <a:cxn ang="0">
                  <a:pos x="412" y="136"/>
                </a:cxn>
                <a:cxn ang="0">
                  <a:pos x="412" y="28"/>
                </a:cxn>
                <a:cxn ang="0">
                  <a:pos x="342" y="24"/>
                </a:cxn>
                <a:cxn ang="0">
                  <a:pos x="278" y="72"/>
                </a:cxn>
                <a:cxn ang="0">
                  <a:pos x="212" y="98"/>
                </a:cxn>
                <a:cxn ang="0">
                  <a:pos x="278" y="184"/>
                </a:cxn>
                <a:cxn ang="0">
                  <a:pos x="232" y="252"/>
                </a:cxn>
                <a:cxn ang="0">
                  <a:pos x="196" y="330"/>
                </a:cxn>
                <a:cxn ang="0">
                  <a:pos x="120" y="384"/>
                </a:cxn>
                <a:cxn ang="0">
                  <a:pos x="70" y="402"/>
                </a:cxn>
                <a:cxn ang="0">
                  <a:pos x="74" y="462"/>
                </a:cxn>
                <a:cxn ang="0">
                  <a:pos x="116" y="520"/>
                </a:cxn>
                <a:cxn ang="0">
                  <a:pos x="84" y="536"/>
                </a:cxn>
                <a:cxn ang="0">
                  <a:pos x="28" y="552"/>
                </a:cxn>
                <a:cxn ang="0">
                  <a:pos x="34" y="600"/>
                </a:cxn>
              </a:cxnLst>
              <a:rect l="0" t="0" r="r" b="b"/>
              <a:pathLst>
                <a:path w="1104" h="1190">
                  <a:moveTo>
                    <a:pt x="34" y="600"/>
                  </a:moveTo>
                  <a:lnTo>
                    <a:pt x="54" y="598"/>
                  </a:lnTo>
                  <a:lnTo>
                    <a:pt x="96" y="584"/>
                  </a:lnTo>
                  <a:lnTo>
                    <a:pt x="72" y="616"/>
                  </a:lnTo>
                  <a:lnTo>
                    <a:pt x="60" y="616"/>
                  </a:lnTo>
                  <a:lnTo>
                    <a:pt x="32" y="626"/>
                  </a:lnTo>
                  <a:lnTo>
                    <a:pt x="88" y="688"/>
                  </a:lnTo>
                  <a:lnTo>
                    <a:pt x="110" y="702"/>
                  </a:lnTo>
                  <a:lnTo>
                    <a:pt x="152" y="676"/>
                  </a:lnTo>
                  <a:lnTo>
                    <a:pt x="158" y="638"/>
                  </a:lnTo>
                  <a:lnTo>
                    <a:pt x="168" y="620"/>
                  </a:lnTo>
                  <a:lnTo>
                    <a:pt x="172" y="670"/>
                  </a:lnTo>
                  <a:lnTo>
                    <a:pt x="182" y="736"/>
                  </a:lnTo>
                  <a:lnTo>
                    <a:pt x="186" y="792"/>
                  </a:lnTo>
                  <a:lnTo>
                    <a:pt x="206" y="870"/>
                  </a:lnTo>
                  <a:lnTo>
                    <a:pt x="244" y="938"/>
                  </a:lnTo>
                  <a:lnTo>
                    <a:pt x="252" y="992"/>
                  </a:lnTo>
                  <a:lnTo>
                    <a:pt x="276" y="1026"/>
                  </a:lnTo>
                  <a:lnTo>
                    <a:pt x="280" y="1046"/>
                  </a:lnTo>
                  <a:lnTo>
                    <a:pt x="294" y="1064"/>
                  </a:lnTo>
                  <a:lnTo>
                    <a:pt x="304" y="1098"/>
                  </a:lnTo>
                  <a:lnTo>
                    <a:pt x="320" y="1146"/>
                  </a:lnTo>
                  <a:lnTo>
                    <a:pt x="330" y="1146"/>
                  </a:lnTo>
                  <a:lnTo>
                    <a:pt x="336" y="1166"/>
                  </a:lnTo>
                  <a:lnTo>
                    <a:pt x="358" y="1188"/>
                  </a:lnTo>
                  <a:lnTo>
                    <a:pt x="372" y="1190"/>
                  </a:lnTo>
                  <a:lnTo>
                    <a:pt x="390" y="1174"/>
                  </a:lnTo>
                  <a:lnTo>
                    <a:pt x="392" y="1158"/>
                  </a:lnTo>
                  <a:lnTo>
                    <a:pt x="402" y="1146"/>
                  </a:lnTo>
                  <a:lnTo>
                    <a:pt x="426" y="1146"/>
                  </a:lnTo>
                  <a:lnTo>
                    <a:pt x="414" y="1132"/>
                  </a:lnTo>
                  <a:lnTo>
                    <a:pt x="430" y="1110"/>
                  </a:lnTo>
                  <a:lnTo>
                    <a:pt x="430" y="1100"/>
                  </a:lnTo>
                  <a:lnTo>
                    <a:pt x="452" y="1092"/>
                  </a:lnTo>
                  <a:lnTo>
                    <a:pt x="448" y="1036"/>
                  </a:lnTo>
                  <a:lnTo>
                    <a:pt x="460" y="1022"/>
                  </a:lnTo>
                  <a:lnTo>
                    <a:pt x="462" y="1008"/>
                  </a:lnTo>
                  <a:lnTo>
                    <a:pt x="472" y="986"/>
                  </a:lnTo>
                  <a:lnTo>
                    <a:pt x="458" y="942"/>
                  </a:lnTo>
                  <a:lnTo>
                    <a:pt x="460" y="900"/>
                  </a:lnTo>
                  <a:lnTo>
                    <a:pt x="466" y="886"/>
                  </a:lnTo>
                  <a:lnTo>
                    <a:pt x="482" y="878"/>
                  </a:lnTo>
                  <a:lnTo>
                    <a:pt x="490" y="884"/>
                  </a:lnTo>
                  <a:lnTo>
                    <a:pt x="500" y="882"/>
                  </a:lnTo>
                  <a:lnTo>
                    <a:pt x="504" y="870"/>
                  </a:lnTo>
                  <a:lnTo>
                    <a:pt x="518" y="866"/>
                  </a:lnTo>
                  <a:lnTo>
                    <a:pt x="540" y="848"/>
                  </a:lnTo>
                  <a:lnTo>
                    <a:pt x="530" y="838"/>
                  </a:lnTo>
                  <a:lnTo>
                    <a:pt x="610" y="778"/>
                  </a:lnTo>
                  <a:lnTo>
                    <a:pt x="646" y="740"/>
                  </a:lnTo>
                  <a:lnTo>
                    <a:pt x="650" y="722"/>
                  </a:lnTo>
                  <a:lnTo>
                    <a:pt x="658" y="724"/>
                  </a:lnTo>
                  <a:lnTo>
                    <a:pt x="658" y="732"/>
                  </a:lnTo>
                  <a:lnTo>
                    <a:pt x="680" y="728"/>
                  </a:lnTo>
                  <a:lnTo>
                    <a:pt x="702" y="706"/>
                  </a:lnTo>
                  <a:lnTo>
                    <a:pt x="712" y="694"/>
                  </a:lnTo>
                  <a:lnTo>
                    <a:pt x="708" y="674"/>
                  </a:lnTo>
                  <a:lnTo>
                    <a:pt x="730" y="654"/>
                  </a:lnTo>
                  <a:lnTo>
                    <a:pt x="754" y="634"/>
                  </a:lnTo>
                  <a:lnTo>
                    <a:pt x="752" y="652"/>
                  </a:lnTo>
                  <a:lnTo>
                    <a:pt x="768" y="652"/>
                  </a:lnTo>
                  <a:lnTo>
                    <a:pt x="780" y="640"/>
                  </a:lnTo>
                  <a:lnTo>
                    <a:pt x="786" y="654"/>
                  </a:lnTo>
                  <a:lnTo>
                    <a:pt x="800" y="654"/>
                  </a:lnTo>
                  <a:lnTo>
                    <a:pt x="804" y="644"/>
                  </a:lnTo>
                  <a:lnTo>
                    <a:pt x="812" y="650"/>
                  </a:lnTo>
                  <a:lnTo>
                    <a:pt x="820" y="650"/>
                  </a:lnTo>
                  <a:lnTo>
                    <a:pt x="806" y="604"/>
                  </a:lnTo>
                  <a:lnTo>
                    <a:pt x="788" y="564"/>
                  </a:lnTo>
                  <a:lnTo>
                    <a:pt x="794" y="550"/>
                  </a:lnTo>
                  <a:lnTo>
                    <a:pt x="772" y="532"/>
                  </a:lnTo>
                  <a:lnTo>
                    <a:pt x="778" y="520"/>
                  </a:lnTo>
                  <a:lnTo>
                    <a:pt x="788" y="520"/>
                  </a:lnTo>
                  <a:lnTo>
                    <a:pt x="796" y="504"/>
                  </a:lnTo>
                  <a:lnTo>
                    <a:pt x="786" y="494"/>
                  </a:lnTo>
                  <a:lnTo>
                    <a:pt x="780" y="496"/>
                  </a:lnTo>
                  <a:lnTo>
                    <a:pt x="764" y="480"/>
                  </a:lnTo>
                  <a:lnTo>
                    <a:pt x="772" y="466"/>
                  </a:lnTo>
                  <a:lnTo>
                    <a:pt x="770" y="452"/>
                  </a:lnTo>
                  <a:lnTo>
                    <a:pt x="784" y="450"/>
                  </a:lnTo>
                  <a:lnTo>
                    <a:pt x="794" y="456"/>
                  </a:lnTo>
                  <a:lnTo>
                    <a:pt x="808" y="448"/>
                  </a:lnTo>
                  <a:lnTo>
                    <a:pt x="816" y="460"/>
                  </a:lnTo>
                  <a:lnTo>
                    <a:pt x="826" y="460"/>
                  </a:lnTo>
                  <a:lnTo>
                    <a:pt x="834" y="472"/>
                  </a:lnTo>
                  <a:lnTo>
                    <a:pt x="836" y="486"/>
                  </a:lnTo>
                  <a:lnTo>
                    <a:pt x="850" y="492"/>
                  </a:lnTo>
                  <a:lnTo>
                    <a:pt x="868" y="488"/>
                  </a:lnTo>
                  <a:lnTo>
                    <a:pt x="946" y="490"/>
                  </a:lnTo>
                  <a:lnTo>
                    <a:pt x="944" y="506"/>
                  </a:lnTo>
                  <a:lnTo>
                    <a:pt x="926" y="532"/>
                  </a:lnTo>
                  <a:lnTo>
                    <a:pt x="914" y="542"/>
                  </a:lnTo>
                  <a:lnTo>
                    <a:pt x="900" y="550"/>
                  </a:lnTo>
                  <a:lnTo>
                    <a:pt x="894" y="562"/>
                  </a:lnTo>
                  <a:lnTo>
                    <a:pt x="892" y="572"/>
                  </a:lnTo>
                  <a:lnTo>
                    <a:pt x="910" y="582"/>
                  </a:lnTo>
                  <a:lnTo>
                    <a:pt x="914" y="566"/>
                  </a:lnTo>
                  <a:lnTo>
                    <a:pt x="922" y="560"/>
                  </a:lnTo>
                  <a:lnTo>
                    <a:pt x="932" y="566"/>
                  </a:lnTo>
                  <a:lnTo>
                    <a:pt x="936" y="618"/>
                  </a:lnTo>
                  <a:lnTo>
                    <a:pt x="938" y="640"/>
                  </a:lnTo>
                  <a:lnTo>
                    <a:pt x="954" y="642"/>
                  </a:lnTo>
                  <a:lnTo>
                    <a:pt x="954" y="608"/>
                  </a:lnTo>
                  <a:lnTo>
                    <a:pt x="968" y="594"/>
                  </a:lnTo>
                  <a:lnTo>
                    <a:pt x="966" y="562"/>
                  </a:lnTo>
                  <a:lnTo>
                    <a:pt x="964" y="540"/>
                  </a:lnTo>
                  <a:lnTo>
                    <a:pt x="982" y="542"/>
                  </a:lnTo>
                  <a:lnTo>
                    <a:pt x="1008" y="504"/>
                  </a:lnTo>
                  <a:lnTo>
                    <a:pt x="1008" y="478"/>
                  </a:lnTo>
                  <a:lnTo>
                    <a:pt x="1046" y="420"/>
                  </a:lnTo>
                  <a:lnTo>
                    <a:pt x="1072" y="404"/>
                  </a:lnTo>
                  <a:lnTo>
                    <a:pt x="1084" y="416"/>
                  </a:lnTo>
                  <a:lnTo>
                    <a:pt x="1094" y="410"/>
                  </a:lnTo>
                  <a:lnTo>
                    <a:pt x="1090" y="394"/>
                  </a:lnTo>
                  <a:lnTo>
                    <a:pt x="1102" y="386"/>
                  </a:lnTo>
                  <a:lnTo>
                    <a:pt x="1104" y="374"/>
                  </a:lnTo>
                  <a:lnTo>
                    <a:pt x="1086" y="370"/>
                  </a:lnTo>
                  <a:lnTo>
                    <a:pt x="1074" y="376"/>
                  </a:lnTo>
                  <a:lnTo>
                    <a:pt x="1068" y="348"/>
                  </a:lnTo>
                  <a:lnTo>
                    <a:pt x="1052" y="336"/>
                  </a:lnTo>
                  <a:lnTo>
                    <a:pt x="1036" y="342"/>
                  </a:lnTo>
                  <a:lnTo>
                    <a:pt x="1000" y="328"/>
                  </a:lnTo>
                  <a:lnTo>
                    <a:pt x="956" y="354"/>
                  </a:lnTo>
                  <a:lnTo>
                    <a:pt x="944" y="370"/>
                  </a:lnTo>
                  <a:lnTo>
                    <a:pt x="904" y="380"/>
                  </a:lnTo>
                  <a:lnTo>
                    <a:pt x="896" y="400"/>
                  </a:lnTo>
                  <a:lnTo>
                    <a:pt x="906" y="404"/>
                  </a:lnTo>
                  <a:lnTo>
                    <a:pt x="914" y="416"/>
                  </a:lnTo>
                  <a:lnTo>
                    <a:pt x="902" y="430"/>
                  </a:lnTo>
                  <a:lnTo>
                    <a:pt x="880" y="430"/>
                  </a:lnTo>
                  <a:lnTo>
                    <a:pt x="850" y="430"/>
                  </a:lnTo>
                  <a:lnTo>
                    <a:pt x="830" y="436"/>
                  </a:lnTo>
                  <a:lnTo>
                    <a:pt x="804" y="436"/>
                  </a:lnTo>
                  <a:lnTo>
                    <a:pt x="802" y="418"/>
                  </a:lnTo>
                  <a:lnTo>
                    <a:pt x="792" y="402"/>
                  </a:lnTo>
                  <a:lnTo>
                    <a:pt x="794" y="390"/>
                  </a:lnTo>
                  <a:lnTo>
                    <a:pt x="782" y="384"/>
                  </a:lnTo>
                  <a:lnTo>
                    <a:pt x="766" y="388"/>
                  </a:lnTo>
                  <a:lnTo>
                    <a:pt x="764" y="434"/>
                  </a:lnTo>
                  <a:lnTo>
                    <a:pt x="758" y="450"/>
                  </a:lnTo>
                  <a:lnTo>
                    <a:pt x="740" y="454"/>
                  </a:lnTo>
                  <a:lnTo>
                    <a:pt x="712" y="446"/>
                  </a:lnTo>
                  <a:lnTo>
                    <a:pt x="676" y="442"/>
                  </a:lnTo>
                  <a:lnTo>
                    <a:pt x="632" y="418"/>
                  </a:lnTo>
                  <a:lnTo>
                    <a:pt x="618" y="408"/>
                  </a:lnTo>
                  <a:lnTo>
                    <a:pt x="592" y="414"/>
                  </a:lnTo>
                  <a:lnTo>
                    <a:pt x="558" y="410"/>
                  </a:lnTo>
                  <a:lnTo>
                    <a:pt x="490" y="368"/>
                  </a:lnTo>
                  <a:lnTo>
                    <a:pt x="484" y="354"/>
                  </a:lnTo>
                  <a:lnTo>
                    <a:pt x="456" y="346"/>
                  </a:lnTo>
                  <a:lnTo>
                    <a:pt x="458" y="328"/>
                  </a:lnTo>
                  <a:lnTo>
                    <a:pt x="458" y="302"/>
                  </a:lnTo>
                  <a:lnTo>
                    <a:pt x="474" y="278"/>
                  </a:lnTo>
                  <a:lnTo>
                    <a:pt x="476" y="264"/>
                  </a:lnTo>
                  <a:lnTo>
                    <a:pt x="452" y="246"/>
                  </a:lnTo>
                  <a:lnTo>
                    <a:pt x="420" y="238"/>
                  </a:lnTo>
                  <a:lnTo>
                    <a:pt x="416" y="214"/>
                  </a:lnTo>
                  <a:lnTo>
                    <a:pt x="404" y="200"/>
                  </a:lnTo>
                  <a:lnTo>
                    <a:pt x="398" y="178"/>
                  </a:lnTo>
                  <a:lnTo>
                    <a:pt x="424" y="186"/>
                  </a:lnTo>
                  <a:lnTo>
                    <a:pt x="438" y="174"/>
                  </a:lnTo>
                  <a:lnTo>
                    <a:pt x="424" y="162"/>
                  </a:lnTo>
                  <a:lnTo>
                    <a:pt x="424" y="146"/>
                  </a:lnTo>
                  <a:lnTo>
                    <a:pt x="412" y="136"/>
                  </a:lnTo>
                  <a:lnTo>
                    <a:pt x="416" y="100"/>
                  </a:lnTo>
                  <a:lnTo>
                    <a:pt x="422" y="68"/>
                  </a:lnTo>
                  <a:lnTo>
                    <a:pt x="412" y="54"/>
                  </a:lnTo>
                  <a:lnTo>
                    <a:pt x="412" y="28"/>
                  </a:lnTo>
                  <a:lnTo>
                    <a:pt x="388" y="16"/>
                  </a:lnTo>
                  <a:lnTo>
                    <a:pt x="364" y="2"/>
                  </a:lnTo>
                  <a:lnTo>
                    <a:pt x="346" y="0"/>
                  </a:lnTo>
                  <a:lnTo>
                    <a:pt x="342" y="24"/>
                  </a:lnTo>
                  <a:lnTo>
                    <a:pt x="342" y="48"/>
                  </a:lnTo>
                  <a:lnTo>
                    <a:pt x="330" y="70"/>
                  </a:lnTo>
                  <a:lnTo>
                    <a:pt x="308" y="62"/>
                  </a:lnTo>
                  <a:lnTo>
                    <a:pt x="278" y="72"/>
                  </a:lnTo>
                  <a:lnTo>
                    <a:pt x="252" y="74"/>
                  </a:lnTo>
                  <a:lnTo>
                    <a:pt x="226" y="62"/>
                  </a:lnTo>
                  <a:lnTo>
                    <a:pt x="216" y="76"/>
                  </a:lnTo>
                  <a:lnTo>
                    <a:pt x="212" y="98"/>
                  </a:lnTo>
                  <a:lnTo>
                    <a:pt x="220" y="150"/>
                  </a:lnTo>
                  <a:lnTo>
                    <a:pt x="246" y="160"/>
                  </a:lnTo>
                  <a:lnTo>
                    <a:pt x="248" y="176"/>
                  </a:lnTo>
                  <a:lnTo>
                    <a:pt x="278" y="184"/>
                  </a:lnTo>
                  <a:lnTo>
                    <a:pt x="248" y="218"/>
                  </a:lnTo>
                  <a:lnTo>
                    <a:pt x="256" y="240"/>
                  </a:lnTo>
                  <a:lnTo>
                    <a:pt x="248" y="248"/>
                  </a:lnTo>
                  <a:lnTo>
                    <a:pt x="232" y="252"/>
                  </a:lnTo>
                  <a:lnTo>
                    <a:pt x="218" y="260"/>
                  </a:lnTo>
                  <a:lnTo>
                    <a:pt x="226" y="278"/>
                  </a:lnTo>
                  <a:lnTo>
                    <a:pt x="206" y="292"/>
                  </a:lnTo>
                  <a:lnTo>
                    <a:pt x="196" y="330"/>
                  </a:lnTo>
                  <a:lnTo>
                    <a:pt x="174" y="346"/>
                  </a:lnTo>
                  <a:lnTo>
                    <a:pt x="160" y="350"/>
                  </a:lnTo>
                  <a:lnTo>
                    <a:pt x="140" y="380"/>
                  </a:lnTo>
                  <a:lnTo>
                    <a:pt x="120" y="384"/>
                  </a:lnTo>
                  <a:lnTo>
                    <a:pt x="104" y="396"/>
                  </a:lnTo>
                  <a:lnTo>
                    <a:pt x="88" y="386"/>
                  </a:lnTo>
                  <a:lnTo>
                    <a:pt x="74" y="386"/>
                  </a:lnTo>
                  <a:lnTo>
                    <a:pt x="70" y="402"/>
                  </a:lnTo>
                  <a:lnTo>
                    <a:pt x="50" y="426"/>
                  </a:lnTo>
                  <a:lnTo>
                    <a:pt x="60" y="440"/>
                  </a:lnTo>
                  <a:lnTo>
                    <a:pt x="78" y="446"/>
                  </a:lnTo>
                  <a:lnTo>
                    <a:pt x="74" y="462"/>
                  </a:lnTo>
                  <a:lnTo>
                    <a:pt x="88" y="482"/>
                  </a:lnTo>
                  <a:lnTo>
                    <a:pt x="100" y="484"/>
                  </a:lnTo>
                  <a:lnTo>
                    <a:pt x="116" y="510"/>
                  </a:lnTo>
                  <a:lnTo>
                    <a:pt x="116" y="520"/>
                  </a:lnTo>
                  <a:lnTo>
                    <a:pt x="120" y="532"/>
                  </a:lnTo>
                  <a:lnTo>
                    <a:pt x="108" y="540"/>
                  </a:lnTo>
                  <a:lnTo>
                    <a:pt x="100" y="528"/>
                  </a:lnTo>
                  <a:lnTo>
                    <a:pt x="84" y="536"/>
                  </a:lnTo>
                  <a:lnTo>
                    <a:pt x="62" y="542"/>
                  </a:lnTo>
                  <a:lnTo>
                    <a:pt x="44" y="542"/>
                  </a:lnTo>
                  <a:lnTo>
                    <a:pt x="30" y="536"/>
                  </a:lnTo>
                  <a:lnTo>
                    <a:pt x="28" y="552"/>
                  </a:lnTo>
                  <a:lnTo>
                    <a:pt x="12" y="554"/>
                  </a:lnTo>
                  <a:lnTo>
                    <a:pt x="0" y="568"/>
                  </a:lnTo>
                  <a:lnTo>
                    <a:pt x="14" y="576"/>
                  </a:lnTo>
                  <a:lnTo>
                    <a:pt x="34" y="600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13" name="Indonesia">
              <a:extLst>
                <a:ext uri="{FF2B5EF4-FFF2-40B4-BE49-F238E27FC236}">
                  <a16:creationId xmlns="" xmlns:a16="http://schemas.microsoft.com/office/drawing/2014/main" id="{95FE749F-1070-4FA3-BC67-5872140C73F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733338" y="4364062"/>
              <a:ext cx="1427134" cy="507372"/>
            </a:xfrm>
            <a:custGeom>
              <a:avLst/>
              <a:gdLst/>
              <a:ahLst/>
              <a:cxnLst>
                <a:cxn ang="0">
                  <a:pos x="170" y="94"/>
                </a:cxn>
                <a:cxn ang="0">
                  <a:pos x="242" y="140"/>
                </a:cxn>
                <a:cxn ang="0">
                  <a:pos x="320" y="202"/>
                </a:cxn>
                <a:cxn ang="0">
                  <a:pos x="338" y="272"/>
                </a:cxn>
                <a:cxn ang="0">
                  <a:pos x="420" y="352"/>
                </a:cxn>
                <a:cxn ang="0">
                  <a:pos x="356" y="460"/>
                </a:cxn>
                <a:cxn ang="0">
                  <a:pos x="280" y="384"/>
                </a:cxn>
                <a:cxn ang="0">
                  <a:pos x="162" y="220"/>
                </a:cxn>
                <a:cxn ang="0">
                  <a:pos x="92" y="132"/>
                </a:cxn>
                <a:cxn ang="0">
                  <a:pos x="84" y="192"/>
                </a:cxn>
                <a:cxn ang="0">
                  <a:pos x="100" y="184"/>
                </a:cxn>
                <a:cxn ang="0">
                  <a:pos x="544" y="142"/>
                </a:cxn>
                <a:cxn ang="0">
                  <a:pos x="542" y="226"/>
                </a:cxn>
                <a:cxn ang="0">
                  <a:pos x="576" y="330"/>
                </a:cxn>
                <a:cxn ang="0">
                  <a:pos x="684" y="346"/>
                </a:cxn>
                <a:cxn ang="0">
                  <a:pos x="794" y="356"/>
                </a:cxn>
                <a:cxn ang="0">
                  <a:pos x="826" y="258"/>
                </a:cxn>
                <a:cxn ang="0">
                  <a:pos x="902" y="186"/>
                </a:cxn>
                <a:cxn ang="0">
                  <a:pos x="854" y="52"/>
                </a:cxn>
                <a:cxn ang="0">
                  <a:pos x="760" y="162"/>
                </a:cxn>
                <a:cxn ang="0">
                  <a:pos x="666" y="184"/>
                </a:cxn>
                <a:cxn ang="0">
                  <a:pos x="562" y="132"/>
                </a:cxn>
                <a:cxn ang="0">
                  <a:pos x="464" y="512"/>
                </a:cxn>
                <a:cxn ang="0">
                  <a:pos x="666" y="544"/>
                </a:cxn>
                <a:cxn ang="0">
                  <a:pos x="792" y="550"/>
                </a:cxn>
                <a:cxn ang="0">
                  <a:pos x="694" y="498"/>
                </a:cxn>
                <a:cxn ang="0">
                  <a:pos x="524" y="478"/>
                </a:cxn>
                <a:cxn ang="0">
                  <a:pos x="806" y="550"/>
                </a:cxn>
                <a:cxn ang="0">
                  <a:pos x="804" y="536"/>
                </a:cxn>
                <a:cxn ang="0">
                  <a:pos x="920" y="560"/>
                </a:cxn>
                <a:cxn ang="0">
                  <a:pos x="944" y="598"/>
                </a:cxn>
                <a:cxn ang="0">
                  <a:pos x="944" y="598"/>
                </a:cxn>
                <a:cxn ang="0">
                  <a:pos x="1006" y="548"/>
                </a:cxn>
                <a:cxn ang="0">
                  <a:pos x="934" y="270"/>
                </a:cxn>
                <a:cxn ang="0">
                  <a:pos x="944" y="406"/>
                </a:cxn>
                <a:cxn ang="0">
                  <a:pos x="972" y="330"/>
                </a:cxn>
                <a:cxn ang="0">
                  <a:pos x="1026" y="414"/>
                </a:cxn>
                <a:cxn ang="0">
                  <a:pos x="1038" y="362"/>
                </a:cxn>
                <a:cxn ang="0">
                  <a:pos x="1058" y="262"/>
                </a:cxn>
                <a:cxn ang="0">
                  <a:pos x="1010" y="256"/>
                </a:cxn>
                <a:cxn ang="0">
                  <a:pos x="974" y="212"/>
                </a:cxn>
                <a:cxn ang="0">
                  <a:pos x="1156" y="142"/>
                </a:cxn>
                <a:cxn ang="0">
                  <a:pos x="1010" y="172"/>
                </a:cxn>
                <a:cxn ang="0">
                  <a:pos x="1242" y="196"/>
                </a:cxn>
                <a:cxn ang="0">
                  <a:pos x="1256" y="202"/>
                </a:cxn>
                <a:cxn ang="0">
                  <a:pos x="1268" y="164"/>
                </a:cxn>
                <a:cxn ang="0">
                  <a:pos x="1242" y="180"/>
                </a:cxn>
                <a:cxn ang="0">
                  <a:pos x="1338" y="350"/>
                </a:cxn>
                <a:cxn ang="0">
                  <a:pos x="1240" y="340"/>
                </a:cxn>
                <a:cxn ang="0">
                  <a:pos x="1182" y="334"/>
                </a:cxn>
                <a:cxn ang="0">
                  <a:pos x="1582" y="302"/>
                </a:cxn>
                <a:cxn ang="0">
                  <a:pos x="1420" y="228"/>
                </a:cxn>
                <a:cxn ang="0">
                  <a:pos x="1448" y="308"/>
                </a:cxn>
                <a:cxn ang="0">
                  <a:pos x="1464" y="368"/>
                </a:cxn>
                <a:cxn ang="0">
                  <a:pos x="1718" y="526"/>
                </a:cxn>
                <a:cxn ang="0">
                  <a:pos x="1146" y="590"/>
                </a:cxn>
                <a:cxn ang="0">
                  <a:pos x="1080" y="618"/>
                </a:cxn>
              </a:cxnLst>
              <a:rect l="0" t="0" r="r" b="b"/>
              <a:pathLst>
                <a:path w="1758" h="622">
                  <a:moveTo>
                    <a:pt x="0" y="0"/>
                  </a:moveTo>
                  <a:lnTo>
                    <a:pt x="14" y="0"/>
                  </a:lnTo>
                  <a:lnTo>
                    <a:pt x="50" y="18"/>
                  </a:lnTo>
                  <a:lnTo>
                    <a:pt x="96" y="10"/>
                  </a:lnTo>
                  <a:lnTo>
                    <a:pt x="170" y="94"/>
                  </a:lnTo>
                  <a:lnTo>
                    <a:pt x="176" y="94"/>
                  </a:lnTo>
                  <a:lnTo>
                    <a:pt x="188" y="120"/>
                  </a:lnTo>
                  <a:lnTo>
                    <a:pt x="200" y="114"/>
                  </a:lnTo>
                  <a:lnTo>
                    <a:pt x="224" y="140"/>
                  </a:lnTo>
                  <a:lnTo>
                    <a:pt x="242" y="140"/>
                  </a:lnTo>
                  <a:lnTo>
                    <a:pt x="248" y="162"/>
                  </a:lnTo>
                  <a:lnTo>
                    <a:pt x="262" y="162"/>
                  </a:lnTo>
                  <a:lnTo>
                    <a:pt x="298" y="196"/>
                  </a:lnTo>
                  <a:lnTo>
                    <a:pt x="302" y="210"/>
                  </a:lnTo>
                  <a:lnTo>
                    <a:pt x="320" y="202"/>
                  </a:lnTo>
                  <a:lnTo>
                    <a:pt x="332" y="218"/>
                  </a:lnTo>
                  <a:lnTo>
                    <a:pt x="304" y="234"/>
                  </a:lnTo>
                  <a:lnTo>
                    <a:pt x="334" y="240"/>
                  </a:lnTo>
                  <a:lnTo>
                    <a:pt x="318" y="252"/>
                  </a:lnTo>
                  <a:lnTo>
                    <a:pt x="338" y="272"/>
                  </a:lnTo>
                  <a:lnTo>
                    <a:pt x="358" y="266"/>
                  </a:lnTo>
                  <a:lnTo>
                    <a:pt x="368" y="300"/>
                  </a:lnTo>
                  <a:lnTo>
                    <a:pt x="398" y="306"/>
                  </a:lnTo>
                  <a:lnTo>
                    <a:pt x="406" y="324"/>
                  </a:lnTo>
                  <a:lnTo>
                    <a:pt x="420" y="352"/>
                  </a:lnTo>
                  <a:lnTo>
                    <a:pt x="416" y="448"/>
                  </a:lnTo>
                  <a:lnTo>
                    <a:pt x="396" y="424"/>
                  </a:lnTo>
                  <a:lnTo>
                    <a:pt x="386" y="454"/>
                  </a:lnTo>
                  <a:lnTo>
                    <a:pt x="362" y="440"/>
                  </a:lnTo>
                  <a:lnTo>
                    <a:pt x="356" y="460"/>
                  </a:lnTo>
                  <a:lnTo>
                    <a:pt x="340" y="450"/>
                  </a:lnTo>
                  <a:lnTo>
                    <a:pt x="332" y="428"/>
                  </a:lnTo>
                  <a:lnTo>
                    <a:pt x="296" y="404"/>
                  </a:lnTo>
                  <a:lnTo>
                    <a:pt x="292" y="390"/>
                  </a:lnTo>
                  <a:lnTo>
                    <a:pt x="280" y="384"/>
                  </a:lnTo>
                  <a:lnTo>
                    <a:pt x="278" y="370"/>
                  </a:lnTo>
                  <a:lnTo>
                    <a:pt x="230" y="322"/>
                  </a:lnTo>
                  <a:lnTo>
                    <a:pt x="228" y="296"/>
                  </a:lnTo>
                  <a:lnTo>
                    <a:pt x="178" y="224"/>
                  </a:lnTo>
                  <a:lnTo>
                    <a:pt x="162" y="220"/>
                  </a:lnTo>
                  <a:lnTo>
                    <a:pt x="148" y="172"/>
                  </a:lnTo>
                  <a:lnTo>
                    <a:pt x="140" y="170"/>
                  </a:lnTo>
                  <a:lnTo>
                    <a:pt x="146" y="156"/>
                  </a:lnTo>
                  <a:lnTo>
                    <a:pt x="110" y="134"/>
                  </a:lnTo>
                  <a:lnTo>
                    <a:pt x="92" y="132"/>
                  </a:lnTo>
                  <a:lnTo>
                    <a:pt x="90" y="110"/>
                  </a:lnTo>
                  <a:lnTo>
                    <a:pt x="64" y="74"/>
                  </a:lnTo>
                  <a:lnTo>
                    <a:pt x="18" y="44"/>
                  </a:lnTo>
                  <a:lnTo>
                    <a:pt x="0" y="0"/>
                  </a:lnTo>
                  <a:close/>
                  <a:moveTo>
                    <a:pt x="84" y="192"/>
                  </a:moveTo>
                  <a:lnTo>
                    <a:pt x="96" y="194"/>
                  </a:lnTo>
                  <a:lnTo>
                    <a:pt x="96" y="210"/>
                  </a:lnTo>
                  <a:lnTo>
                    <a:pt x="108" y="210"/>
                  </a:lnTo>
                  <a:lnTo>
                    <a:pt x="112" y="192"/>
                  </a:lnTo>
                  <a:lnTo>
                    <a:pt x="100" y="184"/>
                  </a:lnTo>
                  <a:lnTo>
                    <a:pt x="92" y="168"/>
                  </a:lnTo>
                  <a:lnTo>
                    <a:pt x="72" y="170"/>
                  </a:lnTo>
                  <a:lnTo>
                    <a:pt x="84" y="192"/>
                  </a:lnTo>
                  <a:close/>
                  <a:moveTo>
                    <a:pt x="562" y="132"/>
                  </a:moveTo>
                  <a:lnTo>
                    <a:pt x="544" y="142"/>
                  </a:lnTo>
                  <a:lnTo>
                    <a:pt x="542" y="158"/>
                  </a:lnTo>
                  <a:lnTo>
                    <a:pt x="532" y="178"/>
                  </a:lnTo>
                  <a:lnTo>
                    <a:pt x="540" y="204"/>
                  </a:lnTo>
                  <a:lnTo>
                    <a:pt x="548" y="214"/>
                  </a:lnTo>
                  <a:lnTo>
                    <a:pt x="542" y="226"/>
                  </a:lnTo>
                  <a:lnTo>
                    <a:pt x="550" y="248"/>
                  </a:lnTo>
                  <a:lnTo>
                    <a:pt x="584" y="272"/>
                  </a:lnTo>
                  <a:lnTo>
                    <a:pt x="574" y="292"/>
                  </a:lnTo>
                  <a:lnTo>
                    <a:pt x="584" y="316"/>
                  </a:lnTo>
                  <a:lnTo>
                    <a:pt x="576" y="330"/>
                  </a:lnTo>
                  <a:lnTo>
                    <a:pt x="590" y="340"/>
                  </a:lnTo>
                  <a:lnTo>
                    <a:pt x="646" y="336"/>
                  </a:lnTo>
                  <a:lnTo>
                    <a:pt x="646" y="358"/>
                  </a:lnTo>
                  <a:lnTo>
                    <a:pt x="666" y="350"/>
                  </a:lnTo>
                  <a:lnTo>
                    <a:pt x="684" y="346"/>
                  </a:lnTo>
                  <a:lnTo>
                    <a:pt x="698" y="330"/>
                  </a:lnTo>
                  <a:lnTo>
                    <a:pt x="706" y="342"/>
                  </a:lnTo>
                  <a:lnTo>
                    <a:pt x="752" y="370"/>
                  </a:lnTo>
                  <a:lnTo>
                    <a:pt x="752" y="384"/>
                  </a:lnTo>
                  <a:lnTo>
                    <a:pt x="794" y="356"/>
                  </a:lnTo>
                  <a:lnTo>
                    <a:pt x="798" y="336"/>
                  </a:lnTo>
                  <a:lnTo>
                    <a:pt x="810" y="334"/>
                  </a:lnTo>
                  <a:lnTo>
                    <a:pt x="810" y="286"/>
                  </a:lnTo>
                  <a:lnTo>
                    <a:pt x="822" y="272"/>
                  </a:lnTo>
                  <a:lnTo>
                    <a:pt x="826" y="258"/>
                  </a:lnTo>
                  <a:lnTo>
                    <a:pt x="838" y="260"/>
                  </a:lnTo>
                  <a:lnTo>
                    <a:pt x="858" y="244"/>
                  </a:lnTo>
                  <a:lnTo>
                    <a:pt x="858" y="224"/>
                  </a:lnTo>
                  <a:lnTo>
                    <a:pt x="876" y="180"/>
                  </a:lnTo>
                  <a:lnTo>
                    <a:pt x="902" y="186"/>
                  </a:lnTo>
                  <a:lnTo>
                    <a:pt x="924" y="176"/>
                  </a:lnTo>
                  <a:lnTo>
                    <a:pt x="884" y="154"/>
                  </a:lnTo>
                  <a:lnTo>
                    <a:pt x="870" y="138"/>
                  </a:lnTo>
                  <a:lnTo>
                    <a:pt x="866" y="102"/>
                  </a:lnTo>
                  <a:lnTo>
                    <a:pt x="854" y="52"/>
                  </a:lnTo>
                  <a:lnTo>
                    <a:pt x="808" y="48"/>
                  </a:lnTo>
                  <a:lnTo>
                    <a:pt x="792" y="54"/>
                  </a:lnTo>
                  <a:lnTo>
                    <a:pt x="776" y="104"/>
                  </a:lnTo>
                  <a:lnTo>
                    <a:pt x="762" y="114"/>
                  </a:lnTo>
                  <a:lnTo>
                    <a:pt x="760" y="162"/>
                  </a:lnTo>
                  <a:lnTo>
                    <a:pt x="746" y="172"/>
                  </a:lnTo>
                  <a:lnTo>
                    <a:pt x="712" y="172"/>
                  </a:lnTo>
                  <a:lnTo>
                    <a:pt x="702" y="162"/>
                  </a:lnTo>
                  <a:lnTo>
                    <a:pt x="678" y="168"/>
                  </a:lnTo>
                  <a:lnTo>
                    <a:pt x="666" y="184"/>
                  </a:lnTo>
                  <a:lnTo>
                    <a:pt x="650" y="188"/>
                  </a:lnTo>
                  <a:lnTo>
                    <a:pt x="634" y="182"/>
                  </a:lnTo>
                  <a:lnTo>
                    <a:pt x="610" y="190"/>
                  </a:lnTo>
                  <a:lnTo>
                    <a:pt x="570" y="152"/>
                  </a:lnTo>
                  <a:lnTo>
                    <a:pt x="562" y="132"/>
                  </a:lnTo>
                  <a:close/>
                  <a:moveTo>
                    <a:pt x="410" y="494"/>
                  </a:moveTo>
                  <a:lnTo>
                    <a:pt x="430" y="490"/>
                  </a:lnTo>
                  <a:lnTo>
                    <a:pt x="444" y="492"/>
                  </a:lnTo>
                  <a:lnTo>
                    <a:pt x="436" y="512"/>
                  </a:lnTo>
                  <a:lnTo>
                    <a:pt x="464" y="512"/>
                  </a:lnTo>
                  <a:lnTo>
                    <a:pt x="510" y="528"/>
                  </a:lnTo>
                  <a:lnTo>
                    <a:pt x="530" y="518"/>
                  </a:lnTo>
                  <a:lnTo>
                    <a:pt x="612" y="534"/>
                  </a:lnTo>
                  <a:lnTo>
                    <a:pt x="634" y="530"/>
                  </a:lnTo>
                  <a:lnTo>
                    <a:pt x="666" y="544"/>
                  </a:lnTo>
                  <a:lnTo>
                    <a:pt x="694" y="542"/>
                  </a:lnTo>
                  <a:lnTo>
                    <a:pt x="732" y="548"/>
                  </a:lnTo>
                  <a:lnTo>
                    <a:pt x="752" y="546"/>
                  </a:lnTo>
                  <a:lnTo>
                    <a:pt x="774" y="564"/>
                  </a:lnTo>
                  <a:lnTo>
                    <a:pt x="792" y="550"/>
                  </a:lnTo>
                  <a:lnTo>
                    <a:pt x="782" y="532"/>
                  </a:lnTo>
                  <a:lnTo>
                    <a:pt x="748" y="532"/>
                  </a:lnTo>
                  <a:lnTo>
                    <a:pt x="746" y="512"/>
                  </a:lnTo>
                  <a:lnTo>
                    <a:pt x="702" y="508"/>
                  </a:lnTo>
                  <a:lnTo>
                    <a:pt x="694" y="498"/>
                  </a:lnTo>
                  <a:lnTo>
                    <a:pt x="672" y="488"/>
                  </a:lnTo>
                  <a:lnTo>
                    <a:pt x="632" y="462"/>
                  </a:lnTo>
                  <a:lnTo>
                    <a:pt x="612" y="462"/>
                  </a:lnTo>
                  <a:lnTo>
                    <a:pt x="596" y="488"/>
                  </a:lnTo>
                  <a:lnTo>
                    <a:pt x="524" y="478"/>
                  </a:lnTo>
                  <a:lnTo>
                    <a:pt x="520" y="460"/>
                  </a:lnTo>
                  <a:lnTo>
                    <a:pt x="442" y="452"/>
                  </a:lnTo>
                  <a:lnTo>
                    <a:pt x="394" y="492"/>
                  </a:lnTo>
                  <a:lnTo>
                    <a:pt x="410" y="494"/>
                  </a:lnTo>
                  <a:close/>
                  <a:moveTo>
                    <a:pt x="806" y="550"/>
                  </a:moveTo>
                  <a:lnTo>
                    <a:pt x="798" y="564"/>
                  </a:lnTo>
                  <a:lnTo>
                    <a:pt x="816" y="566"/>
                  </a:lnTo>
                  <a:lnTo>
                    <a:pt x="824" y="558"/>
                  </a:lnTo>
                  <a:lnTo>
                    <a:pt x="830" y="538"/>
                  </a:lnTo>
                  <a:lnTo>
                    <a:pt x="804" y="536"/>
                  </a:lnTo>
                  <a:lnTo>
                    <a:pt x="806" y="550"/>
                  </a:lnTo>
                  <a:close/>
                  <a:moveTo>
                    <a:pt x="840" y="552"/>
                  </a:moveTo>
                  <a:lnTo>
                    <a:pt x="842" y="574"/>
                  </a:lnTo>
                  <a:lnTo>
                    <a:pt x="850" y="570"/>
                  </a:lnTo>
                  <a:lnTo>
                    <a:pt x="920" y="560"/>
                  </a:lnTo>
                  <a:lnTo>
                    <a:pt x="916" y="536"/>
                  </a:lnTo>
                  <a:lnTo>
                    <a:pt x="888" y="534"/>
                  </a:lnTo>
                  <a:lnTo>
                    <a:pt x="870" y="548"/>
                  </a:lnTo>
                  <a:lnTo>
                    <a:pt x="840" y="552"/>
                  </a:lnTo>
                  <a:close/>
                  <a:moveTo>
                    <a:pt x="944" y="598"/>
                  </a:moveTo>
                  <a:lnTo>
                    <a:pt x="974" y="622"/>
                  </a:lnTo>
                  <a:lnTo>
                    <a:pt x="986" y="612"/>
                  </a:lnTo>
                  <a:lnTo>
                    <a:pt x="960" y="584"/>
                  </a:lnTo>
                  <a:lnTo>
                    <a:pt x="920" y="584"/>
                  </a:lnTo>
                  <a:lnTo>
                    <a:pt x="944" y="598"/>
                  </a:lnTo>
                  <a:close/>
                  <a:moveTo>
                    <a:pt x="956" y="564"/>
                  </a:moveTo>
                  <a:lnTo>
                    <a:pt x="996" y="568"/>
                  </a:lnTo>
                  <a:lnTo>
                    <a:pt x="1054" y="552"/>
                  </a:lnTo>
                  <a:lnTo>
                    <a:pt x="1062" y="538"/>
                  </a:lnTo>
                  <a:lnTo>
                    <a:pt x="1006" y="548"/>
                  </a:lnTo>
                  <a:lnTo>
                    <a:pt x="972" y="542"/>
                  </a:lnTo>
                  <a:lnTo>
                    <a:pt x="936" y="554"/>
                  </a:lnTo>
                  <a:lnTo>
                    <a:pt x="956" y="564"/>
                  </a:lnTo>
                  <a:close/>
                  <a:moveTo>
                    <a:pt x="946" y="240"/>
                  </a:moveTo>
                  <a:lnTo>
                    <a:pt x="934" y="270"/>
                  </a:lnTo>
                  <a:lnTo>
                    <a:pt x="918" y="318"/>
                  </a:lnTo>
                  <a:lnTo>
                    <a:pt x="922" y="354"/>
                  </a:lnTo>
                  <a:lnTo>
                    <a:pt x="934" y="354"/>
                  </a:lnTo>
                  <a:lnTo>
                    <a:pt x="944" y="380"/>
                  </a:lnTo>
                  <a:lnTo>
                    <a:pt x="944" y="406"/>
                  </a:lnTo>
                  <a:lnTo>
                    <a:pt x="936" y="430"/>
                  </a:lnTo>
                  <a:lnTo>
                    <a:pt x="962" y="444"/>
                  </a:lnTo>
                  <a:lnTo>
                    <a:pt x="982" y="430"/>
                  </a:lnTo>
                  <a:lnTo>
                    <a:pt x="970" y="370"/>
                  </a:lnTo>
                  <a:lnTo>
                    <a:pt x="972" y="330"/>
                  </a:lnTo>
                  <a:lnTo>
                    <a:pt x="992" y="328"/>
                  </a:lnTo>
                  <a:lnTo>
                    <a:pt x="992" y="358"/>
                  </a:lnTo>
                  <a:lnTo>
                    <a:pt x="1018" y="374"/>
                  </a:lnTo>
                  <a:lnTo>
                    <a:pt x="1008" y="402"/>
                  </a:lnTo>
                  <a:lnTo>
                    <a:pt x="1026" y="414"/>
                  </a:lnTo>
                  <a:lnTo>
                    <a:pt x="1040" y="394"/>
                  </a:lnTo>
                  <a:lnTo>
                    <a:pt x="1056" y="400"/>
                  </a:lnTo>
                  <a:lnTo>
                    <a:pt x="1064" y="380"/>
                  </a:lnTo>
                  <a:lnTo>
                    <a:pt x="1046" y="382"/>
                  </a:lnTo>
                  <a:lnTo>
                    <a:pt x="1038" y="362"/>
                  </a:lnTo>
                  <a:lnTo>
                    <a:pt x="1046" y="346"/>
                  </a:lnTo>
                  <a:lnTo>
                    <a:pt x="996" y="294"/>
                  </a:lnTo>
                  <a:lnTo>
                    <a:pt x="1016" y="292"/>
                  </a:lnTo>
                  <a:lnTo>
                    <a:pt x="1046" y="276"/>
                  </a:lnTo>
                  <a:lnTo>
                    <a:pt x="1058" y="262"/>
                  </a:lnTo>
                  <a:lnTo>
                    <a:pt x="1074" y="268"/>
                  </a:lnTo>
                  <a:lnTo>
                    <a:pt x="1084" y="260"/>
                  </a:lnTo>
                  <a:lnTo>
                    <a:pt x="1080" y="250"/>
                  </a:lnTo>
                  <a:lnTo>
                    <a:pt x="1058" y="250"/>
                  </a:lnTo>
                  <a:lnTo>
                    <a:pt x="1010" y="256"/>
                  </a:lnTo>
                  <a:lnTo>
                    <a:pt x="992" y="274"/>
                  </a:lnTo>
                  <a:lnTo>
                    <a:pt x="976" y="274"/>
                  </a:lnTo>
                  <a:lnTo>
                    <a:pt x="972" y="258"/>
                  </a:lnTo>
                  <a:lnTo>
                    <a:pt x="964" y="248"/>
                  </a:lnTo>
                  <a:lnTo>
                    <a:pt x="974" y="212"/>
                  </a:lnTo>
                  <a:lnTo>
                    <a:pt x="1000" y="204"/>
                  </a:lnTo>
                  <a:lnTo>
                    <a:pt x="1076" y="212"/>
                  </a:lnTo>
                  <a:lnTo>
                    <a:pt x="1118" y="200"/>
                  </a:lnTo>
                  <a:lnTo>
                    <a:pt x="1148" y="166"/>
                  </a:lnTo>
                  <a:lnTo>
                    <a:pt x="1156" y="142"/>
                  </a:lnTo>
                  <a:lnTo>
                    <a:pt x="1148" y="136"/>
                  </a:lnTo>
                  <a:lnTo>
                    <a:pt x="1138" y="140"/>
                  </a:lnTo>
                  <a:lnTo>
                    <a:pt x="1102" y="180"/>
                  </a:lnTo>
                  <a:lnTo>
                    <a:pt x="1066" y="182"/>
                  </a:lnTo>
                  <a:lnTo>
                    <a:pt x="1010" y="172"/>
                  </a:lnTo>
                  <a:lnTo>
                    <a:pt x="992" y="172"/>
                  </a:lnTo>
                  <a:lnTo>
                    <a:pt x="980" y="192"/>
                  </a:lnTo>
                  <a:lnTo>
                    <a:pt x="932" y="228"/>
                  </a:lnTo>
                  <a:lnTo>
                    <a:pt x="946" y="240"/>
                  </a:lnTo>
                  <a:close/>
                  <a:moveTo>
                    <a:pt x="1242" y="196"/>
                  </a:moveTo>
                  <a:lnTo>
                    <a:pt x="1240" y="236"/>
                  </a:lnTo>
                  <a:lnTo>
                    <a:pt x="1262" y="254"/>
                  </a:lnTo>
                  <a:lnTo>
                    <a:pt x="1270" y="246"/>
                  </a:lnTo>
                  <a:lnTo>
                    <a:pt x="1256" y="226"/>
                  </a:lnTo>
                  <a:lnTo>
                    <a:pt x="1256" y="202"/>
                  </a:lnTo>
                  <a:lnTo>
                    <a:pt x="1300" y="204"/>
                  </a:lnTo>
                  <a:lnTo>
                    <a:pt x="1264" y="184"/>
                  </a:lnTo>
                  <a:lnTo>
                    <a:pt x="1280" y="166"/>
                  </a:lnTo>
                  <a:lnTo>
                    <a:pt x="1290" y="152"/>
                  </a:lnTo>
                  <a:lnTo>
                    <a:pt x="1268" y="164"/>
                  </a:lnTo>
                  <a:lnTo>
                    <a:pt x="1252" y="164"/>
                  </a:lnTo>
                  <a:lnTo>
                    <a:pt x="1258" y="146"/>
                  </a:lnTo>
                  <a:lnTo>
                    <a:pt x="1250" y="126"/>
                  </a:lnTo>
                  <a:lnTo>
                    <a:pt x="1238" y="148"/>
                  </a:lnTo>
                  <a:lnTo>
                    <a:pt x="1242" y="180"/>
                  </a:lnTo>
                  <a:lnTo>
                    <a:pt x="1228" y="180"/>
                  </a:lnTo>
                  <a:lnTo>
                    <a:pt x="1242" y="196"/>
                  </a:lnTo>
                  <a:close/>
                  <a:moveTo>
                    <a:pt x="1276" y="346"/>
                  </a:moveTo>
                  <a:lnTo>
                    <a:pt x="1312" y="348"/>
                  </a:lnTo>
                  <a:lnTo>
                    <a:pt x="1338" y="350"/>
                  </a:lnTo>
                  <a:lnTo>
                    <a:pt x="1366" y="358"/>
                  </a:lnTo>
                  <a:lnTo>
                    <a:pt x="1348" y="328"/>
                  </a:lnTo>
                  <a:lnTo>
                    <a:pt x="1320" y="324"/>
                  </a:lnTo>
                  <a:lnTo>
                    <a:pt x="1272" y="328"/>
                  </a:lnTo>
                  <a:lnTo>
                    <a:pt x="1240" y="340"/>
                  </a:lnTo>
                  <a:lnTo>
                    <a:pt x="1276" y="346"/>
                  </a:lnTo>
                  <a:close/>
                  <a:moveTo>
                    <a:pt x="1202" y="360"/>
                  </a:moveTo>
                  <a:lnTo>
                    <a:pt x="1228" y="340"/>
                  </a:lnTo>
                  <a:lnTo>
                    <a:pt x="1200" y="328"/>
                  </a:lnTo>
                  <a:lnTo>
                    <a:pt x="1182" y="334"/>
                  </a:lnTo>
                  <a:lnTo>
                    <a:pt x="1202" y="360"/>
                  </a:lnTo>
                  <a:close/>
                  <a:moveTo>
                    <a:pt x="1700" y="306"/>
                  </a:moveTo>
                  <a:lnTo>
                    <a:pt x="1636" y="272"/>
                  </a:lnTo>
                  <a:lnTo>
                    <a:pt x="1606" y="300"/>
                  </a:lnTo>
                  <a:lnTo>
                    <a:pt x="1582" y="302"/>
                  </a:lnTo>
                  <a:lnTo>
                    <a:pt x="1550" y="344"/>
                  </a:lnTo>
                  <a:lnTo>
                    <a:pt x="1526" y="336"/>
                  </a:lnTo>
                  <a:lnTo>
                    <a:pt x="1508" y="302"/>
                  </a:lnTo>
                  <a:lnTo>
                    <a:pt x="1486" y="246"/>
                  </a:lnTo>
                  <a:lnTo>
                    <a:pt x="1420" y="228"/>
                  </a:lnTo>
                  <a:lnTo>
                    <a:pt x="1364" y="270"/>
                  </a:lnTo>
                  <a:lnTo>
                    <a:pt x="1420" y="292"/>
                  </a:lnTo>
                  <a:lnTo>
                    <a:pt x="1476" y="290"/>
                  </a:lnTo>
                  <a:lnTo>
                    <a:pt x="1478" y="304"/>
                  </a:lnTo>
                  <a:lnTo>
                    <a:pt x="1448" y="308"/>
                  </a:lnTo>
                  <a:lnTo>
                    <a:pt x="1438" y="318"/>
                  </a:lnTo>
                  <a:lnTo>
                    <a:pt x="1406" y="324"/>
                  </a:lnTo>
                  <a:lnTo>
                    <a:pt x="1438" y="334"/>
                  </a:lnTo>
                  <a:lnTo>
                    <a:pt x="1448" y="370"/>
                  </a:lnTo>
                  <a:lnTo>
                    <a:pt x="1464" y="368"/>
                  </a:lnTo>
                  <a:lnTo>
                    <a:pt x="1476" y="356"/>
                  </a:lnTo>
                  <a:lnTo>
                    <a:pt x="1630" y="422"/>
                  </a:lnTo>
                  <a:lnTo>
                    <a:pt x="1650" y="440"/>
                  </a:lnTo>
                  <a:lnTo>
                    <a:pt x="1682" y="528"/>
                  </a:lnTo>
                  <a:lnTo>
                    <a:pt x="1718" y="526"/>
                  </a:lnTo>
                  <a:lnTo>
                    <a:pt x="1758" y="564"/>
                  </a:lnTo>
                  <a:lnTo>
                    <a:pt x="1758" y="316"/>
                  </a:lnTo>
                  <a:lnTo>
                    <a:pt x="1700" y="306"/>
                  </a:lnTo>
                  <a:close/>
                  <a:moveTo>
                    <a:pt x="1124" y="610"/>
                  </a:moveTo>
                  <a:lnTo>
                    <a:pt x="1146" y="590"/>
                  </a:lnTo>
                  <a:lnTo>
                    <a:pt x="1148" y="574"/>
                  </a:lnTo>
                  <a:lnTo>
                    <a:pt x="1136" y="568"/>
                  </a:lnTo>
                  <a:lnTo>
                    <a:pt x="1106" y="574"/>
                  </a:lnTo>
                  <a:lnTo>
                    <a:pt x="1090" y="590"/>
                  </a:lnTo>
                  <a:lnTo>
                    <a:pt x="1080" y="618"/>
                  </a:lnTo>
                  <a:lnTo>
                    <a:pt x="1124" y="610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14" name="Iran">
              <a:extLst>
                <a:ext uri="{FF2B5EF4-FFF2-40B4-BE49-F238E27FC236}">
                  <a16:creationId xmlns="" xmlns:a16="http://schemas.microsoft.com/office/drawing/2014/main" id="{643BD2CD-FEFB-4B4F-8E0D-FBF6CDE2243D}"/>
                </a:ext>
              </a:extLst>
            </p:cNvPr>
            <p:cNvSpPr>
              <a:spLocks/>
            </p:cNvSpPr>
            <p:nvPr/>
          </p:nvSpPr>
          <p:spPr bwMode="gray">
            <a:xfrm>
              <a:off x="7169544" y="3188059"/>
              <a:ext cx="581787" cy="552604"/>
            </a:xfrm>
            <a:custGeom>
              <a:avLst/>
              <a:gdLst/>
              <a:ahLst/>
              <a:cxnLst>
                <a:cxn ang="0">
                  <a:pos x="170" y="458"/>
                </a:cxn>
                <a:cxn ang="0">
                  <a:pos x="146" y="422"/>
                </a:cxn>
                <a:cxn ang="0">
                  <a:pos x="132" y="372"/>
                </a:cxn>
                <a:cxn ang="0">
                  <a:pos x="74" y="322"/>
                </a:cxn>
                <a:cxn ang="0">
                  <a:pos x="56" y="290"/>
                </a:cxn>
                <a:cxn ang="0">
                  <a:pos x="52" y="258"/>
                </a:cxn>
                <a:cxn ang="0">
                  <a:pos x="70" y="224"/>
                </a:cxn>
                <a:cxn ang="0">
                  <a:pos x="74" y="202"/>
                </a:cxn>
                <a:cxn ang="0">
                  <a:pos x="74" y="184"/>
                </a:cxn>
                <a:cxn ang="0">
                  <a:pos x="38" y="166"/>
                </a:cxn>
                <a:cxn ang="0">
                  <a:pos x="26" y="124"/>
                </a:cxn>
                <a:cxn ang="0">
                  <a:pos x="14" y="80"/>
                </a:cxn>
                <a:cxn ang="0">
                  <a:pos x="0" y="36"/>
                </a:cxn>
                <a:cxn ang="0">
                  <a:pos x="12" y="0"/>
                </a:cxn>
                <a:cxn ang="0">
                  <a:pos x="54" y="38"/>
                </a:cxn>
                <a:cxn ang="0">
                  <a:pos x="70" y="36"/>
                </a:cxn>
                <a:cxn ang="0">
                  <a:pos x="92" y="42"/>
                </a:cxn>
                <a:cxn ang="0">
                  <a:pos x="146" y="4"/>
                </a:cxn>
                <a:cxn ang="0">
                  <a:pos x="148" y="46"/>
                </a:cxn>
                <a:cxn ang="0">
                  <a:pos x="188" y="70"/>
                </a:cxn>
                <a:cxn ang="0">
                  <a:pos x="192" y="114"/>
                </a:cxn>
                <a:cxn ang="0">
                  <a:pos x="224" y="122"/>
                </a:cxn>
                <a:cxn ang="0">
                  <a:pos x="270" y="162"/>
                </a:cxn>
                <a:cxn ang="0">
                  <a:pos x="314" y="148"/>
                </a:cxn>
                <a:cxn ang="0">
                  <a:pos x="354" y="140"/>
                </a:cxn>
                <a:cxn ang="0">
                  <a:pos x="372" y="148"/>
                </a:cxn>
                <a:cxn ang="0">
                  <a:pos x="368" y="114"/>
                </a:cxn>
                <a:cxn ang="0">
                  <a:pos x="422" y="86"/>
                </a:cxn>
                <a:cxn ang="0">
                  <a:pos x="460" y="72"/>
                </a:cxn>
                <a:cxn ang="0">
                  <a:pos x="500" y="88"/>
                </a:cxn>
                <a:cxn ang="0">
                  <a:pos x="530" y="104"/>
                </a:cxn>
                <a:cxn ang="0">
                  <a:pos x="568" y="118"/>
                </a:cxn>
                <a:cxn ang="0">
                  <a:pos x="598" y="132"/>
                </a:cxn>
                <a:cxn ang="0">
                  <a:pos x="618" y="154"/>
                </a:cxn>
                <a:cxn ang="0">
                  <a:pos x="638" y="190"/>
                </a:cxn>
                <a:cxn ang="0">
                  <a:pos x="622" y="256"/>
                </a:cxn>
                <a:cxn ang="0">
                  <a:pos x="616" y="296"/>
                </a:cxn>
                <a:cxn ang="0">
                  <a:pos x="622" y="318"/>
                </a:cxn>
                <a:cxn ang="0">
                  <a:pos x="648" y="394"/>
                </a:cxn>
                <a:cxn ang="0">
                  <a:pos x="660" y="416"/>
                </a:cxn>
                <a:cxn ang="0">
                  <a:pos x="660" y="528"/>
                </a:cxn>
                <a:cxn ang="0">
                  <a:pos x="700" y="578"/>
                </a:cxn>
                <a:cxn ang="0">
                  <a:pos x="712" y="606"/>
                </a:cxn>
                <a:cxn ang="0">
                  <a:pos x="660" y="630"/>
                </a:cxn>
                <a:cxn ang="0">
                  <a:pos x="648" y="662"/>
                </a:cxn>
                <a:cxn ang="0">
                  <a:pos x="608" y="664"/>
                </a:cxn>
                <a:cxn ang="0">
                  <a:pos x="528" y="656"/>
                </a:cxn>
                <a:cxn ang="0">
                  <a:pos x="510" y="650"/>
                </a:cxn>
                <a:cxn ang="0">
                  <a:pos x="488" y="608"/>
                </a:cxn>
                <a:cxn ang="0">
                  <a:pos x="450" y="584"/>
                </a:cxn>
                <a:cxn ang="0">
                  <a:pos x="428" y="594"/>
                </a:cxn>
                <a:cxn ang="0">
                  <a:pos x="390" y="612"/>
                </a:cxn>
                <a:cxn ang="0">
                  <a:pos x="364" y="610"/>
                </a:cxn>
                <a:cxn ang="0">
                  <a:pos x="314" y="582"/>
                </a:cxn>
                <a:cxn ang="0">
                  <a:pos x="292" y="554"/>
                </a:cxn>
                <a:cxn ang="0">
                  <a:pos x="268" y="520"/>
                </a:cxn>
                <a:cxn ang="0">
                  <a:pos x="260" y="502"/>
                </a:cxn>
                <a:cxn ang="0">
                  <a:pos x="246" y="482"/>
                </a:cxn>
                <a:cxn ang="0">
                  <a:pos x="226" y="452"/>
                </a:cxn>
                <a:cxn ang="0">
                  <a:pos x="202" y="458"/>
                </a:cxn>
                <a:cxn ang="0">
                  <a:pos x="180" y="450"/>
                </a:cxn>
              </a:cxnLst>
              <a:rect l="0" t="0" r="r" b="b"/>
              <a:pathLst>
                <a:path w="718" h="674">
                  <a:moveTo>
                    <a:pt x="180" y="450"/>
                  </a:moveTo>
                  <a:lnTo>
                    <a:pt x="170" y="458"/>
                  </a:lnTo>
                  <a:lnTo>
                    <a:pt x="146" y="438"/>
                  </a:lnTo>
                  <a:lnTo>
                    <a:pt x="146" y="422"/>
                  </a:lnTo>
                  <a:lnTo>
                    <a:pt x="136" y="416"/>
                  </a:lnTo>
                  <a:lnTo>
                    <a:pt x="132" y="372"/>
                  </a:lnTo>
                  <a:lnTo>
                    <a:pt x="120" y="356"/>
                  </a:lnTo>
                  <a:lnTo>
                    <a:pt x="74" y="322"/>
                  </a:lnTo>
                  <a:lnTo>
                    <a:pt x="68" y="306"/>
                  </a:lnTo>
                  <a:lnTo>
                    <a:pt x="56" y="290"/>
                  </a:lnTo>
                  <a:lnTo>
                    <a:pt x="52" y="280"/>
                  </a:lnTo>
                  <a:lnTo>
                    <a:pt x="52" y="258"/>
                  </a:lnTo>
                  <a:lnTo>
                    <a:pt x="62" y="238"/>
                  </a:lnTo>
                  <a:lnTo>
                    <a:pt x="70" y="224"/>
                  </a:lnTo>
                  <a:lnTo>
                    <a:pt x="80" y="216"/>
                  </a:lnTo>
                  <a:lnTo>
                    <a:pt x="74" y="202"/>
                  </a:lnTo>
                  <a:lnTo>
                    <a:pt x="80" y="188"/>
                  </a:lnTo>
                  <a:lnTo>
                    <a:pt x="74" y="184"/>
                  </a:lnTo>
                  <a:lnTo>
                    <a:pt x="46" y="180"/>
                  </a:lnTo>
                  <a:lnTo>
                    <a:pt x="38" y="166"/>
                  </a:lnTo>
                  <a:lnTo>
                    <a:pt x="28" y="158"/>
                  </a:lnTo>
                  <a:lnTo>
                    <a:pt x="26" y="124"/>
                  </a:lnTo>
                  <a:lnTo>
                    <a:pt x="14" y="96"/>
                  </a:lnTo>
                  <a:lnTo>
                    <a:pt x="14" y="80"/>
                  </a:lnTo>
                  <a:lnTo>
                    <a:pt x="2" y="54"/>
                  </a:lnTo>
                  <a:lnTo>
                    <a:pt x="0" y="36"/>
                  </a:lnTo>
                  <a:lnTo>
                    <a:pt x="8" y="14"/>
                  </a:lnTo>
                  <a:lnTo>
                    <a:pt x="12" y="0"/>
                  </a:lnTo>
                  <a:lnTo>
                    <a:pt x="22" y="8"/>
                  </a:lnTo>
                  <a:lnTo>
                    <a:pt x="54" y="38"/>
                  </a:lnTo>
                  <a:lnTo>
                    <a:pt x="62" y="40"/>
                  </a:lnTo>
                  <a:lnTo>
                    <a:pt x="70" y="36"/>
                  </a:lnTo>
                  <a:lnTo>
                    <a:pt x="74" y="44"/>
                  </a:lnTo>
                  <a:lnTo>
                    <a:pt x="92" y="42"/>
                  </a:lnTo>
                  <a:lnTo>
                    <a:pt x="118" y="22"/>
                  </a:lnTo>
                  <a:lnTo>
                    <a:pt x="146" y="4"/>
                  </a:lnTo>
                  <a:lnTo>
                    <a:pt x="158" y="30"/>
                  </a:lnTo>
                  <a:lnTo>
                    <a:pt x="148" y="46"/>
                  </a:lnTo>
                  <a:lnTo>
                    <a:pt x="164" y="58"/>
                  </a:lnTo>
                  <a:lnTo>
                    <a:pt x="188" y="70"/>
                  </a:lnTo>
                  <a:lnTo>
                    <a:pt x="190" y="100"/>
                  </a:lnTo>
                  <a:lnTo>
                    <a:pt x="192" y="114"/>
                  </a:lnTo>
                  <a:lnTo>
                    <a:pt x="204" y="120"/>
                  </a:lnTo>
                  <a:lnTo>
                    <a:pt x="224" y="122"/>
                  </a:lnTo>
                  <a:lnTo>
                    <a:pt x="234" y="142"/>
                  </a:lnTo>
                  <a:lnTo>
                    <a:pt x="270" y="162"/>
                  </a:lnTo>
                  <a:lnTo>
                    <a:pt x="286" y="162"/>
                  </a:lnTo>
                  <a:lnTo>
                    <a:pt x="314" y="148"/>
                  </a:lnTo>
                  <a:lnTo>
                    <a:pt x="338" y="146"/>
                  </a:lnTo>
                  <a:lnTo>
                    <a:pt x="354" y="140"/>
                  </a:lnTo>
                  <a:lnTo>
                    <a:pt x="356" y="146"/>
                  </a:lnTo>
                  <a:lnTo>
                    <a:pt x="372" y="148"/>
                  </a:lnTo>
                  <a:lnTo>
                    <a:pt x="374" y="136"/>
                  </a:lnTo>
                  <a:lnTo>
                    <a:pt x="368" y="114"/>
                  </a:lnTo>
                  <a:lnTo>
                    <a:pt x="384" y="122"/>
                  </a:lnTo>
                  <a:lnTo>
                    <a:pt x="422" y="86"/>
                  </a:lnTo>
                  <a:lnTo>
                    <a:pt x="450" y="86"/>
                  </a:lnTo>
                  <a:lnTo>
                    <a:pt x="460" y="72"/>
                  </a:lnTo>
                  <a:lnTo>
                    <a:pt x="486" y="70"/>
                  </a:lnTo>
                  <a:lnTo>
                    <a:pt x="500" y="88"/>
                  </a:lnTo>
                  <a:lnTo>
                    <a:pt x="518" y="92"/>
                  </a:lnTo>
                  <a:lnTo>
                    <a:pt x="530" y="104"/>
                  </a:lnTo>
                  <a:lnTo>
                    <a:pt x="560" y="104"/>
                  </a:lnTo>
                  <a:lnTo>
                    <a:pt x="568" y="118"/>
                  </a:lnTo>
                  <a:lnTo>
                    <a:pt x="584" y="122"/>
                  </a:lnTo>
                  <a:lnTo>
                    <a:pt x="598" y="132"/>
                  </a:lnTo>
                  <a:lnTo>
                    <a:pt x="604" y="148"/>
                  </a:lnTo>
                  <a:lnTo>
                    <a:pt x="618" y="154"/>
                  </a:lnTo>
                  <a:lnTo>
                    <a:pt x="638" y="152"/>
                  </a:lnTo>
                  <a:lnTo>
                    <a:pt x="638" y="190"/>
                  </a:lnTo>
                  <a:lnTo>
                    <a:pt x="638" y="220"/>
                  </a:lnTo>
                  <a:lnTo>
                    <a:pt x="622" y="256"/>
                  </a:lnTo>
                  <a:lnTo>
                    <a:pt x="616" y="258"/>
                  </a:lnTo>
                  <a:lnTo>
                    <a:pt x="616" y="296"/>
                  </a:lnTo>
                  <a:lnTo>
                    <a:pt x="632" y="302"/>
                  </a:lnTo>
                  <a:lnTo>
                    <a:pt x="622" y="318"/>
                  </a:lnTo>
                  <a:lnTo>
                    <a:pt x="628" y="390"/>
                  </a:lnTo>
                  <a:lnTo>
                    <a:pt x="648" y="394"/>
                  </a:lnTo>
                  <a:lnTo>
                    <a:pt x="660" y="398"/>
                  </a:lnTo>
                  <a:lnTo>
                    <a:pt x="660" y="416"/>
                  </a:lnTo>
                  <a:lnTo>
                    <a:pt x="628" y="470"/>
                  </a:lnTo>
                  <a:lnTo>
                    <a:pt x="660" y="528"/>
                  </a:lnTo>
                  <a:lnTo>
                    <a:pt x="700" y="544"/>
                  </a:lnTo>
                  <a:lnTo>
                    <a:pt x="700" y="578"/>
                  </a:lnTo>
                  <a:lnTo>
                    <a:pt x="718" y="590"/>
                  </a:lnTo>
                  <a:lnTo>
                    <a:pt x="712" y="606"/>
                  </a:lnTo>
                  <a:lnTo>
                    <a:pt x="682" y="610"/>
                  </a:lnTo>
                  <a:lnTo>
                    <a:pt x="660" y="630"/>
                  </a:lnTo>
                  <a:lnTo>
                    <a:pt x="654" y="662"/>
                  </a:lnTo>
                  <a:lnTo>
                    <a:pt x="648" y="662"/>
                  </a:lnTo>
                  <a:lnTo>
                    <a:pt x="644" y="674"/>
                  </a:lnTo>
                  <a:lnTo>
                    <a:pt x="608" y="664"/>
                  </a:lnTo>
                  <a:lnTo>
                    <a:pt x="556" y="662"/>
                  </a:lnTo>
                  <a:lnTo>
                    <a:pt x="528" y="656"/>
                  </a:lnTo>
                  <a:lnTo>
                    <a:pt x="520" y="646"/>
                  </a:lnTo>
                  <a:lnTo>
                    <a:pt x="510" y="650"/>
                  </a:lnTo>
                  <a:lnTo>
                    <a:pt x="492" y="630"/>
                  </a:lnTo>
                  <a:lnTo>
                    <a:pt x="488" y="608"/>
                  </a:lnTo>
                  <a:lnTo>
                    <a:pt x="484" y="592"/>
                  </a:lnTo>
                  <a:lnTo>
                    <a:pt x="450" y="584"/>
                  </a:lnTo>
                  <a:lnTo>
                    <a:pt x="442" y="592"/>
                  </a:lnTo>
                  <a:lnTo>
                    <a:pt x="428" y="594"/>
                  </a:lnTo>
                  <a:lnTo>
                    <a:pt x="404" y="614"/>
                  </a:lnTo>
                  <a:lnTo>
                    <a:pt x="390" y="612"/>
                  </a:lnTo>
                  <a:lnTo>
                    <a:pt x="382" y="602"/>
                  </a:lnTo>
                  <a:lnTo>
                    <a:pt x="364" y="610"/>
                  </a:lnTo>
                  <a:lnTo>
                    <a:pt x="346" y="596"/>
                  </a:lnTo>
                  <a:lnTo>
                    <a:pt x="314" y="582"/>
                  </a:lnTo>
                  <a:lnTo>
                    <a:pt x="316" y="574"/>
                  </a:lnTo>
                  <a:lnTo>
                    <a:pt x="292" y="554"/>
                  </a:lnTo>
                  <a:lnTo>
                    <a:pt x="274" y="546"/>
                  </a:lnTo>
                  <a:lnTo>
                    <a:pt x="268" y="520"/>
                  </a:lnTo>
                  <a:lnTo>
                    <a:pt x="254" y="514"/>
                  </a:lnTo>
                  <a:lnTo>
                    <a:pt x="260" y="502"/>
                  </a:lnTo>
                  <a:lnTo>
                    <a:pt x="248" y="492"/>
                  </a:lnTo>
                  <a:lnTo>
                    <a:pt x="246" y="482"/>
                  </a:lnTo>
                  <a:lnTo>
                    <a:pt x="228" y="462"/>
                  </a:lnTo>
                  <a:lnTo>
                    <a:pt x="226" y="452"/>
                  </a:lnTo>
                  <a:lnTo>
                    <a:pt x="218" y="452"/>
                  </a:lnTo>
                  <a:lnTo>
                    <a:pt x="202" y="458"/>
                  </a:lnTo>
                  <a:lnTo>
                    <a:pt x="186" y="450"/>
                  </a:lnTo>
                  <a:lnTo>
                    <a:pt x="180" y="450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15" name="Iraq">
              <a:extLst>
                <a:ext uri="{FF2B5EF4-FFF2-40B4-BE49-F238E27FC236}">
                  <a16:creationId xmlns="" xmlns:a16="http://schemas.microsoft.com/office/drawing/2014/main" id="{F1531395-118E-4D6B-B802-AFCB92526C8A}"/>
                </a:ext>
              </a:extLst>
            </p:cNvPr>
            <p:cNvSpPr>
              <a:spLocks/>
            </p:cNvSpPr>
            <p:nvPr/>
          </p:nvSpPr>
          <p:spPr bwMode="gray">
            <a:xfrm>
              <a:off x="6995789" y="3288354"/>
              <a:ext cx="310418" cy="316616"/>
            </a:xfrm>
            <a:custGeom>
              <a:avLst/>
              <a:gdLst/>
              <a:ahLst/>
              <a:cxnLst>
                <a:cxn ang="0">
                  <a:pos x="32" y="236"/>
                </a:cxn>
                <a:cxn ang="0">
                  <a:pos x="20" y="228"/>
                </a:cxn>
                <a:cxn ang="0">
                  <a:pos x="20" y="224"/>
                </a:cxn>
                <a:cxn ang="0">
                  <a:pos x="10" y="226"/>
                </a:cxn>
                <a:cxn ang="0">
                  <a:pos x="8" y="218"/>
                </a:cxn>
                <a:cxn ang="0">
                  <a:pos x="12" y="216"/>
                </a:cxn>
                <a:cxn ang="0">
                  <a:pos x="0" y="178"/>
                </a:cxn>
                <a:cxn ang="0">
                  <a:pos x="100" y="112"/>
                </a:cxn>
                <a:cxn ang="0">
                  <a:pos x="98" y="94"/>
                </a:cxn>
                <a:cxn ang="0">
                  <a:pos x="104" y="80"/>
                </a:cxn>
                <a:cxn ang="0">
                  <a:pos x="108" y="48"/>
                </a:cxn>
                <a:cxn ang="0">
                  <a:pos x="154" y="14"/>
                </a:cxn>
                <a:cxn ang="0">
                  <a:pos x="166" y="0"/>
                </a:cxn>
                <a:cxn ang="0">
                  <a:pos x="192" y="6"/>
                </a:cxn>
                <a:cxn ang="0">
                  <a:pos x="212" y="8"/>
                </a:cxn>
                <a:cxn ang="0">
                  <a:pos x="218" y="16"/>
                </a:cxn>
                <a:cxn ang="0">
                  <a:pos x="238" y="2"/>
                </a:cxn>
                <a:cxn ang="0">
                  <a:pos x="240" y="36"/>
                </a:cxn>
                <a:cxn ang="0">
                  <a:pos x="250" y="44"/>
                </a:cxn>
                <a:cxn ang="0">
                  <a:pos x="258" y="58"/>
                </a:cxn>
                <a:cxn ang="0">
                  <a:pos x="286" y="62"/>
                </a:cxn>
                <a:cxn ang="0">
                  <a:pos x="292" y="66"/>
                </a:cxn>
                <a:cxn ang="0">
                  <a:pos x="286" y="80"/>
                </a:cxn>
                <a:cxn ang="0">
                  <a:pos x="292" y="94"/>
                </a:cxn>
                <a:cxn ang="0">
                  <a:pos x="282" y="102"/>
                </a:cxn>
                <a:cxn ang="0">
                  <a:pos x="274" y="116"/>
                </a:cxn>
                <a:cxn ang="0">
                  <a:pos x="264" y="136"/>
                </a:cxn>
                <a:cxn ang="0">
                  <a:pos x="264" y="158"/>
                </a:cxn>
                <a:cxn ang="0">
                  <a:pos x="268" y="168"/>
                </a:cxn>
                <a:cxn ang="0">
                  <a:pos x="280" y="184"/>
                </a:cxn>
                <a:cxn ang="0">
                  <a:pos x="286" y="200"/>
                </a:cxn>
                <a:cxn ang="0">
                  <a:pos x="332" y="234"/>
                </a:cxn>
                <a:cxn ang="0">
                  <a:pos x="344" y="250"/>
                </a:cxn>
                <a:cxn ang="0">
                  <a:pos x="348" y="294"/>
                </a:cxn>
                <a:cxn ang="0">
                  <a:pos x="358" y="300"/>
                </a:cxn>
                <a:cxn ang="0">
                  <a:pos x="358" y="316"/>
                </a:cxn>
                <a:cxn ang="0">
                  <a:pos x="382" y="336"/>
                </a:cxn>
                <a:cxn ang="0">
                  <a:pos x="354" y="336"/>
                </a:cxn>
                <a:cxn ang="0">
                  <a:pos x="338" y="332"/>
                </a:cxn>
                <a:cxn ang="0">
                  <a:pos x="326" y="340"/>
                </a:cxn>
                <a:cxn ang="0">
                  <a:pos x="318" y="356"/>
                </a:cxn>
                <a:cxn ang="0">
                  <a:pos x="316" y="372"/>
                </a:cxn>
                <a:cxn ang="0">
                  <a:pos x="308" y="380"/>
                </a:cxn>
                <a:cxn ang="0">
                  <a:pos x="296" y="388"/>
                </a:cxn>
                <a:cxn ang="0">
                  <a:pos x="244" y="386"/>
                </a:cxn>
                <a:cxn ang="0">
                  <a:pos x="216" y="376"/>
                </a:cxn>
                <a:cxn ang="0">
                  <a:pos x="200" y="372"/>
                </a:cxn>
                <a:cxn ang="0">
                  <a:pos x="190" y="360"/>
                </a:cxn>
                <a:cxn ang="0">
                  <a:pos x="194" y="346"/>
                </a:cxn>
                <a:cxn ang="0">
                  <a:pos x="194" y="330"/>
                </a:cxn>
                <a:cxn ang="0">
                  <a:pos x="170" y="328"/>
                </a:cxn>
                <a:cxn ang="0">
                  <a:pos x="162" y="304"/>
                </a:cxn>
                <a:cxn ang="0">
                  <a:pos x="68" y="246"/>
                </a:cxn>
                <a:cxn ang="0">
                  <a:pos x="52" y="244"/>
                </a:cxn>
                <a:cxn ang="0">
                  <a:pos x="44" y="236"/>
                </a:cxn>
                <a:cxn ang="0">
                  <a:pos x="32" y="236"/>
                </a:cxn>
              </a:cxnLst>
              <a:rect l="0" t="0" r="r" b="b"/>
              <a:pathLst>
                <a:path w="382" h="388">
                  <a:moveTo>
                    <a:pt x="32" y="236"/>
                  </a:moveTo>
                  <a:lnTo>
                    <a:pt x="20" y="228"/>
                  </a:lnTo>
                  <a:lnTo>
                    <a:pt x="20" y="224"/>
                  </a:lnTo>
                  <a:lnTo>
                    <a:pt x="10" y="226"/>
                  </a:lnTo>
                  <a:lnTo>
                    <a:pt x="8" y="218"/>
                  </a:lnTo>
                  <a:lnTo>
                    <a:pt x="12" y="216"/>
                  </a:lnTo>
                  <a:lnTo>
                    <a:pt x="0" y="178"/>
                  </a:lnTo>
                  <a:lnTo>
                    <a:pt x="100" y="112"/>
                  </a:lnTo>
                  <a:lnTo>
                    <a:pt x="98" y="94"/>
                  </a:lnTo>
                  <a:lnTo>
                    <a:pt x="104" y="80"/>
                  </a:lnTo>
                  <a:lnTo>
                    <a:pt x="108" y="48"/>
                  </a:lnTo>
                  <a:lnTo>
                    <a:pt x="154" y="14"/>
                  </a:lnTo>
                  <a:lnTo>
                    <a:pt x="166" y="0"/>
                  </a:lnTo>
                  <a:lnTo>
                    <a:pt x="192" y="6"/>
                  </a:lnTo>
                  <a:lnTo>
                    <a:pt x="212" y="8"/>
                  </a:lnTo>
                  <a:lnTo>
                    <a:pt x="218" y="16"/>
                  </a:lnTo>
                  <a:lnTo>
                    <a:pt x="238" y="2"/>
                  </a:lnTo>
                  <a:lnTo>
                    <a:pt x="240" y="36"/>
                  </a:lnTo>
                  <a:lnTo>
                    <a:pt x="250" y="44"/>
                  </a:lnTo>
                  <a:lnTo>
                    <a:pt x="258" y="58"/>
                  </a:lnTo>
                  <a:lnTo>
                    <a:pt x="286" y="62"/>
                  </a:lnTo>
                  <a:lnTo>
                    <a:pt x="292" y="66"/>
                  </a:lnTo>
                  <a:lnTo>
                    <a:pt x="286" y="80"/>
                  </a:lnTo>
                  <a:lnTo>
                    <a:pt x="292" y="94"/>
                  </a:lnTo>
                  <a:lnTo>
                    <a:pt x="282" y="102"/>
                  </a:lnTo>
                  <a:lnTo>
                    <a:pt x="274" y="116"/>
                  </a:lnTo>
                  <a:lnTo>
                    <a:pt x="264" y="136"/>
                  </a:lnTo>
                  <a:lnTo>
                    <a:pt x="264" y="158"/>
                  </a:lnTo>
                  <a:lnTo>
                    <a:pt x="268" y="168"/>
                  </a:lnTo>
                  <a:lnTo>
                    <a:pt x="280" y="184"/>
                  </a:lnTo>
                  <a:lnTo>
                    <a:pt x="286" y="200"/>
                  </a:lnTo>
                  <a:lnTo>
                    <a:pt x="332" y="234"/>
                  </a:lnTo>
                  <a:lnTo>
                    <a:pt x="344" y="250"/>
                  </a:lnTo>
                  <a:lnTo>
                    <a:pt x="348" y="294"/>
                  </a:lnTo>
                  <a:lnTo>
                    <a:pt x="358" y="300"/>
                  </a:lnTo>
                  <a:lnTo>
                    <a:pt x="358" y="316"/>
                  </a:lnTo>
                  <a:lnTo>
                    <a:pt x="382" y="336"/>
                  </a:lnTo>
                  <a:lnTo>
                    <a:pt x="354" y="336"/>
                  </a:lnTo>
                  <a:lnTo>
                    <a:pt x="338" y="332"/>
                  </a:lnTo>
                  <a:lnTo>
                    <a:pt x="326" y="340"/>
                  </a:lnTo>
                  <a:lnTo>
                    <a:pt x="318" y="356"/>
                  </a:lnTo>
                  <a:lnTo>
                    <a:pt x="316" y="372"/>
                  </a:lnTo>
                  <a:lnTo>
                    <a:pt x="308" y="380"/>
                  </a:lnTo>
                  <a:lnTo>
                    <a:pt x="296" y="388"/>
                  </a:lnTo>
                  <a:lnTo>
                    <a:pt x="244" y="386"/>
                  </a:lnTo>
                  <a:lnTo>
                    <a:pt x="216" y="376"/>
                  </a:lnTo>
                  <a:lnTo>
                    <a:pt x="200" y="372"/>
                  </a:lnTo>
                  <a:lnTo>
                    <a:pt x="190" y="360"/>
                  </a:lnTo>
                  <a:lnTo>
                    <a:pt x="194" y="346"/>
                  </a:lnTo>
                  <a:lnTo>
                    <a:pt x="194" y="330"/>
                  </a:lnTo>
                  <a:lnTo>
                    <a:pt x="170" y="328"/>
                  </a:lnTo>
                  <a:lnTo>
                    <a:pt x="162" y="304"/>
                  </a:lnTo>
                  <a:lnTo>
                    <a:pt x="68" y="246"/>
                  </a:lnTo>
                  <a:lnTo>
                    <a:pt x="52" y="244"/>
                  </a:lnTo>
                  <a:lnTo>
                    <a:pt x="44" y="236"/>
                  </a:lnTo>
                  <a:lnTo>
                    <a:pt x="32" y="236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16" name="Ireland">
              <a:extLst>
                <a:ext uri="{FF2B5EF4-FFF2-40B4-BE49-F238E27FC236}">
                  <a16:creationId xmlns="" xmlns:a16="http://schemas.microsoft.com/office/drawing/2014/main" id="{6AF5EDD4-7DA1-4D66-8B58-527A43A2766C}"/>
                </a:ext>
              </a:extLst>
            </p:cNvPr>
            <p:cNvSpPr>
              <a:spLocks/>
            </p:cNvSpPr>
            <p:nvPr/>
          </p:nvSpPr>
          <p:spPr bwMode="gray">
            <a:xfrm>
              <a:off x="5482752" y="2440767"/>
              <a:ext cx="132756" cy="194690"/>
            </a:xfrm>
            <a:custGeom>
              <a:avLst/>
              <a:gdLst/>
              <a:ahLst/>
              <a:cxnLst>
                <a:cxn ang="0">
                  <a:pos x="150" y="72"/>
                </a:cxn>
                <a:cxn ang="0">
                  <a:pos x="136" y="70"/>
                </a:cxn>
                <a:cxn ang="0">
                  <a:pos x="122" y="58"/>
                </a:cxn>
                <a:cxn ang="0">
                  <a:pos x="110" y="70"/>
                </a:cxn>
                <a:cxn ang="0">
                  <a:pos x="84" y="72"/>
                </a:cxn>
                <a:cxn ang="0">
                  <a:pos x="82" y="58"/>
                </a:cxn>
                <a:cxn ang="0">
                  <a:pos x="86" y="42"/>
                </a:cxn>
                <a:cxn ang="0">
                  <a:pos x="98" y="32"/>
                </a:cxn>
                <a:cxn ang="0">
                  <a:pos x="104" y="18"/>
                </a:cxn>
                <a:cxn ang="0">
                  <a:pos x="118" y="6"/>
                </a:cxn>
                <a:cxn ang="0">
                  <a:pos x="100" y="0"/>
                </a:cxn>
                <a:cxn ang="0">
                  <a:pos x="84" y="4"/>
                </a:cxn>
                <a:cxn ang="0">
                  <a:pos x="72" y="14"/>
                </a:cxn>
                <a:cxn ang="0">
                  <a:pos x="72" y="26"/>
                </a:cxn>
                <a:cxn ang="0">
                  <a:pos x="60" y="42"/>
                </a:cxn>
                <a:cxn ang="0">
                  <a:pos x="66" y="58"/>
                </a:cxn>
                <a:cxn ang="0">
                  <a:pos x="52" y="62"/>
                </a:cxn>
                <a:cxn ang="0">
                  <a:pos x="24" y="60"/>
                </a:cxn>
                <a:cxn ang="0">
                  <a:pos x="20" y="82"/>
                </a:cxn>
                <a:cxn ang="0">
                  <a:pos x="28" y="86"/>
                </a:cxn>
                <a:cxn ang="0">
                  <a:pos x="24" y="96"/>
                </a:cxn>
                <a:cxn ang="0">
                  <a:pos x="12" y="108"/>
                </a:cxn>
                <a:cxn ang="0">
                  <a:pos x="12" y="126"/>
                </a:cxn>
                <a:cxn ang="0">
                  <a:pos x="24" y="126"/>
                </a:cxn>
                <a:cxn ang="0">
                  <a:pos x="32" y="132"/>
                </a:cxn>
                <a:cxn ang="0">
                  <a:pos x="50" y="126"/>
                </a:cxn>
                <a:cxn ang="0">
                  <a:pos x="52" y="136"/>
                </a:cxn>
                <a:cxn ang="0">
                  <a:pos x="38" y="150"/>
                </a:cxn>
                <a:cxn ang="0">
                  <a:pos x="38" y="160"/>
                </a:cxn>
                <a:cxn ang="0">
                  <a:pos x="22" y="176"/>
                </a:cxn>
                <a:cxn ang="0">
                  <a:pos x="28" y="184"/>
                </a:cxn>
                <a:cxn ang="0">
                  <a:pos x="24" y="194"/>
                </a:cxn>
                <a:cxn ang="0">
                  <a:pos x="8" y="206"/>
                </a:cxn>
                <a:cxn ang="0">
                  <a:pos x="12" y="216"/>
                </a:cxn>
                <a:cxn ang="0">
                  <a:pos x="0" y="226"/>
                </a:cxn>
                <a:cxn ang="0">
                  <a:pos x="20" y="230"/>
                </a:cxn>
                <a:cxn ang="0">
                  <a:pos x="48" y="236"/>
                </a:cxn>
                <a:cxn ang="0">
                  <a:pos x="70" y="236"/>
                </a:cxn>
                <a:cxn ang="0">
                  <a:pos x="82" y="220"/>
                </a:cxn>
                <a:cxn ang="0">
                  <a:pos x="96" y="218"/>
                </a:cxn>
                <a:cxn ang="0">
                  <a:pos x="112" y="208"/>
                </a:cxn>
                <a:cxn ang="0">
                  <a:pos x="128" y="208"/>
                </a:cxn>
                <a:cxn ang="0">
                  <a:pos x="158" y="194"/>
                </a:cxn>
                <a:cxn ang="0">
                  <a:pos x="156" y="178"/>
                </a:cxn>
                <a:cxn ang="0">
                  <a:pos x="162" y="160"/>
                </a:cxn>
                <a:cxn ang="0">
                  <a:pos x="164" y="126"/>
                </a:cxn>
                <a:cxn ang="0">
                  <a:pos x="158" y="108"/>
                </a:cxn>
                <a:cxn ang="0">
                  <a:pos x="158" y="88"/>
                </a:cxn>
                <a:cxn ang="0">
                  <a:pos x="150" y="72"/>
                </a:cxn>
              </a:cxnLst>
              <a:rect l="0" t="0" r="r" b="b"/>
              <a:pathLst>
                <a:path w="164" h="236">
                  <a:moveTo>
                    <a:pt x="150" y="72"/>
                  </a:moveTo>
                  <a:lnTo>
                    <a:pt x="136" y="70"/>
                  </a:lnTo>
                  <a:lnTo>
                    <a:pt x="122" y="58"/>
                  </a:lnTo>
                  <a:lnTo>
                    <a:pt x="110" y="70"/>
                  </a:lnTo>
                  <a:lnTo>
                    <a:pt x="84" y="72"/>
                  </a:lnTo>
                  <a:lnTo>
                    <a:pt x="82" y="58"/>
                  </a:lnTo>
                  <a:lnTo>
                    <a:pt x="86" y="42"/>
                  </a:lnTo>
                  <a:lnTo>
                    <a:pt x="98" y="32"/>
                  </a:lnTo>
                  <a:lnTo>
                    <a:pt x="104" y="18"/>
                  </a:lnTo>
                  <a:lnTo>
                    <a:pt x="118" y="6"/>
                  </a:lnTo>
                  <a:lnTo>
                    <a:pt x="100" y="0"/>
                  </a:lnTo>
                  <a:lnTo>
                    <a:pt x="84" y="4"/>
                  </a:lnTo>
                  <a:lnTo>
                    <a:pt x="72" y="14"/>
                  </a:lnTo>
                  <a:lnTo>
                    <a:pt x="72" y="26"/>
                  </a:lnTo>
                  <a:lnTo>
                    <a:pt x="60" y="42"/>
                  </a:lnTo>
                  <a:lnTo>
                    <a:pt x="66" y="58"/>
                  </a:lnTo>
                  <a:lnTo>
                    <a:pt x="52" y="62"/>
                  </a:lnTo>
                  <a:lnTo>
                    <a:pt x="24" y="60"/>
                  </a:lnTo>
                  <a:lnTo>
                    <a:pt x="20" y="82"/>
                  </a:lnTo>
                  <a:lnTo>
                    <a:pt x="28" y="86"/>
                  </a:lnTo>
                  <a:lnTo>
                    <a:pt x="24" y="96"/>
                  </a:lnTo>
                  <a:lnTo>
                    <a:pt x="12" y="108"/>
                  </a:lnTo>
                  <a:lnTo>
                    <a:pt x="12" y="126"/>
                  </a:lnTo>
                  <a:lnTo>
                    <a:pt x="24" y="126"/>
                  </a:lnTo>
                  <a:lnTo>
                    <a:pt x="32" y="132"/>
                  </a:lnTo>
                  <a:lnTo>
                    <a:pt x="50" y="126"/>
                  </a:lnTo>
                  <a:lnTo>
                    <a:pt x="52" y="136"/>
                  </a:lnTo>
                  <a:lnTo>
                    <a:pt x="38" y="150"/>
                  </a:lnTo>
                  <a:lnTo>
                    <a:pt x="38" y="160"/>
                  </a:lnTo>
                  <a:lnTo>
                    <a:pt x="22" y="176"/>
                  </a:lnTo>
                  <a:lnTo>
                    <a:pt x="28" y="184"/>
                  </a:lnTo>
                  <a:lnTo>
                    <a:pt x="24" y="194"/>
                  </a:lnTo>
                  <a:lnTo>
                    <a:pt x="8" y="206"/>
                  </a:lnTo>
                  <a:lnTo>
                    <a:pt x="12" y="216"/>
                  </a:lnTo>
                  <a:lnTo>
                    <a:pt x="0" y="226"/>
                  </a:lnTo>
                  <a:lnTo>
                    <a:pt x="20" y="230"/>
                  </a:lnTo>
                  <a:lnTo>
                    <a:pt x="48" y="236"/>
                  </a:lnTo>
                  <a:lnTo>
                    <a:pt x="70" y="236"/>
                  </a:lnTo>
                  <a:lnTo>
                    <a:pt x="82" y="220"/>
                  </a:lnTo>
                  <a:lnTo>
                    <a:pt x="96" y="218"/>
                  </a:lnTo>
                  <a:lnTo>
                    <a:pt x="112" y="208"/>
                  </a:lnTo>
                  <a:lnTo>
                    <a:pt x="128" y="208"/>
                  </a:lnTo>
                  <a:lnTo>
                    <a:pt x="158" y="194"/>
                  </a:lnTo>
                  <a:lnTo>
                    <a:pt x="156" y="178"/>
                  </a:lnTo>
                  <a:lnTo>
                    <a:pt x="162" y="160"/>
                  </a:lnTo>
                  <a:lnTo>
                    <a:pt x="164" y="126"/>
                  </a:lnTo>
                  <a:lnTo>
                    <a:pt x="158" y="108"/>
                  </a:lnTo>
                  <a:lnTo>
                    <a:pt x="158" y="88"/>
                  </a:lnTo>
                  <a:lnTo>
                    <a:pt x="150" y="72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17" name="Israel">
              <a:extLst>
                <a:ext uri="{FF2B5EF4-FFF2-40B4-BE49-F238E27FC236}">
                  <a16:creationId xmlns="" xmlns:a16="http://schemas.microsoft.com/office/drawing/2014/main" id="{76C52CAB-2EC7-47B4-87FE-3E8C378460FE}"/>
                </a:ext>
              </a:extLst>
            </p:cNvPr>
            <p:cNvSpPr>
              <a:spLocks/>
            </p:cNvSpPr>
            <p:nvPr/>
          </p:nvSpPr>
          <p:spPr bwMode="gray">
            <a:xfrm>
              <a:off x="6861079" y="3435845"/>
              <a:ext cx="48807" cy="143559"/>
            </a:xfrm>
            <a:custGeom>
              <a:avLst/>
              <a:gdLst/>
              <a:ahLst/>
              <a:cxnLst>
                <a:cxn ang="0">
                  <a:pos x="22" y="178"/>
                </a:cxn>
                <a:cxn ang="0">
                  <a:pos x="18" y="160"/>
                </a:cxn>
                <a:cxn ang="0">
                  <a:pos x="10" y="134"/>
                </a:cxn>
                <a:cxn ang="0">
                  <a:pos x="6" y="110"/>
                </a:cxn>
                <a:cxn ang="0">
                  <a:pos x="0" y="100"/>
                </a:cxn>
                <a:cxn ang="0">
                  <a:pos x="0" y="86"/>
                </a:cxn>
                <a:cxn ang="0">
                  <a:pos x="8" y="80"/>
                </a:cxn>
                <a:cxn ang="0">
                  <a:pos x="20" y="58"/>
                </a:cxn>
                <a:cxn ang="0">
                  <a:pos x="26" y="34"/>
                </a:cxn>
                <a:cxn ang="0">
                  <a:pos x="26" y="24"/>
                </a:cxn>
                <a:cxn ang="0">
                  <a:pos x="30" y="24"/>
                </a:cxn>
                <a:cxn ang="0">
                  <a:pos x="34" y="12"/>
                </a:cxn>
                <a:cxn ang="0">
                  <a:pos x="40" y="10"/>
                </a:cxn>
                <a:cxn ang="0">
                  <a:pos x="42" y="12"/>
                </a:cxn>
                <a:cxn ang="0">
                  <a:pos x="48" y="10"/>
                </a:cxn>
                <a:cxn ang="0">
                  <a:pos x="50" y="4"/>
                </a:cxn>
                <a:cxn ang="0">
                  <a:pos x="54" y="4"/>
                </a:cxn>
                <a:cxn ang="0">
                  <a:pos x="56" y="0"/>
                </a:cxn>
                <a:cxn ang="0">
                  <a:pos x="60" y="0"/>
                </a:cxn>
                <a:cxn ang="0">
                  <a:pos x="62" y="10"/>
                </a:cxn>
                <a:cxn ang="0">
                  <a:pos x="62" y="16"/>
                </a:cxn>
                <a:cxn ang="0">
                  <a:pos x="62" y="20"/>
                </a:cxn>
                <a:cxn ang="0">
                  <a:pos x="58" y="28"/>
                </a:cxn>
                <a:cxn ang="0">
                  <a:pos x="52" y="30"/>
                </a:cxn>
                <a:cxn ang="0">
                  <a:pos x="50" y="32"/>
                </a:cxn>
                <a:cxn ang="0">
                  <a:pos x="48" y="44"/>
                </a:cxn>
                <a:cxn ang="0">
                  <a:pos x="50" y="52"/>
                </a:cxn>
                <a:cxn ang="0">
                  <a:pos x="46" y="60"/>
                </a:cxn>
                <a:cxn ang="0">
                  <a:pos x="48" y="72"/>
                </a:cxn>
                <a:cxn ang="0">
                  <a:pos x="44" y="86"/>
                </a:cxn>
                <a:cxn ang="0">
                  <a:pos x="42" y="96"/>
                </a:cxn>
                <a:cxn ang="0">
                  <a:pos x="44" y="104"/>
                </a:cxn>
                <a:cxn ang="0">
                  <a:pos x="32" y="136"/>
                </a:cxn>
                <a:cxn ang="0">
                  <a:pos x="32" y="150"/>
                </a:cxn>
                <a:cxn ang="0">
                  <a:pos x="30" y="154"/>
                </a:cxn>
                <a:cxn ang="0">
                  <a:pos x="22" y="178"/>
                </a:cxn>
              </a:cxnLst>
              <a:rect l="0" t="0" r="r" b="b"/>
              <a:pathLst>
                <a:path w="62" h="178">
                  <a:moveTo>
                    <a:pt x="22" y="178"/>
                  </a:moveTo>
                  <a:lnTo>
                    <a:pt x="18" y="160"/>
                  </a:lnTo>
                  <a:lnTo>
                    <a:pt x="10" y="134"/>
                  </a:lnTo>
                  <a:lnTo>
                    <a:pt x="6" y="110"/>
                  </a:lnTo>
                  <a:lnTo>
                    <a:pt x="0" y="100"/>
                  </a:lnTo>
                  <a:lnTo>
                    <a:pt x="0" y="86"/>
                  </a:lnTo>
                  <a:lnTo>
                    <a:pt x="8" y="80"/>
                  </a:lnTo>
                  <a:lnTo>
                    <a:pt x="20" y="58"/>
                  </a:lnTo>
                  <a:lnTo>
                    <a:pt x="26" y="34"/>
                  </a:lnTo>
                  <a:lnTo>
                    <a:pt x="26" y="24"/>
                  </a:lnTo>
                  <a:lnTo>
                    <a:pt x="30" y="24"/>
                  </a:lnTo>
                  <a:lnTo>
                    <a:pt x="34" y="12"/>
                  </a:lnTo>
                  <a:lnTo>
                    <a:pt x="40" y="10"/>
                  </a:lnTo>
                  <a:lnTo>
                    <a:pt x="42" y="12"/>
                  </a:lnTo>
                  <a:lnTo>
                    <a:pt x="48" y="10"/>
                  </a:lnTo>
                  <a:lnTo>
                    <a:pt x="50" y="4"/>
                  </a:lnTo>
                  <a:lnTo>
                    <a:pt x="54" y="4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2" y="10"/>
                  </a:lnTo>
                  <a:lnTo>
                    <a:pt x="62" y="16"/>
                  </a:lnTo>
                  <a:lnTo>
                    <a:pt x="62" y="20"/>
                  </a:lnTo>
                  <a:lnTo>
                    <a:pt x="58" y="28"/>
                  </a:lnTo>
                  <a:lnTo>
                    <a:pt x="52" y="30"/>
                  </a:lnTo>
                  <a:lnTo>
                    <a:pt x="50" y="32"/>
                  </a:lnTo>
                  <a:lnTo>
                    <a:pt x="48" y="44"/>
                  </a:lnTo>
                  <a:lnTo>
                    <a:pt x="50" y="52"/>
                  </a:lnTo>
                  <a:lnTo>
                    <a:pt x="46" y="60"/>
                  </a:lnTo>
                  <a:lnTo>
                    <a:pt x="48" y="72"/>
                  </a:lnTo>
                  <a:lnTo>
                    <a:pt x="44" y="86"/>
                  </a:lnTo>
                  <a:lnTo>
                    <a:pt x="42" y="96"/>
                  </a:lnTo>
                  <a:lnTo>
                    <a:pt x="44" y="104"/>
                  </a:lnTo>
                  <a:lnTo>
                    <a:pt x="32" y="136"/>
                  </a:lnTo>
                  <a:lnTo>
                    <a:pt x="32" y="150"/>
                  </a:lnTo>
                  <a:lnTo>
                    <a:pt x="30" y="154"/>
                  </a:lnTo>
                  <a:lnTo>
                    <a:pt x="22" y="178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18" name="Italy">
              <a:extLst>
                <a:ext uri="{FF2B5EF4-FFF2-40B4-BE49-F238E27FC236}">
                  <a16:creationId xmlns="" xmlns:a16="http://schemas.microsoft.com/office/drawing/2014/main" id="{E6039F53-3BEB-4713-9320-65E8EFCF3F8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002067" y="2857676"/>
              <a:ext cx="367034" cy="448376"/>
            </a:xfrm>
            <a:custGeom>
              <a:avLst/>
              <a:gdLst/>
              <a:ahLst/>
              <a:cxnLst>
                <a:cxn ang="0">
                  <a:pos x="264" y="46"/>
                </a:cxn>
                <a:cxn ang="0">
                  <a:pos x="266" y="80"/>
                </a:cxn>
                <a:cxn ang="0">
                  <a:pos x="222" y="80"/>
                </a:cxn>
                <a:cxn ang="0">
                  <a:pos x="218" y="122"/>
                </a:cxn>
                <a:cxn ang="0">
                  <a:pos x="220" y="170"/>
                </a:cxn>
                <a:cxn ang="0">
                  <a:pos x="272" y="236"/>
                </a:cxn>
                <a:cxn ang="0">
                  <a:pos x="342" y="280"/>
                </a:cxn>
                <a:cxn ang="0">
                  <a:pos x="362" y="300"/>
                </a:cxn>
                <a:cxn ang="0">
                  <a:pos x="412" y="324"/>
                </a:cxn>
                <a:cxn ang="0">
                  <a:pos x="434" y="342"/>
                </a:cxn>
                <a:cxn ang="0">
                  <a:pos x="454" y="390"/>
                </a:cxn>
                <a:cxn ang="0">
                  <a:pos x="430" y="372"/>
                </a:cxn>
                <a:cxn ang="0">
                  <a:pos x="384" y="384"/>
                </a:cxn>
                <a:cxn ang="0">
                  <a:pos x="408" y="418"/>
                </a:cxn>
                <a:cxn ang="0">
                  <a:pos x="392" y="450"/>
                </a:cxn>
                <a:cxn ang="0">
                  <a:pos x="346" y="486"/>
                </a:cxn>
                <a:cxn ang="0">
                  <a:pos x="352" y="454"/>
                </a:cxn>
                <a:cxn ang="0">
                  <a:pos x="362" y="436"/>
                </a:cxn>
                <a:cxn ang="0">
                  <a:pos x="318" y="372"/>
                </a:cxn>
                <a:cxn ang="0">
                  <a:pos x="268" y="320"/>
                </a:cxn>
                <a:cxn ang="0">
                  <a:pos x="206" y="280"/>
                </a:cxn>
                <a:cxn ang="0">
                  <a:pos x="164" y="256"/>
                </a:cxn>
                <a:cxn ang="0">
                  <a:pos x="146" y="228"/>
                </a:cxn>
                <a:cxn ang="0">
                  <a:pos x="118" y="154"/>
                </a:cxn>
                <a:cxn ang="0">
                  <a:pos x="90" y="146"/>
                </a:cxn>
                <a:cxn ang="0">
                  <a:pos x="72" y="168"/>
                </a:cxn>
                <a:cxn ang="0">
                  <a:pos x="52" y="162"/>
                </a:cxn>
                <a:cxn ang="0">
                  <a:pos x="12" y="162"/>
                </a:cxn>
                <a:cxn ang="0">
                  <a:pos x="2" y="128"/>
                </a:cxn>
                <a:cxn ang="0">
                  <a:pos x="16" y="106"/>
                </a:cxn>
                <a:cxn ang="0">
                  <a:pos x="26" y="68"/>
                </a:cxn>
                <a:cxn ang="0">
                  <a:pos x="56" y="64"/>
                </a:cxn>
                <a:cxn ang="0">
                  <a:pos x="78" y="42"/>
                </a:cxn>
                <a:cxn ang="0">
                  <a:pos x="98" y="60"/>
                </a:cxn>
                <a:cxn ang="0">
                  <a:pos x="104" y="32"/>
                </a:cxn>
                <a:cxn ang="0">
                  <a:pos x="140" y="42"/>
                </a:cxn>
                <a:cxn ang="0">
                  <a:pos x="148" y="16"/>
                </a:cxn>
                <a:cxn ang="0">
                  <a:pos x="184" y="0"/>
                </a:cxn>
                <a:cxn ang="0">
                  <a:pos x="220" y="14"/>
                </a:cxn>
                <a:cxn ang="0">
                  <a:pos x="268" y="34"/>
                </a:cxn>
                <a:cxn ang="0">
                  <a:pos x="80" y="362"/>
                </a:cxn>
                <a:cxn ang="0">
                  <a:pos x="80" y="414"/>
                </a:cxn>
                <a:cxn ang="0">
                  <a:pos x="104" y="424"/>
                </a:cxn>
                <a:cxn ang="0">
                  <a:pos x="122" y="416"/>
                </a:cxn>
                <a:cxn ang="0">
                  <a:pos x="118" y="378"/>
                </a:cxn>
                <a:cxn ang="0">
                  <a:pos x="120" y="332"/>
                </a:cxn>
                <a:cxn ang="0">
                  <a:pos x="88" y="334"/>
                </a:cxn>
                <a:cxn ang="0">
                  <a:pos x="72" y="358"/>
                </a:cxn>
                <a:cxn ang="0">
                  <a:pos x="230" y="512"/>
                </a:cxn>
                <a:cxn ang="0">
                  <a:pos x="266" y="528"/>
                </a:cxn>
                <a:cxn ang="0">
                  <a:pos x="298" y="546"/>
                </a:cxn>
                <a:cxn ang="0">
                  <a:pos x="326" y="526"/>
                </a:cxn>
                <a:cxn ang="0">
                  <a:pos x="336" y="476"/>
                </a:cxn>
                <a:cxn ang="0">
                  <a:pos x="278" y="486"/>
                </a:cxn>
                <a:cxn ang="0">
                  <a:pos x="242" y="482"/>
                </a:cxn>
                <a:cxn ang="0">
                  <a:pos x="222" y="496"/>
                </a:cxn>
              </a:cxnLst>
              <a:rect l="0" t="0" r="r" b="b"/>
              <a:pathLst>
                <a:path w="454" h="550">
                  <a:moveTo>
                    <a:pt x="268" y="34"/>
                  </a:moveTo>
                  <a:lnTo>
                    <a:pt x="264" y="46"/>
                  </a:lnTo>
                  <a:lnTo>
                    <a:pt x="268" y="60"/>
                  </a:lnTo>
                  <a:lnTo>
                    <a:pt x="266" y="80"/>
                  </a:lnTo>
                  <a:lnTo>
                    <a:pt x="244" y="78"/>
                  </a:lnTo>
                  <a:lnTo>
                    <a:pt x="222" y="80"/>
                  </a:lnTo>
                  <a:lnTo>
                    <a:pt x="210" y="96"/>
                  </a:lnTo>
                  <a:lnTo>
                    <a:pt x="218" y="122"/>
                  </a:lnTo>
                  <a:lnTo>
                    <a:pt x="214" y="140"/>
                  </a:lnTo>
                  <a:lnTo>
                    <a:pt x="220" y="170"/>
                  </a:lnTo>
                  <a:lnTo>
                    <a:pt x="264" y="202"/>
                  </a:lnTo>
                  <a:lnTo>
                    <a:pt x="272" y="236"/>
                  </a:lnTo>
                  <a:lnTo>
                    <a:pt x="312" y="272"/>
                  </a:lnTo>
                  <a:lnTo>
                    <a:pt x="342" y="280"/>
                  </a:lnTo>
                  <a:lnTo>
                    <a:pt x="368" y="280"/>
                  </a:lnTo>
                  <a:lnTo>
                    <a:pt x="362" y="300"/>
                  </a:lnTo>
                  <a:lnTo>
                    <a:pt x="394" y="320"/>
                  </a:lnTo>
                  <a:lnTo>
                    <a:pt x="412" y="324"/>
                  </a:lnTo>
                  <a:lnTo>
                    <a:pt x="422" y="340"/>
                  </a:lnTo>
                  <a:lnTo>
                    <a:pt x="434" y="342"/>
                  </a:lnTo>
                  <a:lnTo>
                    <a:pt x="454" y="370"/>
                  </a:lnTo>
                  <a:lnTo>
                    <a:pt x="454" y="390"/>
                  </a:lnTo>
                  <a:lnTo>
                    <a:pt x="442" y="392"/>
                  </a:lnTo>
                  <a:lnTo>
                    <a:pt x="430" y="372"/>
                  </a:lnTo>
                  <a:lnTo>
                    <a:pt x="398" y="362"/>
                  </a:lnTo>
                  <a:lnTo>
                    <a:pt x="384" y="384"/>
                  </a:lnTo>
                  <a:lnTo>
                    <a:pt x="382" y="404"/>
                  </a:lnTo>
                  <a:lnTo>
                    <a:pt x="408" y="418"/>
                  </a:lnTo>
                  <a:lnTo>
                    <a:pt x="408" y="442"/>
                  </a:lnTo>
                  <a:lnTo>
                    <a:pt x="392" y="450"/>
                  </a:lnTo>
                  <a:lnTo>
                    <a:pt x="362" y="486"/>
                  </a:lnTo>
                  <a:lnTo>
                    <a:pt x="346" y="486"/>
                  </a:lnTo>
                  <a:lnTo>
                    <a:pt x="344" y="474"/>
                  </a:lnTo>
                  <a:lnTo>
                    <a:pt x="352" y="454"/>
                  </a:lnTo>
                  <a:lnTo>
                    <a:pt x="348" y="446"/>
                  </a:lnTo>
                  <a:lnTo>
                    <a:pt x="362" y="436"/>
                  </a:lnTo>
                  <a:lnTo>
                    <a:pt x="344" y="384"/>
                  </a:lnTo>
                  <a:lnTo>
                    <a:pt x="318" y="372"/>
                  </a:lnTo>
                  <a:lnTo>
                    <a:pt x="314" y="358"/>
                  </a:lnTo>
                  <a:lnTo>
                    <a:pt x="268" y="320"/>
                  </a:lnTo>
                  <a:lnTo>
                    <a:pt x="240" y="312"/>
                  </a:lnTo>
                  <a:lnTo>
                    <a:pt x="206" y="280"/>
                  </a:lnTo>
                  <a:lnTo>
                    <a:pt x="188" y="268"/>
                  </a:lnTo>
                  <a:lnTo>
                    <a:pt x="164" y="256"/>
                  </a:lnTo>
                  <a:lnTo>
                    <a:pt x="160" y="240"/>
                  </a:lnTo>
                  <a:lnTo>
                    <a:pt x="146" y="228"/>
                  </a:lnTo>
                  <a:lnTo>
                    <a:pt x="142" y="182"/>
                  </a:lnTo>
                  <a:lnTo>
                    <a:pt x="118" y="154"/>
                  </a:lnTo>
                  <a:lnTo>
                    <a:pt x="100" y="152"/>
                  </a:lnTo>
                  <a:lnTo>
                    <a:pt x="90" y="146"/>
                  </a:lnTo>
                  <a:lnTo>
                    <a:pt x="76" y="152"/>
                  </a:lnTo>
                  <a:lnTo>
                    <a:pt x="72" y="168"/>
                  </a:lnTo>
                  <a:lnTo>
                    <a:pt x="58" y="178"/>
                  </a:lnTo>
                  <a:lnTo>
                    <a:pt x="52" y="162"/>
                  </a:lnTo>
                  <a:lnTo>
                    <a:pt x="30" y="166"/>
                  </a:lnTo>
                  <a:lnTo>
                    <a:pt x="12" y="162"/>
                  </a:lnTo>
                  <a:lnTo>
                    <a:pt x="12" y="140"/>
                  </a:lnTo>
                  <a:lnTo>
                    <a:pt x="2" y="128"/>
                  </a:lnTo>
                  <a:lnTo>
                    <a:pt x="0" y="114"/>
                  </a:lnTo>
                  <a:lnTo>
                    <a:pt x="16" y="106"/>
                  </a:lnTo>
                  <a:lnTo>
                    <a:pt x="16" y="84"/>
                  </a:lnTo>
                  <a:lnTo>
                    <a:pt x="26" y="68"/>
                  </a:lnTo>
                  <a:lnTo>
                    <a:pt x="44" y="58"/>
                  </a:lnTo>
                  <a:lnTo>
                    <a:pt x="56" y="64"/>
                  </a:lnTo>
                  <a:lnTo>
                    <a:pt x="64" y="54"/>
                  </a:lnTo>
                  <a:lnTo>
                    <a:pt x="78" y="42"/>
                  </a:lnTo>
                  <a:lnTo>
                    <a:pt x="86" y="54"/>
                  </a:lnTo>
                  <a:lnTo>
                    <a:pt x="98" y="60"/>
                  </a:lnTo>
                  <a:lnTo>
                    <a:pt x="100" y="44"/>
                  </a:lnTo>
                  <a:lnTo>
                    <a:pt x="104" y="32"/>
                  </a:lnTo>
                  <a:lnTo>
                    <a:pt x="114" y="36"/>
                  </a:lnTo>
                  <a:lnTo>
                    <a:pt x="140" y="42"/>
                  </a:lnTo>
                  <a:lnTo>
                    <a:pt x="146" y="28"/>
                  </a:lnTo>
                  <a:lnTo>
                    <a:pt x="148" y="16"/>
                  </a:lnTo>
                  <a:lnTo>
                    <a:pt x="160" y="12"/>
                  </a:lnTo>
                  <a:lnTo>
                    <a:pt x="184" y="0"/>
                  </a:lnTo>
                  <a:lnTo>
                    <a:pt x="216" y="0"/>
                  </a:lnTo>
                  <a:lnTo>
                    <a:pt x="220" y="14"/>
                  </a:lnTo>
                  <a:lnTo>
                    <a:pt x="242" y="28"/>
                  </a:lnTo>
                  <a:lnTo>
                    <a:pt x="268" y="34"/>
                  </a:lnTo>
                  <a:close/>
                  <a:moveTo>
                    <a:pt x="72" y="358"/>
                  </a:moveTo>
                  <a:lnTo>
                    <a:pt x="80" y="362"/>
                  </a:lnTo>
                  <a:lnTo>
                    <a:pt x="82" y="388"/>
                  </a:lnTo>
                  <a:lnTo>
                    <a:pt x="80" y="414"/>
                  </a:lnTo>
                  <a:lnTo>
                    <a:pt x="96" y="438"/>
                  </a:lnTo>
                  <a:lnTo>
                    <a:pt x="104" y="424"/>
                  </a:lnTo>
                  <a:lnTo>
                    <a:pt x="114" y="428"/>
                  </a:lnTo>
                  <a:lnTo>
                    <a:pt x="122" y="416"/>
                  </a:lnTo>
                  <a:lnTo>
                    <a:pt x="124" y="392"/>
                  </a:lnTo>
                  <a:lnTo>
                    <a:pt x="118" y="378"/>
                  </a:lnTo>
                  <a:lnTo>
                    <a:pt x="122" y="364"/>
                  </a:lnTo>
                  <a:lnTo>
                    <a:pt x="120" y="332"/>
                  </a:lnTo>
                  <a:lnTo>
                    <a:pt x="108" y="318"/>
                  </a:lnTo>
                  <a:lnTo>
                    <a:pt x="88" y="334"/>
                  </a:lnTo>
                  <a:lnTo>
                    <a:pt x="76" y="334"/>
                  </a:lnTo>
                  <a:lnTo>
                    <a:pt x="72" y="358"/>
                  </a:lnTo>
                  <a:close/>
                  <a:moveTo>
                    <a:pt x="222" y="496"/>
                  </a:moveTo>
                  <a:lnTo>
                    <a:pt x="230" y="512"/>
                  </a:lnTo>
                  <a:lnTo>
                    <a:pt x="246" y="512"/>
                  </a:lnTo>
                  <a:lnTo>
                    <a:pt x="266" y="528"/>
                  </a:lnTo>
                  <a:lnTo>
                    <a:pt x="294" y="536"/>
                  </a:lnTo>
                  <a:lnTo>
                    <a:pt x="298" y="546"/>
                  </a:lnTo>
                  <a:lnTo>
                    <a:pt x="322" y="550"/>
                  </a:lnTo>
                  <a:lnTo>
                    <a:pt x="326" y="526"/>
                  </a:lnTo>
                  <a:lnTo>
                    <a:pt x="322" y="510"/>
                  </a:lnTo>
                  <a:lnTo>
                    <a:pt x="336" y="476"/>
                  </a:lnTo>
                  <a:lnTo>
                    <a:pt x="320" y="476"/>
                  </a:lnTo>
                  <a:lnTo>
                    <a:pt x="278" y="486"/>
                  </a:lnTo>
                  <a:lnTo>
                    <a:pt x="258" y="476"/>
                  </a:lnTo>
                  <a:lnTo>
                    <a:pt x="242" y="482"/>
                  </a:lnTo>
                  <a:lnTo>
                    <a:pt x="230" y="482"/>
                  </a:lnTo>
                  <a:lnTo>
                    <a:pt x="222" y="496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19" name="Ivory Coast">
              <a:extLst>
                <a:ext uri="{FF2B5EF4-FFF2-40B4-BE49-F238E27FC236}">
                  <a16:creationId xmlns="" xmlns:a16="http://schemas.microsoft.com/office/drawing/2014/main" id="{E9425B8F-7488-495D-880C-369215AED727}"/>
                </a:ext>
              </a:extLst>
            </p:cNvPr>
            <p:cNvSpPr>
              <a:spLocks/>
            </p:cNvSpPr>
            <p:nvPr/>
          </p:nvSpPr>
          <p:spPr bwMode="gray">
            <a:xfrm>
              <a:off x="5543273" y="4224437"/>
              <a:ext cx="179612" cy="196656"/>
            </a:xfrm>
            <a:custGeom>
              <a:avLst/>
              <a:gdLst/>
              <a:ahLst/>
              <a:cxnLst>
                <a:cxn ang="0">
                  <a:pos x="46" y="243"/>
                </a:cxn>
                <a:cxn ang="0">
                  <a:pos x="32" y="243"/>
                </a:cxn>
                <a:cxn ang="0">
                  <a:pos x="38" y="185"/>
                </a:cxn>
                <a:cxn ang="0">
                  <a:pos x="2" y="147"/>
                </a:cxn>
                <a:cxn ang="0">
                  <a:pos x="6" y="123"/>
                </a:cxn>
                <a:cxn ang="0">
                  <a:pos x="0" y="115"/>
                </a:cxn>
                <a:cxn ang="0">
                  <a:pos x="2" y="101"/>
                </a:cxn>
                <a:cxn ang="0">
                  <a:pos x="16" y="97"/>
                </a:cxn>
                <a:cxn ang="0">
                  <a:pos x="20" y="79"/>
                </a:cxn>
                <a:cxn ang="0">
                  <a:pos x="30" y="75"/>
                </a:cxn>
                <a:cxn ang="0">
                  <a:pos x="30" y="46"/>
                </a:cxn>
                <a:cxn ang="0">
                  <a:pos x="22" y="34"/>
                </a:cxn>
                <a:cxn ang="0">
                  <a:pos x="24" y="18"/>
                </a:cxn>
                <a:cxn ang="0">
                  <a:pos x="44" y="12"/>
                </a:cxn>
                <a:cxn ang="0">
                  <a:pos x="60" y="22"/>
                </a:cxn>
                <a:cxn ang="0">
                  <a:pos x="78" y="0"/>
                </a:cxn>
                <a:cxn ang="0">
                  <a:pos x="88" y="6"/>
                </a:cxn>
                <a:cxn ang="0">
                  <a:pos x="94" y="20"/>
                </a:cxn>
                <a:cxn ang="0">
                  <a:pos x="108" y="10"/>
                </a:cxn>
                <a:cxn ang="0">
                  <a:pos x="118" y="10"/>
                </a:cxn>
                <a:cxn ang="0">
                  <a:pos x="134" y="18"/>
                </a:cxn>
                <a:cxn ang="0">
                  <a:pos x="150" y="34"/>
                </a:cxn>
                <a:cxn ang="0">
                  <a:pos x="170" y="32"/>
                </a:cxn>
                <a:cxn ang="0">
                  <a:pos x="186" y="26"/>
                </a:cxn>
                <a:cxn ang="0">
                  <a:pos x="216" y="42"/>
                </a:cxn>
                <a:cxn ang="0">
                  <a:pos x="222" y="81"/>
                </a:cxn>
                <a:cxn ang="0">
                  <a:pos x="200" y="131"/>
                </a:cxn>
                <a:cxn ang="0">
                  <a:pos x="200" y="157"/>
                </a:cxn>
                <a:cxn ang="0">
                  <a:pos x="218" y="201"/>
                </a:cxn>
                <a:cxn ang="0">
                  <a:pos x="200" y="209"/>
                </a:cxn>
                <a:cxn ang="0">
                  <a:pos x="160" y="197"/>
                </a:cxn>
                <a:cxn ang="0">
                  <a:pos x="134" y="199"/>
                </a:cxn>
                <a:cxn ang="0">
                  <a:pos x="94" y="213"/>
                </a:cxn>
                <a:cxn ang="0">
                  <a:pos x="72" y="229"/>
                </a:cxn>
                <a:cxn ang="0">
                  <a:pos x="46" y="243"/>
                </a:cxn>
              </a:cxnLst>
              <a:rect l="0" t="0" r="r" b="b"/>
              <a:pathLst>
                <a:path w="222" h="243">
                  <a:moveTo>
                    <a:pt x="46" y="243"/>
                  </a:moveTo>
                  <a:lnTo>
                    <a:pt x="32" y="243"/>
                  </a:lnTo>
                  <a:lnTo>
                    <a:pt x="38" y="185"/>
                  </a:lnTo>
                  <a:lnTo>
                    <a:pt x="2" y="147"/>
                  </a:lnTo>
                  <a:lnTo>
                    <a:pt x="6" y="123"/>
                  </a:lnTo>
                  <a:lnTo>
                    <a:pt x="0" y="115"/>
                  </a:lnTo>
                  <a:lnTo>
                    <a:pt x="2" y="101"/>
                  </a:lnTo>
                  <a:lnTo>
                    <a:pt x="16" y="97"/>
                  </a:lnTo>
                  <a:lnTo>
                    <a:pt x="20" y="79"/>
                  </a:lnTo>
                  <a:lnTo>
                    <a:pt x="30" y="75"/>
                  </a:lnTo>
                  <a:lnTo>
                    <a:pt x="30" y="46"/>
                  </a:lnTo>
                  <a:lnTo>
                    <a:pt x="22" y="34"/>
                  </a:lnTo>
                  <a:lnTo>
                    <a:pt x="24" y="18"/>
                  </a:lnTo>
                  <a:lnTo>
                    <a:pt x="44" y="12"/>
                  </a:lnTo>
                  <a:lnTo>
                    <a:pt x="60" y="22"/>
                  </a:lnTo>
                  <a:lnTo>
                    <a:pt x="78" y="0"/>
                  </a:lnTo>
                  <a:lnTo>
                    <a:pt x="88" y="6"/>
                  </a:lnTo>
                  <a:lnTo>
                    <a:pt x="94" y="20"/>
                  </a:lnTo>
                  <a:lnTo>
                    <a:pt x="108" y="10"/>
                  </a:lnTo>
                  <a:lnTo>
                    <a:pt x="118" y="10"/>
                  </a:lnTo>
                  <a:lnTo>
                    <a:pt x="134" y="18"/>
                  </a:lnTo>
                  <a:lnTo>
                    <a:pt x="150" y="34"/>
                  </a:lnTo>
                  <a:lnTo>
                    <a:pt x="170" y="32"/>
                  </a:lnTo>
                  <a:lnTo>
                    <a:pt x="186" y="26"/>
                  </a:lnTo>
                  <a:lnTo>
                    <a:pt x="216" y="42"/>
                  </a:lnTo>
                  <a:lnTo>
                    <a:pt x="222" y="81"/>
                  </a:lnTo>
                  <a:lnTo>
                    <a:pt x="200" y="131"/>
                  </a:lnTo>
                  <a:lnTo>
                    <a:pt x="200" y="157"/>
                  </a:lnTo>
                  <a:lnTo>
                    <a:pt x="218" y="201"/>
                  </a:lnTo>
                  <a:lnTo>
                    <a:pt x="200" y="209"/>
                  </a:lnTo>
                  <a:lnTo>
                    <a:pt x="160" y="197"/>
                  </a:lnTo>
                  <a:lnTo>
                    <a:pt x="134" y="199"/>
                  </a:lnTo>
                  <a:lnTo>
                    <a:pt x="94" y="213"/>
                  </a:lnTo>
                  <a:lnTo>
                    <a:pt x="72" y="229"/>
                  </a:lnTo>
                  <a:lnTo>
                    <a:pt x="46" y="243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20" name="Jamaica">
              <a:extLst>
                <a:ext uri="{FF2B5EF4-FFF2-40B4-BE49-F238E27FC236}">
                  <a16:creationId xmlns="" xmlns:a16="http://schemas.microsoft.com/office/drawing/2014/main" id="{E904B8FB-8DC4-46AA-86A5-D91C1602F380}"/>
                </a:ext>
              </a:extLst>
            </p:cNvPr>
            <p:cNvSpPr>
              <a:spLocks/>
            </p:cNvSpPr>
            <p:nvPr/>
          </p:nvSpPr>
          <p:spPr bwMode="gray">
            <a:xfrm>
              <a:off x="3339122" y="4025813"/>
              <a:ext cx="72234" cy="23599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14" y="2"/>
                </a:cxn>
                <a:cxn ang="0">
                  <a:pos x="42" y="0"/>
                </a:cxn>
                <a:cxn ang="0">
                  <a:pos x="66" y="6"/>
                </a:cxn>
                <a:cxn ang="0">
                  <a:pos x="88" y="16"/>
                </a:cxn>
                <a:cxn ang="0">
                  <a:pos x="80" y="24"/>
                </a:cxn>
                <a:cxn ang="0">
                  <a:pos x="64" y="20"/>
                </a:cxn>
                <a:cxn ang="0">
                  <a:pos x="50" y="28"/>
                </a:cxn>
                <a:cxn ang="0">
                  <a:pos x="30" y="24"/>
                </a:cxn>
                <a:cxn ang="0">
                  <a:pos x="18" y="14"/>
                </a:cxn>
                <a:cxn ang="0">
                  <a:pos x="6" y="14"/>
                </a:cxn>
                <a:cxn ang="0">
                  <a:pos x="0" y="8"/>
                </a:cxn>
              </a:cxnLst>
              <a:rect l="0" t="0" r="r" b="b"/>
              <a:pathLst>
                <a:path w="88" h="28">
                  <a:moveTo>
                    <a:pt x="0" y="8"/>
                  </a:moveTo>
                  <a:lnTo>
                    <a:pt x="14" y="2"/>
                  </a:lnTo>
                  <a:lnTo>
                    <a:pt x="42" y="0"/>
                  </a:lnTo>
                  <a:lnTo>
                    <a:pt x="66" y="6"/>
                  </a:lnTo>
                  <a:lnTo>
                    <a:pt x="88" y="16"/>
                  </a:lnTo>
                  <a:lnTo>
                    <a:pt x="80" y="24"/>
                  </a:lnTo>
                  <a:lnTo>
                    <a:pt x="64" y="20"/>
                  </a:lnTo>
                  <a:lnTo>
                    <a:pt x="50" y="28"/>
                  </a:lnTo>
                  <a:lnTo>
                    <a:pt x="30" y="24"/>
                  </a:lnTo>
                  <a:lnTo>
                    <a:pt x="18" y="14"/>
                  </a:lnTo>
                  <a:lnTo>
                    <a:pt x="6" y="14"/>
                  </a:lnTo>
                  <a:lnTo>
                    <a:pt x="0" y="8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21" name="Japan">
              <a:extLst>
                <a:ext uri="{FF2B5EF4-FFF2-40B4-BE49-F238E27FC236}">
                  <a16:creationId xmlns="" xmlns:a16="http://schemas.microsoft.com/office/drawing/2014/main" id="{43D46C30-12D2-4546-969B-16635C939EA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789535" y="2934372"/>
              <a:ext cx="505647" cy="588001"/>
            </a:xfrm>
            <a:custGeom>
              <a:avLst/>
              <a:gdLst/>
              <a:ahLst/>
              <a:cxnLst>
                <a:cxn ang="0">
                  <a:pos x="556" y="80"/>
                </a:cxn>
                <a:cxn ang="0">
                  <a:pos x="608" y="64"/>
                </a:cxn>
                <a:cxn ang="0">
                  <a:pos x="624" y="104"/>
                </a:cxn>
                <a:cxn ang="0">
                  <a:pos x="586" y="128"/>
                </a:cxn>
                <a:cxn ang="0">
                  <a:pos x="532" y="178"/>
                </a:cxn>
                <a:cxn ang="0">
                  <a:pos x="492" y="170"/>
                </a:cxn>
                <a:cxn ang="0">
                  <a:pos x="428" y="150"/>
                </a:cxn>
                <a:cxn ang="0">
                  <a:pos x="442" y="182"/>
                </a:cxn>
                <a:cxn ang="0">
                  <a:pos x="424" y="198"/>
                </a:cxn>
                <a:cxn ang="0">
                  <a:pos x="396" y="202"/>
                </a:cxn>
                <a:cxn ang="0">
                  <a:pos x="394" y="148"/>
                </a:cxn>
                <a:cxn ang="0">
                  <a:pos x="440" y="114"/>
                </a:cxn>
                <a:cxn ang="0">
                  <a:pos x="464" y="42"/>
                </a:cxn>
                <a:cxn ang="0">
                  <a:pos x="426" y="228"/>
                </a:cxn>
                <a:cxn ang="0">
                  <a:pos x="402" y="244"/>
                </a:cxn>
                <a:cxn ang="0">
                  <a:pos x="398" y="304"/>
                </a:cxn>
                <a:cxn ang="0">
                  <a:pos x="396" y="356"/>
                </a:cxn>
                <a:cxn ang="0">
                  <a:pos x="338" y="436"/>
                </a:cxn>
                <a:cxn ang="0">
                  <a:pos x="296" y="416"/>
                </a:cxn>
                <a:cxn ang="0">
                  <a:pos x="250" y="484"/>
                </a:cxn>
                <a:cxn ang="0">
                  <a:pos x="222" y="502"/>
                </a:cxn>
                <a:cxn ang="0">
                  <a:pos x="146" y="512"/>
                </a:cxn>
                <a:cxn ang="0">
                  <a:pos x="70" y="548"/>
                </a:cxn>
                <a:cxn ang="0">
                  <a:pos x="82" y="580"/>
                </a:cxn>
                <a:cxn ang="0">
                  <a:pos x="120" y="570"/>
                </a:cxn>
                <a:cxn ang="0">
                  <a:pos x="174" y="548"/>
                </a:cxn>
                <a:cxn ang="0">
                  <a:pos x="228" y="582"/>
                </a:cxn>
                <a:cxn ang="0">
                  <a:pos x="280" y="548"/>
                </a:cxn>
                <a:cxn ang="0">
                  <a:pos x="340" y="548"/>
                </a:cxn>
                <a:cxn ang="0">
                  <a:pos x="374" y="526"/>
                </a:cxn>
                <a:cxn ang="0">
                  <a:pos x="406" y="530"/>
                </a:cxn>
                <a:cxn ang="0">
                  <a:pos x="436" y="494"/>
                </a:cxn>
                <a:cxn ang="0">
                  <a:pos x="442" y="408"/>
                </a:cxn>
                <a:cxn ang="0">
                  <a:pos x="464" y="358"/>
                </a:cxn>
                <a:cxn ang="0">
                  <a:pos x="472" y="270"/>
                </a:cxn>
                <a:cxn ang="0">
                  <a:pos x="436" y="212"/>
                </a:cxn>
                <a:cxn ang="0">
                  <a:pos x="118" y="628"/>
                </a:cxn>
                <a:cxn ang="0">
                  <a:pos x="140" y="628"/>
                </a:cxn>
                <a:cxn ang="0">
                  <a:pos x="164" y="598"/>
                </a:cxn>
                <a:cxn ang="0">
                  <a:pos x="192" y="592"/>
                </a:cxn>
                <a:cxn ang="0">
                  <a:pos x="166" y="568"/>
                </a:cxn>
                <a:cxn ang="0">
                  <a:pos x="136" y="588"/>
                </a:cxn>
                <a:cxn ang="0">
                  <a:pos x="104" y="612"/>
                </a:cxn>
                <a:cxn ang="0">
                  <a:pos x="50" y="644"/>
                </a:cxn>
                <a:cxn ang="0">
                  <a:pos x="34" y="692"/>
                </a:cxn>
                <a:cxn ang="0">
                  <a:pos x="50" y="718"/>
                </a:cxn>
                <a:cxn ang="0">
                  <a:pos x="64" y="702"/>
                </a:cxn>
                <a:cxn ang="0">
                  <a:pos x="84" y="640"/>
                </a:cxn>
                <a:cxn ang="0">
                  <a:pos x="76" y="614"/>
                </a:cxn>
                <a:cxn ang="0">
                  <a:pos x="66" y="600"/>
                </a:cxn>
                <a:cxn ang="0">
                  <a:pos x="30" y="598"/>
                </a:cxn>
                <a:cxn ang="0">
                  <a:pos x="16" y="620"/>
                </a:cxn>
                <a:cxn ang="0">
                  <a:pos x="34" y="634"/>
                </a:cxn>
              </a:cxnLst>
              <a:rect l="0" t="0" r="r" b="b"/>
              <a:pathLst>
                <a:path w="624" h="718">
                  <a:moveTo>
                    <a:pt x="468" y="0"/>
                  </a:moveTo>
                  <a:lnTo>
                    <a:pt x="530" y="64"/>
                  </a:lnTo>
                  <a:lnTo>
                    <a:pt x="556" y="80"/>
                  </a:lnTo>
                  <a:lnTo>
                    <a:pt x="580" y="78"/>
                  </a:lnTo>
                  <a:lnTo>
                    <a:pt x="606" y="54"/>
                  </a:lnTo>
                  <a:lnTo>
                    <a:pt x="608" y="64"/>
                  </a:lnTo>
                  <a:lnTo>
                    <a:pt x="598" y="88"/>
                  </a:lnTo>
                  <a:lnTo>
                    <a:pt x="608" y="100"/>
                  </a:lnTo>
                  <a:lnTo>
                    <a:pt x="624" y="104"/>
                  </a:lnTo>
                  <a:lnTo>
                    <a:pt x="616" y="112"/>
                  </a:lnTo>
                  <a:lnTo>
                    <a:pt x="594" y="120"/>
                  </a:lnTo>
                  <a:lnTo>
                    <a:pt x="586" y="128"/>
                  </a:lnTo>
                  <a:lnTo>
                    <a:pt x="558" y="126"/>
                  </a:lnTo>
                  <a:lnTo>
                    <a:pt x="532" y="152"/>
                  </a:lnTo>
                  <a:lnTo>
                    <a:pt x="532" y="178"/>
                  </a:lnTo>
                  <a:lnTo>
                    <a:pt x="524" y="188"/>
                  </a:lnTo>
                  <a:lnTo>
                    <a:pt x="518" y="182"/>
                  </a:lnTo>
                  <a:lnTo>
                    <a:pt x="492" y="170"/>
                  </a:lnTo>
                  <a:lnTo>
                    <a:pt x="462" y="144"/>
                  </a:lnTo>
                  <a:lnTo>
                    <a:pt x="444" y="160"/>
                  </a:lnTo>
                  <a:lnTo>
                    <a:pt x="428" y="150"/>
                  </a:lnTo>
                  <a:lnTo>
                    <a:pt x="418" y="164"/>
                  </a:lnTo>
                  <a:lnTo>
                    <a:pt x="430" y="176"/>
                  </a:lnTo>
                  <a:lnTo>
                    <a:pt x="442" y="182"/>
                  </a:lnTo>
                  <a:lnTo>
                    <a:pt x="450" y="198"/>
                  </a:lnTo>
                  <a:lnTo>
                    <a:pt x="442" y="204"/>
                  </a:lnTo>
                  <a:lnTo>
                    <a:pt x="424" y="198"/>
                  </a:lnTo>
                  <a:lnTo>
                    <a:pt x="412" y="210"/>
                  </a:lnTo>
                  <a:lnTo>
                    <a:pt x="402" y="210"/>
                  </a:lnTo>
                  <a:lnTo>
                    <a:pt x="396" y="202"/>
                  </a:lnTo>
                  <a:lnTo>
                    <a:pt x="402" y="178"/>
                  </a:lnTo>
                  <a:lnTo>
                    <a:pt x="392" y="166"/>
                  </a:lnTo>
                  <a:lnTo>
                    <a:pt x="394" y="148"/>
                  </a:lnTo>
                  <a:lnTo>
                    <a:pt x="414" y="130"/>
                  </a:lnTo>
                  <a:lnTo>
                    <a:pt x="412" y="114"/>
                  </a:lnTo>
                  <a:lnTo>
                    <a:pt x="440" y="114"/>
                  </a:lnTo>
                  <a:lnTo>
                    <a:pt x="454" y="90"/>
                  </a:lnTo>
                  <a:lnTo>
                    <a:pt x="464" y="64"/>
                  </a:lnTo>
                  <a:lnTo>
                    <a:pt x="464" y="42"/>
                  </a:lnTo>
                  <a:lnTo>
                    <a:pt x="458" y="12"/>
                  </a:lnTo>
                  <a:lnTo>
                    <a:pt x="468" y="0"/>
                  </a:lnTo>
                  <a:close/>
                  <a:moveTo>
                    <a:pt x="426" y="228"/>
                  </a:moveTo>
                  <a:lnTo>
                    <a:pt x="410" y="224"/>
                  </a:lnTo>
                  <a:lnTo>
                    <a:pt x="410" y="236"/>
                  </a:lnTo>
                  <a:lnTo>
                    <a:pt x="402" y="244"/>
                  </a:lnTo>
                  <a:lnTo>
                    <a:pt x="404" y="262"/>
                  </a:lnTo>
                  <a:lnTo>
                    <a:pt x="404" y="284"/>
                  </a:lnTo>
                  <a:lnTo>
                    <a:pt x="398" y="304"/>
                  </a:lnTo>
                  <a:lnTo>
                    <a:pt x="406" y="326"/>
                  </a:lnTo>
                  <a:lnTo>
                    <a:pt x="396" y="342"/>
                  </a:lnTo>
                  <a:lnTo>
                    <a:pt x="396" y="356"/>
                  </a:lnTo>
                  <a:lnTo>
                    <a:pt x="366" y="396"/>
                  </a:lnTo>
                  <a:lnTo>
                    <a:pt x="364" y="406"/>
                  </a:lnTo>
                  <a:lnTo>
                    <a:pt x="338" y="436"/>
                  </a:lnTo>
                  <a:lnTo>
                    <a:pt x="304" y="444"/>
                  </a:lnTo>
                  <a:lnTo>
                    <a:pt x="292" y="444"/>
                  </a:lnTo>
                  <a:lnTo>
                    <a:pt x="296" y="416"/>
                  </a:lnTo>
                  <a:lnTo>
                    <a:pt x="278" y="426"/>
                  </a:lnTo>
                  <a:lnTo>
                    <a:pt x="274" y="458"/>
                  </a:lnTo>
                  <a:lnTo>
                    <a:pt x="250" y="484"/>
                  </a:lnTo>
                  <a:lnTo>
                    <a:pt x="250" y="498"/>
                  </a:lnTo>
                  <a:lnTo>
                    <a:pt x="234" y="508"/>
                  </a:lnTo>
                  <a:lnTo>
                    <a:pt x="222" y="502"/>
                  </a:lnTo>
                  <a:lnTo>
                    <a:pt x="222" y="490"/>
                  </a:lnTo>
                  <a:lnTo>
                    <a:pt x="174" y="506"/>
                  </a:lnTo>
                  <a:lnTo>
                    <a:pt x="146" y="512"/>
                  </a:lnTo>
                  <a:lnTo>
                    <a:pt x="134" y="504"/>
                  </a:lnTo>
                  <a:lnTo>
                    <a:pt x="82" y="548"/>
                  </a:lnTo>
                  <a:lnTo>
                    <a:pt x="70" y="548"/>
                  </a:lnTo>
                  <a:lnTo>
                    <a:pt x="50" y="568"/>
                  </a:lnTo>
                  <a:lnTo>
                    <a:pt x="64" y="584"/>
                  </a:lnTo>
                  <a:lnTo>
                    <a:pt x="82" y="580"/>
                  </a:lnTo>
                  <a:lnTo>
                    <a:pt x="96" y="586"/>
                  </a:lnTo>
                  <a:lnTo>
                    <a:pt x="106" y="574"/>
                  </a:lnTo>
                  <a:lnTo>
                    <a:pt x="120" y="570"/>
                  </a:lnTo>
                  <a:lnTo>
                    <a:pt x="154" y="556"/>
                  </a:lnTo>
                  <a:lnTo>
                    <a:pt x="168" y="562"/>
                  </a:lnTo>
                  <a:lnTo>
                    <a:pt x="174" y="548"/>
                  </a:lnTo>
                  <a:lnTo>
                    <a:pt x="224" y="548"/>
                  </a:lnTo>
                  <a:lnTo>
                    <a:pt x="220" y="568"/>
                  </a:lnTo>
                  <a:lnTo>
                    <a:pt x="228" y="582"/>
                  </a:lnTo>
                  <a:lnTo>
                    <a:pt x="252" y="602"/>
                  </a:lnTo>
                  <a:lnTo>
                    <a:pt x="260" y="588"/>
                  </a:lnTo>
                  <a:lnTo>
                    <a:pt x="280" y="548"/>
                  </a:lnTo>
                  <a:lnTo>
                    <a:pt x="296" y="558"/>
                  </a:lnTo>
                  <a:lnTo>
                    <a:pt x="312" y="548"/>
                  </a:lnTo>
                  <a:lnTo>
                    <a:pt x="340" y="548"/>
                  </a:lnTo>
                  <a:lnTo>
                    <a:pt x="352" y="538"/>
                  </a:lnTo>
                  <a:lnTo>
                    <a:pt x="368" y="548"/>
                  </a:lnTo>
                  <a:lnTo>
                    <a:pt x="374" y="526"/>
                  </a:lnTo>
                  <a:lnTo>
                    <a:pt x="380" y="518"/>
                  </a:lnTo>
                  <a:lnTo>
                    <a:pt x="400" y="514"/>
                  </a:lnTo>
                  <a:lnTo>
                    <a:pt x="406" y="530"/>
                  </a:lnTo>
                  <a:lnTo>
                    <a:pt x="422" y="520"/>
                  </a:lnTo>
                  <a:lnTo>
                    <a:pt x="424" y="510"/>
                  </a:lnTo>
                  <a:lnTo>
                    <a:pt x="436" y="494"/>
                  </a:lnTo>
                  <a:lnTo>
                    <a:pt x="432" y="472"/>
                  </a:lnTo>
                  <a:lnTo>
                    <a:pt x="444" y="424"/>
                  </a:lnTo>
                  <a:lnTo>
                    <a:pt x="442" y="408"/>
                  </a:lnTo>
                  <a:lnTo>
                    <a:pt x="448" y="376"/>
                  </a:lnTo>
                  <a:lnTo>
                    <a:pt x="464" y="384"/>
                  </a:lnTo>
                  <a:lnTo>
                    <a:pt x="464" y="358"/>
                  </a:lnTo>
                  <a:lnTo>
                    <a:pt x="476" y="332"/>
                  </a:lnTo>
                  <a:lnTo>
                    <a:pt x="472" y="308"/>
                  </a:lnTo>
                  <a:lnTo>
                    <a:pt x="472" y="270"/>
                  </a:lnTo>
                  <a:lnTo>
                    <a:pt x="452" y="232"/>
                  </a:lnTo>
                  <a:lnTo>
                    <a:pt x="452" y="210"/>
                  </a:lnTo>
                  <a:lnTo>
                    <a:pt x="436" y="212"/>
                  </a:lnTo>
                  <a:lnTo>
                    <a:pt x="426" y="228"/>
                  </a:lnTo>
                  <a:close/>
                  <a:moveTo>
                    <a:pt x="114" y="616"/>
                  </a:moveTo>
                  <a:lnTo>
                    <a:pt x="118" y="628"/>
                  </a:lnTo>
                  <a:lnTo>
                    <a:pt x="130" y="628"/>
                  </a:lnTo>
                  <a:lnTo>
                    <a:pt x="132" y="634"/>
                  </a:lnTo>
                  <a:lnTo>
                    <a:pt x="140" y="628"/>
                  </a:lnTo>
                  <a:lnTo>
                    <a:pt x="142" y="614"/>
                  </a:lnTo>
                  <a:lnTo>
                    <a:pt x="152" y="598"/>
                  </a:lnTo>
                  <a:lnTo>
                    <a:pt x="164" y="598"/>
                  </a:lnTo>
                  <a:lnTo>
                    <a:pt x="178" y="608"/>
                  </a:lnTo>
                  <a:lnTo>
                    <a:pt x="184" y="594"/>
                  </a:lnTo>
                  <a:lnTo>
                    <a:pt x="192" y="592"/>
                  </a:lnTo>
                  <a:lnTo>
                    <a:pt x="200" y="586"/>
                  </a:lnTo>
                  <a:lnTo>
                    <a:pt x="192" y="570"/>
                  </a:lnTo>
                  <a:lnTo>
                    <a:pt x="166" y="568"/>
                  </a:lnTo>
                  <a:lnTo>
                    <a:pt x="158" y="572"/>
                  </a:lnTo>
                  <a:lnTo>
                    <a:pt x="148" y="586"/>
                  </a:lnTo>
                  <a:lnTo>
                    <a:pt x="136" y="588"/>
                  </a:lnTo>
                  <a:lnTo>
                    <a:pt x="126" y="582"/>
                  </a:lnTo>
                  <a:lnTo>
                    <a:pt x="116" y="602"/>
                  </a:lnTo>
                  <a:lnTo>
                    <a:pt x="104" y="612"/>
                  </a:lnTo>
                  <a:lnTo>
                    <a:pt x="114" y="616"/>
                  </a:lnTo>
                  <a:close/>
                  <a:moveTo>
                    <a:pt x="34" y="634"/>
                  </a:moveTo>
                  <a:lnTo>
                    <a:pt x="50" y="644"/>
                  </a:lnTo>
                  <a:lnTo>
                    <a:pt x="40" y="664"/>
                  </a:lnTo>
                  <a:lnTo>
                    <a:pt x="34" y="668"/>
                  </a:lnTo>
                  <a:lnTo>
                    <a:pt x="34" y="692"/>
                  </a:lnTo>
                  <a:lnTo>
                    <a:pt x="30" y="704"/>
                  </a:lnTo>
                  <a:lnTo>
                    <a:pt x="44" y="708"/>
                  </a:lnTo>
                  <a:lnTo>
                    <a:pt x="50" y="718"/>
                  </a:lnTo>
                  <a:lnTo>
                    <a:pt x="58" y="718"/>
                  </a:lnTo>
                  <a:lnTo>
                    <a:pt x="64" y="710"/>
                  </a:lnTo>
                  <a:lnTo>
                    <a:pt x="64" y="702"/>
                  </a:lnTo>
                  <a:lnTo>
                    <a:pt x="78" y="698"/>
                  </a:lnTo>
                  <a:lnTo>
                    <a:pt x="76" y="688"/>
                  </a:lnTo>
                  <a:lnTo>
                    <a:pt x="84" y="640"/>
                  </a:lnTo>
                  <a:lnTo>
                    <a:pt x="96" y="634"/>
                  </a:lnTo>
                  <a:lnTo>
                    <a:pt x="88" y="618"/>
                  </a:lnTo>
                  <a:lnTo>
                    <a:pt x="76" y="614"/>
                  </a:lnTo>
                  <a:lnTo>
                    <a:pt x="84" y="598"/>
                  </a:lnTo>
                  <a:lnTo>
                    <a:pt x="76" y="592"/>
                  </a:lnTo>
                  <a:lnTo>
                    <a:pt x="66" y="600"/>
                  </a:lnTo>
                  <a:lnTo>
                    <a:pt x="54" y="588"/>
                  </a:lnTo>
                  <a:lnTo>
                    <a:pt x="40" y="588"/>
                  </a:lnTo>
                  <a:lnTo>
                    <a:pt x="30" y="598"/>
                  </a:lnTo>
                  <a:lnTo>
                    <a:pt x="20" y="598"/>
                  </a:lnTo>
                  <a:lnTo>
                    <a:pt x="0" y="616"/>
                  </a:lnTo>
                  <a:lnTo>
                    <a:pt x="16" y="620"/>
                  </a:lnTo>
                  <a:lnTo>
                    <a:pt x="14" y="638"/>
                  </a:lnTo>
                  <a:lnTo>
                    <a:pt x="18" y="652"/>
                  </a:lnTo>
                  <a:lnTo>
                    <a:pt x="34" y="634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22" name="Jordan">
              <a:extLst>
                <a:ext uri="{FF2B5EF4-FFF2-40B4-BE49-F238E27FC236}">
                  <a16:creationId xmlns="" xmlns:a16="http://schemas.microsoft.com/office/drawing/2014/main" id="{F37A0894-ABBB-48E4-BA94-8DC13C1620C7}"/>
                </a:ext>
              </a:extLst>
            </p:cNvPr>
            <p:cNvSpPr>
              <a:spLocks/>
            </p:cNvSpPr>
            <p:nvPr/>
          </p:nvSpPr>
          <p:spPr bwMode="gray">
            <a:xfrm>
              <a:off x="6876697" y="3433879"/>
              <a:ext cx="134708" cy="161259"/>
            </a:xfrm>
            <a:custGeom>
              <a:avLst/>
              <a:gdLst/>
              <a:ahLst/>
              <a:cxnLst>
                <a:cxn ang="0">
                  <a:pos x="44" y="196"/>
                </a:cxn>
                <a:cxn ang="0">
                  <a:pos x="60" y="182"/>
                </a:cxn>
                <a:cxn ang="0">
                  <a:pos x="70" y="166"/>
                </a:cxn>
                <a:cxn ang="0">
                  <a:pos x="98" y="158"/>
                </a:cxn>
                <a:cxn ang="0">
                  <a:pos x="104" y="144"/>
                </a:cxn>
                <a:cxn ang="0">
                  <a:pos x="118" y="134"/>
                </a:cxn>
                <a:cxn ang="0">
                  <a:pos x="80" y="88"/>
                </a:cxn>
                <a:cxn ang="0">
                  <a:pos x="154" y="64"/>
                </a:cxn>
                <a:cxn ang="0">
                  <a:pos x="166" y="50"/>
                </a:cxn>
                <a:cxn ang="0">
                  <a:pos x="166" y="46"/>
                </a:cxn>
                <a:cxn ang="0">
                  <a:pos x="156" y="48"/>
                </a:cxn>
                <a:cxn ang="0">
                  <a:pos x="154" y="40"/>
                </a:cxn>
                <a:cxn ang="0">
                  <a:pos x="158" y="38"/>
                </a:cxn>
                <a:cxn ang="0">
                  <a:pos x="146" y="0"/>
                </a:cxn>
                <a:cxn ang="0">
                  <a:pos x="76" y="50"/>
                </a:cxn>
                <a:cxn ang="0">
                  <a:pos x="58" y="46"/>
                </a:cxn>
                <a:cxn ang="0">
                  <a:pos x="50" y="40"/>
                </a:cxn>
                <a:cxn ang="0">
                  <a:pos x="48" y="40"/>
                </a:cxn>
                <a:cxn ang="0">
                  <a:pos x="42" y="30"/>
                </a:cxn>
                <a:cxn ang="0">
                  <a:pos x="36" y="30"/>
                </a:cxn>
                <a:cxn ang="0">
                  <a:pos x="30" y="32"/>
                </a:cxn>
                <a:cxn ang="0">
                  <a:pos x="28" y="34"/>
                </a:cxn>
                <a:cxn ang="0">
                  <a:pos x="26" y="46"/>
                </a:cxn>
                <a:cxn ang="0">
                  <a:pos x="28" y="54"/>
                </a:cxn>
                <a:cxn ang="0">
                  <a:pos x="24" y="62"/>
                </a:cxn>
                <a:cxn ang="0">
                  <a:pos x="26" y="74"/>
                </a:cxn>
                <a:cxn ang="0">
                  <a:pos x="22" y="88"/>
                </a:cxn>
                <a:cxn ang="0">
                  <a:pos x="20" y="98"/>
                </a:cxn>
                <a:cxn ang="0">
                  <a:pos x="22" y="106"/>
                </a:cxn>
                <a:cxn ang="0">
                  <a:pos x="10" y="138"/>
                </a:cxn>
                <a:cxn ang="0">
                  <a:pos x="10" y="152"/>
                </a:cxn>
                <a:cxn ang="0">
                  <a:pos x="8" y="156"/>
                </a:cxn>
                <a:cxn ang="0">
                  <a:pos x="0" y="180"/>
                </a:cxn>
                <a:cxn ang="0">
                  <a:pos x="44" y="196"/>
                </a:cxn>
              </a:cxnLst>
              <a:rect l="0" t="0" r="r" b="b"/>
              <a:pathLst>
                <a:path w="166" h="196">
                  <a:moveTo>
                    <a:pt x="44" y="196"/>
                  </a:moveTo>
                  <a:lnTo>
                    <a:pt x="60" y="182"/>
                  </a:lnTo>
                  <a:lnTo>
                    <a:pt x="70" y="166"/>
                  </a:lnTo>
                  <a:lnTo>
                    <a:pt x="98" y="158"/>
                  </a:lnTo>
                  <a:lnTo>
                    <a:pt x="104" y="144"/>
                  </a:lnTo>
                  <a:lnTo>
                    <a:pt x="118" y="134"/>
                  </a:lnTo>
                  <a:lnTo>
                    <a:pt x="80" y="88"/>
                  </a:lnTo>
                  <a:lnTo>
                    <a:pt x="154" y="64"/>
                  </a:lnTo>
                  <a:lnTo>
                    <a:pt x="166" y="50"/>
                  </a:lnTo>
                  <a:lnTo>
                    <a:pt x="166" y="46"/>
                  </a:lnTo>
                  <a:lnTo>
                    <a:pt x="156" y="48"/>
                  </a:lnTo>
                  <a:lnTo>
                    <a:pt x="154" y="40"/>
                  </a:lnTo>
                  <a:lnTo>
                    <a:pt x="158" y="38"/>
                  </a:lnTo>
                  <a:lnTo>
                    <a:pt x="146" y="0"/>
                  </a:lnTo>
                  <a:lnTo>
                    <a:pt x="76" y="50"/>
                  </a:lnTo>
                  <a:lnTo>
                    <a:pt x="58" y="46"/>
                  </a:lnTo>
                  <a:lnTo>
                    <a:pt x="50" y="40"/>
                  </a:lnTo>
                  <a:lnTo>
                    <a:pt x="48" y="40"/>
                  </a:lnTo>
                  <a:lnTo>
                    <a:pt x="42" y="30"/>
                  </a:lnTo>
                  <a:lnTo>
                    <a:pt x="36" y="30"/>
                  </a:lnTo>
                  <a:lnTo>
                    <a:pt x="30" y="32"/>
                  </a:lnTo>
                  <a:lnTo>
                    <a:pt x="28" y="34"/>
                  </a:lnTo>
                  <a:lnTo>
                    <a:pt x="26" y="46"/>
                  </a:lnTo>
                  <a:lnTo>
                    <a:pt x="28" y="54"/>
                  </a:lnTo>
                  <a:lnTo>
                    <a:pt x="24" y="62"/>
                  </a:lnTo>
                  <a:lnTo>
                    <a:pt x="26" y="74"/>
                  </a:lnTo>
                  <a:lnTo>
                    <a:pt x="22" y="88"/>
                  </a:lnTo>
                  <a:lnTo>
                    <a:pt x="20" y="98"/>
                  </a:lnTo>
                  <a:lnTo>
                    <a:pt x="22" y="106"/>
                  </a:lnTo>
                  <a:lnTo>
                    <a:pt x="10" y="138"/>
                  </a:lnTo>
                  <a:lnTo>
                    <a:pt x="10" y="152"/>
                  </a:lnTo>
                  <a:lnTo>
                    <a:pt x="8" y="156"/>
                  </a:lnTo>
                  <a:lnTo>
                    <a:pt x="0" y="180"/>
                  </a:lnTo>
                  <a:lnTo>
                    <a:pt x="44" y="196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23" name="Kazakhstan">
              <a:extLst>
                <a:ext uri="{FF2B5EF4-FFF2-40B4-BE49-F238E27FC236}">
                  <a16:creationId xmlns="" xmlns:a16="http://schemas.microsoft.com/office/drawing/2014/main" id="{6AF0FE67-FAE3-4124-A2CA-1F888CE75AFF}"/>
                </a:ext>
              </a:extLst>
            </p:cNvPr>
            <p:cNvSpPr>
              <a:spLocks/>
            </p:cNvSpPr>
            <p:nvPr/>
          </p:nvSpPr>
          <p:spPr bwMode="gray">
            <a:xfrm>
              <a:off x="7243731" y="2430934"/>
              <a:ext cx="1257283" cy="692229"/>
            </a:xfrm>
            <a:custGeom>
              <a:avLst/>
              <a:gdLst/>
              <a:ahLst/>
              <a:cxnLst>
                <a:cxn ang="0">
                  <a:pos x="1548" y="412"/>
                </a:cxn>
                <a:cxn ang="0">
                  <a:pos x="1466" y="360"/>
                </a:cxn>
                <a:cxn ang="0">
                  <a:pos x="1420" y="310"/>
                </a:cxn>
                <a:cxn ang="0">
                  <a:pos x="1344" y="300"/>
                </a:cxn>
                <a:cxn ang="0">
                  <a:pos x="1250" y="302"/>
                </a:cxn>
                <a:cxn ang="0">
                  <a:pos x="1186" y="188"/>
                </a:cxn>
                <a:cxn ang="0">
                  <a:pos x="1092" y="78"/>
                </a:cxn>
                <a:cxn ang="0">
                  <a:pos x="1026" y="106"/>
                </a:cxn>
                <a:cxn ang="0">
                  <a:pos x="966" y="76"/>
                </a:cxn>
                <a:cxn ang="0">
                  <a:pos x="906" y="66"/>
                </a:cxn>
                <a:cxn ang="0">
                  <a:pos x="908" y="0"/>
                </a:cxn>
                <a:cxn ang="0">
                  <a:pos x="806" y="22"/>
                </a:cxn>
                <a:cxn ang="0">
                  <a:pos x="620" y="78"/>
                </a:cxn>
                <a:cxn ang="0">
                  <a:pos x="552" y="144"/>
                </a:cxn>
                <a:cxn ang="0">
                  <a:pos x="522" y="206"/>
                </a:cxn>
                <a:cxn ang="0">
                  <a:pos x="530" y="258"/>
                </a:cxn>
                <a:cxn ang="0">
                  <a:pos x="554" y="296"/>
                </a:cxn>
                <a:cxn ang="0">
                  <a:pos x="458" y="288"/>
                </a:cxn>
                <a:cxn ang="0">
                  <a:pos x="392" y="284"/>
                </a:cxn>
                <a:cxn ang="0">
                  <a:pos x="326" y="310"/>
                </a:cxn>
                <a:cxn ang="0">
                  <a:pos x="306" y="312"/>
                </a:cxn>
                <a:cxn ang="0">
                  <a:pos x="286" y="288"/>
                </a:cxn>
                <a:cxn ang="0">
                  <a:pos x="224" y="238"/>
                </a:cxn>
                <a:cxn ang="0">
                  <a:pos x="178" y="244"/>
                </a:cxn>
                <a:cxn ang="0">
                  <a:pos x="106" y="288"/>
                </a:cxn>
                <a:cxn ang="0">
                  <a:pos x="90" y="350"/>
                </a:cxn>
                <a:cxn ang="0">
                  <a:pos x="60" y="340"/>
                </a:cxn>
                <a:cxn ang="0">
                  <a:pos x="14" y="362"/>
                </a:cxn>
                <a:cxn ang="0">
                  <a:pos x="14" y="414"/>
                </a:cxn>
                <a:cxn ang="0">
                  <a:pos x="32" y="478"/>
                </a:cxn>
                <a:cxn ang="0">
                  <a:pos x="84" y="554"/>
                </a:cxn>
                <a:cxn ang="0">
                  <a:pos x="212" y="524"/>
                </a:cxn>
                <a:cxn ang="0">
                  <a:pos x="214" y="630"/>
                </a:cxn>
                <a:cxn ang="0">
                  <a:pos x="152" y="668"/>
                </a:cxn>
                <a:cxn ang="0">
                  <a:pos x="172" y="744"/>
                </a:cxn>
                <a:cxn ang="0">
                  <a:pos x="226" y="766"/>
                </a:cxn>
                <a:cxn ang="0">
                  <a:pos x="238" y="780"/>
                </a:cxn>
                <a:cxn ang="0">
                  <a:pos x="312" y="804"/>
                </a:cxn>
                <a:cxn ang="0">
                  <a:pos x="354" y="626"/>
                </a:cxn>
                <a:cxn ang="0">
                  <a:pos x="564" y="694"/>
                </a:cxn>
                <a:cxn ang="0">
                  <a:pos x="666" y="698"/>
                </a:cxn>
                <a:cxn ang="0">
                  <a:pos x="728" y="750"/>
                </a:cxn>
                <a:cxn ang="0">
                  <a:pos x="722" y="802"/>
                </a:cxn>
                <a:cxn ang="0">
                  <a:pos x="796" y="834"/>
                </a:cxn>
                <a:cxn ang="0">
                  <a:pos x="824" y="828"/>
                </a:cxn>
                <a:cxn ang="0">
                  <a:pos x="918" y="766"/>
                </a:cxn>
                <a:cxn ang="0">
                  <a:pos x="994" y="766"/>
                </a:cxn>
                <a:cxn ang="0">
                  <a:pos x="1080" y="744"/>
                </a:cxn>
                <a:cxn ang="0">
                  <a:pos x="1232" y="740"/>
                </a:cxn>
                <a:cxn ang="0">
                  <a:pos x="1288" y="722"/>
                </a:cxn>
                <a:cxn ang="0">
                  <a:pos x="1260" y="624"/>
                </a:cxn>
                <a:cxn ang="0">
                  <a:pos x="1348" y="612"/>
                </a:cxn>
                <a:cxn ang="0">
                  <a:pos x="1406" y="526"/>
                </a:cxn>
                <a:cxn ang="0">
                  <a:pos x="1496" y="434"/>
                </a:cxn>
              </a:cxnLst>
              <a:rect l="0" t="0" r="r" b="b"/>
              <a:pathLst>
                <a:path w="1548" h="848">
                  <a:moveTo>
                    <a:pt x="1528" y="406"/>
                  </a:moveTo>
                  <a:lnTo>
                    <a:pt x="1538" y="420"/>
                  </a:lnTo>
                  <a:lnTo>
                    <a:pt x="1548" y="412"/>
                  </a:lnTo>
                  <a:lnTo>
                    <a:pt x="1538" y="388"/>
                  </a:lnTo>
                  <a:lnTo>
                    <a:pt x="1508" y="362"/>
                  </a:lnTo>
                  <a:lnTo>
                    <a:pt x="1466" y="360"/>
                  </a:lnTo>
                  <a:lnTo>
                    <a:pt x="1444" y="332"/>
                  </a:lnTo>
                  <a:lnTo>
                    <a:pt x="1430" y="328"/>
                  </a:lnTo>
                  <a:lnTo>
                    <a:pt x="1420" y="310"/>
                  </a:lnTo>
                  <a:lnTo>
                    <a:pt x="1386" y="278"/>
                  </a:lnTo>
                  <a:lnTo>
                    <a:pt x="1366" y="278"/>
                  </a:lnTo>
                  <a:lnTo>
                    <a:pt x="1344" y="300"/>
                  </a:lnTo>
                  <a:lnTo>
                    <a:pt x="1310" y="302"/>
                  </a:lnTo>
                  <a:lnTo>
                    <a:pt x="1284" y="272"/>
                  </a:lnTo>
                  <a:lnTo>
                    <a:pt x="1250" y="302"/>
                  </a:lnTo>
                  <a:lnTo>
                    <a:pt x="1230" y="268"/>
                  </a:lnTo>
                  <a:lnTo>
                    <a:pt x="1216" y="224"/>
                  </a:lnTo>
                  <a:lnTo>
                    <a:pt x="1186" y="188"/>
                  </a:lnTo>
                  <a:lnTo>
                    <a:pt x="1154" y="128"/>
                  </a:lnTo>
                  <a:lnTo>
                    <a:pt x="1108" y="98"/>
                  </a:lnTo>
                  <a:lnTo>
                    <a:pt x="1092" y="78"/>
                  </a:lnTo>
                  <a:lnTo>
                    <a:pt x="1098" y="56"/>
                  </a:lnTo>
                  <a:lnTo>
                    <a:pt x="1082" y="56"/>
                  </a:lnTo>
                  <a:lnTo>
                    <a:pt x="1026" y="106"/>
                  </a:lnTo>
                  <a:lnTo>
                    <a:pt x="1004" y="108"/>
                  </a:lnTo>
                  <a:lnTo>
                    <a:pt x="1010" y="84"/>
                  </a:lnTo>
                  <a:lnTo>
                    <a:pt x="966" y="76"/>
                  </a:lnTo>
                  <a:lnTo>
                    <a:pt x="958" y="54"/>
                  </a:lnTo>
                  <a:lnTo>
                    <a:pt x="926" y="78"/>
                  </a:lnTo>
                  <a:lnTo>
                    <a:pt x="906" y="66"/>
                  </a:lnTo>
                  <a:lnTo>
                    <a:pt x="922" y="54"/>
                  </a:lnTo>
                  <a:lnTo>
                    <a:pt x="904" y="38"/>
                  </a:lnTo>
                  <a:lnTo>
                    <a:pt x="908" y="0"/>
                  </a:lnTo>
                  <a:lnTo>
                    <a:pt x="868" y="18"/>
                  </a:lnTo>
                  <a:lnTo>
                    <a:pt x="836" y="8"/>
                  </a:lnTo>
                  <a:lnTo>
                    <a:pt x="806" y="22"/>
                  </a:lnTo>
                  <a:lnTo>
                    <a:pt x="750" y="36"/>
                  </a:lnTo>
                  <a:lnTo>
                    <a:pt x="688" y="74"/>
                  </a:lnTo>
                  <a:lnTo>
                    <a:pt x="620" y="78"/>
                  </a:lnTo>
                  <a:lnTo>
                    <a:pt x="564" y="80"/>
                  </a:lnTo>
                  <a:lnTo>
                    <a:pt x="546" y="130"/>
                  </a:lnTo>
                  <a:lnTo>
                    <a:pt x="552" y="144"/>
                  </a:lnTo>
                  <a:lnTo>
                    <a:pt x="530" y="176"/>
                  </a:lnTo>
                  <a:lnTo>
                    <a:pt x="542" y="202"/>
                  </a:lnTo>
                  <a:lnTo>
                    <a:pt x="522" y="206"/>
                  </a:lnTo>
                  <a:lnTo>
                    <a:pt x="488" y="234"/>
                  </a:lnTo>
                  <a:lnTo>
                    <a:pt x="488" y="246"/>
                  </a:lnTo>
                  <a:lnTo>
                    <a:pt x="530" y="258"/>
                  </a:lnTo>
                  <a:lnTo>
                    <a:pt x="566" y="256"/>
                  </a:lnTo>
                  <a:lnTo>
                    <a:pt x="568" y="288"/>
                  </a:lnTo>
                  <a:lnTo>
                    <a:pt x="554" y="296"/>
                  </a:lnTo>
                  <a:lnTo>
                    <a:pt x="510" y="292"/>
                  </a:lnTo>
                  <a:lnTo>
                    <a:pt x="460" y="304"/>
                  </a:lnTo>
                  <a:lnTo>
                    <a:pt x="458" y="288"/>
                  </a:lnTo>
                  <a:lnTo>
                    <a:pt x="432" y="272"/>
                  </a:lnTo>
                  <a:lnTo>
                    <a:pt x="410" y="296"/>
                  </a:lnTo>
                  <a:lnTo>
                    <a:pt x="392" y="284"/>
                  </a:lnTo>
                  <a:lnTo>
                    <a:pt x="370" y="290"/>
                  </a:lnTo>
                  <a:lnTo>
                    <a:pt x="354" y="318"/>
                  </a:lnTo>
                  <a:lnTo>
                    <a:pt x="326" y="310"/>
                  </a:lnTo>
                  <a:lnTo>
                    <a:pt x="312" y="280"/>
                  </a:lnTo>
                  <a:lnTo>
                    <a:pt x="304" y="292"/>
                  </a:lnTo>
                  <a:lnTo>
                    <a:pt x="306" y="312"/>
                  </a:lnTo>
                  <a:lnTo>
                    <a:pt x="294" y="326"/>
                  </a:lnTo>
                  <a:lnTo>
                    <a:pt x="288" y="314"/>
                  </a:lnTo>
                  <a:lnTo>
                    <a:pt x="286" y="288"/>
                  </a:lnTo>
                  <a:lnTo>
                    <a:pt x="262" y="260"/>
                  </a:lnTo>
                  <a:lnTo>
                    <a:pt x="232" y="270"/>
                  </a:lnTo>
                  <a:lnTo>
                    <a:pt x="224" y="238"/>
                  </a:lnTo>
                  <a:lnTo>
                    <a:pt x="202" y="238"/>
                  </a:lnTo>
                  <a:lnTo>
                    <a:pt x="186" y="266"/>
                  </a:lnTo>
                  <a:lnTo>
                    <a:pt x="178" y="244"/>
                  </a:lnTo>
                  <a:lnTo>
                    <a:pt x="158" y="236"/>
                  </a:lnTo>
                  <a:lnTo>
                    <a:pt x="132" y="288"/>
                  </a:lnTo>
                  <a:lnTo>
                    <a:pt x="106" y="288"/>
                  </a:lnTo>
                  <a:lnTo>
                    <a:pt x="110" y="304"/>
                  </a:lnTo>
                  <a:lnTo>
                    <a:pt x="78" y="320"/>
                  </a:lnTo>
                  <a:lnTo>
                    <a:pt x="90" y="350"/>
                  </a:lnTo>
                  <a:lnTo>
                    <a:pt x="80" y="364"/>
                  </a:lnTo>
                  <a:lnTo>
                    <a:pt x="68" y="362"/>
                  </a:lnTo>
                  <a:lnTo>
                    <a:pt x="60" y="340"/>
                  </a:lnTo>
                  <a:lnTo>
                    <a:pt x="42" y="328"/>
                  </a:lnTo>
                  <a:lnTo>
                    <a:pt x="32" y="348"/>
                  </a:lnTo>
                  <a:lnTo>
                    <a:pt x="14" y="362"/>
                  </a:lnTo>
                  <a:lnTo>
                    <a:pt x="6" y="380"/>
                  </a:lnTo>
                  <a:lnTo>
                    <a:pt x="6" y="402"/>
                  </a:lnTo>
                  <a:lnTo>
                    <a:pt x="14" y="414"/>
                  </a:lnTo>
                  <a:lnTo>
                    <a:pt x="0" y="454"/>
                  </a:lnTo>
                  <a:lnTo>
                    <a:pt x="22" y="456"/>
                  </a:lnTo>
                  <a:lnTo>
                    <a:pt x="32" y="478"/>
                  </a:lnTo>
                  <a:lnTo>
                    <a:pt x="58" y="480"/>
                  </a:lnTo>
                  <a:lnTo>
                    <a:pt x="90" y="534"/>
                  </a:lnTo>
                  <a:lnTo>
                    <a:pt x="84" y="554"/>
                  </a:lnTo>
                  <a:lnTo>
                    <a:pt x="136" y="546"/>
                  </a:lnTo>
                  <a:lnTo>
                    <a:pt x="168" y="518"/>
                  </a:lnTo>
                  <a:lnTo>
                    <a:pt x="212" y="524"/>
                  </a:lnTo>
                  <a:lnTo>
                    <a:pt x="262" y="548"/>
                  </a:lnTo>
                  <a:lnTo>
                    <a:pt x="248" y="616"/>
                  </a:lnTo>
                  <a:lnTo>
                    <a:pt x="214" y="630"/>
                  </a:lnTo>
                  <a:lnTo>
                    <a:pt x="180" y="626"/>
                  </a:lnTo>
                  <a:lnTo>
                    <a:pt x="178" y="672"/>
                  </a:lnTo>
                  <a:lnTo>
                    <a:pt x="152" y="668"/>
                  </a:lnTo>
                  <a:lnTo>
                    <a:pt x="138" y="686"/>
                  </a:lnTo>
                  <a:lnTo>
                    <a:pt x="152" y="688"/>
                  </a:lnTo>
                  <a:lnTo>
                    <a:pt x="172" y="744"/>
                  </a:lnTo>
                  <a:lnTo>
                    <a:pt x="188" y="744"/>
                  </a:lnTo>
                  <a:lnTo>
                    <a:pt x="200" y="766"/>
                  </a:lnTo>
                  <a:lnTo>
                    <a:pt x="226" y="766"/>
                  </a:lnTo>
                  <a:lnTo>
                    <a:pt x="222" y="808"/>
                  </a:lnTo>
                  <a:lnTo>
                    <a:pt x="236" y="800"/>
                  </a:lnTo>
                  <a:lnTo>
                    <a:pt x="238" y="780"/>
                  </a:lnTo>
                  <a:lnTo>
                    <a:pt x="286" y="762"/>
                  </a:lnTo>
                  <a:lnTo>
                    <a:pt x="308" y="790"/>
                  </a:lnTo>
                  <a:lnTo>
                    <a:pt x="312" y="804"/>
                  </a:lnTo>
                  <a:lnTo>
                    <a:pt x="338" y="834"/>
                  </a:lnTo>
                  <a:lnTo>
                    <a:pt x="354" y="834"/>
                  </a:lnTo>
                  <a:lnTo>
                    <a:pt x="354" y="626"/>
                  </a:lnTo>
                  <a:lnTo>
                    <a:pt x="448" y="602"/>
                  </a:lnTo>
                  <a:lnTo>
                    <a:pt x="552" y="660"/>
                  </a:lnTo>
                  <a:lnTo>
                    <a:pt x="564" y="694"/>
                  </a:lnTo>
                  <a:lnTo>
                    <a:pt x="576" y="710"/>
                  </a:lnTo>
                  <a:lnTo>
                    <a:pt x="596" y="698"/>
                  </a:lnTo>
                  <a:lnTo>
                    <a:pt x="666" y="698"/>
                  </a:lnTo>
                  <a:lnTo>
                    <a:pt x="678" y="686"/>
                  </a:lnTo>
                  <a:lnTo>
                    <a:pt x="710" y="750"/>
                  </a:lnTo>
                  <a:lnTo>
                    <a:pt x="728" y="750"/>
                  </a:lnTo>
                  <a:lnTo>
                    <a:pt x="732" y="778"/>
                  </a:lnTo>
                  <a:lnTo>
                    <a:pt x="722" y="784"/>
                  </a:lnTo>
                  <a:lnTo>
                    <a:pt x="722" y="802"/>
                  </a:lnTo>
                  <a:lnTo>
                    <a:pt x="742" y="808"/>
                  </a:lnTo>
                  <a:lnTo>
                    <a:pt x="746" y="832"/>
                  </a:lnTo>
                  <a:lnTo>
                    <a:pt x="796" y="834"/>
                  </a:lnTo>
                  <a:lnTo>
                    <a:pt x="814" y="848"/>
                  </a:lnTo>
                  <a:lnTo>
                    <a:pt x="824" y="842"/>
                  </a:lnTo>
                  <a:lnTo>
                    <a:pt x="824" y="828"/>
                  </a:lnTo>
                  <a:lnTo>
                    <a:pt x="866" y="804"/>
                  </a:lnTo>
                  <a:lnTo>
                    <a:pt x="918" y="790"/>
                  </a:lnTo>
                  <a:lnTo>
                    <a:pt x="918" y="766"/>
                  </a:lnTo>
                  <a:lnTo>
                    <a:pt x="936" y="762"/>
                  </a:lnTo>
                  <a:lnTo>
                    <a:pt x="956" y="762"/>
                  </a:lnTo>
                  <a:lnTo>
                    <a:pt x="994" y="766"/>
                  </a:lnTo>
                  <a:lnTo>
                    <a:pt x="1010" y="740"/>
                  </a:lnTo>
                  <a:lnTo>
                    <a:pt x="1044" y="722"/>
                  </a:lnTo>
                  <a:lnTo>
                    <a:pt x="1080" y="744"/>
                  </a:lnTo>
                  <a:lnTo>
                    <a:pt x="1152" y="740"/>
                  </a:lnTo>
                  <a:lnTo>
                    <a:pt x="1218" y="748"/>
                  </a:lnTo>
                  <a:lnTo>
                    <a:pt x="1232" y="740"/>
                  </a:lnTo>
                  <a:lnTo>
                    <a:pt x="1238" y="752"/>
                  </a:lnTo>
                  <a:lnTo>
                    <a:pt x="1276" y="764"/>
                  </a:lnTo>
                  <a:lnTo>
                    <a:pt x="1288" y="722"/>
                  </a:lnTo>
                  <a:lnTo>
                    <a:pt x="1266" y="644"/>
                  </a:lnTo>
                  <a:lnTo>
                    <a:pt x="1250" y="638"/>
                  </a:lnTo>
                  <a:lnTo>
                    <a:pt x="1260" y="624"/>
                  </a:lnTo>
                  <a:lnTo>
                    <a:pt x="1316" y="618"/>
                  </a:lnTo>
                  <a:lnTo>
                    <a:pt x="1336" y="626"/>
                  </a:lnTo>
                  <a:lnTo>
                    <a:pt x="1348" y="612"/>
                  </a:lnTo>
                  <a:lnTo>
                    <a:pt x="1334" y="604"/>
                  </a:lnTo>
                  <a:lnTo>
                    <a:pt x="1366" y="514"/>
                  </a:lnTo>
                  <a:lnTo>
                    <a:pt x="1406" y="526"/>
                  </a:lnTo>
                  <a:lnTo>
                    <a:pt x="1450" y="506"/>
                  </a:lnTo>
                  <a:lnTo>
                    <a:pt x="1452" y="474"/>
                  </a:lnTo>
                  <a:lnTo>
                    <a:pt x="1496" y="434"/>
                  </a:lnTo>
                  <a:lnTo>
                    <a:pt x="1498" y="408"/>
                  </a:lnTo>
                  <a:lnTo>
                    <a:pt x="1528" y="406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24" name="Kenya">
              <a:extLst>
                <a:ext uri="{FF2B5EF4-FFF2-40B4-BE49-F238E27FC236}">
                  <a16:creationId xmlns="" xmlns:a16="http://schemas.microsoft.com/office/drawing/2014/main" id="{0E107CA0-1D2E-404D-8E90-AAEEF47E8CF9}"/>
                </a:ext>
              </a:extLst>
            </p:cNvPr>
            <p:cNvSpPr>
              <a:spLocks/>
            </p:cNvSpPr>
            <p:nvPr/>
          </p:nvSpPr>
          <p:spPr bwMode="gray">
            <a:xfrm>
              <a:off x="6851317" y="4407326"/>
              <a:ext cx="253799" cy="308751"/>
            </a:xfrm>
            <a:custGeom>
              <a:avLst/>
              <a:gdLst/>
              <a:ahLst/>
              <a:cxnLst>
                <a:cxn ang="0">
                  <a:pos x="2" y="232"/>
                </a:cxn>
                <a:cxn ang="0">
                  <a:pos x="0" y="200"/>
                </a:cxn>
                <a:cxn ang="0">
                  <a:pos x="8" y="186"/>
                </a:cxn>
                <a:cxn ang="0">
                  <a:pos x="12" y="170"/>
                </a:cxn>
                <a:cxn ang="0">
                  <a:pos x="22" y="148"/>
                </a:cxn>
                <a:cxn ang="0">
                  <a:pos x="36" y="138"/>
                </a:cxn>
                <a:cxn ang="0">
                  <a:pos x="42" y="118"/>
                </a:cxn>
                <a:cxn ang="0">
                  <a:pos x="50" y="100"/>
                </a:cxn>
                <a:cxn ang="0">
                  <a:pos x="46" y="76"/>
                </a:cxn>
                <a:cxn ang="0">
                  <a:pos x="28" y="68"/>
                </a:cxn>
                <a:cxn ang="0">
                  <a:pos x="28" y="48"/>
                </a:cxn>
                <a:cxn ang="0">
                  <a:pos x="16" y="36"/>
                </a:cxn>
                <a:cxn ang="0">
                  <a:pos x="34" y="16"/>
                </a:cxn>
                <a:cxn ang="0">
                  <a:pos x="64" y="0"/>
                </a:cxn>
                <a:cxn ang="0">
                  <a:pos x="82" y="12"/>
                </a:cxn>
                <a:cxn ang="0">
                  <a:pos x="130" y="14"/>
                </a:cxn>
                <a:cxn ang="0">
                  <a:pos x="158" y="38"/>
                </a:cxn>
                <a:cxn ang="0">
                  <a:pos x="188" y="40"/>
                </a:cxn>
                <a:cxn ang="0">
                  <a:pos x="216" y="50"/>
                </a:cxn>
                <a:cxn ang="0">
                  <a:pos x="236" y="36"/>
                </a:cxn>
                <a:cxn ang="0">
                  <a:pos x="246" y="36"/>
                </a:cxn>
                <a:cxn ang="0">
                  <a:pos x="274" y="16"/>
                </a:cxn>
                <a:cxn ang="0">
                  <a:pos x="294" y="32"/>
                </a:cxn>
                <a:cxn ang="0">
                  <a:pos x="310" y="32"/>
                </a:cxn>
                <a:cxn ang="0">
                  <a:pos x="302" y="48"/>
                </a:cxn>
                <a:cxn ang="0">
                  <a:pos x="296" y="62"/>
                </a:cxn>
                <a:cxn ang="0">
                  <a:pos x="278" y="90"/>
                </a:cxn>
                <a:cxn ang="0">
                  <a:pos x="278" y="220"/>
                </a:cxn>
                <a:cxn ang="0">
                  <a:pos x="310" y="254"/>
                </a:cxn>
                <a:cxn ang="0">
                  <a:pos x="296" y="272"/>
                </a:cxn>
                <a:cxn ang="0">
                  <a:pos x="280" y="274"/>
                </a:cxn>
                <a:cxn ang="0">
                  <a:pos x="270" y="294"/>
                </a:cxn>
                <a:cxn ang="0">
                  <a:pos x="256" y="304"/>
                </a:cxn>
                <a:cxn ang="0">
                  <a:pos x="252" y="320"/>
                </a:cxn>
                <a:cxn ang="0">
                  <a:pos x="230" y="346"/>
                </a:cxn>
                <a:cxn ang="0">
                  <a:pos x="228" y="364"/>
                </a:cxn>
                <a:cxn ang="0">
                  <a:pos x="210" y="376"/>
                </a:cxn>
                <a:cxn ang="0">
                  <a:pos x="144" y="338"/>
                </a:cxn>
                <a:cxn ang="0">
                  <a:pos x="152" y="314"/>
                </a:cxn>
                <a:cxn ang="0">
                  <a:pos x="2" y="232"/>
                </a:cxn>
              </a:cxnLst>
              <a:rect l="0" t="0" r="r" b="b"/>
              <a:pathLst>
                <a:path w="310" h="376">
                  <a:moveTo>
                    <a:pt x="2" y="232"/>
                  </a:moveTo>
                  <a:lnTo>
                    <a:pt x="0" y="200"/>
                  </a:lnTo>
                  <a:lnTo>
                    <a:pt x="8" y="186"/>
                  </a:lnTo>
                  <a:lnTo>
                    <a:pt x="12" y="170"/>
                  </a:lnTo>
                  <a:lnTo>
                    <a:pt x="22" y="148"/>
                  </a:lnTo>
                  <a:lnTo>
                    <a:pt x="36" y="138"/>
                  </a:lnTo>
                  <a:lnTo>
                    <a:pt x="42" y="118"/>
                  </a:lnTo>
                  <a:lnTo>
                    <a:pt x="50" y="100"/>
                  </a:lnTo>
                  <a:lnTo>
                    <a:pt x="46" y="76"/>
                  </a:lnTo>
                  <a:lnTo>
                    <a:pt x="28" y="68"/>
                  </a:lnTo>
                  <a:lnTo>
                    <a:pt x="28" y="48"/>
                  </a:lnTo>
                  <a:lnTo>
                    <a:pt x="16" y="36"/>
                  </a:lnTo>
                  <a:lnTo>
                    <a:pt x="34" y="16"/>
                  </a:lnTo>
                  <a:lnTo>
                    <a:pt x="64" y="0"/>
                  </a:lnTo>
                  <a:lnTo>
                    <a:pt x="82" y="12"/>
                  </a:lnTo>
                  <a:lnTo>
                    <a:pt x="130" y="14"/>
                  </a:lnTo>
                  <a:lnTo>
                    <a:pt x="158" y="38"/>
                  </a:lnTo>
                  <a:lnTo>
                    <a:pt x="188" y="40"/>
                  </a:lnTo>
                  <a:lnTo>
                    <a:pt x="216" y="50"/>
                  </a:lnTo>
                  <a:lnTo>
                    <a:pt x="236" y="36"/>
                  </a:lnTo>
                  <a:lnTo>
                    <a:pt x="246" y="36"/>
                  </a:lnTo>
                  <a:lnTo>
                    <a:pt x="274" y="16"/>
                  </a:lnTo>
                  <a:lnTo>
                    <a:pt x="294" y="32"/>
                  </a:lnTo>
                  <a:lnTo>
                    <a:pt x="310" y="32"/>
                  </a:lnTo>
                  <a:lnTo>
                    <a:pt x="302" y="48"/>
                  </a:lnTo>
                  <a:lnTo>
                    <a:pt x="296" y="62"/>
                  </a:lnTo>
                  <a:lnTo>
                    <a:pt x="278" y="90"/>
                  </a:lnTo>
                  <a:lnTo>
                    <a:pt x="278" y="220"/>
                  </a:lnTo>
                  <a:lnTo>
                    <a:pt x="310" y="254"/>
                  </a:lnTo>
                  <a:lnTo>
                    <a:pt x="296" y="272"/>
                  </a:lnTo>
                  <a:lnTo>
                    <a:pt x="280" y="274"/>
                  </a:lnTo>
                  <a:lnTo>
                    <a:pt x="270" y="294"/>
                  </a:lnTo>
                  <a:lnTo>
                    <a:pt x="256" y="304"/>
                  </a:lnTo>
                  <a:lnTo>
                    <a:pt x="252" y="320"/>
                  </a:lnTo>
                  <a:lnTo>
                    <a:pt x="230" y="346"/>
                  </a:lnTo>
                  <a:lnTo>
                    <a:pt x="228" y="364"/>
                  </a:lnTo>
                  <a:lnTo>
                    <a:pt x="210" y="376"/>
                  </a:lnTo>
                  <a:lnTo>
                    <a:pt x="144" y="338"/>
                  </a:lnTo>
                  <a:lnTo>
                    <a:pt x="152" y="314"/>
                  </a:lnTo>
                  <a:lnTo>
                    <a:pt x="2" y="232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25" name="Korea">
              <a:extLst>
                <a:ext uri="{FF2B5EF4-FFF2-40B4-BE49-F238E27FC236}">
                  <a16:creationId xmlns="" xmlns:a16="http://schemas.microsoft.com/office/drawing/2014/main" id="{6A1E36C1-712D-44EB-9273-BAD53C48FCEB}"/>
                </a:ext>
              </a:extLst>
            </p:cNvPr>
            <p:cNvSpPr>
              <a:spLocks/>
            </p:cNvSpPr>
            <p:nvPr/>
          </p:nvSpPr>
          <p:spPr bwMode="gray">
            <a:xfrm>
              <a:off x="9678254" y="3237223"/>
              <a:ext cx="111283" cy="169124"/>
            </a:xfrm>
            <a:custGeom>
              <a:avLst/>
              <a:gdLst/>
              <a:ahLst/>
              <a:cxnLst>
                <a:cxn ang="0">
                  <a:pos x="20" y="34"/>
                </a:cxn>
                <a:cxn ang="0">
                  <a:pos x="26" y="24"/>
                </a:cxn>
                <a:cxn ang="0">
                  <a:pos x="52" y="10"/>
                </a:cxn>
                <a:cxn ang="0">
                  <a:pos x="76" y="14"/>
                </a:cxn>
                <a:cxn ang="0">
                  <a:pos x="90" y="6"/>
                </a:cxn>
                <a:cxn ang="0">
                  <a:pos x="102" y="0"/>
                </a:cxn>
                <a:cxn ang="0">
                  <a:pos x="104" y="22"/>
                </a:cxn>
                <a:cxn ang="0">
                  <a:pos x="114" y="42"/>
                </a:cxn>
                <a:cxn ang="0">
                  <a:pos x="128" y="72"/>
                </a:cxn>
                <a:cxn ang="0">
                  <a:pos x="130" y="94"/>
                </a:cxn>
                <a:cxn ang="0">
                  <a:pos x="126" y="112"/>
                </a:cxn>
                <a:cxn ang="0">
                  <a:pos x="134" y="124"/>
                </a:cxn>
                <a:cxn ang="0">
                  <a:pos x="114" y="160"/>
                </a:cxn>
                <a:cxn ang="0">
                  <a:pos x="100" y="150"/>
                </a:cxn>
                <a:cxn ang="0">
                  <a:pos x="94" y="158"/>
                </a:cxn>
                <a:cxn ang="0">
                  <a:pos x="106" y="170"/>
                </a:cxn>
                <a:cxn ang="0">
                  <a:pos x="104" y="178"/>
                </a:cxn>
                <a:cxn ang="0">
                  <a:pos x="98" y="178"/>
                </a:cxn>
                <a:cxn ang="0">
                  <a:pos x="78" y="162"/>
                </a:cxn>
                <a:cxn ang="0">
                  <a:pos x="72" y="174"/>
                </a:cxn>
                <a:cxn ang="0">
                  <a:pos x="84" y="176"/>
                </a:cxn>
                <a:cxn ang="0">
                  <a:pos x="84" y="184"/>
                </a:cxn>
                <a:cxn ang="0">
                  <a:pos x="68" y="184"/>
                </a:cxn>
                <a:cxn ang="0">
                  <a:pos x="58" y="190"/>
                </a:cxn>
                <a:cxn ang="0">
                  <a:pos x="44" y="182"/>
                </a:cxn>
                <a:cxn ang="0">
                  <a:pos x="38" y="192"/>
                </a:cxn>
                <a:cxn ang="0">
                  <a:pos x="26" y="200"/>
                </a:cxn>
                <a:cxn ang="0">
                  <a:pos x="20" y="194"/>
                </a:cxn>
                <a:cxn ang="0">
                  <a:pos x="10" y="206"/>
                </a:cxn>
                <a:cxn ang="0">
                  <a:pos x="4" y="204"/>
                </a:cxn>
                <a:cxn ang="0">
                  <a:pos x="4" y="196"/>
                </a:cxn>
                <a:cxn ang="0">
                  <a:pos x="12" y="194"/>
                </a:cxn>
                <a:cxn ang="0">
                  <a:pos x="10" y="184"/>
                </a:cxn>
                <a:cxn ang="0">
                  <a:pos x="26" y="176"/>
                </a:cxn>
                <a:cxn ang="0">
                  <a:pos x="18" y="172"/>
                </a:cxn>
                <a:cxn ang="0">
                  <a:pos x="18" y="160"/>
                </a:cxn>
                <a:cxn ang="0">
                  <a:pos x="24" y="154"/>
                </a:cxn>
                <a:cxn ang="0">
                  <a:pos x="26" y="140"/>
                </a:cxn>
                <a:cxn ang="0">
                  <a:pos x="22" y="128"/>
                </a:cxn>
                <a:cxn ang="0">
                  <a:pos x="26" y="98"/>
                </a:cxn>
                <a:cxn ang="0">
                  <a:pos x="16" y="90"/>
                </a:cxn>
                <a:cxn ang="0">
                  <a:pos x="10" y="94"/>
                </a:cxn>
                <a:cxn ang="0">
                  <a:pos x="0" y="94"/>
                </a:cxn>
                <a:cxn ang="0">
                  <a:pos x="0" y="84"/>
                </a:cxn>
                <a:cxn ang="0">
                  <a:pos x="6" y="76"/>
                </a:cxn>
                <a:cxn ang="0">
                  <a:pos x="34" y="74"/>
                </a:cxn>
                <a:cxn ang="0">
                  <a:pos x="22" y="56"/>
                </a:cxn>
                <a:cxn ang="0">
                  <a:pos x="28" y="48"/>
                </a:cxn>
                <a:cxn ang="0">
                  <a:pos x="18" y="46"/>
                </a:cxn>
                <a:cxn ang="0">
                  <a:pos x="26" y="36"/>
                </a:cxn>
                <a:cxn ang="0">
                  <a:pos x="20" y="34"/>
                </a:cxn>
              </a:cxnLst>
              <a:rect l="0" t="0" r="r" b="b"/>
              <a:pathLst>
                <a:path w="134" h="206">
                  <a:moveTo>
                    <a:pt x="20" y="34"/>
                  </a:moveTo>
                  <a:lnTo>
                    <a:pt x="26" y="24"/>
                  </a:lnTo>
                  <a:lnTo>
                    <a:pt x="52" y="10"/>
                  </a:lnTo>
                  <a:lnTo>
                    <a:pt x="76" y="14"/>
                  </a:lnTo>
                  <a:lnTo>
                    <a:pt x="90" y="6"/>
                  </a:lnTo>
                  <a:lnTo>
                    <a:pt x="102" y="0"/>
                  </a:lnTo>
                  <a:lnTo>
                    <a:pt x="104" y="22"/>
                  </a:lnTo>
                  <a:lnTo>
                    <a:pt x="114" y="42"/>
                  </a:lnTo>
                  <a:lnTo>
                    <a:pt x="128" y="72"/>
                  </a:lnTo>
                  <a:lnTo>
                    <a:pt x="130" y="94"/>
                  </a:lnTo>
                  <a:lnTo>
                    <a:pt x="126" y="112"/>
                  </a:lnTo>
                  <a:lnTo>
                    <a:pt x="134" y="124"/>
                  </a:lnTo>
                  <a:lnTo>
                    <a:pt x="114" y="160"/>
                  </a:lnTo>
                  <a:lnTo>
                    <a:pt x="100" y="150"/>
                  </a:lnTo>
                  <a:lnTo>
                    <a:pt x="94" y="158"/>
                  </a:lnTo>
                  <a:lnTo>
                    <a:pt x="106" y="170"/>
                  </a:lnTo>
                  <a:lnTo>
                    <a:pt x="104" y="178"/>
                  </a:lnTo>
                  <a:lnTo>
                    <a:pt x="98" y="178"/>
                  </a:lnTo>
                  <a:lnTo>
                    <a:pt x="78" y="162"/>
                  </a:lnTo>
                  <a:lnTo>
                    <a:pt x="72" y="174"/>
                  </a:lnTo>
                  <a:lnTo>
                    <a:pt x="84" y="176"/>
                  </a:lnTo>
                  <a:lnTo>
                    <a:pt x="84" y="184"/>
                  </a:lnTo>
                  <a:lnTo>
                    <a:pt x="68" y="184"/>
                  </a:lnTo>
                  <a:lnTo>
                    <a:pt x="58" y="190"/>
                  </a:lnTo>
                  <a:lnTo>
                    <a:pt x="44" y="182"/>
                  </a:lnTo>
                  <a:lnTo>
                    <a:pt x="38" y="192"/>
                  </a:lnTo>
                  <a:lnTo>
                    <a:pt x="26" y="200"/>
                  </a:lnTo>
                  <a:lnTo>
                    <a:pt x="20" y="194"/>
                  </a:lnTo>
                  <a:lnTo>
                    <a:pt x="10" y="206"/>
                  </a:lnTo>
                  <a:lnTo>
                    <a:pt x="4" y="204"/>
                  </a:lnTo>
                  <a:lnTo>
                    <a:pt x="4" y="196"/>
                  </a:lnTo>
                  <a:lnTo>
                    <a:pt x="12" y="194"/>
                  </a:lnTo>
                  <a:lnTo>
                    <a:pt x="10" y="184"/>
                  </a:lnTo>
                  <a:lnTo>
                    <a:pt x="26" y="176"/>
                  </a:lnTo>
                  <a:lnTo>
                    <a:pt x="18" y="172"/>
                  </a:lnTo>
                  <a:lnTo>
                    <a:pt x="18" y="160"/>
                  </a:lnTo>
                  <a:lnTo>
                    <a:pt x="24" y="154"/>
                  </a:lnTo>
                  <a:lnTo>
                    <a:pt x="26" y="140"/>
                  </a:lnTo>
                  <a:lnTo>
                    <a:pt x="22" y="128"/>
                  </a:lnTo>
                  <a:lnTo>
                    <a:pt x="26" y="98"/>
                  </a:lnTo>
                  <a:lnTo>
                    <a:pt x="16" y="90"/>
                  </a:lnTo>
                  <a:lnTo>
                    <a:pt x="10" y="94"/>
                  </a:lnTo>
                  <a:lnTo>
                    <a:pt x="0" y="94"/>
                  </a:lnTo>
                  <a:lnTo>
                    <a:pt x="0" y="84"/>
                  </a:lnTo>
                  <a:lnTo>
                    <a:pt x="6" y="76"/>
                  </a:lnTo>
                  <a:lnTo>
                    <a:pt x="34" y="74"/>
                  </a:lnTo>
                  <a:lnTo>
                    <a:pt x="22" y="56"/>
                  </a:lnTo>
                  <a:lnTo>
                    <a:pt x="28" y="48"/>
                  </a:lnTo>
                  <a:lnTo>
                    <a:pt x="18" y="46"/>
                  </a:lnTo>
                  <a:lnTo>
                    <a:pt x="26" y="36"/>
                  </a:lnTo>
                  <a:lnTo>
                    <a:pt x="20" y="34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26" name="Kuwait">
              <a:extLst>
                <a:ext uri="{FF2B5EF4-FFF2-40B4-BE49-F238E27FC236}">
                  <a16:creationId xmlns="" xmlns:a16="http://schemas.microsoft.com/office/drawing/2014/main" id="{EE5AADC7-8444-43B9-AF9E-9A0548B273D5}"/>
                </a:ext>
              </a:extLst>
            </p:cNvPr>
            <p:cNvSpPr>
              <a:spLocks/>
            </p:cNvSpPr>
            <p:nvPr/>
          </p:nvSpPr>
          <p:spPr bwMode="gray">
            <a:xfrm>
              <a:off x="7237874" y="3559739"/>
              <a:ext cx="68331" cy="70796"/>
            </a:xfrm>
            <a:custGeom>
              <a:avLst/>
              <a:gdLst/>
              <a:ahLst/>
              <a:cxnLst>
                <a:cxn ang="0">
                  <a:pos x="0" y="56"/>
                </a:cxn>
                <a:cxn ang="0">
                  <a:pos x="12" y="48"/>
                </a:cxn>
                <a:cxn ang="0">
                  <a:pos x="20" y="40"/>
                </a:cxn>
                <a:cxn ang="0">
                  <a:pos x="22" y="24"/>
                </a:cxn>
                <a:cxn ang="0">
                  <a:pos x="30" y="8"/>
                </a:cxn>
                <a:cxn ang="0">
                  <a:pos x="42" y="0"/>
                </a:cxn>
                <a:cxn ang="0">
                  <a:pos x="58" y="4"/>
                </a:cxn>
                <a:cxn ang="0">
                  <a:pos x="66" y="18"/>
                </a:cxn>
                <a:cxn ang="0">
                  <a:pos x="56" y="28"/>
                </a:cxn>
                <a:cxn ang="0">
                  <a:pos x="54" y="36"/>
                </a:cxn>
                <a:cxn ang="0">
                  <a:pos x="74" y="40"/>
                </a:cxn>
                <a:cxn ang="0">
                  <a:pos x="84" y="70"/>
                </a:cxn>
                <a:cxn ang="0">
                  <a:pos x="52" y="86"/>
                </a:cxn>
                <a:cxn ang="0">
                  <a:pos x="34" y="64"/>
                </a:cxn>
                <a:cxn ang="0">
                  <a:pos x="10" y="62"/>
                </a:cxn>
                <a:cxn ang="0">
                  <a:pos x="0" y="56"/>
                </a:cxn>
              </a:cxnLst>
              <a:rect l="0" t="0" r="r" b="b"/>
              <a:pathLst>
                <a:path w="84" h="86">
                  <a:moveTo>
                    <a:pt x="0" y="56"/>
                  </a:moveTo>
                  <a:lnTo>
                    <a:pt x="12" y="48"/>
                  </a:lnTo>
                  <a:lnTo>
                    <a:pt x="20" y="40"/>
                  </a:lnTo>
                  <a:lnTo>
                    <a:pt x="22" y="24"/>
                  </a:lnTo>
                  <a:lnTo>
                    <a:pt x="30" y="8"/>
                  </a:lnTo>
                  <a:lnTo>
                    <a:pt x="42" y="0"/>
                  </a:lnTo>
                  <a:lnTo>
                    <a:pt x="58" y="4"/>
                  </a:lnTo>
                  <a:lnTo>
                    <a:pt x="66" y="18"/>
                  </a:lnTo>
                  <a:lnTo>
                    <a:pt x="56" y="28"/>
                  </a:lnTo>
                  <a:lnTo>
                    <a:pt x="54" y="36"/>
                  </a:lnTo>
                  <a:lnTo>
                    <a:pt x="74" y="40"/>
                  </a:lnTo>
                  <a:lnTo>
                    <a:pt x="84" y="70"/>
                  </a:lnTo>
                  <a:lnTo>
                    <a:pt x="52" y="86"/>
                  </a:lnTo>
                  <a:lnTo>
                    <a:pt x="34" y="64"/>
                  </a:lnTo>
                  <a:lnTo>
                    <a:pt x="10" y="62"/>
                  </a:lnTo>
                  <a:lnTo>
                    <a:pt x="0" y="56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27" name="Kyrgyzstan">
              <a:extLst>
                <a:ext uri="{FF2B5EF4-FFF2-40B4-BE49-F238E27FC236}">
                  <a16:creationId xmlns="" xmlns:a16="http://schemas.microsoft.com/office/drawing/2014/main" id="{FB75566D-B7EC-4293-B3C7-07FCAB82D6E0}"/>
                </a:ext>
              </a:extLst>
            </p:cNvPr>
            <p:cNvSpPr>
              <a:spLocks/>
            </p:cNvSpPr>
            <p:nvPr/>
          </p:nvSpPr>
          <p:spPr bwMode="gray">
            <a:xfrm>
              <a:off x="7936798" y="3020902"/>
              <a:ext cx="343607" cy="178957"/>
            </a:xfrm>
            <a:custGeom>
              <a:avLst/>
              <a:gdLst/>
              <a:ahLst/>
              <a:cxnLst>
                <a:cxn ang="0">
                  <a:pos x="410" y="90"/>
                </a:cxn>
                <a:cxn ang="0">
                  <a:pos x="422" y="42"/>
                </a:cxn>
                <a:cxn ang="0">
                  <a:pos x="384" y="30"/>
                </a:cxn>
                <a:cxn ang="0">
                  <a:pos x="378" y="18"/>
                </a:cxn>
                <a:cxn ang="0">
                  <a:pos x="364" y="26"/>
                </a:cxn>
                <a:cxn ang="0">
                  <a:pos x="298" y="18"/>
                </a:cxn>
                <a:cxn ang="0">
                  <a:pos x="226" y="22"/>
                </a:cxn>
                <a:cxn ang="0">
                  <a:pos x="190" y="0"/>
                </a:cxn>
                <a:cxn ang="0">
                  <a:pos x="156" y="18"/>
                </a:cxn>
                <a:cxn ang="0">
                  <a:pos x="140" y="44"/>
                </a:cxn>
                <a:cxn ang="0">
                  <a:pos x="102" y="40"/>
                </a:cxn>
                <a:cxn ang="0">
                  <a:pos x="82" y="40"/>
                </a:cxn>
                <a:cxn ang="0">
                  <a:pos x="64" y="44"/>
                </a:cxn>
                <a:cxn ang="0">
                  <a:pos x="64" y="68"/>
                </a:cxn>
                <a:cxn ang="0">
                  <a:pos x="68" y="84"/>
                </a:cxn>
                <a:cxn ang="0">
                  <a:pos x="30" y="92"/>
                </a:cxn>
                <a:cxn ang="0">
                  <a:pos x="32" y="104"/>
                </a:cxn>
                <a:cxn ang="0">
                  <a:pos x="58" y="122"/>
                </a:cxn>
                <a:cxn ang="0">
                  <a:pos x="80" y="98"/>
                </a:cxn>
                <a:cxn ang="0">
                  <a:pos x="88" y="116"/>
                </a:cxn>
                <a:cxn ang="0">
                  <a:pos x="110" y="132"/>
                </a:cxn>
                <a:cxn ang="0">
                  <a:pos x="134" y="134"/>
                </a:cxn>
                <a:cxn ang="0">
                  <a:pos x="134" y="156"/>
                </a:cxn>
                <a:cxn ang="0">
                  <a:pos x="126" y="162"/>
                </a:cxn>
                <a:cxn ang="0">
                  <a:pos x="112" y="160"/>
                </a:cxn>
                <a:cxn ang="0">
                  <a:pos x="102" y="176"/>
                </a:cxn>
                <a:cxn ang="0">
                  <a:pos x="86" y="166"/>
                </a:cxn>
                <a:cxn ang="0">
                  <a:pos x="58" y="184"/>
                </a:cxn>
                <a:cxn ang="0">
                  <a:pos x="44" y="174"/>
                </a:cxn>
                <a:cxn ang="0">
                  <a:pos x="38" y="184"/>
                </a:cxn>
                <a:cxn ang="0">
                  <a:pos x="14" y="180"/>
                </a:cxn>
                <a:cxn ang="0">
                  <a:pos x="0" y="192"/>
                </a:cxn>
                <a:cxn ang="0">
                  <a:pos x="12" y="200"/>
                </a:cxn>
                <a:cxn ang="0">
                  <a:pos x="44" y="202"/>
                </a:cxn>
                <a:cxn ang="0">
                  <a:pos x="60" y="202"/>
                </a:cxn>
                <a:cxn ang="0">
                  <a:pos x="84" y="206"/>
                </a:cxn>
                <a:cxn ang="0">
                  <a:pos x="88" y="218"/>
                </a:cxn>
                <a:cxn ang="0">
                  <a:pos x="114" y="218"/>
                </a:cxn>
                <a:cxn ang="0">
                  <a:pos x="130" y="208"/>
                </a:cxn>
                <a:cxn ang="0">
                  <a:pos x="150" y="204"/>
                </a:cxn>
                <a:cxn ang="0">
                  <a:pos x="172" y="212"/>
                </a:cxn>
                <a:cxn ang="0">
                  <a:pos x="172" y="198"/>
                </a:cxn>
                <a:cxn ang="0">
                  <a:pos x="178" y="174"/>
                </a:cxn>
                <a:cxn ang="0">
                  <a:pos x="200" y="164"/>
                </a:cxn>
                <a:cxn ang="0">
                  <a:pos x="212" y="152"/>
                </a:cxn>
                <a:cxn ang="0">
                  <a:pos x="228" y="154"/>
                </a:cxn>
                <a:cxn ang="0">
                  <a:pos x="240" y="146"/>
                </a:cxn>
                <a:cxn ang="0">
                  <a:pos x="250" y="164"/>
                </a:cxn>
                <a:cxn ang="0">
                  <a:pos x="270" y="162"/>
                </a:cxn>
                <a:cxn ang="0">
                  <a:pos x="286" y="134"/>
                </a:cxn>
                <a:cxn ang="0">
                  <a:pos x="330" y="122"/>
                </a:cxn>
                <a:cxn ang="0">
                  <a:pos x="410" y="90"/>
                </a:cxn>
              </a:cxnLst>
              <a:rect l="0" t="0" r="r" b="b"/>
              <a:pathLst>
                <a:path w="422" h="218">
                  <a:moveTo>
                    <a:pt x="410" y="90"/>
                  </a:moveTo>
                  <a:lnTo>
                    <a:pt x="422" y="42"/>
                  </a:lnTo>
                  <a:lnTo>
                    <a:pt x="384" y="30"/>
                  </a:lnTo>
                  <a:lnTo>
                    <a:pt x="378" y="18"/>
                  </a:lnTo>
                  <a:lnTo>
                    <a:pt x="364" y="26"/>
                  </a:lnTo>
                  <a:lnTo>
                    <a:pt x="298" y="18"/>
                  </a:lnTo>
                  <a:lnTo>
                    <a:pt x="226" y="22"/>
                  </a:lnTo>
                  <a:lnTo>
                    <a:pt x="190" y="0"/>
                  </a:lnTo>
                  <a:lnTo>
                    <a:pt x="156" y="18"/>
                  </a:lnTo>
                  <a:lnTo>
                    <a:pt x="140" y="44"/>
                  </a:lnTo>
                  <a:lnTo>
                    <a:pt x="102" y="40"/>
                  </a:lnTo>
                  <a:lnTo>
                    <a:pt x="82" y="40"/>
                  </a:lnTo>
                  <a:lnTo>
                    <a:pt x="64" y="44"/>
                  </a:lnTo>
                  <a:lnTo>
                    <a:pt x="64" y="68"/>
                  </a:lnTo>
                  <a:lnTo>
                    <a:pt x="68" y="84"/>
                  </a:lnTo>
                  <a:lnTo>
                    <a:pt x="30" y="92"/>
                  </a:lnTo>
                  <a:lnTo>
                    <a:pt x="32" y="104"/>
                  </a:lnTo>
                  <a:lnTo>
                    <a:pt x="58" y="122"/>
                  </a:lnTo>
                  <a:lnTo>
                    <a:pt x="80" y="98"/>
                  </a:lnTo>
                  <a:lnTo>
                    <a:pt x="88" y="116"/>
                  </a:lnTo>
                  <a:lnTo>
                    <a:pt x="110" y="132"/>
                  </a:lnTo>
                  <a:lnTo>
                    <a:pt x="134" y="134"/>
                  </a:lnTo>
                  <a:lnTo>
                    <a:pt x="134" y="156"/>
                  </a:lnTo>
                  <a:lnTo>
                    <a:pt x="126" y="162"/>
                  </a:lnTo>
                  <a:lnTo>
                    <a:pt x="112" y="160"/>
                  </a:lnTo>
                  <a:lnTo>
                    <a:pt x="102" y="176"/>
                  </a:lnTo>
                  <a:lnTo>
                    <a:pt x="86" y="166"/>
                  </a:lnTo>
                  <a:lnTo>
                    <a:pt x="58" y="184"/>
                  </a:lnTo>
                  <a:lnTo>
                    <a:pt x="44" y="174"/>
                  </a:lnTo>
                  <a:lnTo>
                    <a:pt x="38" y="184"/>
                  </a:lnTo>
                  <a:lnTo>
                    <a:pt x="14" y="180"/>
                  </a:lnTo>
                  <a:lnTo>
                    <a:pt x="0" y="192"/>
                  </a:lnTo>
                  <a:lnTo>
                    <a:pt x="12" y="200"/>
                  </a:lnTo>
                  <a:lnTo>
                    <a:pt x="44" y="202"/>
                  </a:lnTo>
                  <a:lnTo>
                    <a:pt x="60" y="202"/>
                  </a:lnTo>
                  <a:lnTo>
                    <a:pt x="84" y="206"/>
                  </a:lnTo>
                  <a:lnTo>
                    <a:pt x="88" y="218"/>
                  </a:lnTo>
                  <a:lnTo>
                    <a:pt x="114" y="218"/>
                  </a:lnTo>
                  <a:lnTo>
                    <a:pt x="130" y="208"/>
                  </a:lnTo>
                  <a:lnTo>
                    <a:pt x="150" y="204"/>
                  </a:lnTo>
                  <a:lnTo>
                    <a:pt x="172" y="212"/>
                  </a:lnTo>
                  <a:lnTo>
                    <a:pt x="172" y="198"/>
                  </a:lnTo>
                  <a:lnTo>
                    <a:pt x="178" y="174"/>
                  </a:lnTo>
                  <a:lnTo>
                    <a:pt x="200" y="164"/>
                  </a:lnTo>
                  <a:lnTo>
                    <a:pt x="212" y="152"/>
                  </a:lnTo>
                  <a:lnTo>
                    <a:pt x="228" y="154"/>
                  </a:lnTo>
                  <a:lnTo>
                    <a:pt x="240" y="146"/>
                  </a:lnTo>
                  <a:lnTo>
                    <a:pt x="250" y="164"/>
                  </a:lnTo>
                  <a:lnTo>
                    <a:pt x="270" y="162"/>
                  </a:lnTo>
                  <a:lnTo>
                    <a:pt x="286" y="134"/>
                  </a:lnTo>
                  <a:lnTo>
                    <a:pt x="330" y="122"/>
                  </a:lnTo>
                  <a:lnTo>
                    <a:pt x="410" y="90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28" name="Laos">
              <a:extLst>
                <a:ext uri="{FF2B5EF4-FFF2-40B4-BE49-F238E27FC236}">
                  <a16:creationId xmlns="" xmlns:a16="http://schemas.microsoft.com/office/drawing/2014/main" id="{0B1204B4-ECE1-44E2-82B2-D9A76F1E79CB}"/>
                </a:ext>
              </a:extLst>
            </p:cNvPr>
            <p:cNvSpPr>
              <a:spLocks/>
            </p:cNvSpPr>
            <p:nvPr/>
          </p:nvSpPr>
          <p:spPr bwMode="gray">
            <a:xfrm>
              <a:off x="8895381" y="3829157"/>
              <a:ext cx="232324" cy="279252"/>
            </a:xfrm>
            <a:custGeom>
              <a:avLst/>
              <a:gdLst/>
              <a:ahLst/>
              <a:cxnLst>
                <a:cxn ang="0">
                  <a:pos x="96" y="32"/>
                </a:cxn>
                <a:cxn ang="0">
                  <a:pos x="98" y="52"/>
                </a:cxn>
                <a:cxn ang="0">
                  <a:pos x="120" y="64"/>
                </a:cxn>
                <a:cxn ang="0">
                  <a:pos x="140" y="54"/>
                </a:cxn>
                <a:cxn ang="0">
                  <a:pos x="174" y="92"/>
                </a:cxn>
                <a:cxn ang="0">
                  <a:pos x="162" y="100"/>
                </a:cxn>
                <a:cxn ang="0">
                  <a:pos x="146" y="98"/>
                </a:cxn>
                <a:cxn ang="0">
                  <a:pos x="146" y="118"/>
                </a:cxn>
                <a:cxn ang="0">
                  <a:pos x="188" y="156"/>
                </a:cxn>
                <a:cxn ang="0">
                  <a:pos x="188" y="168"/>
                </a:cxn>
                <a:cxn ang="0">
                  <a:pos x="216" y="202"/>
                </a:cxn>
                <a:cxn ang="0">
                  <a:pos x="218" y="216"/>
                </a:cxn>
                <a:cxn ang="0">
                  <a:pos x="238" y="242"/>
                </a:cxn>
                <a:cxn ang="0">
                  <a:pos x="248" y="238"/>
                </a:cxn>
                <a:cxn ang="0">
                  <a:pos x="270" y="260"/>
                </a:cxn>
                <a:cxn ang="0">
                  <a:pos x="262" y="274"/>
                </a:cxn>
                <a:cxn ang="0">
                  <a:pos x="286" y="296"/>
                </a:cxn>
                <a:cxn ang="0">
                  <a:pos x="282" y="306"/>
                </a:cxn>
                <a:cxn ang="0">
                  <a:pos x="274" y="314"/>
                </a:cxn>
                <a:cxn ang="0">
                  <a:pos x="260" y="316"/>
                </a:cxn>
                <a:cxn ang="0">
                  <a:pos x="252" y="310"/>
                </a:cxn>
                <a:cxn ang="0">
                  <a:pos x="244" y="310"/>
                </a:cxn>
                <a:cxn ang="0">
                  <a:pos x="232" y="322"/>
                </a:cxn>
                <a:cxn ang="0">
                  <a:pos x="218" y="326"/>
                </a:cxn>
                <a:cxn ang="0">
                  <a:pos x="214" y="342"/>
                </a:cxn>
                <a:cxn ang="0">
                  <a:pos x="190" y="332"/>
                </a:cxn>
                <a:cxn ang="0">
                  <a:pos x="180" y="316"/>
                </a:cxn>
                <a:cxn ang="0">
                  <a:pos x="196" y="306"/>
                </a:cxn>
                <a:cxn ang="0">
                  <a:pos x="198" y="290"/>
                </a:cxn>
                <a:cxn ang="0">
                  <a:pos x="204" y="272"/>
                </a:cxn>
                <a:cxn ang="0">
                  <a:pos x="188" y="256"/>
                </a:cxn>
                <a:cxn ang="0">
                  <a:pos x="160" y="232"/>
                </a:cxn>
                <a:cxn ang="0">
                  <a:pos x="156" y="192"/>
                </a:cxn>
                <a:cxn ang="0">
                  <a:pos x="138" y="172"/>
                </a:cxn>
                <a:cxn ang="0">
                  <a:pos x="114" y="166"/>
                </a:cxn>
                <a:cxn ang="0">
                  <a:pos x="100" y="176"/>
                </a:cxn>
                <a:cxn ang="0">
                  <a:pos x="58" y="182"/>
                </a:cxn>
                <a:cxn ang="0">
                  <a:pos x="42" y="204"/>
                </a:cxn>
                <a:cxn ang="0">
                  <a:pos x="34" y="204"/>
                </a:cxn>
                <a:cxn ang="0">
                  <a:pos x="30" y="160"/>
                </a:cxn>
                <a:cxn ang="0">
                  <a:pos x="36" y="146"/>
                </a:cxn>
                <a:cxn ang="0">
                  <a:pos x="38" y="114"/>
                </a:cxn>
                <a:cxn ang="0">
                  <a:pos x="26" y="118"/>
                </a:cxn>
                <a:cxn ang="0">
                  <a:pos x="16" y="108"/>
                </a:cxn>
                <a:cxn ang="0">
                  <a:pos x="14" y="90"/>
                </a:cxn>
                <a:cxn ang="0">
                  <a:pos x="4" y="88"/>
                </a:cxn>
                <a:cxn ang="0">
                  <a:pos x="0" y="82"/>
                </a:cxn>
                <a:cxn ang="0">
                  <a:pos x="24" y="46"/>
                </a:cxn>
                <a:cxn ang="0">
                  <a:pos x="34" y="38"/>
                </a:cxn>
                <a:cxn ang="0">
                  <a:pos x="44" y="56"/>
                </a:cxn>
                <a:cxn ang="0">
                  <a:pos x="56" y="38"/>
                </a:cxn>
                <a:cxn ang="0">
                  <a:pos x="54" y="0"/>
                </a:cxn>
                <a:cxn ang="0">
                  <a:pos x="68" y="0"/>
                </a:cxn>
                <a:cxn ang="0">
                  <a:pos x="96" y="32"/>
                </a:cxn>
              </a:cxnLst>
              <a:rect l="0" t="0" r="r" b="b"/>
              <a:pathLst>
                <a:path w="286" h="342">
                  <a:moveTo>
                    <a:pt x="96" y="32"/>
                  </a:moveTo>
                  <a:lnTo>
                    <a:pt x="98" y="52"/>
                  </a:lnTo>
                  <a:lnTo>
                    <a:pt x="120" y="64"/>
                  </a:lnTo>
                  <a:lnTo>
                    <a:pt x="140" y="54"/>
                  </a:lnTo>
                  <a:lnTo>
                    <a:pt x="174" y="92"/>
                  </a:lnTo>
                  <a:lnTo>
                    <a:pt x="162" y="100"/>
                  </a:lnTo>
                  <a:lnTo>
                    <a:pt x="146" y="98"/>
                  </a:lnTo>
                  <a:lnTo>
                    <a:pt x="146" y="118"/>
                  </a:lnTo>
                  <a:lnTo>
                    <a:pt x="188" y="156"/>
                  </a:lnTo>
                  <a:lnTo>
                    <a:pt x="188" y="168"/>
                  </a:lnTo>
                  <a:lnTo>
                    <a:pt x="216" y="202"/>
                  </a:lnTo>
                  <a:lnTo>
                    <a:pt x="218" y="216"/>
                  </a:lnTo>
                  <a:lnTo>
                    <a:pt x="238" y="242"/>
                  </a:lnTo>
                  <a:lnTo>
                    <a:pt x="248" y="238"/>
                  </a:lnTo>
                  <a:lnTo>
                    <a:pt x="270" y="260"/>
                  </a:lnTo>
                  <a:lnTo>
                    <a:pt x="262" y="274"/>
                  </a:lnTo>
                  <a:lnTo>
                    <a:pt x="286" y="296"/>
                  </a:lnTo>
                  <a:lnTo>
                    <a:pt x="282" y="306"/>
                  </a:lnTo>
                  <a:lnTo>
                    <a:pt x="274" y="314"/>
                  </a:lnTo>
                  <a:lnTo>
                    <a:pt x="260" y="316"/>
                  </a:lnTo>
                  <a:lnTo>
                    <a:pt x="252" y="310"/>
                  </a:lnTo>
                  <a:lnTo>
                    <a:pt x="244" y="310"/>
                  </a:lnTo>
                  <a:lnTo>
                    <a:pt x="232" y="322"/>
                  </a:lnTo>
                  <a:lnTo>
                    <a:pt x="218" y="326"/>
                  </a:lnTo>
                  <a:lnTo>
                    <a:pt x="214" y="342"/>
                  </a:lnTo>
                  <a:lnTo>
                    <a:pt x="190" y="332"/>
                  </a:lnTo>
                  <a:lnTo>
                    <a:pt x="180" y="316"/>
                  </a:lnTo>
                  <a:lnTo>
                    <a:pt x="196" y="306"/>
                  </a:lnTo>
                  <a:lnTo>
                    <a:pt x="198" y="290"/>
                  </a:lnTo>
                  <a:lnTo>
                    <a:pt x="204" y="272"/>
                  </a:lnTo>
                  <a:lnTo>
                    <a:pt x="188" y="256"/>
                  </a:lnTo>
                  <a:lnTo>
                    <a:pt x="160" y="232"/>
                  </a:lnTo>
                  <a:lnTo>
                    <a:pt x="156" y="192"/>
                  </a:lnTo>
                  <a:lnTo>
                    <a:pt x="138" y="172"/>
                  </a:lnTo>
                  <a:lnTo>
                    <a:pt x="114" y="166"/>
                  </a:lnTo>
                  <a:lnTo>
                    <a:pt x="100" y="176"/>
                  </a:lnTo>
                  <a:lnTo>
                    <a:pt x="58" y="182"/>
                  </a:lnTo>
                  <a:lnTo>
                    <a:pt x="42" y="204"/>
                  </a:lnTo>
                  <a:lnTo>
                    <a:pt x="34" y="204"/>
                  </a:lnTo>
                  <a:lnTo>
                    <a:pt x="30" y="160"/>
                  </a:lnTo>
                  <a:lnTo>
                    <a:pt x="36" y="146"/>
                  </a:lnTo>
                  <a:lnTo>
                    <a:pt x="38" y="114"/>
                  </a:lnTo>
                  <a:lnTo>
                    <a:pt x="26" y="118"/>
                  </a:lnTo>
                  <a:lnTo>
                    <a:pt x="16" y="108"/>
                  </a:lnTo>
                  <a:lnTo>
                    <a:pt x="14" y="90"/>
                  </a:lnTo>
                  <a:lnTo>
                    <a:pt x="4" y="88"/>
                  </a:lnTo>
                  <a:lnTo>
                    <a:pt x="0" y="82"/>
                  </a:lnTo>
                  <a:lnTo>
                    <a:pt x="24" y="46"/>
                  </a:lnTo>
                  <a:lnTo>
                    <a:pt x="34" y="38"/>
                  </a:lnTo>
                  <a:lnTo>
                    <a:pt x="44" y="56"/>
                  </a:lnTo>
                  <a:lnTo>
                    <a:pt x="56" y="38"/>
                  </a:lnTo>
                  <a:lnTo>
                    <a:pt x="54" y="0"/>
                  </a:lnTo>
                  <a:lnTo>
                    <a:pt x="68" y="0"/>
                  </a:lnTo>
                  <a:lnTo>
                    <a:pt x="96" y="32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29" name="Latvia">
              <a:extLst>
                <a:ext uri="{FF2B5EF4-FFF2-40B4-BE49-F238E27FC236}">
                  <a16:creationId xmlns="" xmlns:a16="http://schemas.microsoft.com/office/drawing/2014/main" id="{338C1673-94D0-4A26-8EF5-FC2EDF2DFA7A}"/>
                </a:ext>
              </a:extLst>
            </p:cNvPr>
            <p:cNvSpPr>
              <a:spLocks/>
            </p:cNvSpPr>
            <p:nvPr/>
          </p:nvSpPr>
          <p:spPr bwMode="gray">
            <a:xfrm>
              <a:off x="6445238" y="2287375"/>
              <a:ext cx="232325" cy="139627"/>
            </a:xfrm>
            <a:custGeom>
              <a:avLst/>
              <a:gdLst/>
              <a:ahLst/>
              <a:cxnLst>
                <a:cxn ang="0">
                  <a:pos x="132" y="6"/>
                </a:cxn>
                <a:cxn ang="0">
                  <a:pos x="154" y="8"/>
                </a:cxn>
                <a:cxn ang="0">
                  <a:pos x="168" y="0"/>
                </a:cxn>
                <a:cxn ang="0">
                  <a:pos x="180" y="2"/>
                </a:cxn>
                <a:cxn ang="0">
                  <a:pos x="186" y="12"/>
                </a:cxn>
                <a:cxn ang="0">
                  <a:pos x="212" y="34"/>
                </a:cxn>
                <a:cxn ang="0">
                  <a:pos x="216" y="44"/>
                </a:cxn>
                <a:cxn ang="0">
                  <a:pos x="236" y="46"/>
                </a:cxn>
                <a:cxn ang="0">
                  <a:pos x="252" y="54"/>
                </a:cxn>
                <a:cxn ang="0">
                  <a:pos x="268" y="38"/>
                </a:cxn>
                <a:cxn ang="0">
                  <a:pos x="274" y="64"/>
                </a:cxn>
                <a:cxn ang="0">
                  <a:pos x="272" y="88"/>
                </a:cxn>
                <a:cxn ang="0">
                  <a:pos x="288" y="94"/>
                </a:cxn>
                <a:cxn ang="0">
                  <a:pos x="280" y="116"/>
                </a:cxn>
                <a:cxn ang="0">
                  <a:pos x="266" y="150"/>
                </a:cxn>
                <a:cxn ang="0">
                  <a:pos x="264" y="166"/>
                </a:cxn>
                <a:cxn ang="0">
                  <a:pos x="254" y="172"/>
                </a:cxn>
                <a:cxn ang="0">
                  <a:pos x="242" y="162"/>
                </a:cxn>
                <a:cxn ang="0">
                  <a:pos x="220" y="170"/>
                </a:cxn>
                <a:cxn ang="0">
                  <a:pos x="208" y="152"/>
                </a:cxn>
                <a:cxn ang="0">
                  <a:pos x="204" y="136"/>
                </a:cxn>
                <a:cxn ang="0">
                  <a:pos x="184" y="118"/>
                </a:cxn>
                <a:cxn ang="0">
                  <a:pos x="170" y="118"/>
                </a:cxn>
                <a:cxn ang="0">
                  <a:pos x="154" y="106"/>
                </a:cxn>
                <a:cxn ang="0">
                  <a:pos x="96" y="116"/>
                </a:cxn>
                <a:cxn ang="0">
                  <a:pos x="72" y="106"/>
                </a:cxn>
                <a:cxn ang="0">
                  <a:pos x="56" y="110"/>
                </a:cxn>
                <a:cxn ang="0">
                  <a:pos x="38" y="102"/>
                </a:cxn>
                <a:cxn ang="0">
                  <a:pos x="0" y="118"/>
                </a:cxn>
                <a:cxn ang="0">
                  <a:pos x="0" y="90"/>
                </a:cxn>
                <a:cxn ang="0">
                  <a:pos x="14" y="66"/>
                </a:cxn>
                <a:cxn ang="0">
                  <a:pos x="18" y="38"/>
                </a:cxn>
                <a:cxn ang="0">
                  <a:pos x="40" y="18"/>
                </a:cxn>
                <a:cxn ang="0">
                  <a:pos x="62" y="16"/>
                </a:cxn>
                <a:cxn ang="0">
                  <a:pos x="60" y="30"/>
                </a:cxn>
                <a:cxn ang="0">
                  <a:pos x="78" y="50"/>
                </a:cxn>
                <a:cxn ang="0">
                  <a:pos x="80" y="64"/>
                </a:cxn>
                <a:cxn ang="0">
                  <a:pos x="112" y="74"/>
                </a:cxn>
                <a:cxn ang="0">
                  <a:pos x="128" y="62"/>
                </a:cxn>
                <a:cxn ang="0">
                  <a:pos x="130" y="36"/>
                </a:cxn>
                <a:cxn ang="0">
                  <a:pos x="132" y="6"/>
                </a:cxn>
              </a:cxnLst>
              <a:rect l="0" t="0" r="r" b="b"/>
              <a:pathLst>
                <a:path w="288" h="172">
                  <a:moveTo>
                    <a:pt x="132" y="6"/>
                  </a:moveTo>
                  <a:lnTo>
                    <a:pt x="154" y="8"/>
                  </a:lnTo>
                  <a:lnTo>
                    <a:pt x="168" y="0"/>
                  </a:lnTo>
                  <a:lnTo>
                    <a:pt x="180" y="2"/>
                  </a:lnTo>
                  <a:lnTo>
                    <a:pt x="186" y="12"/>
                  </a:lnTo>
                  <a:lnTo>
                    <a:pt x="212" y="34"/>
                  </a:lnTo>
                  <a:lnTo>
                    <a:pt x="216" y="44"/>
                  </a:lnTo>
                  <a:lnTo>
                    <a:pt x="236" y="46"/>
                  </a:lnTo>
                  <a:lnTo>
                    <a:pt x="252" y="54"/>
                  </a:lnTo>
                  <a:lnTo>
                    <a:pt x="268" y="38"/>
                  </a:lnTo>
                  <a:lnTo>
                    <a:pt x="274" y="64"/>
                  </a:lnTo>
                  <a:lnTo>
                    <a:pt x="272" y="88"/>
                  </a:lnTo>
                  <a:lnTo>
                    <a:pt x="288" y="94"/>
                  </a:lnTo>
                  <a:lnTo>
                    <a:pt x="280" y="116"/>
                  </a:lnTo>
                  <a:lnTo>
                    <a:pt x="266" y="150"/>
                  </a:lnTo>
                  <a:lnTo>
                    <a:pt x="264" y="166"/>
                  </a:lnTo>
                  <a:lnTo>
                    <a:pt x="254" y="172"/>
                  </a:lnTo>
                  <a:lnTo>
                    <a:pt x="242" y="162"/>
                  </a:lnTo>
                  <a:lnTo>
                    <a:pt x="220" y="170"/>
                  </a:lnTo>
                  <a:lnTo>
                    <a:pt x="208" y="152"/>
                  </a:lnTo>
                  <a:lnTo>
                    <a:pt x="204" y="136"/>
                  </a:lnTo>
                  <a:lnTo>
                    <a:pt x="184" y="118"/>
                  </a:lnTo>
                  <a:lnTo>
                    <a:pt x="170" y="118"/>
                  </a:lnTo>
                  <a:lnTo>
                    <a:pt x="154" y="106"/>
                  </a:lnTo>
                  <a:lnTo>
                    <a:pt x="96" y="116"/>
                  </a:lnTo>
                  <a:lnTo>
                    <a:pt x="72" y="106"/>
                  </a:lnTo>
                  <a:lnTo>
                    <a:pt x="56" y="110"/>
                  </a:lnTo>
                  <a:lnTo>
                    <a:pt x="38" y="102"/>
                  </a:lnTo>
                  <a:lnTo>
                    <a:pt x="0" y="118"/>
                  </a:lnTo>
                  <a:lnTo>
                    <a:pt x="0" y="90"/>
                  </a:lnTo>
                  <a:lnTo>
                    <a:pt x="14" y="66"/>
                  </a:lnTo>
                  <a:lnTo>
                    <a:pt x="18" y="38"/>
                  </a:lnTo>
                  <a:lnTo>
                    <a:pt x="40" y="18"/>
                  </a:lnTo>
                  <a:lnTo>
                    <a:pt x="62" y="16"/>
                  </a:lnTo>
                  <a:lnTo>
                    <a:pt x="60" y="30"/>
                  </a:lnTo>
                  <a:lnTo>
                    <a:pt x="78" y="50"/>
                  </a:lnTo>
                  <a:lnTo>
                    <a:pt x="80" y="64"/>
                  </a:lnTo>
                  <a:lnTo>
                    <a:pt x="112" y="74"/>
                  </a:lnTo>
                  <a:lnTo>
                    <a:pt x="128" y="62"/>
                  </a:lnTo>
                  <a:lnTo>
                    <a:pt x="130" y="36"/>
                  </a:lnTo>
                  <a:lnTo>
                    <a:pt x="132" y="6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30" name="Lebanon">
              <a:extLst>
                <a:ext uri="{FF2B5EF4-FFF2-40B4-BE49-F238E27FC236}">
                  <a16:creationId xmlns="" xmlns:a16="http://schemas.microsoft.com/office/drawing/2014/main" id="{2BF42ABE-C0DC-47C6-8DF4-B8ADDA34679F}"/>
                </a:ext>
              </a:extLst>
            </p:cNvPr>
            <p:cNvSpPr>
              <a:spLocks/>
            </p:cNvSpPr>
            <p:nvPr/>
          </p:nvSpPr>
          <p:spPr bwMode="gray">
            <a:xfrm>
              <a:off x="6888411" y="3386682"/>
              <a:ext cx="37094" cy="57029"/>
            </a:xfrm>
            <a:custGeom>
              <a:avLst/>
              <a:gdLst/>
              <a:ahLst/>
              <a:cxnLst>
                <a:cxn ang="0">
                  <a:pos x="26" y="60"/>
                </a:cxn>
                <a:cxn ang="0">
                  <a:pos x="22" y="60"/>
                </a:cxn>
                <a:cxn ang="0">
                  <a:pos x="20" y="64"/>
                </a:cxn>
                <a:cxn ang="0">
                  <a:pos x="16" y="64"/>
                </a:cxn>
                <a:cxn ang="0">
                  <a:pos x="14" y="70"/>
                </a:cxn>
                <a:cxn ang="0">
                  <a:pos x="8" y="72"/>
                </a:cxn>
                <a:cxn ang="0">
                  <a:pos x="6" y="70"/>
                </a:cxn>
                <a:cxn ang="0">
                  <a:pos x="0" y="72"/>
                </a:cxn>
                <a:cxn ang="0">
                  <a:pos x="18" y="32"/>
                </a:cxn>
                <a:cxn ang="0">
                  <a:pos x="22" y="0"/>
                </a:cxn>
                <a:cxn ang="0">
                  <a:pos x="28" y="0"/>
                </a:cxn>
                <a:cxn ang="0">
                  <a:pos x="34" y="6"/>
                </a:cxn>
                <a:cxn ang="0">
                  <a:pos x="42" y="14"/>
                </a:cxn>
                <a:cxn ang="0">
                  <a:pos x="44" y="32"/>
                </a:cxn>
                <a:cxn ang="0">
                  <a:pos x="40" y="44"/>
                </a:cxn>
                <a:cxn ang="0">
                  <a:pos x="32" y="54"/>
                </a:cxn>
                <a:cxn ang="0">
                  <a:pos x="28" y="60"/>
                </a:cxn>
                <a:cxn ang="0">
                  <a:pos x="26" y="60"/>
                </a:cxn>
              </a:cxnLst>
              <a:rect l="0" t="0" r="r" b="b"/>
              <a:pathLst>
                <a:path w="44" h="72">
                  <a:moveTo>
                    <a:pt x="26" y="60"/>
                  </a:moveTo>
                  <a:lnTo>
                    <a:pt x="22" y="60"/>
                  </a:lnTo>
                  <a:lnTo>
                    <a:pt x="20" y="64"/>
                  </a:lnTo>
                  <a:lnTo>
                    <a:pt x="16" y="64"/>
                  </a:lnTo>
                  <a:lnTo>
                    <a:pt x="14" y="70"/>
                  </a:lnTo>
                  <a:lnTo>
                    <a:pt x="8" y="72"/>
                  </a:lnTo>
                  <a:lnTo>
                    <a:pt x="6" y="70"/>
                  </a:lnTo>
                  <a:lnTo>
                    <a:pt x="0" y="72"/>
                  </a:lnTo>
                  <a:lnTo>
                    <a:pt x="18" y="32"/>
                  </a:lnTo>
                  <a:lnTo>
                    <a:pt x="22" y="0"/>
                  </a:lnTo>
                  <a:lnTo>
                    <a:pt x="28" y="0"/>
                  </a:lnTo>
                  <a:lnTo>
                    <a:pt x="34" y="6"/>
                  </a:lnTo>
                  <a:lnTo>
                    <a:pt x="42" y="14"/>
                  </a:lnTo>
                  <a:lnTo>
                    <a:pt x="44" y="32"/>
                  </a:lnTo>
                  <a:lnTo>
                    <a:pt x="40" y="44"/>
                  </a:lnTo>
                  <a:lnTo>
                    <a:pt x="32" y="54"/>
                  </a:lnTo>
                  <a:lnTo>
                    <a:pt x="28" y="60"/>
                  </a:lnTo>
                  <a:lnTo>
                    <a:pt x="26" y="60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31" name="Lesotho">
              <a:extLst>
                <a:ext uri="{FF2B5EF4-FFF2-40B4-BE49-F238E27FC236}">
                  <a16:creationId xmlns="" xmlns:a16="http://schemas.microsoft.com/office/drawing/2014/main" id="{F1D54DDA-41FD-4CAB-9FFE-F4170FEA87B8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644372" y="5520397"/>
              <a:ext cx="74187" cy="74730"/>
            </a:xfrm>
            <a:custGeom>
              <a:avLst/>
              <a:gdLst/>
              <a:ahLst/>
              <a:cxnLst>
                <a:cxn ang="0">
                  <a:pos x="0" y="49"/>
                </a:cxn>
                <a:cxn ang="0">
                  <a:pos x="5" y="66"/>
                </a:cxn>
                <a:cxn ang="0">
                  <a:pos x="14" y="73"/>
                </a:cxn>
                <a:cxn ang="0">
                  <a:pos x="26" y="94"/>
                </a:cxn>
                <a:cxn ang="0">
                  <a:pos x="43" y="106"/>
                </a:cxn>
                <a:cxn ang="0">
                  <a:pos x="47" y="92"/>
                </a:cxn>
                <a:cxn ang="0">
                  <a:pos x="50" y="78"/>
                </a:cxn>
                <a:cxn ang="0">
                  <a:pos x="66" y="78"/>
                </a:cxn>
                <a:cxn ang="0">
                  <a:pos x="83" y="78"/>
                </a:cxn>
                <a:cxn ang="0">
                  <a:pos x="95" y="66"/>
                </a:cxn>
                <a:cxn ang="0">
                  <a:pos x="104" y="47"/>
                </a:cxn>
                <a:cxn ang="0">
                  <a:pos x="109" y="28"/>
                </a:cxn>
                <a:cxn ang="0">
                  <a:pos x="99" y="19"/>
                </a:cxn>
                <a:cxn ang="0">
                  <a:pos x="88" y="19"/>
                </a:cxn>
                <a:cxn ang="0">
                  <a:pos x="78" y="11"/>
                </a:cxn>
                <a:cxn ang="0">
                  <a:pos x="64" y="0"/>
                </a:cxn>
                <a:cxn ang="0">
                  <a:pos x="50" y="2"/>
                </a:cxn>
                <a:cxn ang="0">
                  <a:pos x="26" y="21"/>
                </a:cxn>
                <a:cxn ang="0">
                  <a:pos x="3" y="40"/>
                </a:cxn>
                <a:cxn ang="0">
                  <a:pos x="0" y="49"/>
                </a:cxn>
              </a:cxnLst>
              <a:rect l="0" t="0" r="r" b="b"/>
              <a:pathLst>
                <a:path w="109" h="106">
                  <a:moveTo>
                    <a:pt x="0" y="49"/>
                  </a:moveTo>
                  <a:lnTo>
                    <a:pt x="5" y="66"/>
                  </a:lnTo>
                  <a:lnTo>
                    <a:pt x="14" y="73"/>
                  </a:lnTo>
                  <a:lnTo>
                    <a:pt x="26" y="94"/>
                  </a:lnTo>
                  <a:lnTo>
                    <a:pt x="43" y="106"/>
                  </a:lnTo>
                  <a:lnTo>
                    <a:pt x="47" y="92"/>
                  </a:lnTo>
                  <a:lnTo>
                    <a:pt x="50" y="78"/>
                  </a:lnTo>
                  <a:lnTo>
                    <a:pt x="66" y="78"/>
                  </a:lnTo>
                  <a:lnTo>
                    <a:pt x="83" y="78"/>
                  </a:lnTo>
                  <a:lnTo>
                    <a:pt x="95" y="66"/>
                  </a:lnTo>
                  <a:lnTo>
                    <a:pt x="104" y="47"/>
                  </a:lnTo>
                  <a:lnTo>
                    <a:pt x="109" y="28"/>
                  </a:lnTo>
                  <a:lnTo>
                    <a:pt x="99" y="19"/>
                  </a:lnTo>
                  <a:lnTo>
                    <a:pt x="88" y="19"/>
                  </a:lnTo>
                  <a:lnTo>
                    <a:pt x="78" y="11"/>
                  </a:lnTo>
                  <a:lnTo>
                    <a:pt x="64" y="0"/>
                  </a:lnTo>
                  <a:lnTo>
                    <a:pt x="50" y="2"/>
                  </a:lnTo>
                  <a:lnTo>
                    <a:pt x="26" y="21"/>
                  </a:lnTo>
                  <a:lnTo>
                    <a:pt x="3" y="40"/>
                  </a:lnTo>
                  <a:lnTo>
                    <a:pt x="0" y="49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 cmpd="sng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32" name="Liberia">
              <a:extLst>
                <a:ext uri="{FF2B5EF4-FFF2-40B4-BE49-F238E27FC236}">
                  <a16:creationId xmlns="" xmlns:a16="http://schemas.microsoft.com/office/drawing/2014/main" id="{35838E79-509C-4F92-82D4-36B89941B4C6}"/>
                </a:ext>
              </a:extLst>
            </p:cNvPr>
            <p:cNvSpPr>
              <a:spLocks/>
            </p:cNvSpPr>
            <p:nvPr/>
          </p:nvSpPr>
          <p:spPr bwMode="gray">
            <a:xfrm>
              <a:off x="5441753" y="4289332"/>
              <a:ext cx="130805" cy="131760"/>
            </a:xfrm>
            <a:custGeom>
              <a:avLst/>
              <a:gdLst/>
              <a:ahLst/>
              <a:cxnLst>
                <a:cxn ang="0">
                  <a:pos x="28" y="70"/>
                </a:cxn>
                <a:cxn ang="0">
                  <a:pos x="0" y="64"/>
                </a:cxn>
                <a:cxn ang="0">
                  <a:pos x="20" y="48"/>
                </a:cxn>
                <a:cxn ang="0">
                  <a:pos x="32" y="46"/>
                </a:cxn>
                <a:cxn ang="0">
                  <a:pos x="66" y="18"/>
                </a:cxn>
                <a:cxn ang="0">
                  <a:pos x="60" y="4"/>
                </a:cxn>
                <a:cxn ang="0">
                  <a:pos x="84" y="0"/>
                </a:cxn>
                <a:cxn ang="0">
                  <a:pos x="86" y="26"/>
                </a:cxn>
                <a:cxn ang="0">
                  <a:pos x="102" y="28"/>
                </a:cxn>
                <a:cxn ang="0">
                  <a:pos x="124" y="20"/>
                </a:cxn>
                <a:cxn ang="0">
                  <a:pos x="122" y="34"/>
                </a:cxn>
                <a:cxn ang="0">
                  <a:pos x="128" y="42"/>
                </a:cxn>
                <a:cxn ang="0">
                  <a:pos x="124" y="66"/>
                </a:cxn>
                <a:cxn ang="0">
                  <a:pos x="160" y="104"/>
                </a:cxn>
                <a:cxn ang="0">
                  <a:pos x="154" y="162"/>
                </a:cxn>
                <a:cxn ang="0">
                  <a:pos x="134" y="162"/>
                </a:cxn>
                <a:cxn ang="0">
                  <a:pos x="116" y="140"/>
                </a:cxn>
                <a:cxn ang="0">
                  <a:pos x="102" y="128"/>
                </a:cxn>
                <a:cxn ang="0">
                  <a:pos x="92" y="126"/>
                </a:cxn>
                <a:cxn ang="0">
                  <a:pos x="48" y="80"/>
                </a:cxn>
                <a:cxn ang="0">
                  <a:pos x="28" y="70"/>
                </a:cxn>
              </a:cxnLst>
              <a:rect l="0" t="0" r="r" b="b"/>
              <a:pathLst>
                <a:path w="160" h="162">
                  <a:moveTo>
                    <a:pt x="28" y="70"/>
                  </a:moveTo>
                  <a:lnTo>
                    <a:pt x="0" y="64"/>
                  </a:lnTo>
                  <a:lnTo>
                    <a:pt x="20" y="48"/>
                  </a:lnTo>
                  <a:lnTo>
                    <a:pt x="32" y="46"/>
                  </a:lnTo>
                  <a:lnTo>
                    <a:pt x="66" y="18"/>
                  </a:lnTo>
                  <a:lnTo>
                    <a:pt x="60" y="4"/>
                  </a:lnTo>
                  <a:lnTo>
                    <a:pt x="84" y="0"/>
                  </a:lnTo>
                  <a:lnTo>
                    <a:pt x="86" y="26"/>
                  </a:lnTo>
                  <a:lnTo>
                    <a:pt x="102" y="28"/>
                  </a:lnTo>
                  <a:lnTo>
                    <a:pt x="124" y="20"/>
                  </a:lnTo>
                  <a:lnTo>
                    <a:pt x="122" y="34"/>
                  </a:lnTo>
                  <a:lnTo>
                    <a:pt x="128" y="42"/>
                  </a:lnTo>
                  <a:lnTo>
                    <a:pt x="124" y="66"/>
                  </a:lnTo>
                  <a:lnTo>
                    <a:pt x="160" y="104"/>
                  </a:lnTo>
                  <a:lnTo>
                    <a:pt x="154" y="162"/>
                  </a:lnTo>
                  <a:lnTo>
                    <a:pt x="134" y="162"/>
                  </a:lnTo>
                  <a:lnTo>
                    <a:pt x="116" y="140"/>
                  </a:lnTo>
                  <a:lnTo>
                    <a:pt x="102" y="128"/>
                  </a:lnTo>
                  <a:lnTo>
                    <a:pt x="92" y="126"/>
                  </a:lnTo>
                  <a:lnTo>
                    <a:pt x="48" y="80"/>
                  </a:lnTo>
                  <a:lnTo>
                    <a:pt x="28" y="70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33" name="Libya">
              <a:extLst>
                <a:ext uri="{FF2B5EF4-FFF2-40B4-BE49-F238E27FC236}">
                  <a16:creationId xmlns="" xmlns:a16="http://schemas.microsoft.com/office/drawing/2014/main" id="{80653AA1-5BEC-4AD4-BAE9-72D148B44C94}"/>
                </a:ext>
              </a:extLst>
            </p:cNvPr>
            <p:cNvSpPr>
              <a:spLocks/>
            </p:cNvSpPr>
            <p:nvPr/>
          </p:nvSpPr>
          <p:spPr bwMode="gray">
            <a:xfrm>
              <a:off x="6101633" y="3435845"/>
              <a:ext cx="482220" cy="499507"/>
            </a:xfrm>
            <a:custGeom>
              <a:avLst/>
              <a:gdLst/>
              <a:ahLst/>
              <a:cxnLst>
                <a:cxn ang="0">
                  <a:pos x="112" y="16"/>
                </a:cxn>
                <a:cxn ang="0">
                  <a:pos x="80" y="0"/>
                </a:cxn>
                <a:cxn ang="0">
                  <a:pos x="84" y="40"/>
                </a:cxn>
                <a:cxn ang="0">
                  <a:pos x="76" y="48"/>
                </a:cxn>
                <a:cxn ang="0">
                  <a:pos x="60" y="54"/>
                </a:cxn>
                <a:cxn ang="0">
                  <a:pos x="50" y="64"/>
                </a:cxn>
                <a:cxn ang="0">
                  <a:pos x="38" y="66"/>
                </a:cxn>
                <a:cxn ang="0">
                  <a:pos x="26" y="78"/>
                </a:cxn>
                <a:cxn ang="0">
                  <a:pos x="26" y="96"/>
                </a:cxn>
                <a:cxn ang="0">
                  <a:pos x="32" y="124"/>
                </a:cxn>
                <a:cxn ang="0">
                  <a:pos x="8" y="158"/>
                </a:cxn>
                <a:cxn ang="0">
                  <a:pos x="16" y="251"/>
                </a:cxn>
                <a:cxn ang="0">
                  <a:pos x="10" y="279"/>
                </a:cxn>
                <a:cxn ang="0">
                  <a:pos x="18" y="299"/>
                </a:cxn>
                <a:cxn ang="0">
                  <a:pos x="0" y="321"/>
                </a:cxn>
                <a:cxn ang="0">
                  <a:pos x="22" y="359"/>
                </a:cxn>
                <a:cxn ang="0">
                  <a:pos x="16" y="367"/>
                </a:cxn>
                <a:cxn ang="0">
                  <a:pos x="32" y="381"/>
                </a:cxn>
                <a:cxn ang="0">
                  <a:pos x="52" y="381"/>
                </a:cxn>
                <a:cxn ang="0">
                  <a:pos x="76" y="399"/>
                </a:cxn>
                <a:cxn ang="0">
                  <a:pos x="104" y="439"/>
                </a:cxn>
                <a:cxn ang="0">
                  <a:pos x="154" y="449"/>
                </a:cxn>
                <a:cxn ang="0">
                  <a:pos x="174" y="465"/>
                </a:cxn>
                <a:cxn ang="0">
                  <a:pos x="206" y="455"/>
                </a:cxn>
                <a:cxn ang="0">
                  <a:pos x="250" y="441"/>
                </a:cxn>
                <a:cxn ang="0">
                  <a:pos x="539" y="611"/>
                </a:cxn>
                <a:cxn ang="0">
                  <a:pos x="541" y="587"/>
                </a:cxn>
                <a:cxn ang="0">
                  <a:pos x="547" y="577"/>
                </a:cxn>
                <a:cxn ang="0">
                  <a:pos x="589" y="577"/>
                </a:cxn>
                <a:cxn ang="0">
                  <a:pos x="589" y="507"/>
                </a:cxn>
                <a:cxn ang="0">
                  <a:pos x="585" y="176"/>
                </a:cxn>
                <a:cxn ang="0">
                  <a:pos x="575" y="160"/>
                </a:cxn>
                <a:cxn ang="0">
                  <a:pos x="585" y="132"/>
                </a:cxn>
                <a:cxn ang="0">
                  <a:pos x="575" y="108"/>
                </a:cxn>
                <a:cxn ang="0">
                  <a:pos x="579" y="98"/>
                </a:cxn>
                <a:cxn ang="0">
                  <a:pos x="593" y="78"/>
                </a:cxn>
                <a:cxn ang="0">
                  <a:pos x="579" y="64"/>
                </a:cxn>
                <a:cxn ang="0">
                  <a:pos x="549" y="62"/>
                </a:cxn>
                <a:cxn ang="0">
                  <a:pos x="525" y="48"/>
                </a:cxn>
                <a:cxn ang="0">
                  <a:pos x="497" y="46"/>
                </a:cxn>
                <a:cxn ang="0">
                  <a:pos x="495" y="32"/>
                </a:cxn>
                <a:cxn ang="0">
                  <a:pos x="457" y="16"/>
                </a:cxn>
                <a:cxn ang="0">
                  <a:pos x="435" y="16"/>
                </a:cxn>
                <a:cxn ang="0">
                  <a:pos x="407" y="38"/>
                </a:cxn>
                <a:cxn ang="0">
                  <a:pos x="394" y="68"/>
                </a:cxn>
                <a:cxn ang="0">
                  <a:pos x="400" y="102"/>
                </a:cxn>
                <a:cxn ang="0">
                  <a:pos x="374" y="130"/>
                </a:cxn>
                <a:cxn ang="0">
                  <a:pos x="344" y="132"/>
                </a:cxn>
                <a:cxn ang="0">
                  <a:pos x="310" y="108"/>
                </a:cxn>
                <a:cxn ang="0">
                  <a:pos x="284" y="104"/>
                </a:cxn>
                <a:cxn ang="0">
                  <a:pos x="258" y="94"/>
                </a:cxn>
                <a:cxn ang="0">
                  <a:pos x="224" y="90"/>
                </a:cxn>
                <a:cxn ang="0">
                  <a:pos x="208" y="74"/>
                </a:cxn>
                <a:cxn ang="0">
                  <a:pos x="204" y="42"/>
                </a:cxn>
                <a:cxn ang="0">
                  <a:pos x="164" y="24"/>
                </a:cxn>
                <a:cxn ang="0">
                  <a:pos x="138" y="14"/>
                </a:cxn>
                <a:cxn ang="0">
                  <a:pos x="112" y="16"/>
                </a:cxn>
              </a:cxnLst>
              <a:rect l="0" t="0" r="r" b="b"/>
              <a:pathLst>
                <a:path w="593" h="611">
                  <a:moveTo>
                    <a:pt x="112" y="16"/>
                  </a:moveTo>
                  <a:lnTo>
                    <a:pt x="80" y="0"/>
                  </a:lnTo>
                  <a:lnTo>
                    <a:pt x="84" y="40"/>
                  </a:lnTo>
                  <a:lnTo>
                    <a:pt x="76" y="48"/>
                  </a:lnTo>
                  <a:lnTo>
                    <a:pt x="60" y="54"/>
                  </a:lnTo>
                  <a:lnTo>
                    <a:pt x="50" y="64"/>
                  </a:lnTo>
                  <a:lnTo>
                    <a:pt x="38" y="66"/>
                  </a:lnTo>
                  <a:lnTo>
                    <a:pt x="26" y="78"/>
                  </a:lnTo>
                  <a:lnTo>
                    <a:pt x="26" y="96"/>
                  </a:lnTo>
                  <a:lnTo>
                    <a:pt x="32" y="124"/>
                  </a:lnTo>
                  <a:lnTo>
                    <a:pt x="8" y="158"/>
                  </a:lnTo>
                  <a:lnTo>
                    <a:pt x="16" y="251"/>
                  </a:lnTo>
                  <a:lnTo>
                    <a:pt x="10" y="279"/>
                  </a:lnTo>
                  <a:lnTo>
                    <a:pt x="18" y="299"/>
                  </a:lnTo>
                  <a:lnTo>
                    <a:pt x="0" y="321"/>
                  </a:lnTo>
                  <a:lnTo>
                    <a:pt x="22" y="359"/>
                  </a:lnTo>
                  <a:lnTo>
                    <a:pt x="16" y="367"/>
                  </a:lnTo>
                  <a:lnTo>
                    <a:pt x="32" y="381"/>
                  </a:lnTo>
                  <a:lnTo>
                    <a:pt x="52" y="381"/>
                  </a:lnTo>
                  <a:lnTo>
                    <a:pt x="76" y="399"/>
                  </a:lnTo>
                  <a:lnTo>
                    <a:pt x="104" y="439"/>
                  </a:lnTo>
                  <a:lnTo>
                    <a:pt x="154" y="449"/>
                  </a:lnTo>
                  <a:lnTo>
                    <a:pt x="174" y="465"/>
                  </a:lnTo>
                  <a:lnTo>
                    <a:pt x="206" y="455"/>
                  </a:lnTo>
                  <a:lnTo>
                    <a:pt x="250" y="441"/>
                  </a:lnTo>
                  <a:lnTo>
                    <a:pt x="539" y="611"/>
                  </a:lnTo>
                  <a:lnTo>
                    <a:pt x="541" y="587"/>
                  </a:lnTo>
                  <a:lnTo>
                    <a:pt x="547" y="577"/>
                  </a:lnTo>
                  <a:lnTo>
                    <a:pt x="589" y="577"/>
                  </a:lnTo>
                  <a:lnTo>
                    <a:pt x="589" y="507"/>
                  </a:lnTo>
                  <a:lnTo>
                    <a:pt x="585" y="176"/>
                  </a:lnTo>
                  <a:lnTo>
                    <a:pt x="575" y="160"/>
                  </a:lnTo>
                  <a:lnTo>
                    <a:pt x="585" y="132"/>
                  </a:lnTo>
                  <a:lnTo>
                    <a:pt x="575" y="108"/>
                  </a:lnTo>
                  <a:lnTo>
                    <a:pt x="579" y="98"/>
                  </a:lnTo>
                  <a:lnTo>
                    <a:pt x="593" y="78"/>
                  </a:lnTo>
                  <a:lnTo>
                    <a:pt x="579" y="64"/>
                  </a:lnTo>
                  <a:lnTo>
                    <a:pt x="549" y="62"/>
                  </a:lnTo>
                  <a:lnTo>
                    <a:pt x="525" y="48"/>
                  </a:lnTo>
                  <a:lnTo>
                    <a:pt x="497" y="46"/>
                  </a:lnTo>
                  <a:lnTo>
                    <a:pt x="495" y="32"/>
                  </a:lnTo>
                  <a:lnTo>
                    <a:pt x="457" y="16"/>
                  </a:lnTo>
                  <a:lnTo>
                    <a:pt x="435" y="16"/>
                  </a:lnTo>
                  <a:lnTo>
                    <a:pt x="407" y="38"/>
                  </a:lnTo>
                  <a:lnTo>
                    <a:pt x="394" y="68"/>
                  </a:lnTo>
                  <a:lnTo>
                    <a:pt x="400" y="102"/>
                  </a:lnTo>
                  <a:lnTo>
                    <a:pt x="374" y="130"/>
                  </a:lnTo>
                  <a:lnTo>
                    <a:pt x="344" y="132"/>
                  </a:lnTo>
                  <a:lnTo>
                    <a:pt x="310" y="108"/>
                  </a:lnTo>
                  <a:lnTo>
                    <a:pt x="284" y="104"/>
                  </a:lnTo>
                  <a:lnTo>
                    <a:pt x="258" y="94"/>
                  </a:lnTo>
                  <a:lnTo>
                    <a:pt x="224" y="90"/>
                  </a:lnTo>
                  <a:lnTo>
                    <a:pt x="208" y="74"/>
                  </a:lnTo>
                  <a:lnTo>
                    <a:pt x="204" y="42"/>
                  </a:lnTo>
                  <a:lnTo>
                    <a:pt x="164" y="24"/>
                  </a:lnTo>
                  <a:lnTo>
                    <a:pt x="138" y="14"/>
                  </a:lnTo>
                  <a:lnTo>
                    <a:pt x="112" y="16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34" name="Liechtenstein">
              <a:extLst>
                <a:ext uri="{FF2B5EF4-FFF2-40B4-BE49-F238E27FC236}">
                  <a16:creationId xmlns="" xmlns:a16="http://schemas.microsoft.com/office/drawing/2014/main" id="{BC93B34B-69C6-4945-ADF1-ED9F6B0246D2}"/>
                </a:ext>
              </a:extLst>
            </p:cNvPr>
            <p:cNvSpPr>
              <a:spLocks/>
            </p:cNvSpPr>
            <p:nvPr/>
          </p:nvSpPr>
          <p:spPr bwMode="gray">
            <a:xfrm>
              <a:off x="6084063" y="2841944"/>
              <a:ext cx="13667" cy="15732"/>
            </a:xfrm>
            <a:custGeom>
              <a:avLst/>
              <a:gdLst/>
              <a:ahLst/>
              <a:cxnLst>
                <a:cxn ang="0">
                  <a:pos x="82" y="50"/>
                </a:cxn>
                <a:cxn ang="0">
                  <a:pos x="83" y="46"/>
                </a:cxn>
                <a:cxn ang="0">
                  <a:pos x="83" y="46"/>
                </a:cxn>
                <a:cxn ang="0">
                  <a:pos x="83" y="41"/>
                </a:cxn>
                <a:cxn ang="0">
                  <a:pos x="83" y="37"/>
                </a:cxn>
                <a:cxn ang="0">
                  <a:pos x="83" y="36"/>
                </a:cxn>
                <a:cxn ang="0">
                  <a:pos x="82" y="33"/>
                </a:cxn>
                <a:cxn ang="0">
                  <a:pos x="82" y="32"/>
                </a:cxn>
                <a:cxn ang="0">
                  <a:pos x="81" y="29"/>
                </a:cxn>
                <a:cxn ang="0">
                  <a:pos x="81" y="29"/>
                </a:cxn>
                <a:cxn ang="0">
                  <a:pos x="41" y="0"/>
                </a:cxn>
                <a:cxn ang="0">
                  <a:pos x="0" y="39"/>
                </a:cxn>
                <a:cxn ang="0">
                  <a:pos x="0" y="41"/>
                </a:cxn>
                <a:cxn ang="0">
                  <a:pos x="41" y="83"/>
                </a:cxn>
                <a:cxn ang="0">
                  <a:pos x="82" y="50"/>
                </a:cxn>
                <a:cxn ang="0">
                  <a:pos x="82" y="50"/>
                </a:cxn>
              </a:cxnLst>
              <a:rect l="0" t="0" r="r" b="b"/>
              <a:pathLst>
                <a:path w="83" h="83">
                  <a:moveTo>
                    <a:pt x="82" y="50"/>
                  </a:moveTo>
                  <a:cubicBezTo>
                    <a:pt x="82" y="49"/>
                    <a:pt x="83" y="47"/>
                    <a:pt x="83" y="46"/>
                  </a:cubicBezTo>
                  <a:cubicBezTo>
                    <a:pt x="83" y="46"/>
                    <a:pt x="83" y="46"/>
                    <a:pt x="83" y="46"/>
                  </a:cubicBezTo>
                  <a:cubicBezTo>
                    <a:pt x="83" y="44"/>
                    <a:pt x="83" y="43"/>
                    <a:pt x="83" y="41"/>
                  </a:cubicBezTo>
                  <a:cubicBezTo>
                    <a:pt x="83" y="40"/>
                    <a:pt x="83" y="38"/>
                    <a:pt x="83" y="37"/>
                  </a:cubicBezTo>
                  <a:cubicBezTo>
                    <a:pt x="83" y="37"/>
                    <a:pt x="83" y="37"/>
                    <a:pt x="83" y="36"/>
                  </a:cubicBezTo>
                  <a:cubicBezTo>
                    <a:pt x="83" y="35"/>
                    <a:pt x="82" y="34"/>
                    <a:pt x="82" y="33"/>
                  </a:cubicBezTo>
                  <a:cubicBezTo>
                    <a:pt x="82" y="33"/>
                    <a:pt x="82" y="33"/>
                    <a:pt x="82" y="32"/>
                  </a:cubicBezTo>
                  <a:cubicBezTo>
                    <a:pt x="82" y="31"/>
                    <a:pt x="82" y="30"/>
                    <a:pt x="81" y="29"/>
                  </a:cubicBezTo>
                  <a:cubicBezTo>
                    <a:pt x="81" y="29"/>
                    <a:pt x="81" y="29"/>
                    <a:pt x="81" y="29"/>
                  </a:cubicBezTo>
                  <a:cubicBezTo>
                    <a:pt x="76" y="12"/>
                    <a:pt x="60" y="0"/>
                    <a:pt x="41" y="0"/>
                  </a:cubicBezTo>
                  <a:cubicBezTo>
                    <a:pt x="19" y="0"/>
                    <a:pt x="1" y="17"/>
                    <a:pt x="0" y="39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64"/>
                    <a:pt x="19" y="83"/>
                    <a:pt x="41" y="83"/>
                  </a:cubicBezTo>
                  <a:cubicBezTo>
                    <a:pt x="61" y="83"/>
                    <a:pt x="78" y="69"/>
                    <a:pt x="82" y="50"/>
                  </a:cubicBezTo>
                  <a:cubicBezTo>
                    <a:pt x="82" y="50"/>
                    <a:pt x="82" y="50"/>
                    <a:pt x="82" y="50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35" name="Lithuania">
              <a:extLst>
                <a:ext uri="{FF2B5EF4-FFF2-40B4-BE49-F238E27FC236}">
                  <a16:creationId xmlns="" xmlns:a16="http://schemas.microsoft.com/office/drawing/2014/main" id="{F6E4088A-9534-48CA-AF79-443847281302}"/>
                </a:ext>
              </a:extLst>
            </p:cNvPr>
            <p:cNvSpPr>
              <a:spLocks/>
            </p:cNvSpPr>
            <p:nvPr/>
          </p:nvSpPr>
          <p:spPr bwMode="gray">
            <a:xfrm>
              <a:off x="6445238" y="2369970"/>
              <a:ext cx="183517" cy="143559"/>
            </a:xfrm>
            <a:custGeom>
              <a:avLst/>
              <a:gdLst/>
              <a:ahLst/>
              <a:cxnLst>
                <a:cxn ang="0">
                  <a:pos x="220" y="68"/>
                </a:cxn>
                <a:cxn ang="0">
                  <a:pos x="208" y="50"/>
                </a:cxn>
                <a:cxn ang="0">
                  <a:pos x="204" y="34"/>
                </a:cxn>
                <a:cxn ang="0">
                  <a:pos x="184" y="16"/>
                </a:cxn>
                <a:cxn ang="0">
                  <a:pos x="170" y="16"/>
                </a:cxn>
                <a:cxn ang="0">
                  <a:pos x="154" y="4"/>
                </a:cxn>
                <a:cxn ang="0">
                  <a:pos x="96" y="14"/>
                </a:cxn>
                <a:cxn ang="0">
                  <a:pos x="72" y="4"/>
                </a:cxn>
                <a:cxn ang="0">
                  <a:pos x="56" y="8"/>
                </a:cxn>
                <a:cxn ang="0">
                  <a:pos x="38" y="0"/>
                </a:cxn>
                <a:cxn ang="0">
                  <a:pos x="0" y="16"/>
                </a:cxn>
                <a:cxn ang="0">
                  <a:pos x="0" y="38"/>
                </a:cxn>
                <a:cxn ang="0">
                  <a:pos x="8" y="62"/>
                </a:cxn>
                <a:cxn ang="0">
                  <a:pos x="10" y="80"/>
                </a:cxn>
                <a:cxn ang="0">
                  <a:pos x="58" y="106"/>
                </a:cxn>
                <a:cxn ang="0">
                  <a:pos x="92" y="110"/>
                </a:cxn>
                <a:cxn ang="0">
                  <a:pos x="80" y="124"/>
                </a:cxn>
                <a:cxn ang="0">
                  <a:pos x="78" y="138"/>
                </a:cxn>
                <a:cxn ang="0">
                  <a:pos x="102" y="158"/>
                </a:cxn>
                <a:cxn ang="0">
                  <a:pos x="108" y="176"/>
                </a:cxn>
                <a:cxn ang="0">
                  <a:pos x="148" y="176"/>
                </a:cxn>
                <a:cxn ang="0">
                  <a:pos x="156" y="154"/>
                </a:cxn>
                <a:cxn ang="0">
                  <a:pos x="170" y="154"/>
                </a:cxn>
                <a:cxn ang="0">
                  <a:pos x="196" y="166"/>
                </a:cxn>
                <a:cxn ang="0">
                  <a:pos x="200" y="152"/>
                </a:cxn>
                <a:cxn ang="0">
                  <a:pos x="194" y="130"/>
                </a:cxn>
                <a:cxn ang="0">
                  <a:pos x="212" y="94"/>
                </a:cxn>
                <a:cxn ang="0">
                  <a:pos x="226" y="88"/>
                </a:cxn>
                <a:cxn ang="0">
                  <a:pos x="220" y="68"/>
                </a:cxn>
              </a:cxnLst>
              <a:rect l="0" t="0" r="r" b="b"/>
              <a:pathLst>
                <a:path w="226" h="176">
                  <a:moveTo>
                    <a:pt x="220" y="68"/>
                  </a:moveTo>
                  <a:lnTo>
                    <a:pt x="208" y="50"/>
                  </a:lnTo>
                  <a:lnTo>
                    <a:pt x="204" y="34"/>
                  </a:lnTo>
                  <a:lnTo>
                    <a:pt x="184" y="16"/>
                  </a:lnTo>
                  <a:lnTo>
                    <a:pt x="170" y="16"/>
                  </a:lnTo>
                  <a:lnTo>
                    <a:pt x="154" y="4"/>
                  </a:lnTo>
                  <a:lnTo>
                    <a:pt x="96" y="14"/>
                  </a:lnTo>
                  <a:lnTo>
                    <a:pt x="72" y="4"/>
                  </a:lnTo>
                  <a:lnTo>
                    <a:pt x="56" y="8"/>
                  </a:lnTo>
                  <a:lnTo>
                    <a:pt x="38" y="0"/>
                  </a:lnTo>
                  <a:lnTo>
                    <a:pt x="0" y="16"/>
                  </a:lnTo>
                  <a:lnTo>
                    <a:pt x="0" y="38"/>
                  </a:lnTo>
                  <a:lnTo>
                    <a:pt x="8" y="62"/>
                  </a:lnTo>
                  <a:lnTo>
                    <a:pt x="10" y="80"/>
                  </a:lnTo>
                  <a:lnTo>
                    <a:pt x="58" y="106"/>
                  </a:lnTo>
                  <a:lnTo>
                    <a:pt x="92" y="110"/>
                  </a:lnTo>
                  <a:lnTo>
                    <a:pt x="80" y="124"/>
                  </a:lnTo>
                  <a:lnTo>
                    <a:pt x="78" y="138"/>
                  </a:lnTo>
                  <a:lnTo>
                    <a:pt x="102" y="158"/>
                  </a:lnTo>
                  <a:lnTo>
                    <a:pt x="108" y="176"/>
                  </a:lnTo>
                  <a:lnTo>
                    <a:pt x="148" y="176"/>
                  </a:lnTo>
                  <a:lnTo>
                    <a:pt x="156" y="154"/>
                  </a:lnTo>
                  <a:lnTo>
                    <a:pt x="170" y="154"/>
                  </a:lnTo>
                  <a:lnTo>
                    <a:pt x="196" y="166"/>
                  </a:lnTo>
                  <a:lnTo>
                    <a:pt x="200" y="152"/>
                  </a:lnTo>
                  <a:lnTo>
                    <a:pt x="194" y="130"/>
                  </a:lnTo>
                  <a:lnTo>
                    <a:pt x="212" y="94"/>
                  </a:lnTo>
                  <a:lnTo>
                    <a:pt x="226" y="88"/>
                  </a:lnTo>
                  <a:lnTo>
                    <a:pt x="220" y="68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36" name="Luxembourg">
              <a:extLst>
                <a:ext uri="{FF2B5EF4-FFF2-40B4-BE49-F238E27FC236}">
                  <a16:creationId xmlns="" xmlns:a16="http://schemas.microsoft.com/office/drawing/2014/main" id="{8AA57D16-F389-41DA-BAE7-24D91320555F}"/>
                </a:ext>
              </a:extLst>
            </p:cNvPr>
            <p:cNvSpPr>
              <a:spLocks/>
            </p:cNvSpPr>
            <p:nvPr/>
          </p:nvSpPr>
          <p:spPr bwMode="gray">
            <a:xfrm>
              <a:off x="5980589" y="2708219"/>
              <a:ext cx="23427" cy="33433"/>
            </a:xfrm>
            <a:custGeom>
              <a:avLst/>
              <a:gdLst/>
              <a:ahLst/>
              <a:cxnLst>
                <a:cxn ang="0">
                  <a:pos x="26" y="40"/>
                </a:cxn>
                <a:cxn ang="0">
                  <a:pos x="26" y="20"/>
                </a:cxn>
                <a:cxn ang="0">
                  <a:pos x="12" y="0"/>
                </a:cxn>
                <a:cxn ang="0">
                  <a:pos x="4" y="8"/>
                </a:cxn>
                <a:cxn ang="0">
                  <a:pos x="0" y="16"/>
                </a:cxn>
                <a:cxn ang="0">
                  <a:pos x="4" y="22"/>
                </a:cxn>
                <a:cxn ang="0">
                  <a:pos x="0" y="40"/>
                </a:cxn>
                <a:cxn ang="0">
                  <a:pos x="26" y="40"/>
                </a:cxn>
              </a:cxnLst>
              <a:rect l="0" t="0" r="r" b="b"/>
              <a:pathLst>
                <a:path w="26" h="40">
                  <a:moveTo>
                    <a:pt x="26" y="40"/>
                  </a:moveTo>
                  <a:lnTo>
                    <a:pt x="26" y="20"/>
                  </a:lnTo>
                  <a:lnTo>
                    <a:pt x="12" y="0"/>
                  </a:lnTo>
                  <a:lnTo>
                    <a:pt x="4" y="8"/>
                  </a:lnTo>
                  <a:lnTo>
                    <a:pt x="0" y="16"/>
                  </a:lnTo>
                  <a:lnTo>
                    <a:pt x="4" y="22"/>
                  </a:lnTo>
                  <a:lnTo>
                    <a:pt x="0" y="40"/>
                  </a:lnTo>
                  <a:lnTo>
                    <a:pt x="26" y="40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37" name="Macao">
              <a:extLst>
                <a:ext uri="{FF2B5EF4-FFF2-40B4-BE49-F238E27FC236}">
                  <a16:creationId xmlns="" xmlns:a16="http://schemas.microsoft.com/office/drawing/2014/main" id="{357DEA0E-0C39-46D4-8D5B-6736A426A6B2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258508" y="3827191"/>
              <a:ext cx="17570" cy="17698"/>
            </a:xfrm>
            <a:custGeom>
              <a:avLst/>
              <a:gdLst/>
              <a:ahLst/>
              <a:cxnLst>
                <a:cxn ang="0">
                  <a:pos x="188" y="94"/>
                </a:cxn>
                <a:cxn ang="0">
                  <a:pos x="94" y="188"/>
                </a:cxn>
                <a:cxn ang="0">
                  <a:pos x="0" y="94"/>
                </a:cxn>
                <a:cxn ang="0">
                  <a:pos x="0" y="90"/>
                </a:cxn>
                <a:cxn ang="0">
                  <a:pos x="94" y="0"/>
                </a:cxn>
                <a:cxn ang="0">
                  <a:pos x="188" y="94"/>
                </a:cxn>
              </a:cxnLst>
              <a:rect l="0" t="0" r="r" b="b"/>
              <a:pathLst>
                <a:path w="188" h="188">
                  <a:moveTo>
                    <a:pt x="188" y="94"/>
                  </a:moveTo>
                  <a:cubicBezTo>
                    <a:pt x="188" y="146"/>
                    <a:pt x="146" y="188"/>
                    <a:pt x="94" y="188"/>
                  </a:cubicBezTo>
                  <a:cubicBezTo>
                    <a:pt x="42" y="188"/>
                    <a:pt x="0" y="146"/>
                    <a:pt x="0" y="94"/>
                  </a:cubicBezTo>
                  <a:cubicBezTo>
                    <a:pt x="0" y="93"/>
                    <a:pt x="0" y="91"/>
                    <a:pt x="0" y="90"/>
                  </a:cubicBezTo>
                  <a:cubicBezTo>
                    <a:pt x="3" y="40"/>
                    <a:pt x="44" y="0"/>
                    <a:pt x="94" y="0"/>
                  </a:cubicBezTo>
                  <a:cubicBezTo>
                    <a:pt x="146" y="0"/>
                    <a:pt x="188" y="43"/>
                    <a:pt x="188" y="94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38" name="Macedonia">
              <a:extLst>
                <a:ext uri="{FF2B5EF4-FFF2-40B4-BE49-F238E27FC236}">
                  <a16:creationId xmlns="" xmlns:a16="http://schemas.microsoft.com/office/drawing/2014/main" id="{743BC7F1-E88D-4E81-AEFE-9D44B9131199}"/>
                </a:ext>
              </a:extLst>
            </p:cNvPr>
            <p:cNvSpPr>
              <a:spLocks/>
            </p:cNvSpPr>
            <p:nvPr/>
          </p:nvSpPr>
          <p:spPr bwMode="gray">
            <a:xfrm>
              <a:off x="6437430" y="3066132"/>
              <a:ext cx="74187" cy="76696"/>
            </a:xfrm>
            <a:custGeom>
              <a:avLst/>
              <a:gdLst/>
              <a:ahLst/>
              <a:cxnLst>
                <a:cxn ang="0">
                  <a:pos x="8" y="56"/>
                </a:cxn>
                <a:cxn ang="0">
                  <a:pos x="10" y="70"/>
                </a:cxn>
                <a:cxn ang="0">
                  <a:pos x="18" y="76"/>
                </a:cxn>
                <a:cxn ang="0">
                  <a:pos x="24" y="84"/>
                </a:cxn>
                <a:cxn ang="0">
                  <a:pos x="30" y="92"/>
                </a:cxn>
                <a:cxn ang="0">
                  <a:pos x="48" y="78"/>
                </a:cxn>
                <a:cxn ang="0">
                  <a:pos x="68" y="68"/>
                </a:cxn>
                <a:cxn ang="0">
                  <a:pos x="84" y="58"/>
                </a:cxn>
                <a:cxn ang="0">
                  <a:pos x="94" y="54"/>
                </a:cxn>
                <a:cxn ang="0">
                  <a:pos x="86" y="26"/>
                </a:cxn>
                <a:cxn ang="0">
                  <a:pos x="76" y="18"/>
                </a:cxn>
                <a:cxn ang="0">
                  <a:pos x="74" y="0"/>
                </a:cxn>
                <a:cxn ang="0">
                  <a:pos x="62" y="4"/>
                </a:cxn>
                <a:cxn ang="0">
                  <a:pos x="44" y="0"/>
                </a:cxn>
                <a:cxn ang="0">
                  <a:pos x="24" y="10"/>
                </a:cxn>
                <a:cxn ang="0">
                  <a:pos x="10" y="18"/>
                </a:cxn>
                <a:cxn ang="0">
                  <a:pos x="0" y="36"/>
                </a:cxn>
                <a:cxn ang="0">
                  <a:pos x="8" y="56"/>
                </a:cxn>
              </a:cxnLst>
              <a:rect l="0" t="0" r="r" b="b"/>
              <a:pathLst>
                <a:path w="94" h="92">
                  <a:moveTo>
                    <a:pt x="8" y="56"/>
                  </a:moveTo>
                  <a:lnTo>
                    <a:pt x="10" y="70"/>
                  </a:lnTo>
                  <a:lnTo>
                    <a:pt x="18" y="76"/>
                  </a:lnTo>
                  <a:lnTo>
                    <a:pt x="24" y="84"/>
                  </a:lnTo>
                  <a:lnTo>
                    <a:pt x="30" y="92"/>
                  </a:lnTo>
                  <a:lnTo>
                    <a:pt x="48" y="78"/>
                  </a:lnTo>
                  <a:lnTo>
                    <a:pt x="68" y="68"/>
                  </a:lnTo>
                  <a:lnTo>
                    <a:pt x="84" y="58"/>
                  </a:lnTo>
                  <a:lnTo>
                    <a:pt x="94" y="54"/>
                  </a:lnTo>
                  <a:lnTo>
                    <a:pt x="86" y="26"/>
                  </a:lnTo>
                  <a:lnTo>
                    <a:pt x="76" y="18"/>
                  </a:lnTo>
                  <a:lnTo>
                    <a:pt x="74" y="0"/>
                  </a:lnTo>
                  <a:lnTo>
                    <a:pt x="62" y="4"/>
                  </a:lnTo>
                  <a:lnTo>
                    <a:pt x="44" y="0"/>
                  </a:lnTo>
                  <a:lnTo>
                    <a:pt x="24" y="10"/>
                  </a:lnTo>
                  <a:lnTo>
                    <a:pt x="10" y="18"/>
                  </a:lnTo>
                  <a:lnTo>
                    <a:pt x="0" y="36"/>
                  </a:lnTo>
                  <a:lnTo>
                    <a:pt x="8" y="56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39" name="Madagascar">
              <a:extLst>
                <a:ext uri="{FF2B5EF4-FFF2-40B4-BE49-F238E27FC236}">
                  <a16:creationId xmlns="" xmlns:a16="http://schemas.microsoft.com/office/drawing/2014/main" id="{7FE18FEB-C3CA-49CF-ACFA-A81F84BA6D35}"/>
                </a:ext>
              </a:extLst>
            </p:cNvPr>
            <p:cNvSpPr>
              <a:spLocks/>
            </p:cNvSpPr>
            <p:nvPr/>
          </p:nvSpPr>
          <p:spPr bwMode="gray">
            <a:xfrm>
              <a:off x="7148067" y="4946163"/>
              <a:ext cx="226467" cy="470008"/>
            </a:xfrm>
            <a:custGeom>
              <a:avLst/>
              <a:gdLst/>
              <a:ahLst/>
              <a:cxnLst>
                <a:cxn ang="0">
                  <a:pos x="232" y="0"/>
                </a:cxn>
                <a:cxn ang="0">
                  <a:pos x="246" y="20"/>
                </a:cxn>
                <a:cxn ang="0">
                  <a:pos x="266" y="75"/>
                </a:cxn>
                <a:cxn ang="0">
                  <a:pos x="262" y="101"/>
                </a:cxn>
                <a:cxn ang="0">
                  <a:pos x="268" y="105"/>
                </a:cxn>
                <a:cxn ang="0">
                  <a:pos x="278" y="139"/>
                </a:cxn>
                <a:cxn ang="0">
                  <a:pos x="260" y="171"/>
                </a:cxn>
                <a:cxn ang="0">
                  <a:pos x="248" y="153"/>
                </a:cxn>
                <a:cxn ang="0">
                  <a:pos x="250" y="187"/>
                </a:cxn>
                <a:cxn ang="0">
                  <a:pos x="240" y="213"/>
                </a:cxn>
                <a:cxn ang="0">
                  <a:pos x="240" y="249"/>
                </a:cxn>
                <a:cxn ang="0">
                  <a:pos x="218" y="327"/>
                </a:cxn>
                <a:cxn ang="0">
                  <a:pos x="188" y="409"/>
                </a:cxn>
                <a:cxn ang="0">
                  <a:pos x="188" y="435"/>
                </a:cxn>
                <a:cxn ang="0">
                  <a:pos x="154" y="537"/>
                </a:cxn>
                <a:cxn ang="0">
                  <a:pos x="142" y="553"/>
                </a:cxn>
                <a:cxn ang="0">
                  <a:pos x="102" y="557"/>
                </a:cxn>
                <a:cxn ang="0">
                  <a:pos x="92" y="565"/>
                </a:cxn>
                <a:cxn ang="0">
                  <a:pos x="76" y="567"/>
                </a:cxn>
                <a:cxn ang="0">
                  <a:pos x="64" y="575"/>
                </a:cxn>
                <a:cxn ang="0">
                  <a:pos x="52" y="557"/>
                </a:cxn>
                <a:cxn ang="0">
                  <a:pos x="42" y="553"/>
                </a:cxn>
                <a:cxn ang="0">
                  <a:pos x="16" y="523"/>
                </a:cxn>
                <a:cxn ang="0">
                  <a:pos x="18" y="479"/>
                </a:cxn>
                <a:cxn ang="0">
                  <a:pos x="6" y="459"/>
                </a:cxn>
                <a:cxn ang="0">
                  <a:pos x="0" y="421"/>
                </a:cxn>
                <a:cxn ang="0">
                  <a:pos x="8" y="385"/>
                </a:cxn>
                <a:cxn ang="0">
                  <a:pos x="20" y="377"/>
                </a:cxn>
                <a:cxn ang="0">
                  <a:pos x="20" y="369"/>
                </a:cxn>
                <a:cxn ang="0">
                  <a:pos x="40" y="333"/>
                </a:cxn>
                <a:cxn ang="0">
                  <a:pos x="42" y="301"/>
                </a:cxn>
                <a:cxn ang="0">
                  <a:pos x="30" y="263"/>
                </a:cxn>
                <a:cxn ang="0">
                  <a:pos x="30" y="249"/>
                </a:cxn>
                <a:cxn ang="0">
                  <a:pos x="22" y="237"/>
                </a:cxn>
                <a:cxn ang="0">
                  <a:pos x="42" y="201"/>
                </a:cxn>
                <a:cxn ang="0">
                  <a:pos x="42" y="175"/>
                </a:cxn>
                <a:cxn ang="0">
                  <a:pos x="94" y="165"/>
                </a:cxn>
                <a:cxn ang="0">
                  <a:pos x="122" y="157"/>
                </a:cxn>
                <a:cxn ang="0">
                  <a:pos x="136" y="157"/>
                </a:cxn>
                <a:cxn ang="0">
                  <a:pos x="146" y="139"/>
                </a:cxn>
                <a:cxn ang="0">
                  <a:pos x="184" y="85"/>
                </a:cxn>
                <a:cxn ang="0">
                  <a:pos x="178" y="63"/>
                </a:cxn>
                <a:cxn ang="0">
                  <a:pos x="196" y="61"/>
                </a:cxn>
                <a:cxn ang="0">
                  <a:pos x="220" y="38"/>
                </a:cxn>
                <a:cxn ang="0">
                  <a:pos x="214" y="20"/>
                </a:cxn>
                <a:cxn ang="0">
                  <a:pos x="232" y="0"/>
                </a:cxn>
              </a:cxnLst>
              <a:rect l="0" t="0" r="r" b="b"/>
              <a:pathLst>
                <a:path w="278" h="575">
                  <a:moveTo>
                    <a:pt x="232" y="0"/>
                  </a:moveTo>
                  <a:lnTo>
                    <a:pt x="246" y="20"/>
                  </a:lnTo>
                  <a:lnTo>
                    <a:pt x="266" y="75"/>
                  </a:lnTo>
                  <a:lnTo>
                    <a:pt x="262" y="101"/>
                  </a:lnTo>
                  <a:lnTo>
                    <a:pt x="268" y="105"/>
                  </a:lnTo>
                  <a:lnTo>
                    <a:pt x="278" y="139"/>
                  </a:lnTo>
                  <a:lnTo>
                    <a:pt x="260" y="171"/>
                  </a:lnTo>
                  <a:lnTo>
                    <a:pt x="248" y="153"/>
                  </a:lnTo>
                  <a:lnTo>
                    <a:pt x="250" y="187"/>
                  </a:lnTo>
                  <a:lnTo>
                    <a:pt x="240" y="213"/>
                  </a:lnTo>
                  <a:lnTo>
                    <a:pt x="240" y="249"/>
                  </a:lnTo>
                  <a:lnTo>
                    <a:pt x="218" y="327"/>
                  </a:lnTo>
                  <a:lnTo>
                    <a:pt x="188" y="409"/>
                  </a:lnTo>
                  <a:lnTo>
                    <a:pt x="188" y="435"/>
                  </a:lnTo>
                  <a:lnTo>
                    <a:pt x="154" y="537"/>
                  </a:lnTo>
                  <a:lnTo>
                    <a:pt x="142" y="553"/>
                  </a:lnTo>
                  <a:lnTo>
                    <a:pt x="102" y="557"/>
                  </a:lnTo>
                  <a:lnTo>
                    <a:pt x="92" y="565"/>
                  </a:lnTo>
                  <a:lnTo>
                    <a:pt x="76" y="567"/>
                  </a:lnTo>
                  <a:lnTo>
                    <a:pt x="64" y="575"/>
                  </a:lnTo>
                  <a:lnTo>
                    <a:pt x="52" y="557"/>
                  </a:lnTo>
                  <a:lnTo>
                    <a:pt x="42" y="553"/>
                  </a:lnTo>
                  <a:lnTo>
                    <a:pt x="16" y="523"/>
                  </a:lnTo>
                  <a:lnTo>
                    <a:pt x="18" y="479"/>
                  </a:lnTo>
                  <a:lnTo>
                    <a:pt x="6" y="459"/>
                  </a:lnTo>
                  <a:lnTo>
                    <a:pt x="0" y="421"/>
                  </a:lnTo>
                  <a:lnTo>
                    <a:pt x="8" y="385"/>
                  </a:lnTo>
                  <a:lnTo>
                    <a:pt x="20" y="377"/>
                  </a:lnTo>
                  <a:lnTo>
                    <a:pt x="20" y="369"/>
                  </a:lnTo>
                  <a:lnTo>
                    <a:pt x="40" y="333"/>
                  </a:lnTo>
                  <a:lnTo>
                    <a:pt x="42" y="301"/>
                  </a:lnTo>
                  <a:lnTo>
                    <a:pt x="30" y="263"/>
                  </a:lnTo>
                  <a:lnTo>
                    <a:pt x="30" y="249"/>
                  </a:lnTo>
                  <a:lnTo>
                    <a:pt x="22" y="237"/>
                  </a:lnTo>
                  <a:lnTo>
                    <a:pt x="42" y="201"/>
                  </a:lnTo>
                  <a:lnTo>
                    <a:pt x="42" y="175"/>
                  </a:lnTo>
                  <a:lnTo>
                    <a:pt x="94" y="165"/>
                  </a:lnTo>
                  <a:lnTo>
                    <a:pt x="122" y="157"/>
                  </a:lnTo>
                  <a:lnTo>
                    <a:pt x="136" y="157"/>
                  </a:lnTo>
                  <a:lnTo>
                    <a:pt x="146" y="139"/>
                  </a:lnTo>
                  <a:lnTo>
                    <a:pt x="184" y="85"/>
                  </a:lnTo>
                  <a:lnTo>
                    <a:pt x="178" y="63"/>
                  </a:lnTo>
                  <a:lnTo>
                    <a:pt x="196" y="61"/>
                  </a:lnTo>
                  <a:lnTo>
                    <a:pt x="220" y="38"/>
                  </a:lnTo>
                  <a:lnTo>
                    <a:pt x="214" y="20"/>
                  </a:lnTo>
                  <a:lnTo>
                    <a:pt x="232" y="0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40" name="Malawi">
              <a:extLst>
                <a:ext uri="{FF2B5EF4-FFF2-40B4-BE49-F238E27FC236}">
                  <a16:creationId xmlns="" xmlns:a16="http://schemas.microsoft.com/office/drawing/2014/main" id="{E6D7B502-EBFA-4801-B58E-3E2E45C842BE}"/>
                </a:ext>
              </a:extLst>
            </p:cNvPr>
            <p:cNvSpPr>
              <a:spLocks/>
            </p:cNvSpPr>
            <p:nvPr/>
          </p:nvSpPr>
          <p:spPr bwMode="gray">
            <a:xfrm>
              <a:off x="6812270" y="4861602"/>
              <a:ext cx="93711" cy="261551"/>
            </a:xfrm>
            <a:custGeom>
              <a:avLst/>
              <a:gdLst/>
              <a:ahLst/>
              <a:cxnLst>
                <a:cxn ang="0">
                  <a:pos x="32" y="215"/>
                </a:cxn>
                <a:cxn ang="0">
                  <a:pos x="66" y="217"/>
                </a:cxn>
                <a:cxn ang="0">
                  <a:pos x="68" y="243"/>
                </a:cxn>
                <a:cxn ang="0">
                  <a:pos x="58" y="285"/>
                </a:cxn>
                <a:cxn ang="0">
                  <a:pos x="80" y="299"/>
                </a:cxn>
                <a:cxn ang="0">
                  <a:pos x="84" y="317"/>
                </a:cxn>
                <a:cxn ang="0">
                  <a:pos x="104" y="311"/>
                </a:cxn>
                <a:cxn ang="0">
                  <a:pos x="96" y="285"/>
                </a:cxn>
                <a:cxn ang="0">
                  <a:pos x="114" y="257"/>
                </a:cxn>
                <a:cxn ang="0">
                  <a:pos x="108" y="205"/>
                </a:cxn>
                <a:cxn ang="0">
                  <a:pos x="84" y="157"/>
                </a:cxn>
                <a:cxn ang="0">
                  <a:pos x="74" y="122"/>
                </a:cxn>
                <a:cxn ang="0">
                  <a:pos x="84" y="100"/>
                </a:cxn>
                <a:cxn ang="0">
                  <a:pos x="78" y="90"/>
                </a:cxn>
                <a:cxn ang="0">
                  <a:pos x="66" y="58"/>
                </a:cxn>
                <a:cxn ang="0">
                  <a:pos x="54" y="12"/>
                </a:cxn>
                <a:cxn ang="0">
                  <a:pos x="44" y="12"/>
                </a:cxn>
                <a:cxn ang="0">
                  <a:pos x="30" y="0"/>
                </a:cxn>
                <a:cxn ang="0">
                  <a:pos x="14" y="8"/>
                </a:cxn>
                <a:cxn ang="0">
                  <a:pos x="32" y="22"/>
                </a:cxn>
                <a:cxn ang="0">
                  <a:pos x="38" y="56"/>
                </a:cxn>
                <a:cxn ang="0">
                  <a:pos x="24" y="74"/>
                </a:cxn>
                <a:cxn ang="0">
                  <a:pos x="28" y="100"/>
                </a:cxn>
                <a:cxn ang="0">
                  <a:pos x="20" y="126"/>
                </a:cxn>
                <a:cxn ang="0">
                  <a:pos x="6" y="146"/>
                </a:cxn>
                <a:cxn ang="0">
                  <a:pos x="0" y="177"/>
                </a:cxn>
                <a:cxn ang="0">
                  <a:pos x="10" y="191"/>
                </a:cxn>
                <a:cxn ang="0">
                  <a:pos x="32" y="215"/>
                </a:cxn>
              </a:cxnLst>
              <a:rect l="0" t="0" r="r" b="b"/>
              <a:pathLst>
                <a:path w="114" h="317">
                  <a:moveTo>
                    <a:pt x="32" y="215"/>
                  </a:moveTo>
                  <a:lnTo>
                    <a:pt x="66" y="217"/>
                  </a:lnTo>
                  <a:lnTo>
                    <a:pt x="68" y="243"/>
                  </a:lnTo>
                  <a:lnTo>
                    <a:pt x="58" y="285"/>
                  </a:lnTo>
                  <a:lnTo>
                    <a:pt x="80" y="299"/>
                  </a:lnTo>
                  <a:lnTo>
                    <a:pt x="84" y="317"/>
                  </a:lnTo>
                  <a:lnTo>
                    <a:pt x="104" y="311"/>
                  </a:lnTo>
                  <a:lnTo>
                    <a:pt x="96" y="285"/>
                  </a:lnTo>
                  <a:lnTo>
                    <a:pt x="114" y="257"/>
                  </a:lnTo>
                  <a:lnTo>
                    <a:pt x="108" y="205"/>
                  </a:lnTo>
                  <a:lnTo>
                    <a:pt x="84" y="157"/>
                  </a:lnTo>
                  <a:lnTo>
                    <a:pt x="74" y="122"/>
                  </a:lnTo>
                  <a:lnTo>
                    <a:pt x="84" y="100"/>
                  </a:lnTo>
                  <a:lnTo>
                    <a:pt x="78" y="90"/>
                  </a:lnTo>
                  <a:lnTo>
                    <a:pt x="66" y="58"/>
                  </a:lnTo>
                  <a:lnTo>
                    <a:pt x="54" y="12"/>
                  </a:lnTo>
                  <a:lnTo>
                    <a:pt x="44" y="12"/>
                  </a:lnTo>
                  <a:lnTo>
                    <a:pt x="30" y="0"/>
                  </a:lnTo>
                  <a:lnTo>
                    <a:pt x="14" y="8"/>
                  </a:lnTo>
                  <a:lnTo>
                    <a:pt x="32" y="22"/>
                  </a:lnTo>
                  <a:lnTo>
                    <a:pt x="38" y="56"/>
                  </a:lnTo>
                  <a:lnTo>
                    <a:pt x="24" y="74"/>
                  </a:lnTo>
                  <a:lnTo>
                    <a:pt x="28" y="100"/>
                  </a:lnTo>
                  <a:lnTo>
                    <a:pt x="20" y="126"/>
                  </a:lnTo>
                  <a:lnTo>
                    <a:pt x="6" y="146"/>
                  </a:lnTo>
                  <a:lnTo>
                    <a:pt x="0" y="177"/>
                  </a:lnTo>
                  <a:lnTo>
                    <a:pt x="10" y="191"/>
                  </a:lnTo>
                  <a:lnTo>
                    <a:pt x="32" y="215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41" name="Malaysia">
              <a:extLst>
                <a:ext uri="{FF2B5EF4-FFF2-40B4-BE49-F238E27FC236}">
                  <a16:creationId xmlns="" xmlns:a16="http://schemas.microsoft.com/office/drawing/2014/main" id="{B05D2098-6B7D-416A-A044-8E512EE5579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891476" y="4316864"/>
              <a:ext cx="593499" cy="200590"/>
            </a:xfrm>
            <a:custGeom>
              <a:avLst/>
              <a:gdLst/>
              <a:ahLst/>
              <a:cxnLst>
                <a:cxn ang="0">
                  <a:pos x="24" y="20"/>
                </a:cxn>
                <a:cxn ang="0">
                  <a:pos x="38" y="46"/>
                </a:cxn>
                <a:cxn ang="0">
                  <a:pos x="78" y="30"/>
                </a:cxn>
                <a:cxn ang="0">
                  <a:pos x="90" y="54"/>
                </a:cxn>
                <a:cxn ang="0">
                  <a:pos x="124" y="126"/>
                </a:cxn>
                <a:cxn ang="0">
                  <a:pos x="140" y="172"/>
                </a:cxn>
                <a:cxn ang="0">
                  <a:pos x="156" y="202"/>
                </a:cxn>
                <a:cxn ang="0">
                  <a:pos x="170" y="228"/>
                </a:cxn>
                <a:cxn ang="0">
                  <a:pos x="152" y="226"/>
                </a:cxn>
                <a:cxn ang="0">
                  <a:pos x="122" y="210"/>
                </a:cxn>
                <a:cxn ang="0">
                  <a:pos x="82" y="182"/>
                </a:cxn>
                <a:cxn ang="0">
                  <a:pos x="56" y="166"/>
                </a:cxn>
                <a:cxn ang="0">
                  <a:pos x="32" y="114"/>
                </a:cxn>
                <a:cxn ang="0">
                  <a:pos x="20" y="92"/>
                </a:cxn>
                <a:cxn ang="0">
                  <a:pos x="10" y="32"/>
                </a:cxn>
                <a:cxn ang="0">
                  <a:pos x="582" y="74"/>
                </a:cxn>
                <a:cxn ang="0">
                  <a:pos x="588" y="96"/>
                </a:cxn>
                <a:cxn ang="0">
                  <a:pos x="568" y="102"/>
                </a:cxn>
                <a:cxn ang="0">
                  <a:pos x="536" y="88"/>
                </a:cxn>
                <a:cxn ang="0">
                  <a:pos x="440" y="164"/>
                </a:cxn>
                <a:cxn ang="0">
                  <a:pos x="432" y="182"/>
                </a:cxn>
                <a:cxn ang="0">
                  <a:pos x="396" y="206"/>
                </a:cxn>
                <a:cxn ang="0">
                  <a:pos x="416" y="246"/>
                </a:cxn>
                <a:cxn ang="0">
                  <a:pos x="456" y="244"/>
                </a:cxn>
                <a:cxn ang="0">
                  <a:pos x="484" y="224"/>
                </a:cxn>
                <a:cxn ang="0">
                  <a:pos x="518" y="228"/>
                </a:cxn>
                <a:cxn ang="0">
                  <a:pos x="566" y="218"/>
                </a:cxn>
                <a:cxn ang="0">
                  <a:pos x="582" y="160"/>
                </a:cxn>
                <a:cxn ang="0">
                  <a:pos x="614" y="104"/>
                </a:cxn>
                <a:cxn ang="0">
                  <a:pos x="668" y="100"/>
                </a:cxn>
                <a:cxn ang="0">
                  <a:pos x="714" y="94"/>
                </a:cxn>
                <a:cxn ang="0">
                  <a:pos x="688" y="74"/>
                </a:cxn>
                <a:cxn ang="0">
                  <a:pos x="724" y="74"/>
                </a:cxn>
                <a:cxn ang="0">
                  <a:pos x="714" y="54"/>
                </a:cxn>
                <a:cxn ang="0">
                  <a:pos x="686" y="48"/>
                </a:cxn>
                <a:cxn ang="0">
                  <a:pos x="664" y="24"/>
                </a:cxn>
                <a:cxn ang="0">
                  <a:pos x="648" y="0"/>
                </a:cxn>
                <a:cxn ang="0">
                  <a:pos x="596" y="44"/>
                </a:cxn>
                <a:cxn ang="0">
                  <a:pos x="578" y="56"/>
                </a:cxn>
                <a:cxn ang="0">
                  <a:pos x="582" y="74"/>
                </a:cxn>
              </a:cxnLst>
              <a:rect l="0" t="0" r="r" b="b"/>
              <a:pathLst>
                <a:path w="732" h="246">
                  <a:moveTo>
                    <a:pt x="0" y="20"/>
                  </a:moveTo>
                  <a:lnTo>
                    <a:pt x="24" y="20"/>
                  </a:lnTo>
                  <a:lnTo>
                    <a:pt x="38" y="30"/>
                  </a:lnTo>
                  <a:lnTo>
                    <a:pt x="38" y="46"/>
                  </a:lnTo>
                  <a:lnTo>
                    <a:pt x="68" y="46"/>
                  </a:lnTo>
                  <a:lnTo>
                    <a:pt x="78" y="30"/>
                  </a:lnTo>
                  <a:lnTo>
                    <a:pt x="86" y="40"/>
                  </a:lnTo>
                  <a:lnTo>
                    <a:pt x="90" y="54"/>
                  </a:lnTo>
                  <a:lnTo>
                    <a:pt x="124" y="90"/>
                  </a:lnTo>
                  <a:lnTo>
                    <a:pt x="124" y="126"/>
                  </a:lnTo>
                  <a:lnTo>
                    <a:pt x="126" y="166"/>
                  </a:lnTo>
                  <a:lnTo>
                    <a:pt x="140" y="172"/>
                  </a:lnTo>
                  <a:lnTo>
                    <a:pt x="144" y="186"/>
                  </a:lnTo>
                  <a:lnTo>
                    <a:pt x="156" y="202"/>
                  </a:lnTo>
                  <a:lnTo>
                    <a:pt x="166" y="212"/>
                  </a:lnTo>
                  <a:lnTo>
                    <a:pt x="170" y="228"/>
                  </a:lnTo>
                  <a:lnTo>
                    <a:pt x="160" y="222"/>
                  </a:lnTo>
                  <a:lnTo>
                    <a:pt x="152" y="226"/>
                  </a:lnTo>
                  <a:lnTo>
                    <a:pt x="148" y="234"/>
                  </a:lnTo>
                  <a:lnTo>
                    <a:pt x="122" y="210"/>
                  </a:lnTo>
                  <a:lnTo>
                    <a:pt x="112" y="208"/>
                  </a:lnTo>
                  <a:lnTo>
                    <a:pt x="82" y="182"/>
                  </a:lnTo>
                  <a:lnTo>
                    <a:pt x="72" y="180"/>
                  </a:lnTo>
                  <a:lnTo>
                    <a:pt x="56" y="166"/>
                  </a:lnTo>
                  <a:lnTo>
                    <a:pt x="32" y="124"/>
                  </a:lnTo>
                  <a:lnTo>
                    <a:pt x="32" y="114"/>
                  </a:lnTo>
                  <a:lnTo>
                    <a:pt x="20" y="106"/>
                  </a:lnTo>
                  <a:lnTo>
                    <a:pt x="20" y="92"/>
                  </a:lnTo>
                  <a:lnTo>
                    <a:pt x="4" y="52"/>
                  </a:lnTo>
                  <a:lnTo>
                    <a:pt x="10" y="32"/>
                  </a:lnTo>
                  <a:lnTo>
                    <a:pt x="0" y="20"/>
                  </a:lnTo>
                  <a:close/>
                  <a:moveTo>
                    <a:pt x="582" y="74"/>
                  </a:moveTo>
                  <a:lnTo>
                    <a:pt x="588" y="80"/>
                  </a:lnTo>
                  <a:lnTo>
                    <a:pt x="588" y="96"/>
                  </a:lnTo>
                  <a:lnTo>
                    <a:pt x="568" y="88"/>
                  </a:lnTo>
                  <a:lnTo>
                    <a:pt x="568" y="102"/>
                  </a:lnTo>
                  <a:lnTo>
                    <a:pt x="560" y="112"/>
                  </a:lnTo>
                  <a:lnTo>
                    <a:pt x="536" y="88"/>
                  </a:lnTo>
                  <a:lnTo>
                    <a:pt x="498" y="150"/>
                  </a:lnTo>
                  <a:lnTo>
                    <a:pt x="440" y="164"/>
                  </a:lnTo>
                  <a:lnTo>
                    <a:pt x="438" y="182"/>
                  </a:lnTo>
                  <a:lnTo>
                    <a:pt x="432" y="182"/>
                  </a:lnTo>
                  <a:lnTo>
                    <a:pt x="424" y="216"/>
                  </a:lnTo>
                  <a:lnTo>
                    <a:pt x="396" y="206"/>
                  </a:lnTo>
                  <a:lnTo>
                    <a:pt x="376" y="208"/>
                  </a:lnTo>
                  <a:lnTo>
                    <a:pt x="416" y="246"/>
                  </a:lnTo>
                  <a:lnTo>
                    <a:pt x="440" y="238"/>
                  </a:lnTo>
                  <a:lnTo>
                    <a:pt x="456" y="244"/>
                  </a:lnTo>
                  <a:lnTo>
                    <a:pt x="472" y="240"/>
                  </a:lnTo>
                  <a:lnTo>
                    <a:pt x="484" y="224"/>
                  </a:lnTo>
                  <a:lnTo>
                    <a:pt x="508" y="218"/>
                  </a:lnTo>
                  <a:lnTo>
                    <a:pt x="518" y="228"/>
                  </a:lnTo>
                  <a:lnTo>
                    <a:pt x="552" y="228"/>
                  </a:lnTo>
                  <a:lnTo>
                    <a:pt x="566" y="218"/>
                  </a:lnTo>
                  <a:lnTo>
                    <a:pt x="568" y="170"/>
                  </a:lnTo>
                  <a:lnTo>
                    <a:pt x="582" y="160"/>
                  </a:lnTo>
                  <a:lnTo>
                    <a:pt x="598" y="110"/>
                  </a:lnTo>
                  <a:lnTo>
                    <a:pt x="614" y="104"/>
                  </a:lnTo>
                  <a:lnTo>
                    <a:pt x="660" y="108"/>
                  </a:lnTo>
                  <a:lnTo>
                    <a:pt x="668" y="100"/>
                  </a:lnTo>
                  <a:lnTo>
                    <a:pt x="712" y="104"/>
                  </a:lnTo>
                  <a:lnTo>
                    <a:pt x="714" y="94"/>
                  </a:lnTo>
                  <a:lnTo>
                    <a:pt x="706" y="94"/>
                  </a:lnTo>
                  <a:lnTo>
                    <a:pt x="688" y="74"/>
                  </a:lnTo>
                  <a:lnTo>
                    <a:pt x="700" y="74"/>
                  </a:lnTo>
                  <a:lnTo>
                    <a:pt x="724" y="74"/>
                  </a:lnTo>
                  <a:lnTo>
                    <a:pt x="732" y="56"/>
                  </a:lnTo>
                  <a:lnTo>
                    <a:pt x="714" y="54"/>
                  </a:lnTo>
                  <a:lnTo>
                    <a:pt x="698" y="42"/>
                  </a:lnTo>
                  <a:lnTo>
                    <a:pt x="686" y="48"/>
                  </a:lnTo>
                  <a:lnTo>
                    <a:pt x="662" y="38"/>
                  </a:lnTo>
                  <a:lnTo>
                    <a:pt x="664" y="24"/>
                  </a:lnTo>
                  <a:lnTo>
                    <a:pt x="650" y="12"/>
                  </a:lnTo>
                  <a:lnTo>
                    <a:pt x="648" y="0"/>
                  </a:lnTo>
                  <a:lnTo>
                    <a:pt x="632" y="0"/>
                  </a:lnTo>
                  <a:lnTo>
                    <a:pt x="596" y="44"/>
                  </a:lnTo>
                  <a:lnTo>
                    <a:pt x="590" y="44"/>
                  </a:lnTo>
                  <a:lnTo>
                    <a:pt x="578" y="56"/>
                  </a:lnTo>
                  <a:lnTo>
                    <a:pt x="590" y="60"/>
                  </a:lnTo>
                  <a:lnTo>
                    <a:pt x="582" y="74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42" name="Mali">
              <a:extLst>
                <a:ext uri="{FF2B5EF4-FFF2-40B4-BE49-F238E27FC236}">
                  <a16:creationId xmlns="" xmlns:a16="http://schemas.microsoft.com/office/drawing/2014/main" id="{6B8C4854-96CD-4240-A7D8-43B503D17FA7}"/>
                </a:ext>
              </a:extLst>
            </p:cNvPr>
            <p:cNvSpPr>
              <a:spLocks/>
            </p:cNvSpPr>
            <p:nvPr/>
          </p:nvSpPr>
          <p:spPr bwMode="gray">
            <a:xfrm>
              <a:off x="5433945" y="3738695"/>
              <a:ext cx="501743" cy="503440"/>
            </a:xfrm>
            <a:custGeom>
              <a:avLst/>
              <a:gdLst/>
              <a:ahLst/>
              <a:cxnLst>
                <a:cxn ang="0">
                  <a:pos x="444" y="402"/>
                </a:cxn>
                <a:cxn ang="0">
                  <a:pos x="386" y="424"/>
                </a:cxn>
                <a:cxn ang="0">
                  <a:pos x="376" y="450"/>
                </a:cxn>
                <a:cxn ang="0">
                  <a:pos x="334" y="490"/>
                </a:cxn>
                <a:cxn ang="0">
                  <a:pos x="302" y="488"/>
                </a:cxn>
                <a:cxn ang="0">
                  <a:pos x="286" y="536"/>
                </a:cxn>
                <a:cxn ang="0">
                  <a:pos x="266" y="562"/>
                </a:cxn>
                <a:cxn ang="0">
                  <a:pos x="252" y="602"/>
                </a:cxn>
                <a:cxn ang="0">
                  <a:pos x="228" y="612"/>
                </a:cxn>
                <a:cxn ang="0">
                  <a:pos x="212" y="592"/>
                </a:cxn>
                <a:cxn ang="0">
                  <a:pos x="178" y="604"/>
                </a:cxn>
                <a:cxn ang="0">
                  <a:pos x="152" y="586"/>
                </a:cxn>
                <a:cxn ang="0">
                  <a:pos x="142" y="570"/>
                </a:cxn>
                <a:cxn ang="0">
                  <a:pos x="126" y="554"/>
                </a:cxn>
                <a:cxn ang="0">
                  <a:pos x="110" y="516"/>
                </a:cxn>
                <a:cxn ang="0">
                  <a:pos x="44" y="528"/>
                </a:cxn>
                <a:cxn ang="0">
                  <a:pos x="16" y="520"/>
                </a:cxn>
                <a:cxn ang="0">
                  <a:pos x="2" y="472"/>
                </a:cxn>
                <a:cxn ang="0">
                  <a:pos x="0" y="426"/>
                </a:cxn>
                <a:cxn ang="0">
                  <a:pos x="46" y="402"/>
                </a:cxn>
                <a:cxn ang="0">
                  <a:pos x="80" y="382"/>
                </a:cxn>
                <a:cxn ang="0">
                  <a:pos x="118" y="380"/>
                </a:cxn>
                <a:cxn ang="0">
                  <a:pos x="254" y="358"/>
                </a:cxn>
                <a:cxn ang="0">
                  <a:pos x="220" y="4"/>
                </a:cxn>
                <a:cxn ang="0">
                  <a:pos x="490" y="164"/>
                </a:cxn>
                <a:cxn ang="0">
                  <a:pos x="516" y="184"/>
                </a:cxn>
                <a:cxn ang="0">
                  <a:pos x="554" y="196"/>
                </a:cxn>
                <a:cxn ang="0">
                  <a:pos x="582" y="244"/>
                </a:cxn>
                <a:cxn ang="0">
                  <a:pos x="620" y="244"/>
                </a:cxn>
                <a:cxn ang="0">
                  <a:pos x="600" y="390"/>
                </a:cxn>
                <a:cxn ang="0">
                  <a:pos x="552" y="392"/>
                </a:cxn>
                <a:cxn ang="0">
                  <a:pos x="504" y="400"/>
                </a:cxn>
                <a:cxn ang="0">
                  <a:pos x="472" y="410"/>
                </a:cxn>
              </a:cxnLst>
              <a:rect l="0" t="0" r="r" b="b"/>
              <a:pathLst>
                <a:path w="620" h="614">
                  <a:moveTo>
                    <a:pt x="472" y="410"/>
                  </a:moveTo>
                  <a:lnTo>
                    <a:pt x="444" y="402"/>
                  </a:lnTo>
                  <a:lnTo>
                    <a:pt x="416" y="420"/>
                  </a:lnTo>
                  <a:lnTo>
                    <a:pt x="386" y="424"/>
                  </a:lnTo>
                  <a:lnTo>
                    <a:pt x="382" y="444"/>
                  </a:lnTo>
                  <a:lnTo>
                    <a:pt x="376" y="450"/>
                  </a:lnTo>
                  <a:lnTo>
                    <a:pt x="368" y="444"/>
                  </a:lnTo>
                  <a:lnTo>
                    <a:pt x="334" y="490"/>
                  </a:lnTo>
                  <a:lnTo>
                    <a:pt x="316" y="476"/>
                  </a:lnTo>
                  <a:lnTo>
                    <a:pt x="302" y="488"/>
                  </a:lnTo>
                  <a:lnTo>
                    <a:pt x="304" y="506"/>
                  </a:lnTo>
                  <a:lnTo>
                    <a:pt x="286" y="536"/>
                  </a:lnTo>
                  <a:lnTo>
                    <a:pt x="266" y="538"/>
                  </a:lnTo>
                  <a:lnTo>
                    <a:pt x="266" y="562"/>
                  </a:lnTo>
                  <a:lnTo>
                    <a:pt x="252" y="588"/>
                  </a:lnTo>
                  <a:lnTo>
                    <a:pt x="252" y="602"/>
                  </a:lnTo>
                  <a:lnTo>
                    <a:pt x="242" y="602"/>
                  </a:lnTo>
                  <a:lnTo>
                    <a:pt x="228" y="612"/>
                  </a:lnTo>
                  <a:lnTo>
                    <a:pt x="222" y="598"/>
                  </a:lnTo>
                  <a:lnTo>
                    <a:pt x="212" y="592"/>
                  </a:lnTo>
                  <a:lnTo>
                    <a:pt x="194" y="614"/>
                  </a:lnTo>
                  <a:lnTo>
                    <a:pt x="178" y="604"/>
                  </a:lnTo>
                  <a:lnTo>
                    <a:pt x="158" y="610"/>
                  </a:lnTo>
                  <a:lnTo>
                    <a:pt x="152" y="586"/>
                  </a:lnTo>
                  <a:lnTo>
                    <a:pt x="132" y="586"/>
                  </a:lnTo>
                  <a:lnTo>
                    <a:pt x="142" y="570"/>
                  </a:lnTo>
                  <a:lnTo>
                    <a:pt x="142" y="558"/>
                  </a:lnTo>
                  <a:lnTo>
                    <a:pt x="126" y="554"/>
                  </a:lnTo>
                  <a:lnTo>
                    <a:pt x="120" y="524"/>
                  </a:lnTo>
                  <a:lnTo>
                    <a:pt x="110" y="516"/>
                  </a:lnTo>
                  <a:lnTo>
                    <a:pt x="52" y="544"/>
                  </a:lnTo>
                  <a:lnTo>
                    <a:pt x="44" y="528"/>
                  </a:lnTo>
                  <a:lnTo>
                    <a:pt x="28" y="532"/>
                  </a:lnTo>
                  <a:lnTo>
                    <a:pt x="16" y="520"/>
                  </a:lnTo>
                  <a:lnTo>
                    <a:pt x="18" y="502"/>
                  </a:lnTo>
                  <a:lnTo>
                    <a:pt x="2" y="472"/>
                  </a:lnTo>
                  <a:lnTo>
                    <a:pt x="6" y="460"/>
                  </a:lnTo>
                  <a:lnTo>
                    <a:pt x="0" y="426"/>
                  </a:lnTo>
                  <a:lnTo>
                    <a:pt x="24" y="384"/>
                  </a:lnTo>
                  <a:lnTo>
                    <a:pt x="46" y="402"/>
                  </a:lnTo>
                  <a:lnTo>
                    <a:pt x="60" y="384"/>
                  </a:lnTo>
                  <a:lnTo>
                    <a:pt x="80" y="382"/>
                  </a:lnTo>
                  <a:lnTo>
                    <a:pt x="96" y="388"/>
                  </a:lnTo>
                  <a:lnTo>
                    <a:pt x="118" y="380"/>
                  </a:lnTo>
                  <a:lnTo>
                    <a:pt x="244" y="386"/>
                  </a:lnTo>
                  <a:lnTo>
                    <a:pt x="254" y="358"/>
                  </a:lnTo>
                  <a:lnTo>
                    <a:pt x="246" y="350"/>
                  </a:lnTo>
                  <a:lnTo>
                    <a:pt x="220" y="4"/>
                  </a:lnTo>
                  <a:lnTo>
                    <a:pt x="262" y="0"/>
                  </a:lnTo>
                  <a:lnTo>
                    <a:pt x="490" y="164"/>
                  </a:lnTo>
                  <a:lnTo>
                    <a:pt x="502" y="184"/>
                  </a:lnTo>
                  <a:lnTo>
                    <a:pt x="516" y="184"/>
                  </a:lnTo>
                  <a:lnTo>
                    <a:pt x="540" y="204"/>
                  </a:lnTo>
                  <a:lnTo>
                    <a:pt x="554" y="196"/>
                  </a:lnTo>
                  <a:lnTo>
                    <a:pt x="580" y="210"/>
                  </a:lnTo>
                  <a:lnTo>
                    <a:pt x="582" y="244"/>
                  </a:lnTo>
                  <a:lnTo>
                    <a:pt x="594" y="250"/>
                  </a:lnTo>
                  <a:lnTo>
                    <a:pt x="620" y="244"/>
                  </a:lnTo>
                  <a:lnTo>
                    <a:pt x="620" y="358"/>
                  </a:lnTo>
                  <a:lnTo>
                    <a:pt x="600" y="390"/>
                  </a:lnTo>
                  <a:lnTo>
                    <a:pt x="576" y="386"/>
                  </a:lnTo>
                  <a:lnTo>
                    <a:pt x="552" y="392"/>
                  </a:lnTo>
                  <a:lnTo>
                    <a:pt x="536" y="400"/>
                  </a:lnTo>
                  <a:lnTo>
                    <a:pt x="504" y="400"/>
                  </a:lnTo>
                  <a:lnTo>
                    <a:pt x="490" y="412"/>
                  </a:lnTo>
                  <a:lnTo>
                    <a:pt x="472" y="410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43" name="Malta">
              <a:extLst>
                <a:ext uri="{FF2B5EF4-FFF2-40B4-BE49-F238E27FC236}">
                  <a16:creationId xmlns="" xmlns:a16="http://schemas.microsoft.com/office/drawing/2014/main" id="{66A18739-3000-420A-BD65-A4F1F223C0E0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2438" y="3343418"/>
              <a:ext cx="15618" cy="1376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0" y="0"/>
                </a:cxn>
                <a:cxn ang="0">
                  <a:pos x="20" y="4"/>
                </a:cxn>
                <a:cxn ang="0">
                  <a:pos x="16" y="16"/>
                </a:cxn>
                <a:cxn ang="0">
                  <a:pos x="2" y="12"/>
                </a:cxn>
                <a:cxn ang="0">
                  <a:pos x="0" y="0"/>
                </a:cxn>
              </a:cxnLst>
              <a:rect l="0" t="0" r="r" b="b"/>
              <a:pathLst>
                <a:path w="20" h="16">
                  <a:moveTo>
                    <a:pt x="0" y="0"/>
                  </a:moveTo>
                  <a:lnTo>
                    <a:pt x="10" y="0"/>
                  </a:lnTo>
                  <a:lnTo>
                    <a:pt x="20" y="4"/>
                  </a:lnTo>
                  <a:lnTo>
                    <a:pt x="16" y="16"/>
                  </a:lnTo>
                  <a:lnTo>
                    <a:pt x="2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44" name="Mauritania">
              <a:extLst>
                <a:ext uri="{FF2B5EF4-FFF2-40B4-BE49-F238E27FC236}">
                  <a16:creationId xmlns="" xmlns:a16="http://schemas.microsoft.com/office/drawing/2014/main" id="{959B7159-0F1D-4D6F-8A4B-68B65FE09988}"/>
                </a:ext>
              </a:extLst>
            </p:cNvPr>
            <p:cNvSpPr>
              <a:spLocks/>
            </p:cNvSpPr>
            <p:nvPr/>
          </p:nvSpPr>
          <p:spPr bwMode="gray">
            <a:xfrm>
              <a:off x="5279713" y="3662001"/>
              <a:ext cx="367034" cy="426742"/>
            </a:xfrm>
            <a:custGeom>
              <a:avLst/>
              <a:gdLst/>
              <a:ahLst/>
              <a:cxnLst>
                <a:cxn ang="0">
                  <a:pos x="0" y="248"/>
                </a:cxn>
                <a:cxn ang="0">
                  <a:pos x="142" y="250"/>
                </a:cxn>
                <a:cxn ang="0">
                  <a:pos x="144" y="182"/>
                </a:cxn>
                <a:cxn ang="0">
                  <a:pos x="156" y="164"/>
                </a:cxn>
                <a:cxn ang="0">
                  <a:pos x="185" y="168"/>
                </a:cxn>
                <a:cxn ang="0">
                  <a:pos x="185" y="52"/>
                </a:cxn>
                <a:cxn ang="0">
                  <a:pos x="319" y="50"/>
                </a:cxn>
                <a:cxn ang="0">
                  <a:pos x="319" y="0"/>
                </a:cxn>
                <a:cxn ang="0">
                  <a:pos x="453" y="94"/>
                </a:cxn>
                <a:cxn ang="0">
                  <a:pos x="411" y="98"/>
                </a:cxn>
                <a:cxn ang="0">
                  <a:pos x="437" y="444"/>
                </a:cxn>
                <a:cxn ang="0">
                  <a:pos x="445" y="452"/>
                </a:cxn>
                <a:cxn ang="0">
                  <a:pos x="435" y="480"/>
                </a:cxn>
                <a:cxn ang="0">
                  <a:pos x="309" y="474"/>
                </a:cxn>
                <a:cxn ang="0">
                  <a:pos x="287" y="482"/>
                </a:cxn>
                <a:cxn ang="0">
                  <a:pos x="271" y="476"/>
                </a:cxn>
                <a:cxn ang="0">
                  <a:pos x="251" y="478"/>
                </a:cxn>
                <a:cxn ang="0">
                  <a:pos x="237" y="496"/>
                </a:cxn>
                <a:cxn ang="0">
                  <a:pos x="215" y="478"/>
                </a:cxn>
                <a:cxn ang="0">
                  <a:pos x="191" y="520"/>
                </a:cxn>
                <a:cxn ang="0">
                  <a:pos x="168" y="504"/>
                </a:cxn>
                <a:cxn ang="0">
                  <a:pos x="146" y="476"/>
                </a:cxn>
                <a:cxn ang="0">
                  <a:pos x="120" y="466"/>
                </a:cxn>
                <a:cxn ang="0">
                  <a:pos x="104" y="448"/>
                </a:cxn>
                <a:cxn ang="0">
                  <a:pos x="50" y="460"/>
                </a:cxn>
                <a:cxn ang="0">
                  <a:pos x="36" y="452"/>
                </a:cxn>
                <a:cxn ang="0">
                  <a:pos x="18" y="462"/>
                </a:cxn>
                <a:cxn ang="0">
                  <a:pos x="20" y="438"/>
                </a:cxn>
                <a:cxn ang="0">
                  <a:pos x="32" y="408"/>
                </a:cxn>
                <a:cxn ang="0">
                  <a:pos x="32" y="344"/>
                </a:cxn>
                <a:cxn ang="0">
                  <a:pos x="26" y="330"/>
                </a:cxn>
                <a:cxn ang="0">
                  <a:pos x="28" y="296"/>
                </a:cxn>
                <a:cxn ang="0">
                  <a:pos x="20" y="274"/>
                </a:cxn>
                <a:cxn ang="0">
                  <a:pos x="6" y="262"/>
                </a:cxn>
                <a:cxn ang="0">
                  <a:pos x="0" y="248"/>
                </a:cxn>
              </a:cxnLst>
              <a:rect l="0" t="0" r="r" b="b"/>
              <a:pathLst>
                <a:path w="453" h="520">
                  <a:moveTo>
                    <a:pt x="0" y="248"/>
                  </a:moveTo>
                  <a:lnTo>
                    <a:pt x="142" y="250"/>
                  </a:lnTo>
                  <a:lnTo>
                    <a:pt x="144" y="182"/>
                  </a:lnTo>
                  <a:lnTo>
                    <a:pt x="156" y="164"/>
                  </a:lnTo>
                  <a:lnTo>
                    <a:pt x="185" y="168"/>
                  </a:lnTo>
                  <a:lnTo>
                    <a:pt x="185" y="52"/>
                  </a:lnTo>
                  <a:lnTo>
                    <a:pt x="319" y="50"/>
                  </a:lnTo>
                  <a:lnTo>
                    <a:pt x="319" y="0"/>
                  </a:lnTo>
                  <a:lnTo>
                    <a:pt x="453" y="94"/>
                  </a:lnTo>
                  <a:lnTo>
                    <a:pt x="411" y="98"/>
                  </a:lnTo>
                  <a:lnTo>
                    <a:pt x="437" y="444"/>
                  </a:lnTo>
                  <a:lnTo>
                    <a:pt x="445" y="452"/>
                  </a:lnTo>
                  <a:lnTo>
                    <a:pt x="435" y="480"/>
                  </a:lnTo>
                  <a:lnTo>
                    <a:pt x="309" y="474"/>
                  </a:lnTo>
                  <a:lnTo>
                    <a:pt x="287" y="482"/>
                  </a:lnTo>
                  <a:lnTo>
                    <a:pt x="271" y="476"/>
                  </a:lnTo>
                  <a:lnTo>
                    <a:pt x="251" y="478"/>
                  </a:lnTo>
                  <a:lnTo>
                    <a:pt x="237" y="496"/>
                  </a:lnTo>
                  <a:lnTo>
                    <a:pt x="215" y="478"/>
                  </a:lnTo>
                  <a:lnTo>
                    <a:pt x="191" y="520"/>
                  </a:lnTo>
                  <a:lnTo>
                    <a:pt x="168" y="504"/>
                  </a:lnTo>
                  <a:lnTo>
                    <a:pt x="146" y="476"/>
                  </a:lnTo>
                  <a:lnTo>
                    <a:pt x="120" y="466"/>
                  </a:lnTo>
                  <a:lnTo>
                    <a:pt x="104" y="448"/>
                  </a:lnTo>
                  <a:lnTo>
                    <a:pt x="50" y="460"/>
                  </a:lnTo>
                  <a:lnTo>
                    <a:pt x="36" y="452"/>
                  </a:lnTo>
                  <a:lnTo>
                    <a:pt x="18" y="462"/>
                  </a:lnTo>
                  <a:lnTo>
                    <a:pt x="20" y="438"/>
                  </a:lnTo>
                  <a:lnTo>
                    <a:pt x="32" y="408"/>
                  </a:lnTo>
                  <a:lnTo>
                    <a:pt x="32" y="344"/>
                  </a:lnTo>
                  <a:lnTo>
                    <a:pt x="26" y="330"/>
                  </a:lnTo>
                  <a:lnTo>
                    <a:pt x="28" y="296"/>
                  </a:lnTo>
                  <a:lnTo>
                    <a:pt x="20" y="274"/>
                  </a:lnTo>
                  <a:lnTo>
                    <a:pt x="6" y="262"/>
                  </a:lnTo>
                  <a:lnTo>
                    <a:pt x="0" y="248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45" name="Mexico">
              <a:extLst>
                <a:ext uri="{FF2B5EF4-FFF2-40B4-BE49-F238E27FC236}">
                  <a16:creationId xmlns="" xmlns:a16="http://schemas.microsoft.com/office/drawing/2014/main" id="{4232519A-EF54-41AC-B4DF-4179BA456ADD}"/>
                </a:ext>
              </a:extLst>
            </p:cNvPr>
            <p:cNvSpPr>
              <a:spLocks/>
            </p:cNvSpPr>
            <p:nvPr/>
          </p:nvSpPr>
          <p:spPr bwMode="gray">
            <a:xfrm>
              <a:off x="1997889" y="3479110"/>
              <a:ext cx="1007388" cy="670598"/>
            </a:xfrm>
            <a:custGeom>
              <a:avLst/>
              <a:gdLst/>
              <a:ahLst/>
              <a:cxnLst>
                <a:cxn ang="0">
                  <a:pos x="838" y="481"/>
                </a:cxn>
                <a:cxn ang="0">
                  <a:pos x="862" y="565"/>
                </a:cxn>
                <a:cxn ang="0">
                  <a:pos x="910" y="645"/>
                </a:cxn>
                <a:cxn ang="0">
                  <a:pos x="1016" y="668"/>
                </a:cxn>
                <a:cxn ang="0">
                  <a:pos x="1098" y="649"/>
                </a:cxn>
                <a:cxn ang="0">
                  <a:pos x="1188" y="549"/>
                </a:cxn>
                <a:cxn ang="0">
                  <a:pos x="1228" y="601"/>
                </a:cxn>
                <a:cxn ang="0">
                  <a:pos x="1210" y="678"/>
                </a:cxn>
                <a:cxn ang="0">
                  <a:pos x="1152" y="692"/>
                </a:cxn>
                <a:cxn ang="0">
                  <a:pos x="1068" y="714"/>
                </a:cxn>
                <a:cxn ang="0">
                  <a:pos x="1058" y="770"/>
                </a:cxn>
                <a:cxn ang="0">
                  <a:pos x="972" y="776"/>
                </a:cxn>
                <a:cxn ang="0">
                  <a:pos x="946" y="774"/>
                </a:cxn>
                <a:cxn ang="0">
                  <a:pos x="835" y="772"/>
                </a:cxn>
                <a:cxn ang="0">
                  <a:pos x="683" y="688"/>
                </a:cxn>
                <a:cxn ang="0">
                  <a:pos x="547" y="597"/>
                </a:cxn>
                <a:cxn ang="0">
                  <a:pos x="533" y="493"/>
                </a:cxn>
                <a:cxn ang="0">
                  <a:pos x="443" y="411"/>
                </a:cxn>
                <a:cxn ang="0">
                  <a:pos x="399" y="371"/>
                </a:cxn>
                <a:cxn ang="0">
                  <a:pos x="383" y="333"/>
                </a:cxn>
                <a:cxn ang="0">
                  <a:pos x="350" y="296"/>
                </a:cxn>
                <a:cxn ang="0">
                  <a:pos x="312" y="254"/>
                </a:cxn>
                <a:cxn ang="0">
                  <a:pos x="276" y="218"/>
                </a:cxn>
                <a:cxn ang="0">
                  <a:pos x="254" y="174"/>
                </a:cxn>
                <a:cxn ang="0">
                  <a:pos x="158" y="82"/>
                </a:cxn>
                <a:cxn ang="0">
                  <a:pos x="194" y="196"/>
                </a:cxn>
                <a:cxn ang="0">
                  <a:pos x="254" y="248"/>
                </a:cxn>
                <a:cxn ang="0">
                  <a:pos x="280" y="310"/>
                </a:cxn>
                <a:cxn ang="0">
                  <a:pos x="306" y="329"/>
                </a:cxn>
                <a:cxn ang="0">
                  <a:pos x="346" y="405"/>
                </a:cxn>
                <a:cxn ang="0">
                  <a:pos x="377" y="443"/>
                </a:cxn>
                <a:cxn ang="0">
                  <a:pos x="365" y="477"/>
                </a:cxn>
                <a:cxn ang="0">
                  <a:pos x="300" y="413"/>
                </a:cxn>
                <a:cxn ang="0">
                  <a:pos x="282" y="357"/>
                </a:cxn>
                <a:cxn ang="0">
                  <a:pos x="176" y="286"/>
                </a:cxn>
                <a:cxn ang="0">
                  <a:pos x="158" y="214"/>
                </a:cxn>
                <a:cxn ang="0">
                  <a:pos x="74" y="94"/>
                </a:cxn>
                <a:cxn ang="0">
                  <a:pos x="0" y="0"/>
                </a:cxn>
                <a:cxn ang="0">
                  <a:pos x="365" y="106"/>
                </a:cxn>
                <a:cxn ang="0">
                  <a:pos x="493" y="96"/>
                </a:cxn>
                <a:cxn ang="0">
                  <a:pos x="563" y="166"/>
                </a:cxn>
                <a:cxn ang="0">
                  <a:pos x="577" y="218"/>
                </a:cxn>
                <a:cxn ang="0">
                  <a:pos x="639" y="198"/>
                </a:cxn>
                <a:cxn ang="0">
                  <a:pos x="673" y="200"/>
                </a:cxn>
                <a:cxn ang="0">
                  <a:pos x="703" y="216"/>
                </a:cxn>
                <a:cxn ang="0">
                  <a:pos x="747" y="290"/>
                </a:cxn>
                <a:cxn ang="0">
                  <a:pos x="779" y="355"/>
                </a:cxn>
                <a:cxn ang="0">
                  <a:pos x="815" y="383"/>
                </a:cxn>
                <a:cxn ang="0">
                  <a:pos x="860" y="389"/>
                </a:cxn>
              </a:cxnLst>
              <a:rect l="0" t="0" r="r" b="b"/>
              <a:pathLst>
                <a:path w="1244" h="822">
                  <a:moveTo>
                    <a:pt x="850" y="419"/>
                  </a:moveTo>
                  <a:lnTo>
                    <a:pt x="840" y="431"/>
                  </a:lnTo>
                  <a:lnTo>
                    <a:pt x="840" y="453"/>
                  </a:lnTo>
                  <a:lnTo>
                    <a:pt x="838" y="481"/>
                  </a:lnTo>
                  <a:lnTo>
                    <a:pt x="844" y="493"/>
                  </a:lnTo>
                  <a:lnTo>
                    <a:pt x="842" y="541"/>
                  </a:lnTo>
                  <a:lnTo>
                    <a:pt x="856" y="547"/>
                  </a:lnTo>
                  <a:lnTo>
                    <a:pt x="862" y="565"/>
                  </a:lnTo>
                  <a:lnTo>
                    <a:pt x="864" y="581"/>
                  </a:lnTo>
                  <a:lnTo>
                    <a:pt x="876" y="589"/>
                  </a:lnTo>
                  <a:lnTo>
                    <a:pt x="900" y="601"/>
                  </a:lnTo>
                  <a:lnTo>
                    <a:pt x="910" y="645"/>
                  </a:lnTo>
                  <a:lnTo>
                    <a:pt x="968" y="674"/>
                  </a:lnTo>
                  <a:lnTo>
                    <a:pt x="992" y="674"/>
                  </a:lnTo>
                  <a:lnTo>
                    <a:pt x="1004" y="664"/>
                  </a:lnTo>
                  <a:lnTo>
                    <a:pt x="1016" y="668"/>
                  </a:lnTo>
                  <a:lnTo>
                    <a:pt x="1030" y="653"/>
                  </a:lnTo>
                  <a:lnTo>
                    <a:pt x="1056" y="653"/>
                  </a:lnTo>
                  <a:lnTo>
                    <a:pt x="1066" y="662"/>
                  </a:lnTo>
                  <a:lnTo>
                    <a:pt x="1098" y="649"/>
                  </a:lnTo>
                  <a:lnTo>
                    <a:pt x="1134" y="569"/>
                  </a:lnTo>
                  <a:lnTo>
                    <a:pt x="1158" y="557"/>
                  </a:lnTo>
                  <a:lnTo>
                    <a:pt x="1176" y="557"/>
                  </a:lnTo>
                  <a:lnTo>
                    <a:pt x="1188" y="549"/>
                  </a:lnTo>
                  <a:lnTo>
                    <a:pt x="1214" y="555"/>
                  </a:lnTo>
                  <a:lnTo>
                    <a:pt x="1240" y="563"/>
                  </a:lnTo>
                  <a:lnTo>
                    <a:pt x="1244" y="579"/>
                  </a:lnTo>
                  <a:lnTo>
                    <a:pt x="1228" y="601"/>
                  </a:lnTo>
                  <a:lnTo>
                    <a:pt x="1220" y="621"/>
                  </a:lnTo>
                  <a:lnTo>
                    <a:pt x="1226" y="637"/>
                  </a:lnTo>
                  <a:lnTo>
                    <a:pt x="1216" y="678"/>
                  </a:lnTo>
                  <a:lnTo>
                    <a:pt x="1210" y="678"/>
                  </a:lnTo>
                  <a:lnTo>
                    <a:pt x="1208" y="658"/>
                  </a:lnTo>
                  <a:lnTo>
                    <a:pt x="1196" y="672"/>
                  </a:lnTo>
                  <a:lnTo>
                    <a:pt x="1174" y="674"/>
                  </a:lnTo>
                  <a:lnTo>
                    <a:pt x="1152" y="692"/>
                  </a:lnTo>
                  <a:lnTo>
                    <a:pt x="1150" y="702"/>
                  </a:lnTo>
                  <a:lnTo>
                    <a:pt x="1084" y="702"/>
                  </a:lnTo>
                  <a:lnTo>
                    <a:pt x="1080" y="714"/>
                  </a:lnTo>
                  <a:lnTo>
                    <a:pt x="1068" y="714"/>
                  </a:lnTo>
                  <a:lnTo>
                    <a:pt x="1096" y="746"/>
                  </a:lnTo>
                  <a:lnTo>
                    <a:pt x="1116" y="758"/>
                  </a:lnTo>
                  <a:lnTo>
                    <a:pt x="1116" y="764"/>
                  </a:lnTo>
                  <a:lnTo>
                    <a:pt x="1058" y="770"/>
                  </a:lnTo>
                  <a:lnTo>
                    <a:pt x="1040" y="822"/>
                  </a:lnTo>
                  <a:lnTo>
                    <a:pt x="1022" y="810"/>
                  </a:lnTo>
                  <a:lnTo>
                    <a:pt x="980" y="768"/>
                  </a:lnTo>
                  <a:lnTo>
                    <a:pt x="972" y="776"/>
                  </a:lnTo>
                  <a:lnTo>
                    <a:pt x="960" y="774"/>
                  </a:lnTo>
                  <a:lnTo>
                    <a:pt x="960" y="764"/>
                  </a:lnTo>
                  <a:lnTo>
                    <a:pt x="940" y="766"/>
                  </a:lnTo>
                  <a:lnTo>
                    <a:pt x="946" y="774"/>
                  </a:lnTo>
                  <a:lnTo>
                    <a:pt x="912" y="786"/>
                  </a:lnTo>
                  <a:lnTo>
                    <a:pt x="892" y="796"/>
                  </a:lnTo>
                  <a:lnTo>
                    <a:pt x="868" y="776"/>
                  </a:lnTo>
                  <a:lnTo>
                    <a:pt x="835" y="772"/>
                  </a:lnTo>
                  <a:lnTo>
                    <a:pt x="793" y="748"/>
                  </a:lnTo>
                  <a:lnTo>
                    <a:pt x="765" y="746"/>
                  </a:lnTo>
                  <a:lnTo>
                    <a:pt x="715" y="722"/>
                  </a:lnTo>
                  <a:lnTo>
                    <a:pt x="683" y="688"/>
                  </a:lnTo>
                  <a:lnTo>
                    <a:pt x="641" y="690"/>
                  </a:lnTo>
                  <a:lnTo>
                    <a:pt x="593" y="641"/>
                  </a:lnTo>
                  <a:lnTo>
                    <a:pt x="579" y="637"/>
                  </a:lnTo>
                  <a:lnTo>
                    <a:pt x="547" y="597"/>
                  </a:lnTo>
                  <a:lnTo>
                    <a:pt x="561" y="581"/>
                  </a:lnTo>
                  <a:lnTo>
                    <a:pt x="563" y="565"/>
                  </a:lnTo>
                  <a:lnTo>
                    <a:pt x="555" y="547"/>
                  </a:lnTo>
                  <a:lnTo>
                    <a:pt x="533" y="493"/>
                  </a:lnTo>
                  <a:lnTo>
                    <a:pt x="519" y="487"/>
                  </a:lnTo>
                  <a:lnTo>
                    <a:pt x="501" y="473"/>
                  </a:lnTo>
                  <a:lnTo>
                    <a:pt x="461" y="421"/>
                  </a:lnTo>
                  <a:lnTo>
                    <a:pt x="443" y="411"/>
                  </a:lnTo>
                  <a:lnTo>
                    <a:pt x="439" y="397"/>
                  </a:lnTo>
                  <a:lnTo>
                    <a:pt x="417" y="397"/>
                  </a:lnTo>
                  <a:lnTo>
                    <a:pt x="401" y="387"/>
                  </a:lnTo>
                  <a:lnTo>
                    <a:pt x="399" y="371"/>
                  </a:lnTo>
                  <a:lnTo>
                    <a:pt x="409" y="355"/>
                  </a:lnTo>
                  <a:lnTo>
                    <a:pt x="403" y="339"/>
                  </a:lnTo>
                  <a:lnTo>
                    <a:pt x="389" y="341"/>
                  </a:lnTo>
                  <a:lnTo>
                    <a:pt x="383" y="333"/>
                  </a:lnTo>
                  <a:lnTo>
                    <a:pt x="379" y="323"/>
                  </a:lnTo>
                  <a:lnTo>
                    <a:pt x="379" y="314"/>
                  </a:lnTo>
                  <a:lnTo>
                    <a:pt x="354" y="312"/>
                  </a:lnTo>
                  <a:lnTo>
                    <a:pt x="350" y="296"/>
                  </a:lnTo>
                  <a:lnTo>
                    <a:pt x="350" y="280"/>
                  </a:lnTo>
                  <a:lnTo>
                    <a:pt x="330" y="290"/>
                  </a:lnTo>
                  <a:lnTo>
                    <a:pt x="324" y="280"/>
                  </a:lnTo>
                  <a:lnTo>
                    <a:pt x="312" y="254"/>
                  </a:lnTo>
                  <a:lnTo>
                    <a:pt x="300" y="252"/>
                  </a:lnTo>
                  <a:lnTo>
                    <a:pt x="302" y="242"/>
                  </a:lnTo>
                  <a:lnTo>
                    <a:pt x="294" y="230"/>
                  </a:lnTo>
                  <a:lnTo>
                    <a:pt x="276" y="218"/>
                  </a:lnTo>
                  <a:lnTo>
                    <a:pt x="272" y="202"/>
                  </a:lnTo>
                  <a:lnTo>
                    <a:pt x="268" y="192"/>
                  </a:lnTo>
                  <a:lnTo>
                    <a:pt x="256" y="186"/>
                  </a:lnTo>
                  <a:lnTo>
                    <a:pt x="254" y="174"/>
                  </a:lnTo>
                  <a:lnTo>
                    <a:pt x="242" y="158"/>
                  </a:lnTo>
                  <a:lnTo>
                    <a:pt x="244" y="124"/>
                  </a:lnTo>
                  <a:lnTo>
                    <a:pt x="186" y="86"/>
                  </a:lnTo>
                  <a:lnTo>
                    <a:pt x="158" y="82"/>
                  </a:lnTo>
                  <a:lnTo>
                    <a:pt x="172" y="110"/>
                  </a:lnTo>
                  <a:lnTo>
                    <a:pt x="180" y="138"/>
                  </a:lnTo>
                  <a:lnTo>
                    <a:pt x="190" y="172"/>
                  </a:lnTo>
                  <a:lnTo>
                    <a:pt x="194" y="196"/>
                  </a:lnTo>
                  <a:lnTo>
                    <a:pt x="204" y="212"/>
                  </a:lnTo>
                  <a:lnTo>
                    <a:pt x="220" y="222"/>
                  </a:lnTo>
                  <a:lnTo>
                    <a:pt x="234" y="238"/>
                  </a:lnTo>
                  <a:lnTo>
                    <a:pt x="254" y="248"/>
                  </a:lnTo>
                  <a:lnTo>
                    <a:pt x="260" y="262"/>
                  </a:lnTo>
                  <a:lnTo>
                    <a:pt x="262" y="278"/>
                  </a:lnTo>
                  <a:lnTo>
                    <a:pt x="274" y="294"/>
                  </a:lnTo>
                  <a:lnTo>
                    <a:pt x="280" y="310"/>
                  </a:lnTo>
                  <a:lnTo>
                    <a:pt x="294" y="316"/>
                  </a:lnTo>
                  <a:lnTo>
                    <a:pt x="294" y="335"/>
                  </a:lnTo>
                  <a:lnTo>
                    <a:pt x="302" y="343"/>
                  </a:lnTo>
                  <a:lnTo>
                    <a:pt x="306" y="329"/>
                  </a:lnTo>
                  <a:lnTo>
                    <a:pt x="320" y="339"/>
                  </a:lnTo>
                  <a:lnTo>
                    <a:pt x="324" y="365"/>
                  </a:lnTo>
                  <a:lnTo>
                    <a:pt x="342" y="389"/>
                  </a:lnTo>
                  <a:lnTo>
                    <a:pt x="346" y="405"/>
                  </a:lnTo>
                  <a:lnTo>
                    <a:pt x="350" y="429"/>
                  </a:lnTo>
                  <a:lnTo>
                    <a:pt x="352" y="439"/>
                  </a:lnTo>
                  <a:lnTo>
                    <a:pt x="363" y="433"/>
                  </a:lnTo>
                  <a:lnTo>
                    <a:pt x="377" y="443"/>
                  </a:lnTo>
                  <a:lnTo>
                    <a:pt x="387" y="457"/>
                  </a:lnTo>
                  <a:lnTo>
                    <a:pt x="395" y="463"/>
                  </a:lnTo>
                  <a:lnTo>
                    <a:pt x="373" y="493"/>
                  </a:lnTo>
                  <a:lnTo>
                    <a:pt x="365" y="477"/>
                  </a:lnTo>
                  <a:lnTo>
                    <a:pt x="330" y="447"/>
                  </a:lnTo>
                  <a:lnTo>
                    <a:pt x="320" y="443"/>
                  </a:lnTo>
                  <a:lnTo>
                    <a:pt x="312" y="435"/>
                  </a:lnTo>
                  <a:lnTo>
                    <a:pt x="300" y="413"/>
                  </a:lnTo>
                  <a:lnTo>
                    <a:pt x="288" y="423"/>
                  </a:lnTo>
                  <a:lnTo>
                    <a:pt x="286" y="397"/>
                  </a:lnTo>
                  <a:lnTo>
                    <a:pt x="288" y="373"/>
                  </a:lnTo>
                  <a:lnTo>
                    <a:pt x="282" y="357"/>
                  </a:lnTo>
                  <a:lnTo>
                    <a:pt x="256" y="335"/>
                  </a:lnTo>
                  <a:lnTo>
                    <a:pt x="250" y="327"/>
                  </a:lnTo>
                  <a:lnTo>
                    <a:pt x="208" y="310"/>
                  </a:lnTo>
                  <a:lnTo>
                    <a:pt x="176" y="286"/>
                  </a:lnTo>
                  <a:lnTo>
                    <a:pt x="194" y="280"/>
                  </a:lnTo>
                  <a:lnTo>
                    <a:pt x="210" y="266"/>
                  </a:lnTo>
                  <a:lnTo>
                    <a:pt x="194" y="242"/>
                  </a:lnTo>
                  <a:lnTo>
                    <a:pt x="158" y="214"/>
                  </a:lnTo>
                  <a:lnTo>
                    <a:pt x="136" y="180"/>
                  </a:lnTo>
                  <a:lnTo>
                    <a:pt x="120" y="158"/>
                  </a:lnTo>
                  <a:lnTo>
                    <a:pt x="94" y="114"/>
                  </a:lnTo>
                  <a:lnTo>
                    <a:pt x="74" y="94"/>
                  </a:lnTo>
                  <a:lnTo>
                    <a:pt x="58" y="66"/>
                  </a:lnTo>
                  <a:lnTo>
                    <a:pt x="32" y="42"/>
                  </a:lnTo>
                  <a:lnTo>
                    <a:pt x="6" y="16"/>
                  </a:lnTo>
                  <a:lnTo>
                    <a:pt x="0" y="0"/>
                  </a:lnTo>
                  <a:lnTo>
                    <a:pt x="108" y="4"/>
                  </a:lnTo>
                  <a:lnTo>
                    <a:pt x="106" y="12"/>
                  </a:lnTo>
                  <a:lnTo>
                    <a:pt x="268" y="94"/>
                  </a:lnTo>
                  <a:lnTo>
                    <a:pt x="365" y="106"/>
                  </a:lnTo>
                  <a:lnTo>
                    <a:pt x="405" y="108"/>
                  </a:lnTo>
                  <a:lnTo>
                    <a:pt x="411" y="86"/>
                  </a:lnTo>
                  <a:lnTo>
                    <a:pt x="485" y="94"/>
                  </a:lnTo>
                  <a:lnTo>
                    <a:pt x="493" y="96"/>
                  </a:lnTo>
                  <a:lnTo>
                    <a:pt x="501" y="110"/>
                  </a:lnTo>
                  <a:lnTo>
                    <a:pt x="509" y="116"/>
                  </a:lnTo>
                  <a:lnTo>
                    <a:pt x="537" y="146"/>
                  </a:lnTo>
                  <a:lnTo>
                    <a:pt x="563" y="166"/>
                  </a:lnTo>
                  <a:lnTo>
                    <a:pt x="563" y="176"/>
                  </a:lnTo>
                  <a:lnTo>
                    <a:pt x="569" y="184"/>
                  </a:lnTo>
                  <a:lnTo>
                    <a:pt x="569" y="204"/>
                  </a:lnTo>
                  <a:lnTo>
                    <a:pt x="577" y="218"/>
                  </a:lnTo>
                  <a:lnTo>
                    <a:pt x="615" y="230"/>
                  </a:lnTo>
                  <a:lnTo>
                    <a:pt x="619" y="228"/>
                  </a:lnTo>
                  <a:lnTo>
                    <a:pt x="633" y="200"/>
                  </a:lnTo>
                  <a:lnTo>
                    <a:pt x="639" y="198"/>
                  </a:lnTo>
                  <a:lnTo>
                    <a:pt x="647" y="202"/>
                  </a:lnTo>
                  <a:lnTo>
                    <a:pt x="651" y="194"/>
                  </a:lnTo>
                  <a:lnTo>
                    <a:pt x="661" y="198"/>
                  </a:lnTo>
                  <a:lnTo>
                    <a:pt x="673" y="200"/>
                  </a:lnTo>
                  <a:lnTo>
                    <a:pt x="681" y="204"/>
                  </a:lnTo>
                  <a:lnTo>
                    <a:pt x="687" y="202"/>
                  </a:lnTo>
                  <a:lnTo>
                    <a:pt x="699" y="208"/>
                  </a:lnTo>
                  <a:lnTo>
                    <a:pt x="703" y="216"/>
                  </a:lnTo>
                  <a:lnTo>
                    <a:pt x="707" y="218"/>
                  </a:lnTo>
                  <a:lnTo>
                    <a:pt x="727" y="236"/>
                  </a:lnTo>
                  <a:lnTo>
                    <a:pt x="731" y="270"/>
                  </a:lnTo>
                  <a:lnTo>
                    <a:pt x="747" y="290"/>
                  </a:lnTo>
                  <a:lnTo>
                    <a:pt x="769" y="308"/>
                  </a:lnTo>
                  <a:lnTo>
                    <a:pt x="769" y="325"/>
                  </a:lnTo>
                  <a:lnTo>
                    <a:pt x="773" y="341"/>
                  </a:lnTo>
                  <a:lnTo>
                    <a:pt x="779" y="355"/>
                  </a:lnTo>
                  <a:lnTo>
                    <a:pt x="781" y="363"/>
                  </a:lnTo>
                  <a:lnTo>
                    <a:pt x="787" y="365"/>
                  </a:lnTo>
                  <a:lnTo>
                    <a:pt x="797" y="371"/>
                  </a:lnTo>
                  <a:lnTo>
                    <a:pt x="815" y="383"/>
                  </a:lnTo>
                  <a:lnTo>
                    <a:pt x="831" y="385"/>
                  </a:lnTo>
                  <a:lnTo>
                    <a:pt x="848" y="395"/>
                  </a:lnTo>
                  <a:lnTo>
                    <a:pt x="854" y="389"/>
                  </a:lnTo>
                  <a:lnTo>
                    <a:pt x="860" y="389"/>
                  </a:lnTo>
                  <a:lnTo>
                    <a:pt x="850" y="419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46" name="Moldova">
              <a:extLst>
                <a:ext uri="{FF2B5EF4-FFF2-40B4-BE49-F238E27FC236}">
                  <a16:creationId xmlns="" xmlns:a16="http://schemas.microsoft.com/office/drawing/2014/main" id="{D94B18FA-45D1-439B-844E-7E4ABA4A1A79}"/>
                </a:ext>
              </a:extLst>
            </p:cNvPr>
            <p:cNvSpPr>
              <a:spLocks/>
            </p:cNvSpPr>
            <p:nvPr/>
          </p:nvSpPr>
          <p:spPr bwMode="gray">
            <a:xfrm>
              <a:off x="6615088" y="2788847"/>
              <a:ext cx="121043" cy="143558"/>
            </a:xfrm>
            <a:custGeom>
              <a:avLst/>
              <a:gdLst/>
              <a:ahLst/>
              <a:cxnLst>
                <a:cxn ang="0">
                  <a:pos x="18" y="0"/>
                </a:cxn>
                <a:cxn ang="0">
                  <a:pos x="48" y="18"/>
                </a:cxn>
                <a:cxn ang="0">
                  <a:pos x="68" y="24"/>
                </a:cxn>
                <a:cxn ang="0">
                  <a:pos x="84" y="20"/>
                </a:cxn>
                <a:cxn ang="0">
                  <a:pos x="100" y="28"/>
                </a:cxn>
                <a:cxn ang="0">
                  <a:pos x="114" y="36"/>
                </a:cxn>
                <a:cxn ang="0">
                  <a:pos x="128" y="52"/>
                </a:cxn>
                <a:cxn ang="0">
                  <a:pos x="134" y="76"/>
                </a:cxn>
                <a:cxn ang="0">
                  <a:pos x="140" y="100"/>
                </a:cxn>
                <a:cxn ang="0">
                  <a:pos x="150" y="122"/>
                </a:cxn>
                <a:cxn ang="0">
                  <a:pos x="126" y="126"/>
                </a:cxn>
                <a:cxn ang="0">
                  <a:pos x="104" y="120"/>
                </a:cxn>
                <a:cxn ang="0">
                  <a:pos x="96" y="146"/>
                </a:cxn>
                <a:cxn ang="0">
                  <a:pos x="84" y="168"/>
                </a:cxn>
                <a:cxn ang="0">
                  <a:pos x="66" y="178"/>
                </a:cxn>
                <a:cxn ang="0">
                  <a:pos x="62" y="160"/>
                </a:cxn>
                <a:cxn ang="0">
                  <a:pos x="66" y="138"/>
                </a:cxn>
                <a:cxn ang="0">
                  <a:pos x="64" y="124"/>
                </a:cxn>
                <a:cxn ang="0">
                  <a:pos x="58" y="96"/>
                </a:cxn>
                <a:cxn ang="0">
                  <a:pos x="46" y="78"/>
                </a:cxn>
                <a:cxn ang="0">
                  <a:pos x="34" y="50"/>
                </a:cxn>
                <a:cxn ang="0">
                  <a:pos x="18" y="28"/>
                </a:cxn>
                <a:cxn ang="0">
                  <a:pos x="0" y="16"/>
                </a:cxn>
                <a:cxn ang="0">
                  <a:pos x="2" y="4"/>
                </a:cxn>
                <a:cxn ang="0">
                  <a:pos x="18" y="0"/>
                </a:cxn>
              </a:cxnLst>
              <a:rect l="0" t="0" r="r" b="b"/>
              <a:pathLst>
                <a:path w="150" h="178">
                  <a:moveTo>
                    <a:pt x="18" y="0"/>
                  </a:moveTo>
                  <a:lnTo>
                    <a:pt x="48" y="18"/>
                  </a:lnTo>
                  <a:lnTo>
                    <a:pt x="68" y="24"/>
                  </a:lnTo>
                  <a:lnTo>
                    <a:pt x="84" y="20"/>
                  </a:lnTo>
                  <a:lnTo>
                    <a:pt x="100" y="28"/>
                  </a:lnTo>
                  <a:lnTo>
                    <a:pt x="114" y="36"/>
                  </a:lnTo>
                  <a:lnTo>
                    <a:pt x="128" y="52"/>
                  </a:lnTo>
                  <a:lnTo>
                    <a:pt x="134" y="76"/>
                  </a:lnTo>
                  <a:lnTo>
                    <a:pt x="140" y="100"/>
                  </a:lnTo>
                  <a:lnTo>
                    <a:pt x="150" y="122"/>
                  </a:lnTo>
                  <a:lnTo>
                    <a:pt x="126" y="126"/>
                  </a:lnTo>
                  <a:lnTo>
                    <a:pt x="104" y="120"/>
                  </a:lnTo>
                  <a:lnTo>
                    <a:pt x="96" y="146"/>
                  </a:lnTo>
                  <a:lnTo>
                    <a:pt x="84" y="168"/>
                  </a:lnTo>
                  <a:lnTo>
                    <a:pt x="66" y="178"/>
                  </a:lnTo>
                  <a:lnTo>
                    <a:pt x="62" y="160"/>
                  </a:lnTo>
                  <a:lnTo>
                    <a:pt x="66" y="138"/>
                  </a:lnTo>
                  <a:lnTo>
                    <a:pt x="64" y="124"/>
                  </a:lnTo>
                  <a:lnTo>
                    <a:pt x="58" y="96"/>
                  </a:lnTo>
                  <a:lnTo>
                    <a:pt x="46" y="78"/>
                  </a:lnTo>
                  <a:lnTo>
                    <a:pt x="34" y="50"/>
                  </a:lnTo>
                  <a:lnTo>
                    <a:pt x="18" y="28"/>
                  </a:lnTo>
                  <a:lnTo>
                    <a:pt x="0" y="16"/>
                  </a:lnTo>
                  <a:lnTo>
                    <a:pt x="2" y="4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47" name="Monaco">
              <a:extLst>
                <a:ext uri="{FF2B5EF4-FFF2-40B4-BE49-F238E27FC236}">
                  <a16:creationId xmlns="" xmlns:a16="http://schemas.microsoft.com/office/drawing/2014/main" id="{3A23EC6A-694F-4233-9591-EDE9DA228721}"/>
                </a:ext>
              </a:extLst>
            </p:cNvPr>
            <p:cNvSpPr>
              <a:spLocks/>
            </p:cNvSpPr>
            <p:nvPr/>
          </p:nvSpPr>
          <p:spPr bwMode="gray">
            <a:xfrm>
              <a:off x="6013779" y="3003203"/>
              <a:ext cx="13667" cy="15732"/>
            </a:xfrm>
            <a:custGeom>
              <a:avLst/>
              <a:gdLst/>
              <a:ahLst/>
              <a:cxnLst>
                <a:cxn ang="0">
                  <a:pos x="188" y="94"/>
                </a:cxn>
                <a:cxn ang="0">
                  <a:pos x="94" y="188"/>
                </a:cxn>
                <a:cxn ang="0">
                  <a:pos x="0" y="94"/>
                </a:cxn>
                <a:cxn ang="0">
                  <a:pos x="0" y="90"/>
                </a:cxn>
                <a:cxn ang="0">
                  <a:pos x="94" y="0"/>
                </a:cxn>
                <a:cxn ang="0">
                  <a:pos x="188" y="94"/>
                </a:cxn>
              </a:cxnLst>
              <a:rect l="0" t="0" r="r" b="b"/>
              <a:pathLst>
                <a:path w="188" h="188">
                  <a:moveTo>
                    <a:pt x="188" y="94"/>
                  </a:moveTo>
                  <a:cubicBezTo>
                    <a:pt x="188" y="146"/>
                    <a:pt x="146" y="188"/>
                    <a:pt x="94" y="188"/>
                  </a:cubicBezTo>
                  <a:cubicBezTo>
                    <a:pt x="42" y="188"/>
                    <a:pt x="0" y="146"/>
                    <a:pt x="0" y="94"/>
                  </a:cubicBezTo>
                  <a:cubicBezTo>
                    <a:pt x="0" y="93"/>
                    <a:pt x="0" y="91"/>
                    <a:pt x="0" y="90"/>
                  </a:cubicBezTo>
                  <a:cubicBezTo>
                    <a:pt x="3" y="40"/>
                    <a:pt x="44" y="0"/>
                    <a:pt x="94" y="0"/>
                  </a:cubicBezTo>
                  <a:cubicBezTo>
                    <a:pt x="146" y="0"/>
                    <a:pt x="188" y="43"/>
                    <a:pt x="188" y="94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48" name="Mongolia">
              <a:extLst>
                <a:ext uri="{FF2B5EF4-FFF2-40B4-BE49-F238E27FC236}">
                  <a16:creationId xmlns="" xmlns:a16="http://schemas.microsoft.com/office/drawing/2014/main" id="{362B3301-5214-44D4-B851-69EA83B89D03}"/>
                </a:ext>
              </a:extLst>
            </p:cNvPr>
            <p:cNvSpPr>
              <a:spLocks/>
            </p:cNvSpPr>
            <p:nvPr/>
          </p:nvSpPr>
          <p:spPr bwMode="gray">
            <a:xfrm>
              <a:off x="8493205" y="2619723"/>
              <a:ext cx="995675" cy="481806"/>
            </a:xfrm>
            <a:custGeom>
              <a:avLst/>
              <a:gdLst/>
              <a:ahLst/>
              <a:cxnLst>
                <a:cxn ang="0">
                  <a:pos x="70" y="226"/>
                </a:cxn>
                <a:cxn ang="0">
                  <a:pos x="134" y="300"/>
                </a:cxn>
                <a:cxn ang="0">
                  <a:pos x="132" y="372"/>
                </a:cxn>
                <a:cxn ang="0">
                  <a:pos x="212" y="394"/>
                </a:cxn>
                <a:cxn ang="0">
                  <a:pos x="302" y="448"/>
                </a:cxn>
                <a:cxn ang="0">
                  <a:pos x="352" y="532"/>
                </a:cxn>
                <a:cxn ang="0">
                  <a:pos x="408" y="542"/>
                </a:cxn>
                <a:cxn ang="0">
                  <a:pos x="556" y="540"/>
                </a:cxn>
                <a:cxn ang="0">
                  <a:pos x="608" y="566"/>
                </a:cxn>
                <a:cxn ang="0">
                  <a:pos x="658" y="578"/>
                </a:cxn>
                <a:cxn ang="0">
                  <a:pos x="700" y="582"/>
                </a:cxn>
                <a:cxn ang="0">
                  <a:pos x="788" y="536"/>
                </a:cxn>
                <a:cxn ang="0">
                  <a:pos x="890" y="506"/>
                </a:cxn>
                <a:cxn ang="0">
                  <a:pos x="936" y="464"/>
                </a:cxn>
                <a:cxn ang="0">
                  <a:pos x="906" y="424"/>
                </a:cxn>
                <a:cxn ang="0">
                  <a:pos x="954" y="388"/>
                </a:cxn>
                <a:cxn ang="0">
                  <a:pos x="1052" y="374"/>
                </a:cxn>
                <a:cxn ang="0">
                  <a:pos x="1132" y="358"/>
                </a:cxn>
                <a:cxn ang="0">
                  <a:pos x="1166" y="344"/>
                </a:cxn>
                <a:cxn ang="0">
                  <a:pos x="1206" y="354"/>
                </a:cxn>
                <a:cxn ang="0">
                  <a:pos x="1198" y="284"/>
                </a:cxn>
                <a:cxn ang="0">
                  <a:pos x="1164" y="248"/>
                </a:cxn>
                <a:cxn ang="0">
                  <a:pos x="1136" y="268"/>
                </a:cxn>
                <a:cxn ang="0">
                  <a:pos x="1086" y="256"/>
                </a:cxn>
                <a:cxn ang="0">
                  <a:pos x="1094" y="192"/>
                </a:cxn>
                <a:cxn ang="0">
                  <a:pos x="1110" y="138"/>
                </a:cxn>
                <a:cxn ang="0">
                  <a:pos x="1070" y="128"/>
                </a:cxn>
                <a:cxn ang="0">
                  <a:pos x="978" y="144"/>
                </a:cxn>
                <a:cxn ang="0">
                  <a:pos x="850" y="164"/>
                </a:cxn>
                <a:cxn ang="0">
                  <a:pos x="768" y="134"/>
                </a:cxn>
                <a:cxn ang="0">
                  <a:pos x="716" y="98"/>
                </a:cxn>
                <a:cxn ang="0">
                  <a:pos x="562" y="78"/>
                </a:cxn>
                <a:cxn ang="0">
                  <a:pos x="470" y="0"/>
                </a:cxn>
                <a:cxn ang="0">
                  <a:pos x="416" y="86"/>
                </a:cxn>
                <a:cxn ang="0">
                  <a:pos x="402" y="124"/>
                </a:cxn>
                <a:cxn ang="0">
                  <a:pos x="338" y="124"/>
                </a:cxn>
                <a:cxn ang="0">
                  <a:pos x="258" y="112"/>
                </a:cxn>
                <a:cxn ang="0">
                  <a:pos x="192" y="82"/>
                </a:cxn>
                <a:cxn ang="0">
                  <a:pos x="90" y="122"/>
                </a:cxn>
                <a:cxn ang="0">
                  <a:pos x="34" y="162"/>
                </a:cxn>
                <a:cxn ang="0">
                  <a:pos x="10" y="182"/>
                </a:cxn>
                <a:cxn ang="0">
                  <a:pos x="18" y="204"/>
                </a:cxn>
                <a:cxn ang="0">
                  <a:pos x="38" y="220"/>
                </a:cxn>
              </a:cxnLst>
              <a:rect l="0" t="0" r="r" b="b"/>
              <a:pathLst>
                <a:path w="1228" h="590">
                  <a:moveTo>
                    <a:pt x="38" y="220"/>
                  </a:moveTo>
                  <a:lnTo>
                    <a:pt x="70" y="226"/>
                  </a:lnTo>
                  <a:lnTo>
                    <a:pt x="98" y="244"/>
                  </a:lnTo>
                  <a:lnTo>
                    <a:pt x="134" y="300"/>
                  </a:lnTo>
                  <a:lnTo>
                    <a:pt x="158" y="320"/>
                  </a:lnTo>
                  <a:lnTo>
                    <a:pt x="132" y="372"/>
                  </a:lnTo>
                  <a:lnTo>
                    <a:pt x="144" y="386"/>
                  </a:lnTo>
                  <a:lnTo>
                    <a:pt x="212" y="394"/>
                  </a:lnTo>
                  <a:lnTo>
                    <a:pt x="272" y="416"/>
                  </a:lnTo>
                  <a:lnTo>
                    <a:pt x="302" y="448"/>
                  </a:lnTo>
                  <a:lnTo>
                    <a:pt x="314" y="456"/>
                  </a:lnTo>
                  <a:lnTo>
                    <a:pt x="352" y="532"/>
                  </a:lnTo>
                  <a:lnTo>
                    <a:pt x="382" y="532"/>
                  </a:lnTo>
                  <a:lnTo>
                    <a:pt x="408" y="542"/>
                  </a:lnTo>
                  <a:lnTo>
                    <a:pt x="500" y="544"/>
                  </a:lnTo>
                  <a:lnTo>
                    <a:pt x="556" y="540"/>
                  </a:lnTo>
                  <a:lnTo>
                    <a:pt x="578" y="564"/>
                  </a:lnTo>
                  <a:lnTo>
                    <a:pt x="608" y="566"/>
                  </a:lnTo>
                  <a:lnTo>
                    <a:pt x="630" y="582"/>
                  </a:lnTo>
                  <a:lnTo>
                    <a:pt x="658" y="578"/>
                  </a:lnTo>
                  <a:lnTo>
                    <a:pt x="676" y="590"/>
                  </a:lnTo>
                  <a:lnTo>
                    <a:pt x="700" y="582"/>
                  </a:lnTo>
                  <a:lnTo>
                    <a:pt x="716" y="562"/>
                  </a:lnTo>
                  <a:lnTo>
                    <a:pt x="788" y="536"/>
                  </a:lnTo>
                  <a:lnTo>
                    <a:pt x="872" y="534"/>
                  </a:lnTo>
                  <a:lnTo>
                    <a:pt x="890" y="506"/>
                  </a:lnTo>
                  <a:lnTo>
                    <a:pt x="926" y="488"/>
                  </a:lnTo>
                  <a:lnTo>
                    <a:pt x="936" y="464"/>
                  </a:lnTo>
                  <a:lnTo>
                    <a:pt x="906" y="442"/>
                  </a:lnTo>
                  <a:lnTo>
                    <a:pt x="906" y="424"/>
                  </a:lnTo>
                  <a:lnTo>
                    <a:pt x="940" y="390"/>
                  </a:lnTo>
                  <a:lnTo>
                    <a:pt x="954" y="388"/>
                  </a:lnTo>
                  <a:lnTo>
                    <a:pt x="990" y="410"/>
                  </a:lnTo>
                  <a:lnTo>
                    <a:pt x="1052" y="374"/>
                  </a:lnTo>
                  <a:lnTo>
                    <a:pt x="1092" y="380"/>
                  </a:lnTo>
                  <a:lnTo>
                    <a:pt x="1132" y="358"/>
                  </a:lnTo>
                  <a:lnTo>
                    <a:pt x="1154" y="356"/>
                  </a:lnTo>
                  <a:lnTo>
                    <a:pt x="1166" y="344"/>
                  </a:lnTo>
                  <a:lnTo>
                    <a:pt x="1186" y="342"/>
                  </a:lnTo>
                  <a:lnTo>
                    <a:pt x="1206" y="354"/>
                  </a:lnTo>
                  <a:lnTo>
                    <a:pt x="1228" y="320"/>
                  </a:lnTo>
                  <a:lnTo>
                    <a:pt x="1198" y="284"/>
                  </a:lnTo>
                  <a:lnTo>
                    <a:pt x="1196" y="268"/>
                  </a:lnTo>
                  <a:lnTo>
                    <a:pt x="1164" y="248"/>
                  </a:lnTo>
                  <a:lnTo>
                    <a:pt x="1152" y="250"/>
                  </a:lnTo>
                  <a:lnTo>
                    <a:pt x="1136" y="268"/>
                  </a:lnTo>
                  <a:lnTo>
                    <a:pt x="1118" y="258"/>
                  </a:lnTo>
                  <a:lnTo>
                    <a:pt x="1086" y="256"/>
                  </a:lnTo>
                  <a:lnTo>
                    <a:pt x="1074" y="234"/>
                  </a:lnTo>
                  <a:lnTo>
                    <a:pt x="1094" y="192"/>
                  </a:lnTo>
                  <a:lnTo>
                    <a:pt x="1098" y="158"/>
                  </a:lnTo>
                  <a:lnTo>
                    <a:pt x="1110" y="138"/>
                  </a:lnTo>
                  <a:lnTo>
                    <a:pt x="1102" y="128"/>
                  </a:lnTo>
                  <a:lnTo>
                    <a:pt x="1070" y="128"/>
                  </a:lnTo>
                  <a:lnTo>
                    <a:pt x="1038" y="108"/>
                  </a:lnTo>
                  <a:lnTo>
                    <a:pt x="978" y="144"/>
                  </a:lnTo>
                  <a:lnTo>
                    <a:pt x="926" y="162"/>
                  </a:lnTo>
                  <a:lnTo>
                    <a:pt x="850" y="164"/>
                  </a:lnTo>
                  <a:lnTo>
                    <a:pt x="800" y="154"/>
                  </a:lnTo>
                  <a:lnTo>
                    <a:pt x="768" y="134"/>
                  </a:lnTo>
                  <a:lnTo>
                    <a:pt x="746" y="104"/>
                  </a:lnTo>
                  <a:lnTo>
                    <a:pt x="716" y="98"/>
                  </a:lnTo>
                  <a:lnTo>
                    <a:pt x="592" y="110"/>
                  </a:lnTo>
                  <a:lnTo>
                    <a:pt x="562" y="78"/>
                  </a:lnTo>
                  <a:lnTo>
                    <a:pt x="554" y="30"/>
                  </a:lnTo>
                  <a:lnTo>
                    <a:pt x="470" y="0"/>
                  </a:lnTo>
                  <a:lnTo>
                    <a:pt x="418" y="44"/>
                  </a:lnTo>
                  <a:lnTo>
                    <a:pt x="416" y="86"/>
                  </a:lnTo>
                  <a:lnTo>
                    <a:pt x="400" y="106"/>
                  </a:lnTo>
                  <a:lnTo>
                    <a:pt x="402" y="124"/>
                  </a:lnTo>
                  <a:lnTo>
                    <a:pt x="370" y="140"/>
                  </a:lnTo>
                  <a:lnTo>
                    <a:pt x="338" y="124"/>
                  </a:lnTo>
                  <a:lnTo>
                    <a:pt x="300" y="134"/>
                  </a:lnTo>
                  <a:lnTo>
                    <a:pt x="258" y="112"/>
                  </a:lnTo>
                  <a:lnTo>
                    <a:pt x="230" y="116"/>
                  </a:lnTo>
                  <a:lnTo>
                    <a:pt x="192" y="82"/>
                  </a:lnTo>
                  <a:lnTo>
                    <a:pt x="164" y="82"/>
                  </a:lnTo>
                  <a:lnTo>
                    <a:pt x="90" y="122"/>
                  </a:lnTo>
                  <a:lnTo>
                    <a:pt x="88" y="140"/>
                  </a:lnTo>
                  <a:lnTo>
                    <a:pt x="34" y="162"/>
                  </a:lnTo>
                  <a:lnTo>
                    <a:pt x="22" y="180"/>
                  </a:lnTo>
                  <a:lnTo>
                    <a:pt x="10" y="182"/>
                  </a:lnTo>
                  <a:lnTo>
                    <a:pt x="0" y="190"/>
                  </a:lnTo>
                  <a:lnTo>
                    <a:pt x="18" y="204"/>
                  </a:lnTo>
                  <a:lnTo>
                    <a:pt x="24" y="206"/>
                  </a:lnTo>
                  <a:lnTo>
                    <a:pt x="38" y="220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49" name="Montenegro">
              <a:extLst>
                <a:ext uri="{FF2B5EF4-FFF2-40B4-BE49-F238E27FC236}">
                  <a16:creationId xmlns="" xmlns:a16="http://schemas.microsoft.com/office/drawing/2014/main" id="{587FEE2A-E8F3-4379-BF77-E01143F36B5E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371051" y="3016969"/>
              <a:ext cx="62474" cy="66863"/>
            </a:xfrm>
            <a:custGeom>
              <a:avLst/>
              <a:gdLst/>
              <a:ahLst/>
              <a:cxnLst>
                <a:cxn ang="0">
                  <a:pos x="668" y="246"/>
                </a:cxn>
                <a:cxn ang="0">
                  <a:pos x="912" y="395"/>
                </a:cxn>
                <a:cxn ang="0">
                  <a:pos x="784" y="520"/>
                </a:cxn>
                <a:cxn ang="0">
                  <a:pos x="732" y="709"/>
                </a:cxn>
                <a:cxn ang="0">
                  <a:pos x="590" y="614"/>
                </a:cxn>
                <a:cxn ang="0">
                  <a:pos x="449" y="780"/>
                </a:cxn>
                <a:cxn ang="0">
                  <a:pos x="425" y="992"/>
                </a:cxn>
                <a:cxn ang="0">
                  <a:pos x="307" y="921"/>
                </a:cxn>
                <a:cxn ang="0">
                  <a:pos x="236" y="756"/>
                </a:cxn>
                <a:cxn ang="0">
                  <a:pos x="0" y="567"/>
                </a:cxn>
                <a:cxn ang="0">
                  <a:pos x="0" y="567"/>
                </a:cxn>
                <a:cxn ang="0">
                  <a:pos x="94" y="425"/>
                </a:cxn>
                <a:cxn ang="0">
                  <a:pos x="331" y="213"/>
                </a:cxn>
                <a:cxn ang="0">
                  <a:pos x="401" y="0"/>
                </a:cxn>
                <a:cxn ang="0">
                  <a:pos x="668" y="246"/>
                </a:cxn>
              </a:cxnLst>
              <a:rect l="0" t="0" r="r" b="b"/>
              <a:pathLst>
                <a:path w="912" h="992">
                  <a:moveTo>
                    <a:pt x="668" y="246"/>
                  </a:moveTo>
                  <a:lnTo>
                    <a:pt x="912" y="395"/>
                  </a:lnTo>
                  <a:lnTo>
                    <a:pt x="784" y="520"/>
                  </a:lnTo>
                  <a:lnTo>
                    <a:pt x="732" y="709"/>
                  </a:lnTo>
                  <a:lnTo>
                    <a:pt x="590" y="614"/>
                  </a:lnTo>
                  <a:lnTo>
                    <a:pt x="449" y="780"/>
                  </a:lnTo>
                  <a:lnTo>
                    <a:pt x="425" y="992"/>
                  </a:lnTo>
                  <a:lnTo>
                    <a:pt x="307" y="921"/>
                  </a:lnTo>
                  <a:lnTo>
                    <a:pt x="236" y="756"/>
                  </a:lnTo>
                  <a:lnTo>
                    <a:pt x="0" y="567"/>
                  </a:lnTo>
                  <a:lnTo>
                    <a:pt x="0" y="567"/>
                  </a:lnTo>
                  <a:lnTo>
                    <a:pt x="94" y="425"/>
                  </a:lnTo>
                  <a:lnTo>
                    <a:pt x="331" y="213"/>
                  </a:lnTo>
                  <a:lnTo>
                    <a:pt x="401" y="0"/>
                  </a:lnTo>
                  <a:lnTo>
                    <a:pt x="668" y="246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50" name="Morocco">
              <a:extLst>
                <a:ext uri="{FF2B5EF4-FFF2-40B4-BE49-F238E27FC236}">
                  <a16:creationId xmlns="" xmlns:a16="http://schemas.microsoft.com/office/drawing/2014/main" id="{5A80B737-A420-4D02-B5C2-628CFD5A952A}"/>
                </a:ext>
              </a:extLst>
            </p:cNvPr>
            <p:cNvSpPr>
              <a:spLocks/>
            </p:cNvSpPr>
            <p:nvPr/>
          </p:nvSpPr>
          <p:spPr bwMode="gray">
            <a:xfrm>
              <a:off x="5398803" y="3339485"/>
              <a:ext cx="368987" cy="302851"/>
            </a:xfrm>
            <a:custGeom>
              <a:avLst/>
              <a:gdLst/>
              <a:ahLst/>
              <a:cxnLst>
                <a:cxn ang="0">
                  <a:pos x="55" y="339"/>
                </a:cxn>
                <a:cxn ang="0">
                  <a:pos x="131" y="276"/>
                </a:cxn>
                <a:cxn ang="0">
                  <a:pos x="133" y="256"/>
                </a:cxn>
                <a:cxn ang="0">
                  <a:pos x="125" y="204"/>
                </a:cxn>
                <a:cxn ang="0">
                  <a:pos x="147" y="170"/>
                </a:cxn>
                <a:cxn ang="0">
                  <a:pos x="171" y="124"/>
                </a:cxn>
                <a:cxn ang="0">
                  <a:pos x="229" y="92"/>
                </a:cxn>
                <a:cxn ang="0">
                  <a:pos x="251" y="56"/>
                </a:cxn>
                <a:cxn ang="0">
                  <a:pos x="269" y="8"/>
                </a:cxn>
                <a:cxn ang="0">
                  <a:pos x="287" y="0"/>
                </a:cxn>
                <a:cxn ang="0">
                  <a:pos x="299" y="2"/>
                </a:cxn>
                <a:cxn ang="0">
                  <a:pos x="295" y="16"/>
                </a:cxn>
                <a:cxn ang="0">
                  <a:pos x="333" y="32"/>
                </a:cxn>
                <a:cxn ang="0">
                  <a:pos x="385" y="26"/>
                </a:cxn>
                <a:cxn ang="0">
                  <a:pos x="413" y="34"/>
                </a:cxn>
                <a:cxn ang="0">
                  <a:pos x="423" y="68"/>
                </a:cxn>
                <a:cxn ang="0">
                  <a:pos x="423" y="104"/>
                </a:cxn>
                <a:cxn ang="0">
                  <a:pos x="433" y="134"/>
                </a:cxn>
                <a:cxn ang="0">
                  <a:pos x="451" y="150"/>
                </a:cxn>
                <a:cxn ang="0">
                  <a:pos x="443" y="176"/>
                </a:cxn>
                <a:cxn ang="0">
                  <a:pos x="399" y="170"/>
                </a:cxn>
                <a:cxn ang="0">
                  <a:pos x="383" y="186"/>
                </a:cxn>
                <a:cxn ang="0">
                  <a:pos x="383" y="206"/>
                </a:cxn>
                <a:cxn ang="0">
                  <a:pos x="275" y="286"/>
                </a:cxn>
                <a:cxn ang="0">
                  <a:pos x="263" y="303"/>
                </a:cxn>
                <a:cxn ang="0">
                  <a:pos x="233" y="307"/>
                </a:cxn>
                <a:cxn ang="0">
                  <a:pos x="189" y="327"/>
                </a:cxn>
                <a:cxn ang="0">
                  <a:pos x="169" y="351"/>
                </a:cxn>
                <a:cxn ang="0">
                  <a:pos x="169" y="369"/>
                </a:cxn>
                <a:cxn ang="0">
                  <a:pos x="0" y="371"/>
                </a:cxn>
                <a:cxn ang="0">
                  <a:pos x="10" y="359"/>
                </a:cxn>
                <a:cxn ang="0">
                  <a:pos x="55" y="339"/>
                </a:cxn>
              </a:cxnLst>
              <a:rect l="0" t="0" r="r" b="b"/>
              <a:pathLst>
                <a:path w="451" h="371">
                  <a:moveTo>
                    <a:pt x="55" y="339"/>
                  </a:moveTo>
                  <a:lnTo>
                    <a:pt x="131" y="276"/>
                  </a:lnTo>
                  <a:lnTo>
                    <a:pt x="133" y="256"/>
                  </a:lnTo>
                  <a:lnTo>
                    <a:pt x="125" y="204"/>
                  </a:lnTo>
                  <a:lnTo>
                    <a:pt x="147" y="170"/>
                  </a:lnTo>
                  <a:lnTo>
                    <a:pt x="171" y="124"/>
                  </a:lnTo>
                  <a:lnTo>
                    <a:pt x="229" y="92"/>
                  </a:lnTo>
                  <a:lnTo>
                    <a:pt x="251" y="56"/>
                  </a:lnTo>
                  <a:lnTo>
                    <a:pt x="269" y="8"/>
                  </a:lnTo>
                  <a:lnTo>
                    <a:pt x="287" y="0"/>
                  </a:lnTo>
                  <a:lnTo>
                    <a:pt x="299" y="2"/>
                  </a:lnTo>
                  <a:lnTo>
                    <a:pt x="295" y="16"/>
                  </a:lnTo>
                  <a:lnTo>
                    <a:pt x="333" y="32"/>
                  </a:lnTo>
                  <a:lnTo>
                    <a:pt x="385" y="26"/>
                  </a:lnTo>
                  <a:lnTo>
                    <a:pt x="413" y="34"/>
                  </a:lnTo>
                  <a:lnTo>
                    <a:pt x="423" y="68"/>
                  </a:lnTo>
                  <a:lnTo>
                    <a:pt x="423" y="104"/>
                  </a:lnTo>
                  <a:lnTo>
                    <a:pt x="433" y="134"/>
                  </a:lnTo>
                  <a:lnTo>
                    <a:pt x="451" y="150"/>
                  </a:lnTo>
                  <a:lnTo>
                    <a:pt x="443" y="176"/>
                  </a:lnTo>
                  <a:lnTo>
                    <a:pt x="399" y="170"/>
                  </a:lnTo>
                  <a:lnTo>
                    <a:pt x="383" y="186"/>
                  </a:lnTo>
                  <a:lnTo>
                    <a:pt x="383" y="206"/>
                  </a:lnTo>
                  <a:lnTo>
                    <a:pt x="275" y="286"/>
                  </a:lnTo>
                  <a:lnTo>
                    <a:pt x="263" y="303"/>
                  </a:lnTo>
                  <a:lnTo>
                    <a:pt x="233" y="307"/>
                  </a:lnTo>
                  <a:lnTo>
                    <a:pt x="189" y="327"/>
                  </a:lnTo>
                  <a:lnTo>
                    <a:pt x="169" y="351"/>
                  </a:lnTo>
                  <a:lnTo>
                    <a:pt x="169" y="369"/>
                  </a:lnTo>
                  <a:lnTo>
                    <a:pt x="0" y="371"/>
                  </a:lnTo>
                  <a:lnTo>
                    <a:pt x="10" y="359"/>
                  </a:lnTo>
                  <a:lnTo>
                    <a:pt x="55" y="339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51" name="Mozambique">
              <a:extLst>
                <a:ext uri="{FF2B5EF4-FFF2-40B4-BE49-F238E27FC236}">
                  <a16:creationId xmlns="" xmlns:a16="http://schemas.microsoft.com/office/drawing/2014/main" id="{3A9A7288-8FC9-4CE8-9763-1C79B4ECDA78}"/>
                </a:ext>
              </a:extLst>
            </p:cNvPr>
            <p:cNvSpPr>
              <a:spLocks/>
            </p:cNvSpPr>
            <p:nvPr/>
          </p:nvSpPr>
          <p:spPr bwMode="gray">
            <a:xfrm>
              <a:off x="6738084" y="4898965"/>
              <a:ext cx="327987" cy="556536"/>
            </a:xfrm>
            <a:custGeom>
              <a:avLst/>
              <a:gdLst/>
              <a:ahLst/>
              <a:cxnLst>
                <a:cxn ang="0">
                  <a:pos x="0" y="193"/>
                </a:cxn>
                <a:cxn ang="0">
                  <a:pos x="46" y="171"/>
                </a:cxn>
                <a:cxn ang="0">
                  <a:pos x="122" y="171"/>
                </a:cxn>
                <a:cxn ang="0">
                  <a:pos x="158" y="199"/>
                </a:cxn>
                <a:cxn ang="0">
                  <a:pos x="170" y="255"/>
                </a:cxn>
                <a:cxn ang="0">
                  <a:pos x="194" y="267"/>
                </a:cxn>
                <a:cxn ang="0">
                  <a:pos x="204" y="213"/>
                </a:cxn>
                <a:cxn ang="0">
                  <a:pos x="174" y="113"/>
                </a:cxn>
                <a:cxn ang="0">
                  <a:pos x="174" y="56"/>
                </a:cxn>
                <a:cxn ang="0">
                  <a:pos x="210" y="34"/>
                </a:cxn>
                <a:cxn ang="0">
                  <a:pos x="260" y="34"/>
                </a:cxn>
                <a:cxn ang="0">
                  <a:pos x="300" y="28"/>
                </a:cxn>
                <a:cxn ang="0">
                  <a:pos x="382" y="2"/>
                </a:cxn>
                <a:cxn ang="0">
                  <a:pos x="400" y="24"/>
                </a:cxn>
                <a:cxn ang="0">
                  <a:pos x="398" y="86"/>
                </a:cxn>
                <a:cxn ang="0">
                  <a:pos x="398" y="151"/>
                </a:cxn>
                <a:cxn ang="0">
                  <a:pos x="392" y="191"/>
                </a:cxn>
                <a:cxn ang="0">
                  <a:pos x="382" y="235"/>
                </a:cxn>
                <a:cxn ang="0">
                  <a:pos x="320" y="269"/>
                </a:cxn>
                <a:cxn ang="0">
                  <a:pos x="274" y="285"/>
                </a:cxn>
                <a:cxn ang="0">
                  <a:pos x="246" y="305"/>
                </a:cxn>
                <a:cxn ang="0">
                  <a:pos x="236" y="339"/>
                </a:cxn>
                <a:cxn ang="0">
                  <a:pos x="174" y="371"/>
                </a:cxn>
                <a:cxn ang="0">
                  <a:pos x="180" y="413"/>
                </a:cxn>
                <a:cxn ang="0">
                  <a:pos x="200" y="485"/>
                </a:cxn>
                <a:cxn ang="0">
                  <a:pos x="188" y="549"/>
                </a:cxn>
                <a:cxn ang="0">
                  <a:pos x="182" y="587"/>
                </a:cxn>
                <a:cxn ang="0">
                  <a:pos x="94" y="627"/>
                </a:cxn>
                <a:cxn ang="0">
                  <a:pos x="104" y="679"/>
                </a:cxn>
                <a:cxn ang="0">
                  <a:pos x="74" y="659"/>
                </a:cxn>
                <a:cxn ang="0">
                  <a:pos x="50" y="639"/>
                </a:cxn>
                <a:cxn ang="0">
                  <a:pos x="54" y="517"/>
                </a:cxn>
                <a:cxn ang="0">
                  <a:pos x="86" y="451"/>
                </a:cxn>
                <a:cxn ang="0">
                  <a:pos x="106" y="405"/>
                </a:cxn>
                <a:cxn ang="0">
                  <a:pos x="110" y="351"/>
                </a:cxn>
                <a:cxn ang="0">
                  <a:pos x="102" y="255"/>
                </a:cxn>
                <a:cxn ang="0">
                  <a:pos x="20" y="229"/>
                </a:cxn>
              </a:cxnLst>
              <a:rect l="0" t="0" r="r" b="b"/>
              <a:pathLst>
                <a:path w="402" h="681">
                  <a:moveTo>
                    <a:pt x="4" y="213"/>
                  </a:moveTo>
                  <a:lnTo>
                    <a:pt x="0" y="193"/>
                  </a:lnTo>
                  <a:lnTo>
                    <a:pt x="14" y="177"/>
                  </a:lnTo>
                  <a:lnTo>
                    <a:pt x="46" y="171"/>
                  </a:lnTo>
                  <a:lnTo>
                    <a:pt x="100" y="147"/>
                  </a:lnTo>
                  <a:lnTo>
                    <a:pt x="122" y="171"/>
                  </a:lnTo>
                  <a:lnTo>
                    <a:pt x="156" y="173"/>
                  </a:lnTo>
                  <a:lnTo>
                    <a:pt x="158" y="199"/>
                  </a:lnTo>
                  <a:lnTo>
                    <a:pt x="148" y="241"/>
                  </a:lnTo>
                  <a:lnTo>
                    <a:pt x="170" y="255"/>
                  </a:lnTo>
                  <a:lnTo>
                    <a:pt x="174" y="273"/>
                  </a:lnTo>
                  <a:lnTo>
                    <a:pt x="194" y="267"/>
                  </a:lnTo>
                  <a:lnTo>
                    <a:pt x="186" y="241"/>
                  </a:lnTo>
                  <a:lnTo>
                    <a:pt x="204" y="213"/>
                  </a:lnTo>
                  <a:lnTo>
                    <a:pt x="198" y="161"/>
                  </a:lnTo>
                  <a:lnTo>
                    <a:pt x="174" y="113"/>
                  </a:lnTo>
                  <a:lnTo>
                    <a:pt x="164" y="78"/>
                  </a:lnTo>
                  <a:lnTo>
                    <a:pt x="174" y="56"/>
                  </a:lnTo>
                  <a:lnTo>
                    <a:pt x="168" y="46"/>
                  </a:lnTo>
                  <a:lnTo>
                    <a:pt x="210" y="34"/>
                  </a:lnTo>
                  <a:lnTo>
                    <a:pt x="236" y="48"/>
                  </a:lnTo>
                  <a:lnTo>
                    <a:pt x="260" y="34"/>
                  </a:lnTo>
                  <a:lnTo>
                    <a:pt x="282" y="42"/>
                  </a:lnTo>
                  <a:lnTo>
                    <a:pt x="300" y="28"/>
                  </a:lnTo>
                  <a:lnTo>
                    <a:pt x="340" y="26"/>
                  </a:lnTo>
                  <a:lnTo>
                    <a:pt x="382" y="2"/>
                  </a:lnTo>
                  <a:lnTo>
                    <a:pt x="396" y="0"/>
                  </a:lnTo>
                  <a:lnTo>
                    <a:pt x="400" y="24"/>
                  </a:lnTo>
                  <a:lnTo>
                    <a:pt x="394" y="46"/>
                  </a:lnTo>
                  <a:lnTo>
                    <a:pt x="398" y="86"/>
                  </a:lnTo>
                  <a:lnTo>
                    <a:pt x="394" y="141"/>
                  </a:lnTo>
                  <a:lnTo>
                    <a:pt x="398" y="151"/>
                  </a:lnTo>
                  <a:lnTo>
                    <a:pt x="402" y="183"/>
                  </a:lnTo>
                  <a:lnTo>
                    <a:pt x="392" y="191"/>
                  </a:lnTo>
                  <a:lnTo>
                    <a:pt x="394" y="209"/>
                  </a:lnTo>
                  <a:lnTo>
                    <a:pt x="382" y="235"/>
                  </a:lnTo>
                  <a:lnTo>
                    <a:pt x="364" y="249"/>
                  </a:lnTo>
                  <a:lnTo>
                    <a:pt x="320" y="269"/>
                  </a:lnTo>
                  <a:lnTo>
                    <a:pt x="310" y="267"/>
                  </a:lnTo>
                  <a:lnTo>
                    <a:pt x="274" y="285"/>
                  </a:lnTo>
                  <a:lnTo>
                    <a:pt x="264" y="301"/>
                  </a:lnTo>
                  <a:lnTo>
                    <a:pt x="246" y="305"/>
                  </a:lnTo>
                  <a:lnTo>
                    <a:pt x="248" y="325"/>
                  </a:lnTo>
                  <a:lnTo>
                    <a:pt x="236" y="339"/>
                  </a:lnTo>
                  <a:lnTo>
                    <a:pt x="206" y="349"/>
                  </a:lnTo>
                  <a:lnTo>
                    <a:pt x="174" y="371"/>
                  </a:lnTo>
                  <a:lnTo>
                    <a:pt x="164" y="411"/>
                  </a:lnTo>
                  <a:lnTo>
                    <a:pt x="180" y="413"/>
                  </a:lnTo>
                  <a:lnTo>
                    <a:pt x="188" y="475"/>
                  </a:lnTo>
                  <a:lnTo>
                    <a:pt x="200" y="485"/>
                  </a:lnTo>
                  <a:lnTo>
                    <a:pt x="196" y="519"/>
                  </a:lnTo>
                  <a:lnTo>
                    <a:pt x="188" y="549"/>
                  </a:lnTo>
                  <a:lnTo>
                    <a:pt x="196" y="557"/>
                  </a:lnTo>
                  <a:lnTo>
                    <a:pt x="182" y="587"/>
                  </a:lnTo>
                  <a:lnTo>
                    <a:pt x="124" y="609"/>
                  </a:lnTo>
                  <a:lnTo>
                    <a:pt x="94" y="627"/>
                  </a:lnTo>
                  <a:lnTo>
                    <a:pt x="100" y="651"/>
                  </a:lnTo>
                  <a:lnTo>
                    <a:pt x="104" y="679"/>
                  </a:lnTo>
                  <a:lnTo>
                    <a:pt x="76" y="681"/>
                  </a:lnTo>
                  <a:lnTo>
                    <a:pt x="74" y="659"/>
                  </a:lnTo>
                  <a:lnTo>
                    <a:pt x="64" y="647"/>
                  </a:lnTo>
                  <a:lnTo>
                    <a:pt x="50" y="639"/>
                  </a:lnTo>
                  <a:lnTo>
                    <a:pt x="64" y="619"/>
                  </a:lnTo>
                  <a:lnTo>
                    <a:pt x="54" y="517"/>
                  </a:lnTo>
                  <a:lnTo>
                    <a:pt x="48" y="491"/>
                  </a:lnTo>
                  <a:lnTo>
                    <a:pt x="86" y="451"/>
                  </a:lnTo>
                  <a:lnTo>
                    <a:pt x="88" y="423"/>
                  </a:lnTo>
                  <a:lnTo>
                    <a:pt x="106" y="405"/>
                  </a:lnTo>
                  <a:lnTo>
                    <a:pt x="102" y="371"/>
                  </a:lnTo>
                  <a:lnTo>
                    <a:pt x="110" y="351"/>
                  </a:lnTo>
                  <a:lnTo>
                    <a:pt x="104" y="315"/>
                  </a:lnTo>
                  <a:lnTo>
                    <a:pt x="102" y="255"/>
                  </a:lnTo>
                  <a:lnTo>
                    <a:pt x="62" y="231"/>
                  </a:lnTo>
                  <a:lnTo>
                    <a:pt x="20" y="229"/>
                  </a:lnTo>
                  <a:lnTo>
                    <a:pt x="4" y="213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52" name="Myanmar">
              <a:extLst>
                <a:ext uri="{FF2B5EF4-FFF2-40B4-BE49-F238E27FC236}">
                  <a16:creationId xmlns="" xmlns:a16="http://schemas.microsoft.com/office/drawing/2014/main" id="{9F57F72F-21AC-4487-9F62-73DD55B262B9}"/>
                </a:ext>
              </a:extLst>
            </p:cNvPr>
            <p:cNvSpPr>
              <a:spLocks/>
            </p:cNvSpPr>
            <p:nvPr/>
          </p:nvSpPr>
          <p:spPr bwMode="gray">
            <a:xfrm>
              <a:off x="8659150" y="3628568"/>
              <a:ext cx="263561" cy="603735"/>
            </a:xfrm>
            <a:custGeom>
              <a:avLst/>
              <a:gdLst/>
              <a:ahLst/>
              <a:cxnLst>
                <a:cxn ang="0">
                  <a:pos x="2" y="298"/>
                </a:cxn>
                <a:cxn ang="0">
                  <a:pos x="2" y="270"/>
                </a:cxn>
                <a:cxn ang="0">
                  <a:pos x="18" y="238"/>
                </a:cxn>
                <a:cxn ang="0">
                  <a:pos x="30" y="192"/>
                </a:cxn>
                <a:cxn ang="0">
                  <a:pos x="46" y="172"/>
                </a:cxn>
                <a:cxn ang="0">
                  <a:pos x="72" y="108"/>
                </a:cxn>
                <a:cxn ang="0">
                  <a:pos x="136" y="34"/>
                </a:cxn>
                <a:cxn ang="0">
                  <a:pos x="158" y="40"/>
                </a:cxn>
                <a:cxn ang="0">
                  <a:pos x="166" y="16"/>
                </a:cxn>
                <a:cxn ang="0">
                  <a:pos x="176" y="0"/>
                </a:cxn>
                <a:cxn ang="0">
                  <a:pos x="212" y="24"/>
                </a:cxn>
                <a:cxn ang="0">
                  <a:pos x="186" y="132"/>
                </a:cxn>
                <a:cxn ang="0">
                  <a:pos x="196" y="162"/>
                </a:cxn>
                <a:cxn ang="0">
                  <a:pos x="230" y="182"/>
                </a:cxn>
                <a:cxn ang="0">
                  <a:pos x="264" y="218"/>
                </a:cxn>
                <a:cxn ang="0">
                  <a:pos x="254" y="272"/>
                </a:cxn>
                <a:cxn ang="0">
                  <a:pos x="294" y="288"/>
                </a:cxn>
                <a:cxn ang="0">
                  <a:pos x="324" y="286"/>
                </a:cxn>
                <a:cxn ang="0">
                  <a:pos x="290" y="330"/>
                </a:cxn>
                <a:cxn ang="0">
                  <a:pos x="254" y="344"/>
                </a:cxn>
                <a:cxn ang="0">
                  <a:pos x="210" y="360"/>
                </a:cxn>
                <a:cxn ang="0">
                  <a:pos x="198" y="398"/>
                </a:cxn>
                <a:cxn ang="0">
                  <a:pos x="192" y="420"/>
                </a:cxn>
                <a:cxn ang="0">
                  <a:pos x="218" y="486"/>
                </a:cxn>
                <a:cxn ang="0">
                  <a:pos x="230" y="512"/>
                </a:cxn>
                <a:cxn ang="0">
                  <a:pos x="210" y="538"/>
                </a:cxn>
                <a:cxn ang="0">
                  <a:pos x="244" y="580"/>
                </a:cxn>
                <a:cxn ang="0">
                  <a:pos x="260" y="626"/>
                </a:cxn>
                <a:cxn ang="0">
                  <a:pos x="254" y="652"/>
                </a:cxn>
                <a:cxn ang="0">
                  <a:pos x="260" y="686"/>
                </a:cxn>
                <a:cxn ang="0">
                  <a:pos x="222" y="718"/>
                </a:cxn>
                <a:cxn ang="0">
                  <a:pos x="232" y="642"/>
                </a:cxn>
                <a:cxn ang="0">
                  <a:pos x="208" y="592"/>
                </a:cxn>
                <a:cxn ang="0">
                  <a:pos x="196" y="556"/>
                </a:cxn>
                <a:cxn ang="0">
                  <a:pos x="186" y="498"/>
                </a:cxn>
                <a:cxn ang="0">
                  <a:pos x="158" y="462"/>
                </a:cxn>
                <a:cxn ang="0">
                  <a:pos x="124" y="484"/>
                </a:cxn>
                <a:cxn ang="0">
                  <a:pos x="88" y="506"/>
                </a:cxn>
                <a:cxn ang="0">
                  <a:pos x="48" y="508"/>
                </a:cxn>
                <a:cxn ang="0">
                  <a:pos x="62" y="462"/>
                </a:cxn>
                <a:cxn ang="0">
                  <a:pos x="58" y="376"/>
                </a:cxn>
                <a:cxn ang="0">
                  <a:pos x="32" y="350"/>
                </a:cxn>
                <a:cxn ang="0">
                  <a:pos x="0" y="328"/>
                </a:cxn>
              </a:cxnLst>
              <a:rect l="0" t="0" r="r" b="b"/>
              <a:pathLst>
                <a:path w="324" h="740">
                  <a:moveTo>
                    <a:pt x="0" y="328"/>
                  </a:moveTo>
                  <a:lnTo>
                    <a:pt x="2" y="298"/>
                  </a:lnTo>
                  <a:lnTo>
                    <a:pt x="6" y="294"/>
                  </a:lnTo>
                  <a:lnTo>
                    <a:pt x="2" y="270"/>
                  </a:lnTo>
                  <a:lnTo>
                    <a:pt x="18" y="272"/>
                  </a:lnTo>
                  <a:lnTo>
                    <a:pt x="18" y="238"/>
                  </a:lnTo>
                  <a:lnTo>
                    <a:pt x="32" y="224"/>
                  </a:lnTo>
                  <a:lnTo>
                    <a:pt x="30" y="192"/>
                  </a:lnTo>
                  <a:lnTo>
                    <a:pt x="28" y="170"/>
                  </a:lnTo>
                  <a:lnTo>
                    <a:pt x="46" y="172"/>
                  </a:lnTo>
                  <a:lnTo>
                    <a:pt x="72" y="134"/>
                  </a:lnTo>
                  <a:lnTo>
                    <a:pt x="72" y="108"/>
                  </a:lnTo>
                  <a:lnTo>
                    <a:pt x="110" y="50"/>
                  </a:lnTo>
                  <a:lnTo>
                    <a:pt x="136" y="34"/>
                  </a:lnTo>
                  <a:lnTo>
                    <a:pt x="148" y="46"/>
                  </a:lnTo>
                  <a:lnTo>
                    <a:pt x="158" y="40"/>
                  </a:lnTo>
                  <a:lnTo>
                    <a:pt x="154" y="24"/>
                  </a:lnTo>
                  <a:lnTo>
                    <a:pt x="166" y="16"/>
                  </a:lnTo>
                  <a:lnTo>
                    <a:pt x="168" y="4"/>
                  </a:lnTo>
                  <a:lnTo>
                    <a:pt x="176" y="0"/>
                  </a:lnTo>
                  <a:lnTo>
                    <a:pt x="194" y="6"/>
                  </a:lnTo>
                  <a:lnTo>
                    <a:pt x="212" y="24"/>
                  </a:lnTo>
                  <a:lnTo>
                    <a:pt x="222" y="94"/>
                  </a:lnTo>
                  <a:lnTo>
                    <a:pt x="186" y="132"/>
                  </a:lnTo>
                  <a:lnTo>
                    <a:pt x="180" y="144"/>
                  </a:lnTo>
                  <a:lnTo>
                    <a:pt x="196" y="162"/>
                  </a:lnTo>
                  <a:lnTo>
                    <a:pt x="186" y="184"/>
                  </a:lnTo>
                  <a:lnTo>
                    <a:pt x="230" y="182"/>
                  </a:lnTo>
                  <a:lnTo>
                    <a:pt x="246" y="214"/>
                  </a:lnTo>
                  <a:lnTo>
                    <a:pt x="264" y="218"/>
                  </a:lnTo>
                  <a:lnTo>
                    <a:pt x="240" y="258"/>
                  </a:lnTo>
                  <a:lnTo>
                    <a:pt x="254" y="272"/>
                  </a:lnTo>
                  <a:lnTo>
                    <a:pt x="272" y="270"/>
                  </a:lnTo>
                  <a:lnTo>
                    <a:pt x="294" y="288"/>
                  </a:lnTo>
                  <a:lnTo>
                    <a:pt x="318" y="272"/>
                  </a:lnTo>
                  <a:lnTo>
                    <a:pt x="324" y="286"/>
                  </a:lnTo>
                  <a:lnTo>
                    <a:pt x="314" y="294"/>
                  </a:lnTo>
                  <a:lnTo>
                    <a:pt x="290" y="330"/>
                  </a:lnTo>
                  <a:lnTo>
                    <a:pt x="264" y="328"/>
                  </a:lnTo>
                  <a:lnTo>
                    <a:pt x="254" y="344"/>
                  </a:lnTo>
                  <a:lnTo>
                    <a:pt x="222" y="364"/>
                  </a:lnTo>
                  <a:lnTo>
                    <a:pt x="210" y="360"/>
                  </a:lnTo>
                  <a:lnTo>
                    <a:pt x="200" y="372"/>
                  </a:lnTo>
                  <a:lnTo>
                    <a:pt x="198" y="398"/>
                  </a:lnTo>
                  <a:lnTo>
                    <a:pt x="182" y="406"/>
                  </a:lnTo>
                  <a:lnTo>
                    <a:pt x="192" y="420"/>
                  </a:lnTo>
                  <a:lnTo>
                    <a:pt x="192" y="456"/>
                  </a:lnTo>
                  <a:lnTo>
                    <a:pt x="218" y="486"/>
                  </a:lnTo>
                  <a:lnTo>
                    <a:pt x="224" y="502"/>
                  </a:lnTo>
                  <a:lnTo>
                    <a:pt x="230" y="512"/>
                  </a:lnTo>
                  <a:lnTo>
                    <a:pt x="216" y="532"/>
                  </a:lnTo>
                  <a:lnTo>
                    <a:pt x="210" y="538"/>
                  </a:lnTo>
                  <a:lnTo>
                    <a:pt x="216" y="552"/>
                  </a:lnTo>
                  <a:lnTo>
                    <a:pt x="244" y="580"/>
                  </a:lnTo>
                  <a:lnTo>
                    <a:pt x="258" y="604"/>
                  </a:lnTo>
                  <a:lnTo>
                    <a:pt x="260" y="626"/>
                  </a:lnTo>
                  <a:lnTo>
                    <a:pt x="254" y="636"/>
                  </a:lnTo>
                  <a:lnTo>
                    <a:pt x="254" y="652"/>
                  </a:lnTo>
                  <a:lnTo>
                    <a:pt x="262" y="668"/>
                  </a:lnTo>
                  <a:lnTo>
                    <a:pt x="260" y="686"/>
                  </a:lnTo>
                  <a:lnTo>
                    <a:pt x="220" y="740"/>
                  </a:lnTo>
                  <a:lnTo>
                    <a:pt x="222" y="718"/>
                  </a:lnTo>
                  <a:lnTo>
                    <a:pt x="232" y="684"/>
                  </a:lnTo>
                  <a:lnTo>
                    <a:pt x="232" y="642"/>
                  </a:lnTo>
                  <a:lnTo>
                    <a:pt x="224" y="612"/>
                  </a:lnTo>
                  <a:lnTo>
                    <a:pt x="208" y="592"/>
                  </a:lnTo>
                  <a:lnTo>
                    <a:pt x="200" y="596"/>
                  </a:lnTo>
                  <a:lnTo>
                    <a:pt x="196" y="556"/>
                  </a:lnTo>
                  <a:lnTo>
                    <a:pt x="190" y="556"/>
                  </a:lnTo>
                  <a:lnTo>
                    <a:pt x="186" y="498"/>
                  </a:lnTo>
                  <a:lnTo>
                    <a:pt x="178" y="496"/>
                  </a:lnTo>
                  <a:lnTo>
                    <a:pt x="158" y="462"/>
                  </a:lnTo>
                  <a:lnTo>
                    <a:pt x="140" y="484"/>
                  </a:lnTo>
                  <a:lnTo>
                    <a:pt x="124" y="484"/>
                  </a:lnTo>
                  <a:lnTo>
                    <a:pt x="102" y="512"/>
                  </a:lnTo>
                  <a:lnTo>
                    <a:pt x="88" y="506"/>
                  </a:lnTo>
                  <a:lnTo>
                    <a:pt x="66" y="512"/>
                  </a:lnTo>
                  <a:lnTo>
                    <a:pt x="48" y="508"/>
                  </a:lnTo>
                  <a:lnTo>
                    <a:pt x="50" y="486"/>
                  </a:lnTo>
                  <a:lnTo>
                    <a:pt x="62" y="462"/>
                  </a:lnTo>
                  <a:lnTo>
                    <a:pt x="64" y="406"/>
                  </a:lnTo>
                  <a:lnTo>
                    <a:pt x="58" y="376"/>
                  </a:lnTo>
                  <a:lnTo>
                    <a:pt x="46" y="368"/>
                  </a:lnTo>
                  <a:lnTo>
                    <a:pt x="32" y="350"/>
                  </a:lnTo>
                  <a:lnTo>
                    <a:pt x="18" y="332"/>
                  </a:lnTo>
                  <a:lnTo>
                    <a:pt x="0" y="328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53" name="Namibia">
              <a:extLst>
                <a:ext uri="{FF2B5EF4-FFF2-40B4-BE49-F238E27FC236}">
                  <a16:creationId xmlns="" xmlns:a16="http://schemas.microsoft.com/office/drawing/2014/main" id="{3A629575-DD89-4972-BE0B-22FA0AB59424}"/>
                </a:ext>
              </a:extLst>
            </p:cNvPr>
            <p:cNvSpPr>
              <a:spLocks/>
            </p:cNvSpPr>
            <p:nvPr/>
          </p:nvSpPr>
          <p:spPr bwMode="gray">
            <a:xfrm>
              <a:off x="6169964" y="5113322"/>
              <a:ext cx="409984" cy="422810"/>
            </a:xfrm>
            <a:custGeom>
              <a:avLst/>
              <a:gdLst/>
              <a:ahLst/>
              <a:cxnLst>
                <a:cxn ang="0">
                  <a:pos x="152" y="476"/>
                </a:cxn>
                <a:cxn ang="0">
                  <a:pos x="168" y="496"/>
                </a:cxn>
                <a:cxn ang="0">
                  <a:pos x="188" y="482"/>
                </a:cxn>
                <a:cxn ang="0">
                  <a:pos x="204" y="482"/>
                </a:cxn>
                <a:cxn ang="0">
                  <a:pos x="198" y="496"/>
                </a:cxn>
                <a:cxn ang="0">
                  <a:pos x="206" y="506"/>
                </a:cxn>
                <a:cxn ang="0">
                  <a:pos x="222" y="508"/>
                </a:cxn>
                <a:cxn ang="0">
                  <a:pos x="242" y="516"/>
                </a:cxn>
                <a:cxn ang="0">
                  <a:pos x="256" y="512"/>
                </a:cxn>
                <a:cxn ang="0">
                  <a:pos x="282" y="516"/>
                </a:cxn>
                <a:cxn ang="0">
                  <a:pos x="286" y="502"/>
                </a:cxn>
                <a:cxn ang="0">
                  <a:pos x="306" y="498"/>
                </a:cxn>
                <a:cxn ang="0">
                  <a:pos x="318" y="484"/>
                </a:cxn>
                <a:cxn ang="0">
                  <a:pos x="316" y="340"/>
                </a:cxn>
                <a:cxn ang="0">
                  <a:pos x="314" y="226"/>
                </a:cxn>
                <a:cxn ang="0">
                  <a:pos x="353" y="224"/>
                </a:cxn>
                <a:cxn ang="0">
                  <a:pos x="355" y="54"/>
                </a:cxn>
                <a:cxn ang="0">
                  <a:pos x="437" y="32"/>
                </a:cxn>
                <a:cxn ang="0">
                  <a:pos x="441" y="52"/>
                </a:cxn>
                <a:cxn ang="0">
                  <a:pos x="453" y="60"/>
                </a:cxn>
                <a:cxn ang="0">
                  <a:pos x="463" y="48"/>
                </a:cxn>
                <a:cxn ang="0">
                  <a:pos x="475" y="44"/>
                </a:cxn>
                <a:cxn ang="0">
                  <a:pos x="485" y="46"/>
                </a:cxn>
                <a:cxn ang="0">
                  <a:pos x="505" y="30"/>
                </a:cxn>
                <a:cxn ang="0">
                  <a:pos x="475" y="14"/>
                </a:cxn>
                <a:cxn ang="0">
                  <a:pos x="441" y="20"/>
                </a:cxn>
                <a:cxn ang="0">
                  <a:pos x="371" y="36"/>
                </a:cxn>
                <a:cxn ang="0">
                  <a:pos x="325" y="40"/>
                </a:cxn>
                <a:cxn ang="0">
                  <a:pos x="308" y="38"/>
                </a:cxn>
                <a:cxn ang="0">
                  <a:pos x="280" y="28"/>
                </a:cxn>
                <a:cxn ang="0">
                  <a:pos x="256" y="10"/>
                </a:cxn>
                <a:cxn ang="0">
                  <a:pos x="102" y="14"/>
                </a:cxn>
                <a:cxn ang="0">
                  <a:pos x="86" y="20"/>
                </a:cxn>
                <a:cxn ang="0">
                  <a:pos x="64" y="2"/>
                </a:cxn>
                <a:cxn ang="0">
                  <a:pos x="50" y="0"/>
                </a:cxn>
                <a:cxn ang="0">
                  <a:pos x="24" y="4"/>
                </a:cxn>
                <a:cxn ang="0">
                  <a:pos x="0" y="10"/>
                </a:cxn>
                <a:cxn ang="0">
                  <a:pos x="0" y="54"/>
                </a:cxn>
                <a:cxn ang="0">
                  <a:pos x="40" y="116"/>
                </a:cxn>
                <a:cxn ang="0">
                  <a:pos x="56" y="148"/>
                </a:cxn>
                <a:cxn ang="0">
                  <a:pos x="98" y="232"/>
                </a:cxn>
                <a:cxn ang="0">
                  <a:pos x="98" y="276"/>
                </a:cxn>
                <a:cxn ang="0">
                  <a:pos x="102" y="290"/>
                </a:cxn>
                <a:cxn ang="0">
                  <a:pos x="98" y="312"/>
                </a:cxn>
                <a:cxn ang="0">
                  <a:pos x="112" y="352"/>
                </a:cxn>
                <a:cxn ang="0">
                  <a:pos x="108" y="364"/>
                </a:cxn>
                <a:cxn ang="0">
                  <a:pos x="116" y="378"/>
                </a:cxn>
                <a:cxn ang="0">
                  <a:pos x="126" y="398"/>
                </a:cxn>
                <a:cxn ang="0">
                  <a:pos x="126" y="428"/>
                </a:cxn>
                <a:cxn ang="0">
                  <a:pos x="152" y="476"/>
                </a:cxn>
              </a:cxnLst>
              <a:rect l="0" t="0" r="r" b="b"/>
              <a:pathLst>
                <a:path w="505" h="516">
                  <a:moveTo>
                    <a:pt x="152" y="476"/>
                  </a:moveTo>
                  <a:lnTo>
                    <a:pt x="168" y="496"/>
                  </a:lnTo>
                  <a:lnTo>
                    <a:pt x="188" y="482"/>
                  </a:lnTo>
                  <a:lnTo>
                    <a:pt x="204" y="482"/>
                  </a:lnTo>
                  <a:lnTo>
                    <a:pt x="198" y="496"/>
                  </a:lnTo>
                  <a:lnTo>
                    <a:pt x="206" y="506"/>
                  </a:lnTo>
                  <a:lnTo>
                    <a:pt x="222" y="508"/>
                  </a:lnTo>
                  <a:lnTo>
                    <a:pt x="242" y="516"/>
                  </a:lnTo>
                  <a:lnTo>
                    <a:pt x="256" y="512"/>
                  </a:lnTo>
                  <a:lnTo>
                    <a:pt x="282" y="516"/>
                  </a:lnTo>
                  <a:lnTo>
                    <a:pt x="286" y="502"/>
                  </a:lnTo>
                  <a:lnTo>
                    <a:pt x="306" y="498"/>
                  </a:lnTo>
                  <a:lnTo>
                    <a:pt x="318" y="484"/>
                  </a:lnTo>
                  <a:lnTo>
                    <a:pt x="316" y="340"/>
                  </a:lnTo>
                  <a:lnTo>
                    <a:pt x="314" y="226"/>
                  </a:lnTo>
                  <a:lnTo>
                    <a:pt x="353" y="224"/>
                  </a:lnTo>
                  <a:lnTo>
                    <a:pt x="355" y="54"/>
                  </a:lnTo>
                  <a:lnTo>
                    <a:pt x="437" y="32"/>
                  </a:lnTo>
                  <a:lnTo>
                    <a:pt x="441" y="52"/>
                  </a:lnTo>
                  <a:lnTo>
                    <a:pt x="453" y="60"/>
                  </a:lnTo>
                  <a:lnTo>
                    <a:pt x="463" y="48"/>
                  </a:lnTo>
                  <a:lnTo>
                    <a:pt x="475" y="44"/>
                  </a:lnTo>
                  <a:lnTo>
                    <a:pt x="485" y="46"/>
                  </a:lnTo>
                  <a:lnTo>
                    <a:pt x="505" y="30"/>
                  </a:lnTo>
                  <a:lnTo>
                    <a:pt x="475" y="14"/>
                  </a:lnTo>
                  <a:lnTo>
                    <a:pt x="441" y="20"/>
                  </a:lnTo>
                  <a:lnTo>
                    <a:pt x="371" y="36"/>
                  </a:lnTo>
                  <a:lnTo>
                    <a:pt x="325" y="40"/>
                  </a:lnTo>
                  <a:lnTo>
                    <a:pt x="308" y="38"/>
                  </a:lnTo>
                  <a:lnTo>
                    <a:pt x="280" y="28"/>
                  </a:lnTo>
                  <a:lnTo>
                    <a:pt x="256" y="10"/>
                  </a:lnTo>
                  <a:lnTo>
                    <a:pt x="102" y="14"/>
                  </a:lnTo>
                  <a:lnTo>
                    <a:pt x="86" y="20"/>
                  </a:lnTo>
                  <a:lnTo>
                    <a:pt x="64" y="2"/>
                  </a:lnTo>
                  <a:lnTo>
                    <a:pt x="50" y="0"/>
                  </a:lnTo>
                  <a:lnTo>
                    <a:pt x="24" y="4"/>
                  </a:lnTo>
                  <a:lnTo>
                    <a:pt x="0" y="10"/>
                  </a:lnTo>
                  <a:lnTo>
                    <a:pt x="0" y="54"/>
                  </a:lnTo>
                  <a:lnTo>
                    <a:pt x="40" y="116"/>
                  </a:lnTo>
                  <a:lnTo>
                    <a:pt x="56" y="148"/>
                  </a:lnTo>
                  <a:lnTo>
                    <a:pt x="98" y="232"/>
                  </a:lnTo>
                  <a:lnTo>
                    <a:pt x="98" y="276"/>
                  </a:lnTo>
                  <a:lnTo>
                    <a:pt x="102" y="290"/>
                  </a:lnTo>
                  <a:lnTo>
                    <a:pt x="98" y="312"/>
                  </a:lnTo>
                  <a:lnTo>
                    <a:pt x="112" y="352"/>
                  </a:lnTo>
                  <a:lnTo>
                    <a:pt x="108" y="364"/>
                  </a:lnTo>
                  <a:lnTo>
                    <a:pt x="116" y="378"/>
                  </a:lnTo>
                  <a:lnTo>
                    <a:pt x="126" y="398"/>
                  </a:lnTo>
                  <a:lnTo>
                    <a:pt x="126" y="428"/>
                  </a:lnTo>
                  <a:lnTo>
                    <a:pt x="152" y="476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54" name="Nepal">
              <a:extLst>
                <a:ext uri="{FF2B5EF4-FFF2-40B4-BE49-F238E27FC236}">
                  <a16:creationId xmlns="" xmlns:a16="http://schemas.microsoft.com/office/drawing/2014/main" id="{09393C99-DD16-4D7B-8C26-CAB09CA9C390}"/>
                </a:ext>
              </a:extLst>
            </p:cNvPr>
            <p:cNvSpPr>
              <a:spLocks/>
            </p:cNvSpPr>
            <p:nvPr/>
          </p:nvSpPr>
          <p:spPr bwMode="gray">
            <a:xfrm>
              <a:off x="8270643" y="3542039"/>
              <a:ext cx="249896" cy="153392"/>
            </a:xfrm>
            <a:custGeom>
              <a:avLst/>
              <a:gdLst/>
              <a:ahLst/>
              <a:cxnLst>
                <a:cxn ang="0">
                  <a:pos x="308" y="170"/>
                </a:cxn>
                <a:cxn ang="0">
                  <a:pos x="302" y="186"/>
                </a:cxn>
                <a:cxn ang="0">
                  <a:pos x="284" y="190"/>
                </a:cxn>
                <a:cxn ang="0">
                  <a:pos x="256" y="182"/>
                </a:cxn>
                <a:cxn ang="0">
                  <a:pos x="220" y="178"/>
                </a:cxn>
                <a:cxn ang="0">
                  <a:pos x="176" y="154"/>
                </a:cxn>
                <a:cxn ang="0">
                  <a:pos x="162" y="144"/>
                </a:cxn>
                <a:cxn ang="0">
                  <a:pos x="136" y="150"/>
                </a:cxn>
                <a:cxn ang="0">
                  <a:pos x="102" y="146"/>
                </a:cxn>
                <a:cxn ang="0">
                  <a:pos x="34" y="104"/>
                </a:cxn>
                <a:cxn ang="0">
                  <a:pos x="28" y="90"/>
                </a:cxn>
                <a:cxn ang="0">
                  <a:pos x="0" y="82"/>
                </a:cxn>
                <a:cxn ang="0">
                  <a:pos x="2" y="64"/>
                </a:cxn>
                <a:cxn ang="0">
                  <a:pos x="2" y="38"/>
                </a:cxn>
                <a:cxn ang="0">
                  <a:pos x="18" y="14"/>
                </a:cxn>
                <a:cxn ang="0">
                  <a:pos x="20" y="0"/>
                </a:cxn>
                <a:cxn ang="0">
                  <a:pos x="36" y="16"/>
                </a:cxn>
                <a:cxn ang="0">
                  <a:pos x="50" y="10"/>
                </a:cxn>
                <a:cxn ang="0">
                  <a:pos x="88" y="44"/>
                </a:cxn>
                <a:cxn ang="0">
                  <a:pos x="136" y="74"/>
                </a:cxn>
                <a:cxn ang="0">
                  <a:pos x="148" y="66"/>
                </a:cxn>
                <a:cxn ang="0">
                  <a:pos x="192" y="106"/>
                </a:cxn>
                <a:cxn ang="0">
                  <a:pos x="236" y="124"/>
                </a:cxn>
                <a:cxn ang="0">
                  <a:pos x="248" y="118"/>
                </a:cxn>
                <a:cxn ang="0">
                  <a:pos x="310" y="124"/>
                </a:cxn>
                <a:cxn ang="0">
                  <a:pos x="308" y="170"/>
                </a:cxn>
              </a:cxnLst>
              <a:rect l="0" t="0" r="r" b="b"/>
              <a:pathLst>
                <a:path w="310" h="190">
                  <a:moveTo>
                    <a:pt x="308" y="170"/>
                  </a:moveTo>
                  <a:lnTo>
                    <a:pt x="302" y="186"/>
                  </a:lnTo>
                  <a:lnTo>
                    <a:pt x="284" y="190"/>
                  </a:lnTo>
                  <a:lnTo>
                    <a:pt x="256" y="182"/>
                  </a:lnTo>
                  <a:lnTo>
                    <a:pt x="220" y="178"/>
                  </a:lnTo>
                  <a:lnTo>
                    <a:pt x="176" y="154"/>
                  </a:lnTo>
                  <a:lnTo>
                    <a:pt x="162" y="144"/>
                  </a:lnTo>
                  <a:lnTo>
                    <a:pt x="136" y="150"/>
                  </a:lnTo>
                  <a:lnTo>
                    <a:pt x="102" y="146"/>
                  </a:lnTo>
                  <a:lnTo>
                    <a:pt x="34" y="104"/>
                  </a:lnTo>
                  <a:lnTo>
                    <a:pt x="28" y="90"/>
                  </a:lnTo>
                  <a:lnTo>
                    <a:pt x="0" y="82"/>
                  </a:lnTo>
                  <a:lnTo>
                    <a:pt x="2" y="64"/>
                  </a:lnTo>
                  <a:lnTo>
                    <a:pt x="2" y="38"/>
                  </a:lnTo>
                  <a:lnTo>
                    <a:pt x="18" y="14"/>
                  </a:lnTo>
                  <a:lnTo>
                    <a:pt x="20" y="0"/>
                  </a:lnTo>
                  <a:lnTo>
                    <a:pt x="36" y="16"/>
                  </a:lnTo>
                  <a:lnTo>
                    <a:pt x="50" y="10"/>
                  </a:lnTo>
                  <a:lnTo>
                    <a:pt x="88" y="44"/>
                  </a:lnTo>
                  <a:lnTo>
                    <a:pt x="136" y="74"/>
                  </a:lnTo>
                  <a:lnTo>
                    <a:pt x="148" y="66"/>
                  </a:lnTo>
                  <a:lnTo>
                    <a:pt x="192" y="106"/>
                  </a:lnTo>
                  <a:lnTo>
                    <a:pt x="236" y="124"/>
                  </a:lnTo>
                  <a:lnTo>
                    <a:pt x="248" y="118"/>
                  </a:lnTo>
                  <a:lnTo>
                    <a:pt x="310" y="124"/>
                  </a:lnTo>
                  <a:lnTo>
                    <a:pt x="308" y="170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55" name="Netherlands">
              <a:extLst>
                <a:ext uri="{FF2B5EF4-FFF2-40B4-BE49-F238E27FC236}">
                  <a16:creationId xmlns="" xmlns:a16="http://schemas.microsoft.com/office/drawing/2014/main" id="{C39DE480-8F93-48C5-89D0-4DE3BACB7B58}"/>
                </a:ext>
              </a:extLst>
            </p:cNvPr>
            <p:cNvSpPr>
              <a:spLocks/>
            </p:cNvSpPr>
            <p:nvPr/>
          </p:nvSpPr>
          <p:spPr bwMode="gray">
            <a:xfrm>
              <a:off x="5765603" y="2520855"/>
              <a:ext cx="259889" cy="159832"/>
            </a:xfrm>
            <a:custGeom>
              <a:avLst/>
              <a:gdLst/>
              <a:ahLst/>
              <a:cxnLst>
                <a:cxn ang="0">
                  <a:pos x="82" y="12"/>
                </a:cxn>
                <a:cxn ang="0">
                  <a:pos x="84" y="22"/>
                </a:cxn>
                <a:cxn ang="0">
                  <a:pos x="86" y="32"/>
                </a:cxn>
                <a:cxn ang="0">
                  <a:pos x="92" y="38"/>
                </a:cxn>
                <a:cxn ang="0">
                  <a:pos x="78" y="46"/>
                </a:cxn>
                <a:cxn ang="0">
                  <a:pos x="80" y="54"/>
                </a:cxn>
                <a:cxn ang="0">
                  <a:pos x="74" y="60"/>
                </a:cxn>
                <a:cxn ang="0">
                  <a:pos x="80" y="66"/>
                </a:cxn>
                <a:cxn ang="0">
                  <a:pos x="86" y="68"/>
                </a:cxn>
                <a:cxn ang="0">
                  <a:pos x="92" y="58"/>
                </a:cxn>
                <a:cxn ang="0">
                  <a:pos x="102" y="50"/>
                </a:cxn>
                <a:cxn ang="0">
                  <a:pos x="106" y="42"/>
                </a:cxn>
                <a:cxn ang="0">
                  <a:pos x="104" y="32"/>
                </a:cxn>
                <a:cxn ang="0">
                  <a:pos x="98" y="30"/>
                </a:cxn>
                <a:cxn ang="0">
                  <a:pos x="96" y="18"/>
                </a:cxn>
                <a:cxn ang="0">
                  <a:pos x="96" y="4"/>
                </a:cxn>
                <a:cxn ang="0">
                  <a:pos x="110" y="2"/>
                </a:cxn>
                <a:cxn ang="0">
                  <a:pos x="124" y="0"/>
                </a:cxn>
                <a:cxn ang="0">
                  <a:pos x="138" y="0"/>
                </a:cxn>
                <a:cxn ang="0">
                  <a:pos x="154" y="12"/>
                </a:cxn>
                <a:cxn ang="0">
                  <a:pos x="146" y="42"/>
                </a:cxn>
                <a:cxn ang="0">
                  <a:pos x="132" y="42"/>
                </a:cxn>
                <a:cxn ang="0">
                  <a:pos x="134" y="52"/>
                </a:cxn>
                <a:cxn ang="0">
                  <a:pos x="144" y="56"/>
                </a:cxn>
                <a:cxn ang="0">
                  <a:pos x="144" y="72"/>
                </a:cxn>
                <a:cxn ang="0">
                  <a:pos x="134" y="82"/>
                </a:cxn>
                <a:cxn ang="0">
                  <a:pos x="128" y="94"/>
                </a:cxn>
                <a:cxn ang="0">
                  <a:pos x="114" y="94"/>
                </a:cxn>
                <a:cxn ang="0">
                  <a:pos x="106" y="100"/>
                </a:cxn>
                <a:cxn ang="0">
                  <a:pos x="108" y="114"/>
                </a:cxn>
                <a:cxn ang="0">
                  <a:pos x="114" y="128"/>
                </a:cxn>
                <a:cxn ang="0">
                  <a:pos x="106" y="142"/>
                </a:cxn>
                <a:cxn ang="0">
                  <a:pos x="110" y="156"/>
                </a:cxn>
                <a:cxn ang="0">
                  <a:pos x="110" y="166"/>
                </a:cxn>
                <a:cxn ang="0">
                  <a:pos x="98" y="166"/>
                </a:cxn>
                <a:cxn ang="0">
                  <a:pos x="94" y="162"/>
                </a:cxn>
                <a:cxn ang="0">
                  <a:pos x="100" y="152"/>
                </a:cxn>
                <a:cxn ang="0">
                  <a:pos x="100" y="138"/>
                </a:cxn>
                <a:cxn ang="0">
                  <a:pos x="88" y="130"/>
                </a:cxn>
                <a:cxn ang="0">
                  <a:pos x="72" y="128"/>
                </a:cxn>
                <a:cxn ang="0">
                  <a:pos x="52" y="118"/>
                </a:cxn>
                <a:cxn ang="0">
                  <a:pos x="42" y="124"/>
                </a:cxn>
                <a:cxn ang="0">
                  <a:pos x="34" y="136"/>
                </a:cxn>
                <a:cxn ang="0">
                  <a:pos x="6" y="138"/>
                </a:cxn>
                <a:cxn ang="0">
                  <a:pos x="0" y="124"/>
                </a:cxn>
                <a:cxn ang="0">
                  <a:pos x="8" y="122"/>
                </a:cxn>
                <a:cxn ang="0">
                  <a:pos x="10" y="112"/>
                </a:cxn>
                <a:cxn ang="0">
                  <a:pos x="22" y="110"/>
                </a:cxn>
                <a:cxn ang="0">
                  <a:pos x="22" y="100"/>
                </a:cxn>
                <a:cxn ang="0">
                  <a:pos x="32" y="98"/>
                </a:cxn>
                <a:cxn ang="0">
                  <a:pos x="32" y="90"/>
                </a:cxn>
                <a:cxn ang="0">
                  <a:pos x="40" y="84"/>
                </a:cxn>
                <a:cxn ang="0">
                  <a:pos x="52" y="58"/>
                </a:cxn>
                <a:cxn ang="0">
                  <a:pos x="60" y="44"/>
                </a:cxn>
                <a:cxn ang="0">
                  <a:pos x="66" y="32"/>
                </a:cxn>
                <a:cxn ang="0">
                  <a:pos x="68" y="20"/>
                </a:cxn>
                <a:cxn ang="0">
                  <a:pos x="82" y="12"/>
                </a:cxn>
              </a:cxnLst>
              <a:rect l="0" t="0" r="r" b="b"/>
              <a:pathLst>
                <a:path w="154" h="166">
                  <a:moveTo>
                    <a:pt x="82" y="12"/>
                  </a:moveTo>
                  <a:lnTo>
                    <a:pt x="84" y="22"/>
                  </a:lnTo>
                  <a:lnTo>
                    <a:pt x="86" y="32"/>
                  </a:lnTo>
                  <a:lnTo>
                    <a:pt x="92" y="38"/>
                  </a:lnTo>
                  <a:lnTo>
                    <a:pt x="78" y="46"/>
                  </a:lnTo>
                  <a:lnTo>
                    <a:pt x="80" y="54"/>
                  </a:lnTo>
                  <a:lnTo>
                    <a:pt x="74" y="60"/>
                  </a:lnTo>
                  <a:lnTo>
                    <a:pt x="80" y="66"/>
                  </a:lnTo>
                  <a:lnTo>
                    <a:pt x="86" y="68"/>
                  </a:lnTo>
                  <a:lnTo>
                    <a:pt x="92" y="58"/>
                  </a:lnTo>
                  <a:lnTo>
                    <a:pt x="102" y="50"/>
                  </a:lnTo>
                  <a:lnTo>
                    <a:pt x="106" y="42"/>
                  </a:lnTo>
                  <a:lnTo>
                    <a:pt x="104" y="32"/>
                  </a:lnTo>
                  <a:lnTo>
                    <a:pt x="98" y="30"/>
                  </a:lnTo>
                  <a:lnTo>
                    <a:pt x="96" y="18"/>
                  </a:lnTo>
                  <a:lnTo>
                    <a:pt x="96" y="4"/>
                  </a:lnTo>
                  <a:lnTo>
                    <a:pt x="110" y="2"/>
                  </a:lnTo>
                  <a:lnTo>
                    <a:pt x="124" y="0"/>
                  </a:lnTo>
                  <a:lnTo>
                    <a:pt x="138" y="0"/>
                  </a:lnTo>
                  <a:lnTo>
                    <a:pt x="154" y="12"/>
                  </a:lnTo>
                  <a:lnTo>
                    <a:pt x="146" y="42"/>
                  </a:lnTo>
                  <a:lnTo>
                    <a:pt x="132" y="42"/>
                  </a:lnTo>
                  <a:lnTo>
                    <a:pt x="134" y="52"/>
                  </a:lnTo>
                  <a:lnTo>
                    <a:pt x="144" y="56"/>
                  </a:lnTo>
                  <a:lnTo>
                    <a:pt x="144" y="72"/>
                  </a:lnTo>
                  <a:lnTo>
                    <a:pt x="134" y="82"/>
                  </a:lnTo>
                  <a:lnTo>
                    <a:pt x="128" y="94"/>
                  </a:lnTo>
                  <a:lnTo>
                    <a:pt x="114" y="94"/>
                  </a:lnTo>
                  <a:lnTo>
                    <a:pt x="106" y="100"/>
                  </a:lnTo>
                  <a:lnTo>
                    <a:pt x="108" y="114"/>
                  </a:lnTo>
                  <a:lnTo>
                    <a:pt x="114" y="128"/>
                  </a:lnTo>
                  <a:lnTo>
                    <a:pt x="106" y="142"/>
                  </a:lnTo>
                  <a:lnTo>
                    <a:pt x="110" y="156"/>
                  </a:lnTo>
                  <a:lnTo>
                    <a:pt x="110" y="166"/>
                  </a:lnTo>
                  <a:lnTo>
                    <a:pt x="98" y="166"/>
                  </a:lnTo>
                  <a:lnTo>
                    <a:pt x="94" y="162"/>
                  </a:lnTo>
                  <a:lnTo>
                    <a:pt x="100" y="152"/>
                  </a:lnTo>
                  <a:lnTo>
                    <a:pt x="100" y="138"/>
                  </a:lnTo>
                  <a:lnTo>
                    <a:pt x="88" y="130"/>
                  </a:lnTo>
                  <a:lnTo>
                    <a:pt x="72" y="128"/>
                  </a:lnTo>
                  <a:lnTo>
                    <a:pt x="52" y="118"/>
                  </a:lnTo>
                  <a:lnTo>
                    <a:pt x="42" y="124"/>
                  </a:lnTo>
                  <a:lnTo>
                    <a:pt x="34" y="136"/>
                  </a:lnTo>
                  <a:lnTo>
                    <a:pt x="6" y="138"/>
                  </a:lnTo>
                  <a:lnTo>
                    <a:pt x="0" y="124"/>
                  </a:lnTo>
                  <a:lnTo>
                    <a:pt x="8" y="122"/>
                  </a:lnTo>
                  <a:lnTo>
                    <a:pt x="10" y="112"/>
                  </a:lnTo>
                  <a:lnTo>
                    <a:pt x="22" y="110"/>
                  </a:lnTo>
                  <a:lnTo>
                    <a:pt x="22" y="100"/>
                  </a:lnTo>
                  <a:lnTo>
                    <a:pt x="32" y="98"/>
                  </a:lnTo>
                  <a:lnTo>
                    <a:pt x="32" y="90"/>
                  </a:lnTo>
                  <a:lnTo>
                    <a:pt x="40" y="84"/>
                  </a:lnTo>
                  <a:lnTo>
                    <a:pt x="52" y="58"/>
                  </a:lnTo>
                  <a:lnTo>
                    <a:pt x="60" y="44"/>
                  </a:lnTo>
                  <a:lnTo>
                    <a:pt x="66" y="32"/>
                  </a:lnTo>
                  <a:lnTo>
                    <a:pt x="68" y="20"/>
                  </a:lnTo>
                  <a:lnTo>
                    <a:pt x="82" y="12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56" name="New Zealand">
              <a:extLst>
                <a:ext uri="{FF2B5EF4-FFF2-40B4-BE49-F238E27FC236}">
                  <a16:creationId xmlns="" xmlns:a16="http://schemas.microsoft.com/office/drawing/2014/main" id="{C320E09E-AD84-44B0-B374-11155DD936E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951156" y="5711155"/>
              <a:ext cx="374842" cy="521139"/>
            </a:xfrm>
            <a:custGeom>
              <a:avLst/>
              <a:gdLst/>
              <a:ahLst/>
              <a:cxnLst>
                <a:cxn ang="0">
                  <a:pos x="246" y="328"/>
                </a:cxn>
                <a:cxn ang="0">
                  <a:pos x="280" y="342"/>
                </a:cxn>
                <a:cxn ang="0">
                  <a:pos x="264" y="410"/>
                </a:cxn>
                <a:cxn ang="0">
                  <a:pos x="256" y="450"/>
                </a:cxn>
                <a:cxn ang="0">
                  <a:pos x="224" y="476"/>
                </a:cxn>
                <a:cxn ang="0">
                  <a:pos x="182" y="530"/>
                </a:cxn>
                <a:cxn ang="0">
                  <a:pos x="144" y="612"/>
                </a:cxn>
                <a:cxn ang="0">
                  <a:pos x="116" y="632"/>
                </a:cxn>
                <a:cxn ang="0">
                  <a:pos x="76" y="622"/>
                </a:cxn>
                <a:cxn ang="0">
                  <a:pos x="56" y="588"/>
                </a:cxn>
                <a:cxn ang="0">
                  <a:pos x="8" y="608"/>
                </a:cxn>
                <a:cxn ang="0">
                  <a:pos x="16" y="578"/>
                </a:cxn>
                <a:cxn ang="0">
                  <a:pos x="32" y="536"/>
                </a:cxn>
                <a:cxn ang="0">
                  <a:pos x="62" y="502"/>
                </a:cxn>
                <a:cxn ang="0">
                  <a:pos x="94" y="484"/>
                </a:cxn>
                <a:cxn ang="0">
                  <a:pos x="146" y="450"/>
                </a:cxn>
                <a:cxn ang="0">
                  <a:pos x="180" y="400"/>
                </a:cxn>
                <a:cxn ang="0">
                  <a:pos x="200" y="358"/>
                </a:cxn>
                <a:cxn ang="0">
                  <a:pos x="214" y="316"/>
                </a:cxn>
                <a:cxn ang="0">
                  <a:pos x="250" y="48"/>
                </a:cxn>
                <a:cxn ang="0">
                  <a:pos x="298" y="118"/>
                </a:cxn>
                <a:cxn ang="0">
                  <a:pos x="300" y="192"/>
                </a:cxn>
                <a:cxn ang="0">
                  <a:pos x="286" y="224"/>
                </a:cxn>
                <a:cxn ang="0">
                  <a:pos x="296" y="266"/>
                </a:cxn>
                <a:cxn ang="0">
                  <a:pos x="322" y="302"/>
                </a:cxn>
                <a:cxn ang="0">
                  <a:pos x="302" y="354"/>
                </a:cxn>
                <a:cxn ang="0">
                  <a:pos x="338" y="364"/>
                </a:cxn>
                <a:cxn ang="0">
                  <a:pos x="372" y="318"/>
                </a:cxn>
                <a:cxn ang="0">
                  <a:pos x="396" y="262"/>
                </a:cxn>
                <a:cxn ang="0">
                  <a:pos x="430" y="244"/>
                </a:cxn>
                <a:cxn ang="0">
                  <a:pos x="448" y="204"/>
                </a:cxn>
                <a:cxn ang="0">
                  <a:pos x="446" y="144"/>
                </a:cxn>
                <a:cxn ang="0">
                  <a:pos x="400" y="172"/>
                </a:cxn>
                <a:cxn ang="0">
                  <a:pos x="344" y="146"/>
                </a:cxn>
                <a:cxn ang="0">
                  <a:pos x="322" y="110"/>
                </a:cxn>
                <a:cxn ang="0">
                  <a:pos x="294" y="42"/>
                </a:cxn>
                <a:cxn ang="0">
                  <a:pos x="246" y="0"/>
                </a:cxn>
                <a:cxn ang="0">
                  <a:pos x="250" y="48"/>
                </a:cxn>
              </a:cxnLst>
              <a:rect l="0" t="0" r="r" b="b"/>
              <a:pathLst>
                <a:path w="462" h="638">
                  <a:moveTo>
                    <a:pt x="228" y="308"/>
                  </a:moveTo>
                  <a:lnTo>
                    <a:pt x="246" y="328"/>
                  </a:lnTo>
                  <a:lnTo>
                    <a:pt x="252" y="342"/>
                  </a:lnTo>
                  <a:lnTo>
                    <a:pt x="280" y="342"/>
                  </a:lnTo>
                  <a:lnTo>
                    <a:pt x="276" y="374"/>
                  </a:lnTo>
                  <a:lnTo>
                    <a:pt x="264" y="410"/>
                  </a:lnTo>
                  <a:lnTo>
                    <a:pt x="244" y="436"/>
                  </a:lnTo>
                  <a:lnTo>
                    <a:pt x="256" y="450"/>
                  </a:lnTo>
                  <a:lnTo>
                    <a:pt x="256" y="474"/>
                  </a:lnTo>
                  <a:lnTo>
                    <a:pt x="224" y="476"/>
                  </a:lnTo>
                  <a:lnTo>
                    <a:pt x="194" y="486"/>
                  </a:lnTo>
                  <a:lnTo>
                    <a:pt x="182" y="530"/>
                  </a:lnTo>
                  <a:lnTo>
                    <a:pt x="176" y="566"/>
                  </a:lnTo>
                  <a:lnTo>
                    <a:pt x="144" y="612"/>
                  </a:lnTo>
                  <a:lnTo>
                    <a:pt x="130" y="612"/>
                  </a:lnTo>
                  <a:lnTo>
                    <a:pt x="116" y="632"/>
                  </a:lnTo>
                  <a:lnTo>
                    <a:pt x="82" y="638"/>
                  </a:lnTo>
                  <a:lnTo>
                    <a:pt x="76" y="622"/>
                  </a:lnTo>
                  <a:lnTo>
                    <a:pt x="58" y="612"/>
                  </a:lnTo>
                  <a:lnTo>
                    <a:pt x="56" y="588"/>
                  </a:lnTo>
                  <a:lnTo>
                    <a:pt x="32" y="612"/>
                  </a:lnTo>
                  <a:lnTo>
                    <a:pt x="8" y="608"/>
                  </a:lnTo>
                  <a:lnTo>
                    <a:pt x="0" y="594"/>
                  </a:lnTo>
                  <a:lnTo>
                    <a:pt x="16" y="578"/>
                  </a:lnTo>
                  <a:lnTo>
                    <a:pt x="16" y="556"/>
                  </a:lnTo>
                  <a:lnTo>
                    <a:pt x="32" y="536"/>
                  </a:lnTo>
                  <a:lnTo>
                    <a:pt x="60" y="518"/>
                  </a:lnTo>
                  <a:lnTo>
                    <a:pt x="62" y="502"/>
                  </a:lnTo>
                  <a:lnTo>
                    <a:pt x="76" y="490"/>
                  </a:lnTo>
                  <a:lnTo>
                    <a:pt x="94" y="484"/>
                  </a:lnTo>
                  <a:lnTo>
                    <a:pt x="130" y="452"/>
                  </a:lnTo>
                  <a:lnTo>
                    <a:pt x="146" y="450"/>
                  </a:lnTo>
                  <a:lnTo>
                    <a:pt x="162" y="430"/>
                  </a:lnTo>
                  <a:lnTo>
                    <a:pt x="180" y="400"/>
                  </a:lnTo>
                  <a:lnTo>
                    <a:pt x="186" y="370"/>
                  </a:lnTo>
                  <a:lnTo>
                    <a:pt x="200" y="358"/>
                  </a:lnTo>
                  <a:lnTo>
                    <a:pt x="214" y="332"/>
                  </a:lnTo>
                  <a:lnTo>
                    <a:pt x="214" y="316"/>
                  </a:lnTo>
                  <a:lnTo>
                    <a:pt x="228" y="308"/>
                  </a:lnTo>
                  <a:close/>
                  <a:moveTo>
                    <a:pt x="250" y="48"/>
                  </a:moveTo>
                  <a:lnTo>
                    <a:pt x="272" y="70"/>
                  </a:lnTo>
                  <a:lnTo>
                    <a:pt x="298" y="118"/>
                  </a:lnTo>
                  <a:lnTo>
                    <a:pt x="310" y="152"/>
                  </a:lnTo>
                  <a:lnTo>
                    <a:pt x="300" y="192"/>
                  </a:lnTo>
                  <a:lnTo>
                    <a:pt x="296" y="220"/>
                  </a:lnTo>
                  <a:lnTo>
                    <a:pt x="286" y="224"/>
                  </a:lnTo>
                  <a:lnTo>
                    <a:pt x="274" y="244"/>
                  </a:lnTo>
                  <a:lnTo>
                    <a:pt x="296" y="266"/>
                  </a:lnTo>
                  <a:lnTo>
                    <a:pt x="316" y="270"/>
                  </a:lnTo>
                  <a:lnTo>
                    <a:pt x="322" y="302"/>
                  </a:lnTo>
                  <a:lnTo>
                    <a:pt x="312" y="328"/>
                  </a:lnTo>
                  <a:lnTo>
                    <a:pt x="302" y="354"/>
                  </a:lnTo>
                  <a:lnTo>
                    <a:pt x="320" y="356"/>
                  </a:lnTo>
                  <a:lnTo>
                    <a:pt x="338" y="364"/>
                  </a:lnTo>
                  <a:lnTo>
                    <a:pt x="358" y="346"/>
                  </a:lnTo>
                  <a:lnTo>
                    <a:pt x="372" y="318"/>
                  </a:lnTo>
                  <a:lnTo>
                    <a:pt x="386" y="288"/>
                  </a:lnTo>
                  <a:lnTo>
                    <a:pt x="396" y="262"/>
                  </a:lnTo>
                  <a:lnTo>
                    <a:pt x="406" y="240"/>
                  </a:lnTo>
                  <a:lnTo>
                    <a:pt x="430" y="244"/>
                  </a:lnTo>
                  <a:lnTo>
                    <a:pt x="440" y="236"/>
                  </a:lnTo>
                  <a:lnTo>
                    <a:pt x="448" y="204"/>
                  </a:lnTo>
                  <a:lnTo>
                    <a:pt x="462" y="154"/>
                  </a:lnTo>
                  <a:lnTo>
                    <a:pt x="446" y="144"/>
                  </a:lnTo>
                  <a:lnTo>
                    <a:pt x="428" y="160"/>
                  </a:lnTo>
                  <a:lnTo>
                    <a:pt x="400" y="172"/>
                  </a:lnTo>
                  <a:lnTo>
                    <a:pt x="362" y="162"/>
                  </a:lnTo>
                  <a:lnTo>
                    <a:pt x="344" y="146"/>
                  </a:lnTo>
                  <a:lnTo>
                    <a:pt x="340" y="120"/>
                  </a:lnTo>
                  <a:lnTo>
                    <a:pt x="322" y="110"/>
                  </a:lnTo>
                  <a:lnTo>
                    <a:pt x="312" y="92"/>
                  </a:lnTo>
                  <a:lnTo>
                    <a:pt x="294" y="42"/>
                  </a:lnTo>
                  <a:lnTo>
                    <a:pt x="258" y="24"/>
                  </a:lnTo>
                  <a:lnTo>
                    <a:pt x="246" y="0"/>
                  </a:lnTo>
                  <a:lnTo>
                    <a:pt x="236" y="8"/>
                  </a:lnTo>
                  <a:lnTo>
                    <a:pt x="250" y="48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57" name="Nicaragua">
              <a:extLst>
                <a:ext uri="{FF2B5EF4-FFF2-40B4-BE49-F238E27FC236}">
                  <a16:creationId xmlns="" xmlns:a16="http://schemas.microsoft.com/office/drawing/2014/main" id="{64ADCE11-A9CD-4EFD-9908-56D45D93EF80}"/>
                </a:ext>
              </a:extLst>
            </p:cNvPr>
            <p:cNvSpPr>
              <a:spLocks/>
            </p:cNvSpPr>
            <p:nvPr/>
          </p:nvSpPr>
          <p:spPr bwMode="gray">
            <a:xfrm>
              <a:off x="2987708" y="4141840"/>
              <a:ext cx="138613" cy="145525"/>
            </a:xfrm>
            <a:custGeom>
              <a:avLst/>
              <a:gdLst/>
              <a:ahLst/>
              <a:cxnLst>
                <a:cxn ang="0">
                  <a:pos x="50" y="140"/>
                </a:cxn>
                <a:cxn ang="0">
                  <a:pos x="66" y="152"/>
                </a:cxn>
                <a:cxn ang="0">
                  <a:pos x="74" y="162"/>
                </a:cxn>
                <a:cxn ang="0">
                  <a:pos x="98" y="160"/>
                </a:cxn>
                <a:cxn ang="0">
                  <a:pos x="116" y="158"/>
                </a:cxn>
                <a:cxn ang="0">
                  <a:pos x="136" y="178"/>
                </a:cxn>
                <a:cxn ang="0">
                  <a:pos x="142" y="176"/>
                </a:cxn>
                <a:cxn ang="0">
                  <a:pos x="150" y="168"/>
                </a:cxn>
                <a:cxn ang="0">
                  <a:pos x="146" y="150"/>
                </a:cxn>
                <a:cxn ang="0">
                  <a:pos x="150" y="144"/>
                </a:cxn>
                <a:cxn ang="0">
                  <a:pos x="150" y="112"/>
                </a:cxn>
                <a:cxn ang="0">
                  <a:pos x="156" y="108"/>
                </a:cxn>
                <a:cxn ang="0">
                  <a:pos x="158" y="94"/>
                </a:cxn>
                <a:cxn ang="0">
                  <a:pos x="158" y="72"/>
                </a:cxn>
                <a:cxn ang="0">
                  <a:pos x="158" y="62"/>
                </a:cxn>
                <a:cxn ang="0">
                  <a:pos x="162" y="48"/>
                </a:cxn>
                <a:cxn ang="0">
                  <a:pos x="170" y="40"/>
                </a:cxn>
                <a:cxn ang="0">
                  <a:pos x="170" y="16"/>
                </a:cxn>
                <a:cxn ang="0">
                  <a:pos x="166" y="6"/>
                </a:cxn>
                <a:cxn ang="0">
                  <a:pos x="158" y="0"/>
                </a:cxn>
                <a:cxn ang="0">
                  <a:pos x="146" y="4"/>
                </a:cxn>
                <a:cxn ang="0">
                  <a:pos x="134" y="18"/>
                </a:cxn>
                <a:cxn ang="0">
                  <a:pos x="92" y="20"/>
                </a:cxn>
                <a:cxn ang="0">
                  <a:pos x="78" y="36"/>
                </a:cxn>
                <a:cxn ang="0">
                  <a:pos x="46" y="48"/>
                </a:cxn>
                <a:cxn ang="0">
                  <a:pos x="20" y="52"/>
                </a:cxn>
                <a:cxn ang="0">
                  <a:pos x="16" y="74"/>
                </a:cxn>
                <a:cxn ang="0">
                  <a:pos x="0" y="94"/>
                </a:cxn>
                <a:cxn ang="0">
                  <a:pos x="16" y="106"/>
                </a:cxn>
                <a:cxn ang="0">
                  <a:pos x="22" y="114"/>
                </a:cxn>
                <a:cxn ang="0">
                  <a:pos x="30" y="114"/>
                </a:cxn>
                <a:cxn ang="0">
                  <a:pos x="50" y="140"/>
                </a:cxn>
              </a:cxnLst>
              <a:rect l="0" t="0" r="r" b="b"/>
              <a:pathLst>
                <a:path w="170" h="178">
                  <a:moveTo>
                    <a:pt x="50" y="140"/>
                  </a:moveTo>
                  <a:lnTo>
                    <a:pt x="66" y="152"/>
                  </a:lnTo>
                  <a:lnTo>
                    <a:pt x="74" y="162"/>
                  </a:lnTo>
                  <a:lnTo>
                    <a:pt x="98" y="160"/>
                  </a:lnTo>
                  <a:lnTo>
                    <a:pt x="116" y="158"/>
                  </a:lnTo>
                  <a:lnTo>
                    <a:pt x="136" y="178"/>
                  </a:lnTo>
                  <a:lnTo>
                    <a:pt x="142" y="176"/>
                  </a:lnTo>
                  <a:lnTo>
                    <a:pt x="150" y="168"/>
                  </a:lnTo>
                  <a:lnTo>
                    <a:pt x="146" y="150"/>
                  </a:lnTo>
                  <a:lnTo>
                    <a:pt x="150" y="144"/>
                  </a:lnTo>
                  <a:lnTo>
                    <a:pt x="150" y="112"/>
                  </a:lnTo>
                  <a:lnTo>
                    <a:pt x="156" y="108"/>
                  </a:lnTo>
                  <a:lnTo>
                    <a:pt x="158" y="94"/>
                  </a:lnTo>
                  <a:lnTo>
                    <a:pt x="158" y="72"/>
                  </a:lnTo>
                  <a:lnTo>
                    <a:pt x="158" y="62"/>
                  </a:lnTo>
                  <a:lnTo>
                    <a:pt x="162" y="48"/>
                  </a:lnTo>
                  <a:lnTo>
                    <a:pt x="170" y="40"/>
                  </a:lnTo>
                  <a:lnTo>
                    <a:pt x="170" y="16"/>
                  </a:lnTo>
                  <a:lnTo>
                    <a:pt x="166" y="6"/>
                  </a:lnTo>
                  <a:lnTo>
                    <a:pt x="158" y="0"/>
                  </a:lnTo>
                  <a:lnTo>
                    <a:pt x="146" y="4"/>
                  </a:lnTo>
                  <a:lnTo>
                    <a:pt x="134" y="18"/>
                  </a:lnTo>
                  <a:lnTo>
                    <a:pt x="92" y="20"/>
                  </a:lnTo>
                  <a:lnTo>
                    <a:pt x="78" y="36"/>
                  </a:lnTo>
                  <a:lnTo>
                    <a:pt x="46" y="48"/>
                  </a:lnTo>
                  <a:lnTo>
                    <a:pt x="20" y="52"/>
                  </a:lnTo>
                  <a:lnTo>
                    <a:pt x="16" y="74"/>
                  </a:lnTo>
                  <a:lnTo>
                    <a:pt x="0" y="94"/>
                  </a:lnTo>
                  <a:lnTo>
                    <a:pt x="16" y="106"/>
                  </a:lnTo>
                  <a:lnTo>
                    <a:pt x="22" y="114"/>
                  </a:lnTo>
                  <a:lnTo>
                    <a:pt x="30" y="114"/>
                  </a:lnTo>
                  <a:lnTo>
                    <a:pt x="50" y="140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58" name="Niger">
              <a:extLst>
                <a:ext uri="{FF2B5EF4-FFF2-40B4-BE49-F238E27FC236}">
                  <a16:creationId xmlns="" xmlns:a16="http://schemas.microsoft.com/office/drawing/2014/main" id="{36E1CAC7-BD21-492A-9E90-CE22C3C529B5}"/>
                </a:ext>
              </a:extLst>
            </p:cNvPr>
            <p:cNvSpPr>
              <a:spLocks/>
            </p:cNvSpPr>
            <p:nvPr/>
          </p:nvSpPr>
          <p:spPr bwMode="gray">
            <a:xfrm>
              <a:off x="5816595" y="3793759"/>
              <a:ext cx="484171" cy="389378"/>
            </a:xfrm>
            <a:custGeom>
              <a:avLst/>
              <a:gdLst/>
              <a:ahLst/>
              <a:cxnLst>
                <a:cxn ang="0">
                  <a:pos x="126" y="464"/>
                </a:cxn>
                <a:cxn ang="0">
                  <a:pos x="90" y="448"/>
                </a:cxn>
                <a:cxn ang="0">
                  <a:pos x="80" y="450"/>
                </a:cxn>
                <a:cxn ang="0">
                  <a:pos x="72" y="474"/>
                </a:cxn>
                <a:cxn ang="0">
                  <a:pos x="60" y="458"/>
                </a:cxn>
                <a:cxn ang="0">
                  <a:pos x="62" y="448"/>
                </a:cxn>
                <a:cxn ang="0">
                  <a:pos x="66" y="436"/>
                </a:cxn>
                <a:cxn ang="0">
                  <a:pos x="54" y="428"/>
                </a:cxn>
                <a:cxn ang="0">
                  <a:pos x="50" y="434"/>
                </a:cxn>
                <a:cxn ang="0">
                  <a:pos x="24" y="424"/>
                </a:cxn>
                <a:cxn ang="0">
                  <a:pos x="24" y="410"/>
                </a:cxn>
                <a:cxn ang="0">
                  <a:pos x="0" y="384"/>
                </a:cxn>
                <a:cxn ang="0">
                  <a:pos x="0" y="342"/>
                </a:cxn>
                <a:cxn ang="0">
                  <a:pos x="18" y="344"/>
                </a:cxn>
                <a:cxn ang="0">
                  <a:pos x="32" y="332"/>
                </a:cxn>
                <a:cxn ang="0">
                  <a:pos x="64" y="332"/>
                </a:cxn>
                <a:cxn ang="0">
                  <a:pos x="80" y="324"/>
                </a:cxn>
                <a:cxn ang="0">
                  <a:pos x="104" y="318"/>
                </a:cxn>
                <a:cxn ang="0">
                  <a:pos x="128" y="322"/>
                </a:cxn>
                <a:cxn ang="0">
                  <a:pos x="148" y="290"/>
                </a:cxn>
                <a:cxn ang="0">
                  <a:pos x="148" y="176"/>
                </a:cxn>
                <a:cxn ang="0">
                  <a:pos x="236" y="142"/>
                </a:cxn>
                <a:cxn ang="0">
                  <a:pos x="456" y="0"/>
                </a:cxn>
                <a:cxn ang="0">
                  <a:pos x="506" y="10"/>
                </a:cxn>
                <a:cxn ang="0">
                  <a:pos x="526" y="26"/>
                </a:cxn>
                <a:cxn ang="0">
                  <a:pos x="558" y="16"/>
                </a:cxn>
                <a:cxn ang="0">
                  <a:pos x="576" y="48"/>
                </a:cxn>
                <a:cxn ang="0">
                  <a:pos x="572" y="88"/>
                </a:cxn>
                <a:cxn ang="0">
                  <a:pos x="596" y="122"/>
                </a:cxn>
                <a:cxn ang="0">
                  <a:pos x="574" y="152"/>
                </a:cxn>
                <a:cxn ang="0">
                  <a:pos x="564" y="282"/>
                </a:cxn>
                <a:cxn ang="0">
                  <a:pos x="492" y="362"/>
                </a:cxn>
                <a:cxn ang="0">
                  <a:pos x="498" y="386"/>
                </a:cxn>
                <a:cxn ang="0">
                  <a:pos x="456" y="418"/>
                </a:cxn>
                <a:cxn ang="0">
                  <a:pos x="424" y="404"/>
                </a:cxn>
                <a:cxn ang="0">
                  <a:pos x="398" y="404"/>
                </a:cxn>
                <a:cxn ang="0">
                  <a:pos x="368" y="422"/>
                </a:cxn>
                <a:cxn ang="0">
                  <a:pos x="340" y="422"/>
                </a:cxn>
                <a:cxn ang="0">
                  <a:pos x="320" y="404"/>
                </a:cxn>
                <a:cxn ang="0">
                  <a:pos x="270" y="412"/>
                </a:cxn>
                <a:cxn ang="0">
                  <a:pos x="238" y="388"/>
                </a:cxn>
                <a:cxn ang="0">
                  <a:pos x="192" y="404"/>
                </a:cxn>
                <a:cxn ang="0">
                  <a:pos x="168" y="398"/>
                </a:cxn>
                <a:cxn ang="0">
                  <a:pos x="150" y="408"/>
                </a:cxn>
                <a:cxn ang="0">
                  <a:pos x="148" y="430"/>
                </a:cxn>
                <a:cxn ang="0">
                  <a:pos x="130" y="448"/>
                </a:cxn>
                <a:cxn ang="0">
                  <a:pos x="126" y="464"/>
                </a:cxn>
              </a:cxnLst>
              <a:rect l="0" t="0" r="r" b="b"/>
              <a:pathLst>
                <a:path w="596" h="474">
                  <a:moveTo>
                    <a:pt x="126" y="464"/>
                  </a:moveTo>
                  <a:lnTo>
                    <a:pt x="90" y="448"/>
                  </a:lnTo>
                  <a:lnTo>
                    <a:pt x="80" y="450"/>
                  </a:lnTo>
                  <a:lnTo>
                    <a:pt x="72" y="474"/>
                  </a:lnTo>
                  <a:lnTo>
                    <a:pt x="60" y="458"/>
                  </a:lnTo>
                  <a:lnTo>
                    <a:pt x="62" y="448"/>
                  </a:lnTo>
                  <a:lnTo>
                    <a:pt x="66" y="436"/>
                  </a:lnTo>
                  <a:lnTo>
                    <a:pt x="54" y="428"/>
                  </a:lnTo>
                  <a:lnTo>
                    <a:pt x="50" y="434"/>
                  </a:lnTo>
                  <a:lnTo>
                    <a:pt x="24" y="424"/>
                  </a:lnTo>
                  <a:lnTo>
                    <a:pt x="24" y="410"/>
                  </a:lnTo>
                  <a:lnTo>
                    <a:pt x="0" y="384"/>
                  </a:lnTo>
                  <a:lnTo>
                    <a:pt x="0" y="342"/>
                  </a:lnTo>
                  <a:lnTo>
                    <a:pt x="18" y="344"/>
                  </a:lnTo>
                  <a:lnTo>
                    <a:pt x="32" y="332"/>
                  </a:lnTo>
                  <a:lnTo>
                    <a:pt x="64" y="332"/>
                  </a:lnTo>
                  <a:lnTo>
                    <a:pt x="80" y="324"/>
                  </a:lnTo>
                  <a:lnTo>
                    <a:pt x="104" y="318"/>
                  </a:lnTo>
                  <a:lnTo>
                    <a:pt x="128" y="322"/>
                  </a:lnTo>
                  <a:lnTo>
                    <a:pt x="148" y="290"/>
                  </a:lnTo>
                  <a:lnTo>
                    <a:pt x="148" y="176"/>
                  </a:lnTo>
                  <a:lnTo>
                    <a:pt x="236" y="142"/>
                  </a:lnTo>
                  <a:lnTo>
                    <a:pt x="456" y="0"/>
                  </a:lnTo>
                  <a:lnTo>
                    <a:pt x="506" y="10"/>
                  </a:lnTo>
                  <a:lnTo>
                    <a:pt x="526" y="26"/>
                  </a:lnTo>
                  <a:lnTo>
                    <a:pt x="558" y="16"/>
                  </a:lnTo>
                  <a:lnTo>
                    <a:pt x="576" y="48"/>
                  </a:lnTo>
                  <a:lnTo>
                    <a:pt x="572" y="88"/>
                  </a:lnTo>
                  <a:lnTo>
                    <a:pt x="596" y="122"/>
                  </a:lnTo>
                  <a:lnTo>
                    <a:pt x="574" y="152"/>
                  </a:lnTo>
                  <a:lnTo>
                    <a:pt x="564" y="282"/>
                  </a:lnTo>
                  <a:lnTo>
                    <a:pt x="492" y="362"/>
                  </a:lnTo>
                  <a:lnTo>
                    <a:pt x="498" y="386"/>
                  </a:lnTo>
                  <a:lnTo>
                    <a:pt x="456" y="418"/>
                  </a:lnTo>
                  <a:lnTo>
                    <a:pt x="424" y="404"/>
                  </a:lnTo>
                  <a:lnTo>
                    <a:pt x="398" y="404"/>
                  </a:lnTo>
                  <a:lnTo>
                    <a:pt x="368" y="422"/>
                  </a:lnTo>
                  <a:lnTo>
                    <a:pt x="340" y="422"/>
                  </a:lnTo>
                  <a:lnTo>
                    <a:pt x="320" y="404"/>
                  </a:lnTo>
                  <a:lnTo>
                    <a:pt x="270" y="412"/>
                  </a:lnTo>
                  <a:lnTo>
                    <a:pt x="238" y="388"/>
                  </a:lnTo>
                  <a:lnTo>
                    <a:pt x="192" y="404"/>
                  </a:lnTo>
                  <a:lnTo>
                    <a:pt x="168" y="398"/>
                  </a:lnTo>
                  <a:lnTo>
                    <a:pt x="150" y="408"/>
                  </a:lnTo>
                  <a:lnTo>
                    <a:pt x="148" y="430"/>
                  </a:lnTo>
                  <a:lnTo>
                    <a:pt x="130" y="448"/>
                  </a:lnTo>
                  <a:lnTo>
                    <a:pt x="126" y="464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59" name="Nigeria">
              <a:extLst>
                <a:ext uri="{FF2B5EF4-FFF2-40B4-BE49-F238E27FC236}">
                  <a16:creationId xmlns="" xmlns:a16="http://schemas.microsoft.com/office/drawing/2014/main" id="{8E1A1913-BD6E-48C3-915B-C678AA64BEAF}"/>
                </a:ext>
              </a:extLst>
            </p:cNvPr>
            <p:cNvSpPr>
              <a:spLocks/>
            </p:cNvSpPr>
            <p:nvPr/>
          </p:nvSpPr>
          <p:spPr bwMode="gray">
            <a:xfrm>
              <a:off x="5900546" y="4110377"/>
              <a:ext cx="355319" cy="314649"/>
            </a:xfrm>
            <a:custGeom>
              <a:avLst/>
              <a:gdLst/>
              <a:ahLst/>
              <a:cxnLst>
                <a:cxn ang="0">
                  <a:pos x="8" y="301"/>
                </a:cxn>
                <a:cxn ang="0">
                  <a:pos x="8" y="279"/>
                </a:cxn>
                <a:cxn ang="0">
                  <a:pos x="0" y="265"/>
                </a:cxn>
                <a:cxn ang="0">
                  <a:pos x="0" y="200"/>
                </a:cxn>
                <a:cxn ang="0">
                  <a:pos x="10" y="198"/>
                </a:cxn>
                <a:cxn ang="0">
                  <a:pos x="20" y="182"/>
                </a:cxn>
                <a:cxn ang="0">
                  <a:pos x="34" y="150"/>
                </a:cxn>
                <a:cxn ang="0">
                  <a:pos x="34" y="118"/>
                </a:cxn>
                <a:cxn ang="0">
                  <a:pos x="24" y="78"/>
                </a:cxn>
                <a:cxn ang="0">
                  <a:pos x="28" y="62"/>
                </a:cxn>
                <a:cxn ang="0">
                  <a:pos x="46" y="44"/>
                </a:cxn>
                <a:cxn ang="0">
                  <a:pos x="48" y="22"/>
                </a:cxn>
                <a:cxn ang="0">
                  <a:pos x="66" y="12"/>
                </a:cxn>
                <a:cxn ang="0">
                  <a:pos x="90" y="18"/>
                </a:cxn>
                <a:cxn ang="0">
                  <a:pos x="136" y="2"/>
                </a:cxn>
                <a:cxn ang="0">
                  <a:pos x="168" y="26"/>
                </a:cxn>
                <a:cxn ang="0">
                  <a:pos x="218" y="18"/>
                </a:cxn>
                <a:cxn ang="0">
                  <a:pos x="238" y="36"/>
                </a:cxn>
                <a:cxn ang="0">
                  <a:pos x="266" y="36"/>
                </a:cxn>
                <a:cxn ang="0">
                  <a:pos x="296" y="18"/>
                </a:cxn>
                <a:cxn ang="0">
                  <a:pos x="322" y="18"/>
                </a:cxn>
                <a:cxn ang="0">
                  <a:pos x="354" y="32"/>
                </a:cxn>
                <a:cxn ang="0">
                  <a:pos x="396" y="0"/>
                </a:cxn>
                <a:cxn ang="0">
                  <a:pos x="424" y="48"/>
                </a:cxn>
                <a:cxn ang="0">
                  <a:pos x="424" y="62"/>
                </a:cxn>
                <a:cxn ang="0">
                  <a:pos x="438" y="86"/>
                </a:cxn>
                <a:cxn ang="0">
                  <a:pos x="438" y="104"/>
                </a:cxn>
                <a:cxn ang="0">
                  <a:pos x="424" y="110"/>
                </a:cxn>
                <a:cxn ang="0">
                  <a:pos x="408" y="138"/>
                </a:cxn>
                <a:cxn ang="0">
                  <a:pos x="406" y="158"/>
                </a:cxn>
                <a:cxn ang="0">
                  <a:pos x="380" y="184"/>
                </a:cxn>
                <a:cxn ang="0">
                  <a:pos x="376" y="217"/>
                </a:cxn>
                <a:cxn ang="0">
                  <a:pos x="356" y="237"/>
                </a:cxn>
                <a:cxn ang="0">
                  <a:pos x="356" y="253"/>
                </a:cxn>
                <a:cxn ang="0">
                  <a:pos x="324" y="297"/>
                </a:cxn>
                <a:cxn ang="0">
                  <a:pos x="290" y="287"/>
                </a:cxn>
                <a:cxn ang="0">
                  <a:pos x="274" y="289"/>
                </a:cxn>
                <a:cxn ang="0">
                  <a:pos x="236" y="325"/>
                </a:cxn>
                <a:cxn ang="0">
                  <a:pos x="236" y="345"/>
                </a:cxn>
                <a:cxn ang="0">
                  <a:pos x="228" y="355"/>
                </a:cxn>
                <a:cxn ang="0">
                  <a:pos x="216" y="359"/>
                </a:cxn>
                <a:cxn ang="0">
                  <a:pos x="212" y="373"/>
                </a:cxn>
                <a:cxn ang="0">
                  <a:pos x="194" y="371"/>
                </a:cxn>
                <a:cxn ang="0">
                  <a:pos x="164" y="367"/>
                </a:cxn>
                <a:cxn ang="0">
                  <a:pos x="160" y="377"/>
                </a:cxn>
                <a:cxn ang="0">
                  <a:pos x="150" y="383"/>
                </a:cxn>
                <a:cxn ang="0">
                  <a:pos x="126" y="385"/>
                </a:cxn>
                <a:cxn ang="0">
                  <a:pos x="110" y="375"/>
                </a:cxn>
                <a:cxn ang="0">
                  <a:pos x="94" y="347"/>
                </a:cxn>
                <a:cxn ang="0">
                  <a:pos x="52" y="305"/>
                </a:cxn>
                <a:cxn ang="0">
                  <a:pos x="44" y="299"/>
                </a:cxn>
                <a:cxn ang="0">
                  <a:pos x="36" y="295"/>
                </a:cxn>
                <a:cxn ang="0">
                  <a:pos x="24" y="301"/>
                </a:cxn>
                <a:cxn ang="0">
                  <a:pos x="8" y="301"/>
                </a:cxn>
              </a:cxnLst>
              <a:rect l="0" t="0" r="r" b="b"/>
              <a:pathLst>
                <a:path w="438" h="385">
                  <a:moveTo>
                    <a:pt x="8" y="301"/>
                  </a:moveTo>
                  <a:lnTo>
                    <a:pt x="8" y="279"/>
                  </a:lnTo>
                  <a:lnTo>
                    <a:pt x="0" y="265"/>
                  </a:lnTo>
                  <a:lnTo>
                    <a:pt x="0" y="200"/>
                  </a:lnTo>
                  <a:lnTo>
                    <a:pt x="10" y="198"/>
                  </a:lnTo>
                  <a:lnTo>
                    <a:pt x="20" y="182"/>
                  </a:lnTo>
                  <a:lnTo>
                    <a:pt x="34" y="150"/>
                  </a:lnTo>
                  <a:lnTo>
                    <a:pt x="34" y="118"/>
                  </a:lnTo>
                  <a:lnTo>
                    <a:pt x="24" y="78"/>
                  </a:lnTo>
                  <a:lnTo>
                    <a:pt x="28" y="62"/>
                  </a:lnTo>
                  <a:lnTo>
                    <a:pt x="46" y="44"/>
                  </a:lnTo>
                  <a:lnTo>
                    <a:pt x="48" y="22"/>
                  </a:lnTo>
                  <a:lnTo>
                    <a:pt x="66" y="12"/>
                  </a:lnTo>
                  <a:lnTo>
                    <a:pt x="90" y="18"/>
                  </a:lnTo>
                  <a:lnTo>
                    <a:pt x="136" y="2"/>
                  </a:lnTo>
                  <a:lnTo>
                    <a:pt x="168" y="26"/>
                  </a:lnTo>
                  <a:lnTo>
                    <a:pt x="218" y="18"/>
                  </a:lnTo>
                  <a:lnTo>
                    <a:pt x="238" y="36"/>
                  </a:lnTo>
                  <a:lnTo>
                    <a:pt x="266" y="36"/>
                  </a:lnTo>
                  <a:lnTo>
                    <a:pt x="296" y="18"/>
                  </a:lnTo>
                  <a:lnTo>
                    <a:pt x="322" y="18"/>
                  </a:lnTo>
                  <a:lnTo>
                    <a:pt x="354" y="32"/>
                  </a:lnTo>
                  <a:lnTo>
                    <a:pt x="396" y="0"/>
                  </a:lnTo>
                  <a:lnTo>
                    <a:pt x="424" y="48"/>
                  </a:lnTo>
                  <a:lnTo>
                    <a:pt x="424" y="62"/>
                  </a:lnTo>
                  <a:lnTo>
                    <a:pt x="438" y="86"/>
                  </a:lnTo>
                  <a:lnTo>
                    <a:pt x="438" y="104"/>
                  </a:lnTo>
                  <a:lnTo>
                    <a:pt x="424" y="110"/>
                  </a:lnTo>
                  <a:lnTo>
                    <a:pt x="408" y="138"/>
                  </a:lnTo>
                  <a:lnTo>
                    <a:pt x="406" y="158"/>
                  </a:lnTo>
                  <a:lnTo>
                    <a:pt x="380" y="184"/>
                  </a:lnTo>
                  <a:lnTo>
                    <a:pt x="376" y="217"/>
                  </a:lnTo>
                  <a:lnTo>
                    <a:pt x="356" y="237"/>
                  </a:lnTo>
                  <a:lnTo>
                    <a:pt x="356" y="253"/>
                  </a:lnTo>
                  <a:lnTo>
                    <a:pt x="324" y="297"/>
                  </a:lnTo>
                  <a:lnTo>
                    <a:pt x="290" y="287"/>
                  </a:lnTo>
                  <a:lnTo>
                    <a:pt x="274" y="289"/>
                  </a:lnTo>
                  <a:lnTo>
                    <a:pt x="236" y="325"/>
                  </a:lnTo>
                  <a:lnTo>
                    <a:pt x="236" y="345"/>
                  </a:lnTo>
                  <a:lnTo>
                    <a:pt x="228" y="355"/>
                  </a:lnTo>
                  <a:lnTo>
                    <a:pt x="216" y="359"/>
                  </a:lnTo>
                  <a:lnTo>
                    <a:pt x="212" y="373"/>
                  </a:lnTo>
                  <a:lnTo>
                    <a:pt x="194" y="371"/>
                  </a:lnTo>
                  <a:lnTo>
                    <a:pt x="164" y="367"/>
                  </a:lnTo>
                  <a:lnTo>
                    <a:pt x="160" y="377"/>
                  </a:lnTo>
                  <a:lnTo>
                    <a:pt x="150" y="383"/>
                  </a:lnTo>
                  <a:lnTo>
                    <a:pt x="126" y="385"/>
                  </a:lnTo>
                  <a:lnTo>
                    <a:pt x="110" y="375"/>
                  </a:lnTo>
                  <a:lnTo>
                    <a:pt x="94" y="347"/>
                  </a:lnTo>
                  <a:lnTo>
                    <a:pt x="52" y="305"/>
                  </a:lnTo>
                  <a:lnTo>
                    <a:pt x="44" y="299"/>
                  </a:lnTo>
                  <a:lnTo>
                    <a:pt x="36" y="295"/>
                  </a:lnTo>
                  <a:lnTo>
                    <a:pt x="24" y="301"/>
                  </a:lnTo>
                  <a:lnTo>
                    <a:pt x="8" y="301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60" name="North Korea">
              <a:extLst>
                <a:ext uri="{FF2B5EF4-FFF2-40B4-BE49-F238E27FC236}">
                  <a16:creationId xmlns="" xmlns:a16="http://schemas.microsoft.com/office/drawing/2014/main" id="{53ACE661-91C0-44EC-BC56-AD4F9052F5EA}"/>
                </a:ext>
              </a:extLst>
            </p:cNvPr>
            <p:cNvSpPr>
              <a:spLocks/>
            </p:cNvSpPr>
            <p:nvPr/>
          </p:nvSpPr>
          <p:spPr bwMode="gray">
            <a:xfrm>
              <a:off x="9623588" y="3044501"/>
              <a:ext cx="206944" cy="224188"/>
            </a:xfrm>
            <a:custGeom>
              <a:avLst/>
              <a:gdLst/>
              <a:ahLst/>
              <a:cxnLst>
                <a:cxn ang="0">
                  <a:pos x="94" y="260"/>
                </a:cxn>
                <a:cxn ang="0">
                  <a:pos x="76" y="258"/>
                </a:cxn>
                <a:cxn ang="0">
                  <a:pos x="68" y="272"/>
                </a:cxn>
                <a:cxn ang="0">
                  <a:pos x="54" y="274"/>
                </a:cxn>
                <a:cxn ang="0">
                  <a:pos x="52" y="262"/>
                </a:cxn>
                <a:cxn ang="0">
                  <a:pos x="38" y="260"/>
                </a:cxn>
                <a:cxn ang="0">
                  <a:pos x="28" y="250"/>
                </a:cxn>
                <a:cxn ang="0">
                  <a:pos x="40" y="228"/>
                </a:cxn>
                <a:cxn ang="0">
                  <a:pos x="56" y="224"/>
                </a:cxn>
                <a:cxn ang="0">
                  <a:pos x="52" y="210"/>
                </a:cxn>
                <a:cxn ang="0">
                  <a:pos x="62" y="174"/>
                </a:cxn>
                <a:cxn ang="0">
                  <a:pos x="28" y="174"/>
                </a:cxn>
                <a:cxn ang="0">
                  <a:pos x="18" y="178"/>
                </a:cxn>
                <a:cxn ang="0">
                  <a:pos x="0" y="164"/>
                </a:cxn>
                <a:cxn ang="0">
                  <a:pos x="36" y="130"/>
                </a:cxn>
                <a:cxn ang="0">
                  <a:pos x="48" y="132"/>
                </a:cxn>
                <a:cxn ang="0">
                  <a:pos x="60" y="122"/>
                </a:cxn>
                <a:cxn ang="0">
                  <a:pos x="78" y="118"/>
                </a:cxn>
                <a:cxn ang="0">
                  <a:pos x="102" y="72"/>
                </a:cxn>
                <a:cxn ang="0">
                  <a:pos x="124" y="64"/>
                </a:cxn>
                <a:cxn ang="0">
                  <a:pos x="140" y="78"/>
                </a:cxn>
                <a:cxn ang="0">
                  <a:pos x="164" y="84"/>
                </a:cxn>
                <a:cxn ang="0">
                  <a:pos x="170" y="70"/>
                </a:cxn>
                <a:cxn ang="0">
                  <a:pos x="162" y="50"/>
                </a:cxn>
                <a:cxn ang="0">
                  <a:pos x="184" y="42"/>
                </a:cxn>
                <a:cxn ang="0">
                  <a:pos x="198" y="18"/>
                </a:cxn>
                <a:cxn ang="0">
                  <a:pos x="214" y="12"/>
                </a:cxn>
                <a:cxn ang="0">
                  <a:pos x="222" y="0"/>
                </a:cxn>
                <a:cxn ang="0">
                  <a:pos x="248" y="10"/>
                </a:cxn>
                <a:cxn ang="0">
                  <a:pos x="254" y="26"/>
                </a:cxn>
                <a:cxn ang="0">
                  <a:pos x="234" y="46"/>
                </a:cxn>
                <a:cxn ang="0">
                  <a:pos x="216" y="56"/>
                </a:cxn>
                <a:cxn ang="0">
                  <a:pos x="212" y="76"/>
                </a:cxn>
                <a:cxn ang="0">
                  <a:pos x="220" y="88"/>
                </a:cxn>
                <a:cxn ang="0">
                  <a:pos x="214" y="114"/>
                </a:cxn>
                <a:cxn ang="0">
                  <a:pos x="190" y="144"/>
                </a:cxn>
                <a:cxn ang="0">
                  <a:pos x="174" y="152"/>
                </a:cxn>
                <a:cxn ang="0">
                  <a:pos x="152" y="154"/>
                </a:cxn>
                <a:cxn ang="0">
                  <a:pos x="138" y="174"/>
                </a:cxn>
                <a:cxn ang="0">
                  <a:pos x="130" y="176"/>
                </a:cxn>
                <a:cxn ang="0">
                  <a:pos x="128" y="198"/>
                </a:cxn>
                <a:cxn ang="0">
                  <a:pos x="152" y="214"/>
                </a:cxn>
                <a:cxn ang="0">
                  <a:pos x="162" y="220"/>
                </a:cxn>
                <a:cxn ang="0">
                  <a:pos x="170" y="236"/>
                </a:cxn>
                <a:cxn ang="0">
                  <a:pos x="158" y="242"/>
                </a:cxn>
                <a:cxn ang="0">
                  <a:pos x="144" y="250"/>
                </a:cxn>
                <a:cxn ang="0">
                  <a:pos x="120" y="246"/>
                </a:cxn>
                <a:cxn ang="0">
                  <a:pos x="94" y="260"/>
                </a:cxn>
              </a:cxnLst>
              <a:rect l="0" t="0" r="r" b="b"/>
              <a:pathLst>
                <a:path w="254" h="274">
                  <a:moveTo>
                    <a:pt x="94" y="260"/>
                  </a:moveTo>
                  <a:lnTo>
                    <a:pt x="76" y="258"/>
                  </a:lnTo>
                  <a:lnTo>
                    <a:pt x="68" y="272"/>
                  </a:lnTo>
                  <a:lnTo>
                    <a:pt x="54" y="274"/>
                  </a:lnTo>
                  <a:lnTo>
                    <a:pt x="52" y="262"/>
                  </a:lnTo>
                  <a:lnTo>
                    <a:pt x="38" y="260"/>
                  </a:lnTo>
                  <a:lnTo>
                    <a:pt x="28" y="250"/>
                  </a:lnTo>
                  <a:lnTo>
                    <a:pt x="40" y="228"/>
                  </a:lnTo>
                  <a:lnTo>
                    <a:pt x="56" y="224"/>
                  </a:lnTo>
                  <a:lnTo>
                    <a:pt x="52" y="210"/>
                  </a:lnTo>
                  <a:lnTo>
                    <a:pt x="62" y="174"/>
                  </a:lnTo>
                  <a:lnTo>
                    <a:pt x="28" y="174"/>
                  </a:lnTo>
                  <a:lnTo>
                    <a:pt x="18" y="178"/>
                  </a:lnTo>
                  <a:lnTo>
                    <a:pt x="0" y="164"/>
                  </a:lnTo>
                  <a:lnTo>
                    <a:pt x="36" y="130"/>
                  </a:lnTo>
                  <a:lnTo>
                    <a:pt x="48" y="132"/>
                  </a:lnTo>
                  <a:lnTo>
                    <a:pt x="60" y="122"/>
                  </a:lnTo>
                  <a:lnTo>
                    <a:pt x="78" y="118"/>
                  </a:lnTo>
                  <a:lnTo>
                    <a:pt x="102" y="72"/>
                  </a:lnTo>
                  <a:lnTo>
                    <a:pt x="124" y="64"/>
                  </a:lnTo>
                  <a:lnTo>
                    <a:pt x="140" y="78"/>
                  </a:lnTo>
                  <a:lnTo>
                    <a:pt x="164" y="84"/>
                  </a:lnTo>
                  <a:lnTo>
                    <a:pt x="170" y="70"/>
                  </a:lnTo>
                  <a:lnTo>
                    <a:pt x="162" y="50"/>
                  </a:lnTo>
                  <a:lnTo>
                    <a:pt x="184" y="42"/>
                  </a:lnTo>
                  <a:lnTo>
                    <a:pt x="198" y="18"/>
                  </a:lnTo>
                  <a:lnTo>
                    <a:pt x="214" y="12"/>
                  </a:lnTo>
                  <a:lnTo>
                    <a:pt x="222" y="0"/>
                  </a:lnTo>
                  <a:lnTo>
                    <a:pt x="248" y="10"/>
                  </a:lnTo>
                  <a:lnTo>
                    <a:pt x="254" y="26"/>
                  </a:lnTo>
                  <a:lnTo>
                    <a:pt x="234" y="46"/>
                  </a:lnTo>
                  <a:lnTo>
                    <a:pt x="216" y="56"/>
                  </a:lnTo>
                  <a:lnTo>
                    <a:pt x="212" y="76"/>
                  </a:lnTo>
                  <a:lnTo>
                    <a:pt x="220" y="88"/>
                  </a:lnTo>
                  <a:lnTo>
                    <a:pt x="214" y="114"/>
                  </a:lnTo>
                  <a:lnTo>
                    <a:pt x="190" y="144"/>
                  </a:lnTo>
                  <a:lnTo>
                    <a:pt x="174" y="152"/>
                  </a:lnTo>
                  <a:lnTo>
                    <a:pt x="152" y="154"/>
                  </a:lnTo>
                  <a:lnTo>
                    <a:pt x="138" y="174"/>
                  </a:lnTo>
                  <a:lnTo>
                    <a:pt x="130" y="176"/>
                  </a:lnTo>
                  <a:lnTo>
                    <a:pt x="128" y="198"/>
                  </a:lnTo>
                  <a:lnTo>
                    <a:pt x="152" y="214"/>
                  </a:lnTo>
                  <a:lnTo>
                    <a:pt x="162" y="220"/>
                  </a:lnTo>
                  <a:lnTo>
                    <a:pt x="170" y="236"/>
                  </a:lnTo>
                  <a:lnTo>
                    <a:pt x="158" y="242"/>
                  </a:lnTo>
                  <a:lnTo>
                    <a:pt x="144" y="250"/>
                  </a:lnTo>
                  <a:lnTo>
                    <a:pt x="120" y="246"/>
                  </a:lnTo>
                  <a:lnTo>
                    <a:pt x="94" y="260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61" name="Norway">
              <a:extLst>
                <a:ext uri="{FF2B5EF4-FFF2-40B4-BE49-F238E27FC236}">
                  <a16:creationId xmlns="" xmlns:a16="http://schemas.microsoft.com/office/drawing/2014/main" id="{B3C0FCB5-11C0-4BA9-B77A-B7CB0B1DCD8E}"/>
                </a:ext>
              </a:extLst>
            </p:cNvPr>
            <p:cNvSpPr>
              <a:spLocks/>
            </p:cNvSpPr>
            <p:nvPr/>
          </p:nvSpPr>
          <p:spPr bwMode="gray">
            <a:xfrm>
              <a:off x="5966925" y="1272629"/>
              <a:ext cx="796540" cy="1006878"/>
            </a:xfrm>
            <a:custGeom>
              <a:avLst/>
              <a:gdLst/>
              <a:ahLst/>
              <a:cxnLst>
                <a:cxn ang="0">
                  <a:pos x="890" y="222"/>
                </a:cxn>
                <a:cxn ang="0">
                  <a:pos x="892" y="154"/>
                </a:cxn>
                <a:cxn ang="0">
                  <a:pos x="810" y="152"/>
                </a:cxn>
                <a:cxn ang="0">
                  <a:pos x="658" y="270"/>
                </a:cxn>
                <a:cxn ang="0">
                  <a:pos x="598" y="240"/>
                </a:cxn>
                <a:cxn ang="0">
                  <a:pos x="552" y="284"/>
                </a:cxn>
                <a:cxn ang="0">
                  <a:pos x="496" y="292"/>
                </a:cxn>
                <a:cxn ang="0">
                  <a:pos x="484" y="322"/>
                </a:cxn>
                <a:cxn ang="0">
                  <a:pos x="432" y="378"/>
                </a:cxn>
                <a:cxn ang="0">
                  <a:pos x="434" y="430"/>
                </a:cxn>
                <a:cxn ang="0">
                  <a:pos x="368" y="556"/>
                </a:cxn>
                <a:cxn ang="0">
                  <a:pos x="332" y="702"/>
                </a:cxn>
                <a:cxn ang="0">
                  <a:pos x="252" y="768"/>
                </a:cxn>
                <a:cxn ang="0">
                  <a:pos x="276" y="970"/>
                </a:cxn>
                <a:cxn ang="0">
                  <a:pos x="242" y="1122"/>
                </a:cxn>
                <a:cxn ang="0">
                  <a:pos x="222" y="1146"/>
                </a:cxn>
                <a:cxn ang="0">
                  <a:pos x="168" y="1154"/>
                </a:cxn>
                <a:cxn ang="0">
                  <a:pos x="46" y="1200"/>
                </a:cxn>
                <a:cxn ang="0">
                  <a:pos x="22" y="1148"/>
                </a:cxn>
                <a:cxn ang="0">
                  <a:pos x="6" y="1124"/>
                </a:cxn>
                <a:cxn ang="0">
                  <a:pos x="24" y="1082"/>
                </a:cxn>
                <a:cxn ang="0">
                  <a:pos x="14" y="1028"/>
                </a:cxn>
                <a:cxn ang="0">
                  <a:pos x="8" y="988"/>
                </a:cxn>
                <a:cxn ang="0">
                  <a:pos x="6" y="936"/>
                </a:cxn>
                <a:cxn ang="0">
                  <a:pos x="22" y="894"/>
                </a:cxn>
                <a:cxn ang="0">
                  <a:pos x="64" y="856"/>
                </a:cxn>
                <a:cxn ang="0">
                  <a:pos x="130" y="836"/>
                </a:cxn>
                <a:cxn ang="0">
                  <a:pos x="176" y="792"/>
                </a:cxn>
                <a:cxn ang="0">
                  <a:pos x="188" y="736"/>
                </a:cxn>
                <a:cxn ang="0">
                  <a:pos x="238" y="710"/>
                </a:cxn>
                <a:cxn ang="0">
                  <a:pos x="254" y="658"/>
                </a:cxn>
                <a:cxn ang="0">
                  <a:pos x="278" y="572"/>
                </a:cxn>
                <a:cxn ang="0">
                  <a:pos x="308" y="516"/>
                </a:cxn>
                <a:cxn ang="0">
                  <a:pos x="348" y="454"/>
                </a:cxn>
                <a:cxn ang="0">
                  <a:pos x="374" y="402"/>
                </a:cxn>
                <a:cxn ang="0">
                  <a:pos x="404" y="332"/>
                </a:cxn>
                <a:cxn ang="0">
                  <a:pos x="456" y="268"/>
                </a:cxn>
                <a:cxn ang="0">
                  <a:pos x="438" y="228"/>
                </a:cxn>
                <a:cxn ang="0">
                  <a:pos x="486" y="186"/>
                </a:cxn>
                <a:cxn ang="0">
                  <a:pos x="558" y="148"/>
                </a:cxn>
                <a:cxn ang="0">
                  <a:pos x="682" y="108"/>
                </a:cxn>
                <a:cxn ang="0">
                  <a:pos x="768" y="2"/>
                </a:cxn>
                <a:cxn ang="0">
                  <a:pos x="802" y="30"/>
                </a:cxn>
                <a:cxn ang="0">
                  <a:pos x="832" y="40"/>
                </a:cxn>
                <a:cxn ang="0">
                  <a:pos x="876" y="8"/>
                </a:cxn>
                <a:cxn ang="0">
                  <a:pos x="868" y="80"/>
                </a:cxn>
                <a:cxn ang="0">
                  <a:pos x="912" y="46"/>
                </a:cxn>
                <a:cxn ang="0">
                  <a:pos x="978" y="98"/>
                </a:cxn>
                <a:cxn ang="0">
                  <a:pos x="890" y="118"/>
                </a:cxn>
                <a:cxn ang="0">
                  <a:pos x="944" y="160"/>
                </a:cxn>
              </a:cxnLst>
              <a:rect l="0" t="0" r="r" b="b"/>
              <a:pathLst>
                <a:path w="980" h="1232">
                  <a:moveTo>
                    <a:pt x="944" y="160"/>
                  </a:moveTo>
                  <a:lnTo>
                    <a:pt x="902" y="222"/>
                  </a:lnTo>
                  <a:lnTo>
                    <a:pt x="890" y="222"/>
                  </a:lnTo>
                  <a:lnTo>
                    <a:pt x="882" y="190"/>
                  </a:lnTo>
                  <a:lnTo>
                    <a:pt x="896" y="166"/>
                  </a:lnTo>
                  <a:lnTo>
                    <a:pt x="892" y="154"/>
                  </a:lnTo>
                  <a:lnTo>
                    <a:pt x="874" y="152"/>
                  </a:lnTo>
                  <a:lnTo>
                    <a:pt x="854" y="138"/>
                  </a:lnTo>
                  <a:lnTo>
                    <a:pt x="810" y="152"/>
                  </a:lnTo>
                  <a:lnTo>
                    <a:pt x="740" y="292"/>
                  </a:lnTo>
                  <a:lnTo>
                    <a:pt x="714" y="272"/>
                  </a:lnTo>
                  <a:lnTo>
                    <a:pt x="658" y="270"/>
                  </a:lnTo>
                  <a:lnTo>
                    <a:pt x="634" y="232"/>
                  </a:lnTo>
                  <a:lnTo>
                    <a:pt x="608" y="212"/>
                  </a:lnTo>
                  <a:lnTo>
                    <a:pt x="598" y="240"/>
                  </a:lnTo>
                  <a:lnTo>
                    <a:pt x="568" y="238"/>
                  </a:lnTo>
                  <a:lnTo>
                    <a:pt x="554" y="238"/>
                  </a:lnTo>
                  <a:lnTo>
                    <a:pt x="552" y="284"/>
                  </a:lnTo>
                  <a:lnTo>
                    <a:pt x="540" y="300"/>
                  </a:lnTo>
                  <a:lnTo>
                    <a:pt x="528" y="292"/>
                  </a:lnTo>
                  <a:lnTo>
                    <a:pt x="496" y="292"/>
                  </a:lnTo>
                  <a:lnTo>
                    <a:pt x="486" y="286"/>
                  </a:lnTo>
                  <a:lnTo>
                    <a:pt x="480" y="292"/>
                  </a:lnTo>
                  <a:lnTo>
                    <a:pt x="484" y="322"/>
                  </a:lnTo>
                  <a:lnTo>
                    <a:pt x="482" y="342"/>
                  </a:lnTo>
                  <a:lnTo>
                    <a:pt x="452" y="330"/>
                  </a:lnTo>
                  <a:lnTo>
                    <a:pt x="432" y="378"/>
                  </a:lnTo>
                  <a:lnTo>
                    <a:pt x="416" y="382"/>
                  </a:lnTo>
                  <a:lnTo>
                    <a:pt x="412" y="400"/>
                  </a:lnTo>
                  <a:lnTo>
                    <a:pt x="434" y="430"/>
                  </a:lnTo>
                  <a:lnTo>
                    <a:pt x="370" y="520"/>
                  </a:lnTo>
                  <a:lnTo>
                    <a:pt x="378" y="544"/>
                  </a:lnTo>
                  <a:lnTo>
                    <a:pt x="368" y="556"/>
                  </a:lnTo>
                  <a:lnTo>
                    <a:pt x="354" y="556"/>
                  </a:lnTo>
                  <a:lnTo>
                    <a:pt x="316" y="690"/>
                  </a:lnTo>
                  <a:lnTo>
                    <a:pt x="332" y="702"/>
                  </a:lnTo>
                  <a:lnTo>
                    <a:pt x="306" y="728"/>
                  </a:lnTo>
                  <a:lnTo>
                    <a:pt x="280" y="726"/>
                  </a:lnTo>
                  <a:lnTo>
                    <a:pt x="252" y="768"/>
                  </a:lnTo>
                  <a:lnTo>
                    <a:pt x="258" y="788"/>
                  </a:lnTo>
                  <a:lnTo>
                    <a:pt x="250" y="910"/>
                  </a:lnTo>
                  <a:lnTo>
                    <a:pt x="276" y="970"/>
                  </a:lnTo>
                  <a:lnTo>
                    <a:pt x="256" y="1006"/>
                  </a:lnTo>
                  <a:lnTo>
                    <a:pt x="272" y="1074"/>
                  </a:lnTo>
                  <a:lnTo>
                    <a:pt x="242" y="1122"/>
                  </a:lnTo>
                  <a:lnTo>
                    <a:pt x="238" y="1158"/>
                  </a:lnTo>
                  <a:lnTo>
                    <a:pt x="226" y="1158"/>
                  </a:lnTo>
                  <a:lnTo>
                    <a:pt x="222" y="1146"/>
                  </a:lnTo>
                  <a:lnTo>
                    <a:pt x="204" y="1144"/>
                  </a:lnTo>
                  <a:lnTo>
                    <a:pt x="190" y="1128"/>
                  </a:lnTo>
                  <a:lnTo>
                    <a:pt x="168" y="1154"/>
                  </a:lnTo>
                  <a:lnTo>
                    <a:pt x="112" y="1230"/>
                  </a:lnTo>
                  <a:lnTo>
                    <a:pt x="72" y="1232"/>
                  </a:lnTo>
                  <a:lnTo>
                    <a:pt x="46" y="1200"/>
                  </a:lnTo>
                  <a:lnTo>
                    <a:pt x="30" y="1198"/>
                  </a:lnTo>
                  <a:lnTo>
                    <a:pt x="22" y="1170"/>
                  </a:lnTo>
                  <a:lnTo>
                    <a:pt x="22" y="1148"/>
                  </a:lnTo>
                  <a:lnTo>
                    <a:pt x="34" y="1130"/>
                  </a:lnTo>
                  <a:lnTo>
                    <a:pt x="14" y="1130"/>
                  </a:lnTo>
                  <a:lnTo>
                    <a:pt x="6" y="1124"/>
                  </a:lnTo>
                  <a:lnTo>
                    <a:pt x="10" y="1102"/>
                  </a:lnTo>
                  <a:lnTo>
                    <a:pt x="24" y="1100"/>
                  </a:lnTo>
                  <a:lnTo>
                    <a:pt x="24" y="1082"/>
                  </a:lnTo>
                  <a:lnTo>
                    <a:pt x="16" y="1070"/>
                  </a:lnTo>
                  <a:lnTo>
                    <a:pt x="8" y="1052"/>
                  </a:lnTo>
                  <a:lnTo>
                    <a:pt x="14" y="1028"/>
                  </a:lnTo>
                  <a:lnTo>
                    <a:pt x="0" y="1016"/>
                  </a:lnTo>
                  <a:lnTo>
                    <a:pt x="0" y="998"/>
                  </a:lnTo>
                  <a:lnTo>
                    <a:pt x="8" y="988"/>
                  </a:lnTo>
                  <a:lnTo>
                    <a:pt x="4" y="970"/>
                  </a:lnTo>
                  <a:lnTo>
                    <a:pt x="16" y="960"/>
                  </a:lnTo>
                  <a:lnTo>
                    <a:pt x="6" y="936"/>
                  </a:lnTo>
                  <a:lnTo>
                    <a:pt x="16" y="924"/>
                  </a:lnTo>
                  <a:lnTo>
                    <a:pt x="2" y="908"/>
                  </a:lnTo>
                  <a:lnTo>
                    <a:pt x="22" y="894"/>
                  </a:lnTo>
                  <a:lnTo>
                    <a:pt x="42" y="886"/>
                  </a:lnTo>
                  <a:lnTo>
                    <a:pt x="40" y="868"/>
                  </a:lnTo>
                  <a:lnTo>
                    <a:pt x="64" y="856"/>
                  </a:lnTo>
                  <a:lnTo>
                    <a:pt x="78" y="838"/>
                  </a:lnTo>
                  <a:lnTo>
                    <a:pt x="108" y="832"/>
                  </a:lnTo>
                  <a:lnTo>
                    <a:pt x="130" y="836"/>
                  </a:lnTo>
                  <a:lnTo>
                    <a:pt x="126" y="814"/>
                  </a:lnTo>
                  <a:lnTo>
                    <a:pt x="138" y="790"/>
                  </a:lnTo>
                  <a:lnTo>
                    <a:pt x="176" y="792"/>
                  </a:lnTo>
                  <a:lnTo>
                    <a:pt x="188" y="782"/>
                  </a:lnTo>
                  <a:lnTo>
                    <a:pt x="174" y="762"/>
                  </a:lnTo>
                  <a:lnTo>
                    <a:pt x="188" y="736"/>
                  </a:lnTo>
                  <a:lnTo>
                    <a:pt x="202" y="732"/>
                  </a:lnTo>
                  <a:lnTo>
                    <a:pt x="210" y="704"/>
                  </a:lnTo>
                  <a:lnTo>
                    <a:pt x="238" y="710"/>
                  </a:lnTo>
                  <a:lnTo>
                    <a:pt x="238" y="688"/>
                  </a:lnTo>
                  <a:lnTo>
                    <a:pt x="224" y="676"/>
                  </a:lnTo>
                  <a:lnTo>
                    <a:pt x="254" y="658"/>
                  </a:lnTo>
                  <a:lnTo>
                    <a:pt x="266" y="640"/>
                  </a:lnTo>
                  <a:lnTo>
                    <a:pt x="256" y="614"/>
                  </a:lnTo>
                  <a:lnTo>
                    <a:pt x="278" y="572"/>
                  </a:lnTo>
                  <a:lnTo>
                    <a:pt x="298" y="558"/>
                  </a:lnTo>
                  <a:lnTo>
                    <a:pt x="290" y="544"/>
                  </a:lnTo>
                  <a:lnTo>
                    <a:pt x="308" y="516"/>
                  </a:lnTo>
                  <a:lnTo>
                    <a:pt x="300" y="490"/>
                  </a:lnTo>
                  <a:lnTo>
                    <a:pt x="306" y="472"/>
                  </a:lnTo>
                  <a:lnTo>
                    <a:pt x="348" y="454"/>
                  </a:lnTo>
                  <a:lnTo>
                    <a:pt x="360" y="432"/>
                  </a:lnTo>
                  <a:lnTo>
                    <a:pt x="348" y="418"/>
                  </a:lnTo>
                  <a:lnTo>
                    <a:pt x="374" y="402"/>
                  </a:lnTo>
                  <a:lnTo>
                    <a:pt x="368" y="380"/>
                  </a:lnTo>
                  <a:lnTo>
                    <a:pt x="372" y="352"/>
                  </a:lnTo>
                  <a:lnTo>
                    <a:pt x="404" y="332"/>
                  </a:lnTo>
                  <a:lnTo>
                    <a:pt x="420" y="332"/>
                  </a:lnTo>
                  <a:lnTo>
                    <a:pt x="420" y="294"/>
                  </a:lnTo>
                  <a:lnTo>
                    <a:pt x="456" y="268"/>
                  </a:lnTo>
                  <a:lnTo>
                    <a:pt x="462" y="244"/>
                  </a:lnTo>
                  <a:lnTo>
                    <a:pt x="468" y="226"/>
                  </a:lnTo>
                  <a:lnTo>
                    <a:pt x="438" y="228"/>
                  </a:lnTo>
                  <a:lnTo>
                    <a:pt x="442" y="200"/>
                  </a:lnTo>
                  <a:lnTo>
                    <a:pt x="468" y="184"/>
                  </a:lnTo>
                  <a:lnTo>
                    <a:pt x="486" y="186"/>
                  </a:lnTo>
                  <a:lnTo>
                    <a:pt x="494" y="166"/>
                  </a:lnTo>
                  <a:lnTo>
                    <a:pt x="514" y="142"/>
                  </a:lnTo>
                  <a:lnTo>
                    <a:pt x="558" y="148"/>
                  </a:lnTo>
                  <a:lnTo>
                    <a:pt x="584" y="144"/>
                  </a:lnTo>
                  <a:lnTo>
                    <a:pt x="614" y="114"/>
                  </a:lnTo>
                  <a:lnTo>
                    <a:pt x="682" y="108"/>
                  </a:lnTo>
                  <a:lnTo>
                    <a:pt x="720" y="64"/>
                  </a:lnTo>
                  <a:lnTo>
                    <a:pt x="714" y="36"/>
                  </a:lnTo>
                  <a:lnTo>
                    <a:pt x="768" y="2"/>
                  </a:lnTo>
                  <a:lnTo>
                    <a:pt x="780" y="6"/>
                  </a:lnTo>
                  <a:lnTo>
                    <a:pt x="768" y="46"/>
                  </a:lnTo>
                  <a:lnTo>
                    <a:pt x="802" y="30"/>
                  </a:lnTo>
                  <a:lnTo>
                    <a:pt x="820" y="60"/>
                  </a:lnTo>
                  <a:lnTo>
                    <a:pt x="820" y="60"/>
                  </a:lnTo>
                  <a:lnTo>
                    <a:pt x="832" y="40"/>
                  </a:lnTo>
                  <a:lnTo>
                    <a:pt x="832" y="40"/>
                  </a:lnTo>
                  <a:lnTo>
                    <a:pt x="858" y="0"/>
                  </a:lnTo>
                  <a:lnTo>
                    <a:pt x="876" y="8"/>
                  </a:lnTo>
                  <a:lnTo>
                    <a:pt x="864" y="38"/>
                  </a:lnTo>
                  <a:lnTo>
                    <a:pt x="860" y="60"/>
                  </a:lnTo>
                  <a:lnTo>
                    <a:pt x="868" y="80"/>
                  </a:lnTo>
                  <a:lnTo>
                    <a:pt x="900" y="22"/>
                  </a:lnTo>
                  <a:lnTo>
                    <a:pt x="914" y="24"/>
                  </a:lnTo>
                  <a:lnTo>
                    <a:pt x="912" y="46"/>
                  </a:lnTo>
                  <a:lnTo>
                    <a:pt x="966" y="62"/>
                  </a:lnTo>
                  <a:lnTo>
                    <a:pt x="980" y="82"/>
                  </a:lnTo>
                  <a:lnTo>
                    <a:pt x="978" y="98"/>
                  </a:lnTo>
                  <a:lnTo>
                    <a:pt x="966" y="100"/>
                  </a:lnTo>
                  <a:lnTo>
                    <a:pt x="946" y="130"/>
                  </a:lnTo>
                  <a:lnTo>
                    <a:pt x="890" y="118"/>
                  </a:lnTo>
                  <a:lnTo>
                    <a:pt x="884" y="128"/>
                  </a:lnTo>
                  <a:lnTo>
                    <a:pt x="918" y="156"/>
                  </a:lnTo>
                  <a:lnTo>
                    <a:pt x="944" y="160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62" name="Oman">
              <a:extLst>
                <a:ext uri="{FF2B5EF4-FFF2-40B4-BE49-F238E27FC236}">
                  <a16:creationId xmlns="" xmlns:a16="http://schemas.microsoft.com/office/drawing/2014/main" id="{3CBA82E9-D078-4CAD-9AEB-7A34C86D4144}"/>
                </a:ext>
              </a:extLst>
            </p:cNvPr>
            <p:cNvSpPr>
              <a:spLocks/>
            </p:cNvSpPr>
            <p:nvPr/>
          </p:nvSpPr>
          <p:spPr bwMode="gray">
            <a:xfrm>
              <a:off x="7429200" y="3695431"/>
              <a:ext cx="218657" cy="326449"/>
            </a:xfrm>
            <a:custGeom>
              <a:avLst/>
              <a:gdLst/>
              <a:ahLst/>
              <a:cxnLst>
                <a:cxn ang="0">
                  <a:pos x="48" y="400"/>
                </a:cxn>
                <a:cxn ang="0">
                  <a:pos x="34" y="400"/>
                </a:cxn>
                <a:cxn ang="0">
                  <a:pos x="0" y="312"/>
                </a:cxn>
                <a:cxn ang="0">
                  <a:pos x="84" y="284"/>
                </a:cxn>
                <a:cxn ang="0">
                  <a:pos x="96" y="190"/>
                </a:cxn>
                <a:cxn ang="0">
                  <a:pos x="92" y="166"/>
                </a:cxn>
                <a:cxn ang="0">
                  <a:pos x="96" y="134"/>
                </a:cxn>
                <a:cxn ang="0">
                  <a:pos x="104" y="128"/>
                </a:cxn>
                <a:cxn ang="0">
                  <a:pos x="112" y="80"/>
                </a:cxn>
                <a:cxn ang="0">
                  <a:pos x="118" y="68"/>
                </a:cxn>
                <a:cxn ang="0">
                  <a:pos x="126" y="38"/>
                </a:cxn>
                <a:cxn ang="0">
                  <a:pos x="124" y="16"/>
                </a:cxn>
                <a:cxn ang="0">
                  <a:pos x="134" y="6"/>
                </a:cxn>
                <a:cxn ang="0">
                  <a:pos x="146" y="0"/>
                </a:cxn>
                <a:cxn ang="0">
                  <a:pos x="146" y="10"/>
                </a:cxn>
                <a:cxn ang="0">
                  <a:pos x="138" y="16"/>
                </a:cxn>
                <a:cxn ang="0">
                  <a:pos x="136" y="36"/>
                </a:cxn>
                <a:cxn ang="0">
                  <a:pos x="140" y="66"/>
                </a:cxn>
                <a:cxn ang="0">
                  <a:pos x="160" y="88"/>
                </a:cxn>
                <a:cxn ang="0">
                  <a:pos x="174" y="108"/>
                </a:cxn>
                <a:cxn ang="0">
                  <a:pos x="194" y="114"/>
                </a:cxn>
                <a:cxn ang="0">
                  <a:pos x="208" y="114"/>
                </a:cxn>
                <a:cxn ang="0">
                  <a:pos x="236" y="132"/>
                </a:cxn>
                <a:cxn ang="0">
                  <a:pos x="242" y="142"/>
                </a:cxn>
                <a:cxn ang="0">
                  <a:pos x="246" y="160"/>
                </a:cxn>
                <a:cxn ang="0">
                  <a:pos x="258" y="170"/>
                </a:cxn>
                <a:cxn ang="0">
                  <a:pos x="270" y="170"/>
                </a:cxn>
                <a:cxn ang="0">
                  <a:pos x="256" y="208"/>
                </a:cxn>
                <a:cxn ang="0">
                  <a:pos x="254" y="218"/>
                </a:cxn>
                <a:cxn ang="0">
                  <a:pos x="242" y="236"/>
                </a:cxn>
                <a:cxn ang="0">
                  <a:pos x="214" y="264"/>
                </a:cxn>
                <a:cxn ang="0">
                  <a:pos x="208" y="256"/>
                </a:cxn>
                <a:cxn ang="0">
                  <a:pos x="194" y="284"/>
                </a:cxn>
                <a:cxn ang="0">
                  <a:pos x="200" y="314"/>
                </a:cxn>
                <a:cxn ang="0">
                  <a:pos x="196" y="320"/>
                </a:cxn>
                <a:cxn ang="0">
                  <a:pos x="184" y="314"/>
                </a:cxn>
                <a:cxn ang="0">
                  <a:pos x="156" y="330"/>
                </a:cxn>
                <a:cxn ang="0">
                  <a:pos x="154" y="344"/>
                </a:cxn>
                <a:cxn ang="0">
                  <a:pos x="140" y="352"/>
                </a:cxn>
                <a:cxn ang="0">
                  <a:pos x="120" y="352"/>
                </a:cxn>
                <a:cxn ang="0">
                  <a:pos x="110" y="358"/>
                </a:cxn>
                <a:cxn ang="0">
                  <a:pos x="110" y="382"/>
                </a:cxn>
                <a:cxn ang="0">
                  <a:pos x="100" y="392"/>
                </a:cxn>
                <a:cxn ang="0">
                  <a:pos x="70" y="392"/>
                </a:cxn>
                <a:cxn ang="0">
                  <a:pos x="48" y="400"/>
                </a:cxn>
              </a:cxnLst>
              <a:rect l="0" t="0" r="r" b="b"/>
              <a:pathLst>
                <a:path w="270" h="400">
                  <a:moveTo>
                    <a:pt x="48" y="400"/>
                  </a:moveTo>
                  <a:lnTo>
                    <a:pt x="34" y="400"/>
                  </a:lnTo>
                  <a:lnTo>
                    <a:pt x="0" y="312"/>
                  </a:lnTo>
                  <a:lnTo>
                    <a:pt x="84" y="284"/>
                  </a:lnTo>
                  <a:lnTo>
                    <a:pt x="96" y="190"/>
                  </a:lnTo>
                  <a:lnTo>
                    <a:pt x="92" y="166"/>
                  </a:lnTo>
                  <a:lnTo>
                    <a:pt x="96" y="134"/>
                  </a:lnTo>
                  <a:lnTo>
                    <a:pt x="104" y="128"/>
                  </a:lnTo>
                  <a:lnTo>
                    <a:pt x="112" y="80"/>
                  </a:lnTo>
                  <a:lnTo>
                    <a:pt x="118" y="68"/>
                  </a:lnTo>
                  <a:lnTo>
                    <a:pt x="126" y="38"/>
                  </a:lnTo>
                  <a:lnTo>
                    <a:pt x="124" y="16"/>
                  </a:lnTo>
                  <a:lnTo>
                    <a:pt x="134" y="6"/>
                  </a:lnTo>
                  <a:lnTo>
                    <a:pt x="146" y="0"/>
                  </a:lnTo>
                  <a:lnTo>
                    <a:pt x="146" y="10"/>
                  </a:lnTo>
                  <a:lnTo>
                    <a:pt x="138" y="16"/>
                  </a:lnTo>
                  <a:lnTo>
                    <a:pt x="136" y="36"/>
                  </a:lnTo>
                  <a:lnTo>
                    <a:pt x="140" y="66"/>
                  </a:lnTo>
                  <a:lnTo>
                    <a:pt x="160" y="88"/>
                  </a:lnTo>
                  <a:lnTo>
                    <a:pt x="174" y="108"/>
                  </a:lnTo>
                  <a:lnTo>
                    <a:pt x="194" y="114"/>
                  </a:lnTo>
                  <a:lnTo>
                    <a:pt x="208" y="114"/>
                  </a:lnTo>
                  <a:lnTo>
                    <a:pt x="236" y="132"/>
                  </a:lnTo>
                  <a:lnTo>
                    <a:pt x="242" y="142"/>
                  </a:lnTo>
                  <a:lnTo>
                    <a:pt x="246" y="160"/>
                  </a:lnTo>
                  <a:lnTo>
                    <a:pt x="258" y="170"/>
                  </a:lnTo>
                  <a:lnTo>
                    <a:pt x="270" y="170"/>
                  </a:lnTo>
                  <a:lnTo>
                    <a:pt x="256" y="208"/>
                  </a:lnTo>
                  <a:lnTo>
                    <a:pt x="254" y="218"/>
                  </a:lnTo>
                  <a:lnTo>
                    <a:pt x="242" y="236"/>
                  </a:lnTo>
                  <a:lnTo>
                    <a:pt x="214" y="264"/>
                  </a:lnTo>
                  <a:lnTo>
                    <a:pt x="208" y="256"/>
                  </a:lnTo>
                  <a:lnTo>
                    <a:pt x="194" y="284"/>
                  </a:lnTo>
                  <a:lnTo>
                    <a:pt x="200" y="314"/>
                  </a:lnTo>
                  <a:lnTo>
                    <a:pt x="196" y="320"/>
                  </a:lnTo>
                  <a:lnTo>
                    <a:pt x="184" y="314"/>
                  </a:lnTo>
                  <a:lnTo>
                    <a:pt x="156" y="330"/>
                  </a:lnTo>
                  <a:lnTo>
                    <a:pt x="154" y="344"/>
                  </a:lnTo>
                  <a:lnTo>
                    <a:pt x="140" y="352"/>
                  </a:lnTo>
                  <a:lnTo>
                    <a:pt x="120" y="352"/>
                  </a:lnTo>
                  <a:lnTo>
                    <a:pt x="110" y="358"/>
                  </a:lnTo>
                  <a:lnTo>
                    <a:pt x="110" y="382"/>
                  </a:lnTo>
                  <a:lnTo>
                    <a:pt x="100" y="392"/>
                  </a:lnTo>
                  <a:lnTo>
                    <a:pt x="70" y="392"/>
                  </a:lnTo>
                  <a:lnTo>
                    <a:pt x="48" y="400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63" name="Pakistan">
              <a:extLst>
                <a:ext uri="{FF2B5EF4-FFF2-40B4-BE49-F238E27FC236}">
                  <a16:creationId xmlns="" xmlns:a16="http://schemas.microsoft.com/office/drawing/2014/main" id="{0BBE1EDC-1463-4453-B151-4C768D461677}"/>
                </a:ext>
              </a:extLst>
            </p:cNvPr>
            <p:cNvSpPr>
              <a:spLocks/>
            </p:cNvSpPr>
            <p:nvPr/>
          </p:nvSpPr>
          <p:spPr bwMode="gray">
            <a:xfrm>
              <a:off x="7677144" y="3296221"/>
              <a:ext cx="503695" cy="491640"/>
            </a:xfrm>
            <a:custGeom>
              <a:avLst/>
              <a:gdLst/>
              <a:ahLst/>
              <a:cxnLst>
                <a:cxn ang="0">
                  <a:pos x="26" y="530"/>
                </a:cxn>
                <a:cxn ang="0">
                  <a:pos x="54" y="478"/>
                </a:cxn>
                <a:cxn ang="0">
                  <a:pos x="90" y="458"/>
                </a:cxn>
                <a:cxn ang="0">
                  <a:pos x="72" y="412"/>
                </a:cxn>
                <a:cxn ang="0">
                  <a:pos x="0" y="338"/>
                </a:cxn>
                <a:cxn ang="0">
                  <a:pos x="46" y="360"/>
                </a:cxn>
                <a:cxn ang="0">
                  <a:pos x="88" y="354"/>
                </a:cxn>
                <a:cxn ang="0">
                  <a:pos x="134" y="352"/>
                </a:cxn>
                <a:cxn ang="0">
                  <a:pos x="202" y="338"/>
                </a:cxn>
                <a:cxn ang="0">
                  <a:pos x="200" y="304"/>
                </a:cxn>
                <a:cxn ang="0">
                  <a:pos x="206" y="276"/>
                </a:cxn>
                <a:cxn ang="0">
                  <a:pos x="234" y="260"/>
                </a:cxn>
                <a:cxn ang="0">
                  <a:pos x="258" y="258"/>
                </a:cxn>
                <a:cxn ang="0">
                  <a:pos x="304" y="250"/>
                </a:cxn>
                <a:cxn ang="0">
                  <a:pos x="318" y="214"/>
                </a:cxn>
                <a:cxn ang="0">
                  <a:pos x="356" y="170"/>
                </a:cxn>
                <a:cxn ang="0">
                  <a:pos x="336" y="136"/>
                </a:cxn>
                <a:cxn ang="0">
                  <a:pos x="386" y="120"/>
                </a:cxn>
                <a:cxn ang="0">
                  <a:pos x="402" y="88"/>
                </a:cxn>
                <a:cxn ang="0">
                  <a:pos x="386" y="56"/>
                </a:cxn>
                <a:cxn ang="0">
                  <a:pos x="414" y="38"/>
                </a:cxn>
                <a:cxn ang="0">
                  <a:pos x="482" y="6"/>
                </a:cxn>
                <a:cxn ang="0">
                  <a:pos x="506" y="0"/>
                </a:cxn>
                <a:cxn ang="0">
                  <a:pos x="530" y="6"/>
                </a:cxn>
                <a:cxn ang="0">
                  <a:pos x="584" y="30"/>
                </a:cxn>
                <a:cxn ang="0">
                  <a:pos x="614" y="58"/>
                </a:cxn>
                <a:cxn ang="0">
                  <a:pos x="602" y="104"/>
                </a:cxn>
                <a:cxn ang="0">
                  <a:pos x="550" y="106"/>
                </a:cxn>
                <a:cxn ang="0">
                  <a:pos x="498" y="96"/>
                </a:cxn>
                <a:cxn ang="0">
                  <a:pos x="484" y="132"/>
                </a:cxn>
                <a:cxn ang="0">
                  <a:pos x="518" y="194"/>
                </a:cxn>
                <a:cxn ang="0">
                  <a:pos x="550" y="218"/>
                </a:cxn>
                <a:cxn ang="0">
                  <a:pos x="528" y="274"/>
                </a:cxn>
                <a:cxn ang="0">
                  <a:pos x="504" y="286"/>
                </a:cxn>
                <a:cxn ang="0">
                  <a:pos x="498" y="312"/>
                </a:cxn>
                <a:cxn ang="0">
                  <a:pos x="468" y="364"/>
                </a:cxn>
                <a:cxn ang="0">
                  <a:pos x="432" y="384"/>
                </a:cxn>
                <a:cxn ang="0">
                  <a:pos x="392" y="418"/>
                </a:cxn>
                <a:cxn ang="0">
                  <a:pos x="360" y="420"/>
                </a:cxn>
                <a:cxn ang="0">
                  <a:pos x="342" y="436"/>
                </a:cxn>
                <a:cxn ang="0">
                  <a:pos x="332" y="474"/>
                </a:cxn>
                <a:cxn ang="0">
                  <a:pos x="346" y="496"/>
                </a:cxn>
                <a:cxn ang="0">
                  <a:pos x="372" y="518"/>
                </a:cxn>
                <a:cxn ang="0">
                  <a:pos x="388" y="554"/>
                </a:cxn>
                <a:cxn ang="0">
                  <a:pos x="380" y="574"/>
                </a:cxn>
                <a:cxn ang="0">
                  <a:pos x="356" y="570"/>
                </a:cxn>
                <a:cxn ang="0">
                  <a:pos x="316" y="576"/>
                </a:cxn>
                <a:cxn ang="0">
                  <a:pos x="300" y="586"/>
                </a:cxn>
                <a:cxn ang="0">
                  <a:pos x="272" y="602"/>
                </a:cxn>
                <a:cxn ang="0">
                  <a:pos x="226" y="558"/>
                </a:cxn>
                <a:cxn ang="0">
                  <a:pos x="218" y="536"/>
                </a:cxn>
                <a:cxn ang="0">
                  <a:pos x="162" y="526"/>
                </a:cxn>
                <a:cxn ang="0">
                  <a:pos x="116" y="524"/>
                </a:cxn>
                <a:cxn ang="0">
                  <a:pos x="94" y="538"/>
                </a:cxn>
                <a:cxn ang="0">
                  <a:pos x="62" y="538"/>
                </a:cxn>
                <a:cxn ang="0">
                  <a:pos x="40" y="538"/>
                </a:cxn>
              </a:cxnLst>
              <a:rect l="0" t="0" r="r" b="b"/>
              <a:pathLst>
                <a:path w="618" h="602">
                  <a:moveTo>
                    <a:pt x="40" y="538"/>
                  </a:moveTo>
                  <a:lnTo>
                    <a:pt x="26" y="530"/>
                  </a:lnTo>
                  <a:lnTo>
                    <a:pt x="32" y="498"/>
                  </a:lnTo>
                  <a:lnTo>
                    <a:pt x="54" y="478"/>
                  </a:lnTo>
                  <a:lnTo>
                    <a:pt x="84" y="474"/>
                  </a:lnTo>
                  <a:lnTo>
                    <a:pt x="90" y="458"/>
                  </a:lnTo>
                  <a:lnTo>
                    <a:pt x="72" y="446"/>
                  </a:lnTo>
                  <a:lnTo>
                    <a:pt x="72" y="412"/>
                  </a:lnTo>
                  <a:lnTo>
                    <a:pt x="32" y="396"/>
                  </a:lnTo>
                  <a:lnTo>
                    <a:pt x="0" y="338"/>
                  </a:lnTo>
                  <a:lnTo>
                    <a:pt x="28" y="356"/>
                  </a:lnTo>
                  <a:lnTo>
                    <a:pt x="46" y="360"/>
                  </a:lnTo>
                  <a:lnTo>
                    <a:pt x="68" y="364"/>
                  </a:lnTo>
                  <a:lnTo>
                    <a:pt x="88" y="354"/>
                  </a:lnTo>
                  <a:lnTo>
                    <a:pt x="112" y="356"/>
                  </a:lnTo>
                  <a:lnTo>
                    <a:pt x="134" y="352"/>
                  </a:lnTo>
                  <a:lnTo>
                    <a:pt x="176" y="354"/>
                  </a:lnTo>
                  <a:lnTo>
                    <a:pt x="202" y="338"/>
                  </a:lnTo>
                  <a:lnTo>
                    <a:pt x="194" y="320"/>
                  </a:lnTo>
                  <a:lnTo>
                    <a:pt x="200" y="304"/>
                  </a:lnTo>
                  <a:lnTo>
                    <a:pt x="200" y="290"/>
                  </a:lnTo>
                  <a:lnTo>
                    <a:pt x="206" y="276"/>
                  </a:lnTo>
                  <a:lnTo>
                    <a:pt x="220" y="276"/>
                  </a:lnTo>
                  <a:lnTo>
                    <a:pt x="234" y="260"/>
                  </a:lnTo>
                  <a:lnTo>
                    <a:pt x="242" y="268"/>
                  </a:lnTo>
                  <a:lnTo>
                    <a:pt x="258" y="258"/>
                  </a:lnTo>
                  <a:lnTo>
                    <a:pt x="274" y="250"/>
                  </a:lnTo>
                  <a:lnTo>
                    <a:pt x="304" y="250"/>
                  </a:lnTo>
                  <a:lnTo>
                    <a:pt x="320" y="238"/>
                  </a:lnTo>
                  <a:lnTo>
                    <a:pt x="318" y="214"/>
                  </a:lnTo>
                  <a:lnTo>
                    <a:pt x="328" y="184"/>
                  </a:lnTo>
                  <a:lnTo>
                    <a:pt x="356" y="170"/>
                  </a:lnTo>
                  <a:lnTo>
                    <a:pt x="330" y="144"/>
                  </a:lnTo>
                  <a:lnTo>
                    <a:pt x="336" y="136"/>
                  </a:lnTo>
                  <a:lnTo>
                    <a:pt x="366" y="140"/>
                  </a:lnTo>
                  <a:lnTo>
                    <a:pt x="386" y="120"/>
                  </a:lnTo>
                  <a:lnTo>
                    <a:pt x="388" y="102"/>
                  </a:lnTo>
                  <a:lnTo>
                    <a:pt x="402" y="88"/>
                  </a:lnTo>
                  <a:lnTo>
                    <a:pt x="400" y="70"/>
                  </a:lnTo>
                  <a:lnTo>
                    <a:pt x="386" y="56"/>
                  </a:lnTo>
                  <a:lnTo>
                    <a:pt x="402" y="34"/>
                  </a:lnTo>
                  <a:lnTo>
                    <a:pt x="414" y="38"/>
                  </a:lnTo>
                  <a:lnTo>
                    <a:pt x="444" y="8"/>
                  </a:lnTo>
                  <a:lnTo>
                    <a:pt x="482" y="6"/>
                  </a:lnTo>
                  <a:lnTo>
                    <a:pt x="494" y="8"/>
                  </a:lnTo>
                  <a:lnTo>
                    <a:pt x="506" y="0"/>
                  </a:lnTo>
                  <a:lnTo>
                    <a:pt x="520" y="0"/>
                  </a:lnTo>
                  <a:lnTo>
                    <a:pt x="530" y="6"/>
                  </a:lnTo>
                  <a:lnTo>
                    <a:pt x="552" y="4"/>
                  </a:lnTo>
                  <a:lnTo>
                    <a:pt x="584" y="30"/>
                  </a:lnTo>
                  <a:lnTo>
                    <a:pt x="618" y="34"/>
                  </a:lnTo>
                  <a:lnTo>
                    <a:pt x="614" y="58"/>
                  </a:lnTo>
                  <a:lnTo>
                    <a:pt x="614" y="82"/>
                  </a:lnTo>
                  <a:lnTo>
                    <a:pt x="602" y="104"/>
                  </a:lnTo>
                  <a:lnTo>
                    <a:pt x="580" y="96"/>
                  </a:lnTo>
                  <a:lnTo>
                    <a:pt x="550" y="106"/>
                  </a:lnTo>
                  <a:lnTo>
                    <a:pt x="524" y="108"/>
                  </a:lnTo>
                  <a:lnTo>
                    <a:pt x="498" y="96"/>
                  </a:lnTo>
                  <a:lnTo>
                    <a:pt x="488" y="110"/>
                  </a:lnTo>
                  <a:lnTo>
                    <a:pt x="484" y="132"/>
                  </a:lnTo>
                  <a:lnTo>
                    <a:pt x="492" y="184"/>
                  </a:lnTo>
                  <a:lnTo>
                    <a:pt x="518" y="194"/>
                  </a:lnTo>
                  <a:lnTo>
                    <a:pt x="520" y="210"/>
                  </a:lnTo>
                  <a:lnTo>
                    <a:pt x="550" y="218"/>
                  </a:lnTo>
                  <a:lnTo>
                    <a:pt x="520" y="252"/>
                  </a:lnTo>
                  <a:lnTo>
                    <a:pt x="528" y="274"/>
                  </a:lnTo>
                  <a:lnTo>
                    <a:pt x="520" y="282"/>
                  </a:lnTo>
                  <a:lnTo>
                    <a:pt x="504" y="286"/>
                  </a:lnTo>
                  <a:lnTo>
                    <a:pt x="490" y="294"/>
                  </a:lnTo>
                  <a:lnTo>
                    <a:pt x="498" y="312"/>
                  </a:lnTo>
                  <a:lnTo>
                    <a:pt x="478" y="326"/>
                  </a:lnTo>
                  <a:lnTo>
                    <a:pt x="468" y="364"/>
                  </a:lnTo>
                  <a:lnTo>
                    <a:pt x="446" y="380"/>
                  </a:lnTo>
                  <a:lnTo>
                    <a:pt x="432" y="384"/>
                  </a:lnTo>
                  <a:lnTo>
                    <a:pt x="412" y="414"/>
                  </a:lnTo>
                  <a:lnTo>
                    <a:pt x="392" y="418"/>
                  </a:lnTo>
                  <a:lnTo>
                    <a:pt x="376" y="430"/>
                  </a:lnTo>
                  <a:lnTo>
                    <a:pt x="360" y="420"/>
                  </a:lnTo>
                  <a:lnTo>
                    <a:pt x="346" y="420"/>
                  </a:lnTo>
                  <a:lnTo>
                    <a:pt x="342" y="436"/>
                  </a:lnTo>
                  <a:lnTo>
                    <a:pt x="322" y="460"/>
                  </a:lnTo>
                  <a:lnTo>
                    <a:pt x="332" y="474"/>
                  </a:lnTo>
                  <a:lnTo>
                    <a:pt x="350" y="480"/>
                  </a:lnTo>
                  <a:lnTo>
                    <a:pt x="346" y="496"/>
                  </a:lnTo>
                  <a:lnTo>
                    <a:pt x="360" y="516"/>
                  </a:lnTo>
                  <a:lnTo>
                    <a:pt x="372" y="518"/>
                  </a:lnTo>
                  <a:lnTo>
                    <a:pt x="388" y="544"/>
                  </a:lnTo>
                  <a:lnTo>
                    <a:pt x="388" y="554"/>
                  </a:lnTo>
                  <a:lnTo>
                    <a:pt x="392" y="566"/>
                  </a:lnTo>
                  <a:lnTo>
                    <a:pt x="380" y="574"/>
                  </a:lnTo>
                  <a:lnTo>
                    <a:pt x="372" y="562"/>
                  </a:lnTo>
                  <a:lnTo>
                    <a:pt x="356" y="570"/>
                  </a:lnTo>
                  <a:lnTo>
                    <a:pt x="334" y="576"/>
                  </a:lnTo>
                  <a:lnTo>
                    <a:pt x="316" y="576"/>
                  </a:lnTo>
                  <a:lnTo>
                    <a:pt x="302" y="570"/>
                  </a:lnTo>
                  <a:lnTo>
                    <a:pt x="300" y="586"/>
                  </a:lnTo>
                  <a:lnTo>
                    <a:pt x="284" y="588"/>
                  </a:lnTo>
                  <a:lnTo>
                    <a:pt x="272" y="602"/>
                  </a:lnTo>
                  <a:lnTo>
                    <a:pt x="250" y="588"/>
                  </a:lnTo>
                  <a:lnTo>
                    <a:pt x="226" y="558"/>
                  </a:lnTo>
                  <a:lnTo>
                    <a:pt x="214" y="558"/>
                  </a:lnTo>
                  <a:lnTo>
                    <a:pt x="218" y="536"/>
                  </a:lnTo>
                  <a:lnTo>
                    <a:pt x="196" y="526"/>
                  </a:lnTo>
                  <a:lnTo>
                    <a:pt x="162" y="526"/>
                  </a:lnTo>
                  <a:lnTo>
                    <a:pt x="134" y="536"/>
                  </a:lnTo>
                  <a:lnTo>
                    <a:pt x="116" y="524"/>
                  </a:lnTo>
                  <a:lnTo>
                    <a:pt x="100" y="530"/>
                  </a:lnTo>
                  <a:lnTo>
                    <a:pt x="94" y="538"/>
                  </a:lnTo>
                  <a:lnTo>
                    <a:pt x="64" y="528"/>
                  </a:lnTo>
                  <a:lnTo>
                    <a:pt x="62" y="538"/>
                  </a:lnTo>
                  <a:lnTo>
                    <a:pt x="52" y="532"/>
                  </a:lnTo>
                  <a:lnTo>
                    <a:pt x="40" y="538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64" name="Panama">
              <a:extLst>
                <a:ext uri="{FF2B5EF4-FFF2-40B4-BE49-F238E27FC236}">
                  <a16:creationId xmlns="" xmlns:a16="http://schemas.microsoft.com/office/drawing/2014/main" id="{C2980426-E48A-4D1B-8FD3-5188F38BD45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128273" y="4320797"/>
              <a:ext cx="183517" cy="82594"/>
            </a:xfrm>
            <a:custGeom>
              <a:avLst/>
              <a:gdLst/>
              <a:ahLst/>
              <a:cxnLst>
                <a:cxn ang="0">
                  <a:pos x="134" y="41"/>
                </a:cxn>
                <a:cxn ang="0">
                  <a:pos x="114" y="53"/>
                </a:cxn>
                <a:cxn ang="0">
                  <a:pos x="122" y="81"/>
                </a:cxn>
                <a:cxn ang="0">
                  <a:pos x="106" y="97"/>
                </a:cxn>
                <a:cxn ang="0">
                  <a:pos x="92" y="97"/>
                </a:cxn>
                <a:cxn ang="0">
                  <a:pos x="80" y="75"/>
                </a:cxn>
                <a:cxn ang="0">
                  <a:pos x="64" y="73"/>
                </a:cxn>
                <a:cxn ang="0">
                  <a:pos x="50" y="57"/>
                </a:cxn>
                <a:cxn ang="0">
                  <a:pos x="28" y="57"/>
                </a:cxn>
                <a:cxn ang="0">
                  <a:pos x="10" y="61"/>
                </a:cxn>
                <a:cxn ang="0">
                  <a:pos x="2" y="34"/>
                </a:cxn>
                <a:cxn ang="0">
                  <a:pos x="4" y="10"/>
                </a:cxn>
                <a:cxn ang="0">
                  <a:pos x="32" y="14"/>
                </a:cxn>
                <a:cxn ang="0">
                  <a:pos x="40" y="24"/>
                </a:cxn>
                <a:cxn ang="0">
                  <a:pos x="52" y="20"/>
                </a:cxn>
                <a:cxn ang="0">
                  <a:pos x="80" y="28"/>
                </a:cxn>
                <a:cxn ang="0">
                  <a:pos x="110" y="18"/>
                </a:cxn>
                <a:cxn ang="0">
                  <a:pos x="124" y="10"/>
                </a:cxn>
                <a:cxn ang="0">
                  <a:pos x="52" y="87"/>
                </a:cxn>
                <a:cxn ang="0">
                  <a:pos x="66" y="89"/>
                </a:cxn>
                <a:cxn ang="0">
                  <a:pos x="52" y="87"/>
                </a:cxn>
                <a:cxn ang="0">
                  <a:pos x="156" y="22"/>
                </a:cxn>
                <a:cxn ang="0">
                  <a:pos x="192" y="39"/>
                </a:cxn>
                <a:cxn ang="0">
                  <a:pos x="208" y="51"/>
                </a:cxn>
                <a:cxn ang="0">
                  <a:pos x="192" y="63"/>
                </a:cxn>
                <a:cxn ang="0">
                  <a:pos x="206" y="95"/>
                </a:cxn>
                <a:cxn ang="0">
                  <a:pos x="214" y="91"/>
                </a:cxn>
                <a:cxn ang="0">
                  <a:pos x="224" y="71"/>
                </a:cxn>
                <a:cxn ang="0">
                  <a:pos x="222" y="36"/>
                </a:cxn>
                <a:cxn ang="0">
                  <a:pos x="196" y="14"/>
                </a:cxn>
                <a:cxn ang="0">
                  <a:pos x="164" y="6"/>
                </a:cxn>
                <a:cxn ang="0">
                  <a:pos x="150" y="2"/>
                </a:cxn>
                <a:cxn ang="0">
                  <a:pos x="124" y="10"/>
                </a:cxn>
              </a:cxnLst>
              <a:rect l="0" t="0" r="r" b="b"/>
              <a:pathLst>
                <a:path w="224" h="101">
                  <a:moveTo>
                    <a:pt x="138" y="26"/>
                  </a:moveTo>
                  <a:lnTo>
                    <a:pt x="134" y="41"/>
                  </a:lnTo>
                  <a:lnTo>
                    <a:pt x="120" y="43"/>
                  </a:lnTo>
                  <a:lnTo>
                    <a:pt x="114" y="53"/>
                  </a:lnTo>
                  <a:lnTo>
                    <a:pt x="106" y="59"/>
                  </a:lnTo>
                  <a:lnTo>
                    <a:pt x="122" y="81"/>
                  </a:lnTo>
                  <a:lnTo>
                    <a:pt x="110" y="89"/>
                  </a:lnTo>
                  <a:lnTo>
                    <a:pt x="106" y="97"/>
                  </a:lnTo>
                  <a:lnTo>
                    <a:pt x="100" y="101"/>
                  </a:lnTo>
                  <a:lnTo>
                    <a:pt x="92" y="97"/>
                  </a:lnTo>
                  <a:lnTo>
                    <a:pt x="86" y="71"/>
                  </a:lnTo>
                  <a:lnTo>
                    <a:pt x="80" y="75"/>
                  </a:lnTo>
                  <a:lnTo>
                    <a:pt x="78" y="83"/>
                  </a:lnTo>
                  <a:lnTo>
                    <a:pt x="64" y="73"/>
                  </a:lnTo>
                  <a:lnTo>
                    <a:pt x="64" y="63"/>
                  </a:lnTo>
                  <a:lnTo>
                    <a:pt x="50" y="57"/>
                  </a:lnTo>
                  <a:lnTo>
                    <a:pt x="38" y="53"/>
                  </a:lnTo>
                  <a:lnTo>
                    <a:pt x="28" y="57"/>
                  </a:lnTo>
                  <a:lnTo>
                    <a:pt x="18" y="55"/>
                  </a:lnTo>
                  <a:lnTo>
                    <a:pt x="10" y="61"/>
                  </a:lnTo>
                  <a:lnTo>
                    <a:pt x="10" y="41"/>
                  </a:lnTo>
                  <a:lnTo>
                    <a:pt x="2" y="34"/>
                  </a:lnTo>
                  <a:lnTo>
                    <a:pt x="0" y="14"/>
                  </a:lnTo>
                  <a:lnTo>
                    <a:pt x="4" y="10"/>
                  </a:lnTo>
                  <a:lnTo>
                    <a:pt x="28" y="4"/>
                  </a:lnTo>
                  <a:lnTo>
                    <a:pt x="32" y="14"/>
                  </a:lnTo>
                  <a:lnTo>
                    <a:pt x="38" y="16"/>
                  </a:lnTo>
                  <a:lnTo>
                    <a:pt x="40" y="24"/>
                  </a:lnTo>
                  <a:lnTo>
                    <a:pt x="48" y="24"/>
                  </a:lnTo>
                  <a:lnTo>
                    <a:pt x="52" y="20"/>
                  </a:lnTo>
                  <a:lnTo>
                    <a:pt x="62" y="26"/>
                  </a:lnTo>
                  <a:lnTo>
                    <a:pt x="80" y="28"/>
                  </a:lnTo>
                  <a:lnTo>
                    <a:pt x="96" y="20"/>
                  </a:lnTo>
                  <a:lnTo>
                    <a:pt x="110" y="18"/>
                  </a:lnTo>
                  <a:lnTo>
                    <a:pt x="118" y="16"/>
                  </a:lnTo>
                  <a:lnTo>
                    <a:pt x="124" y="10"/>
                  </a:lnTo>
                  <a:lnTo>
                    <a:pt x="138" y="26"/>
                  </a:lnTo>
                  <a:close/>
                  <a:moveTo>
                    <a:pt x="52" y="87"/>
                  </a:moveTo>
                  <a:lnTo>
                    <a:pt x="62" y="95"/>
                  </a:lnTo>
                  <a:lnTo>
                    <a:pt x="66" y="89"/>
                  </a:lnTo>
                  <a:lnTo>
                    <a:pt x="56" y="79"/>
                  </a:lnTo>
                  <a:lnTo>
                    <a:pt x="52" y="87"/>
                  </a:lnTo>
                  <a:close/>
                  <a:moveTo>
                    <a:pt x="138" y="26"/>
                  </a:moveTo>
                  <a:lnTo>
                    <a:pt x="156" y="22"/>
                  </a:lnTo>
                  <a:lnTo>
                    <a:pt x="170" y="22"/>
                  </a:lnTo>
                  <a:lnTo>
                    <a:pt x="192" y="39"/>
                  </a:lnTo>
                  <a:lnTo>
                    <a:pt x="204" y="41"/>
                  </a:lnTo>
                  <a:lnTo>
                    <a:pt x="208" y="51"/>
                  </a:lnTo>
                  <a:lnTo>
                    <a:pt x="196" y="55"/>
                  </a:lnTo>
                  <a:lnTo>
                    <a:pt x="192" y="63"/>
                  </a:lnTo>
                  <a:lnTo>
                    <a:pt x="198" y="83"/>
                  </a:lnTo>
                  <a:lnTo>
                    <a:pt x="206" y="95"/>
                  </a:lnTo>
                  <a:lnTo>
                    <a:pt x="214" y="101"/>
                  </a:lnTo>
                  <a:lnTo>
                    <a:pt x="214" y="91"/>
                  </a:lnTo>
                  <a:lnTo>
                    <a:pt x="212" y="79"/>
                  </a:lnTo>
                  <a:lnTo>
                    <a:pt x="224" y="71"/>
                  </a:lnTo>
                  <a:lnTo>
                    <a:pt x="224" y="61"/>
                  </a:lnTo>
                  <a:lnTo>
                    <a:pt x="222" y="36"/>
                  </a:lnTo>
                  <a:lnTo>
                    <a:pt x="204" y="20"/>
                  </a:lnTo>
                  <a:lnTo>
                    <a:pt x="196" y="14"/>
                  </a:lnTo>
                  <a:lnTo>
                    <a:pt x="184" y="8"/>
                  </a:lnTo>
                  <a:lnTo>
                    <a:pt x="164" y="6"/>
                  </a:lnTo>
                  <a:lnTo>
                    <a:pt x="158" y="2"/>
                  </a:lnTo>
                  <a:lnTo>
                    <a:pt x="150" y="2"/>
                  </a:lnTo>
                  <a:lnTo>
                    <a:pt x="138" y="0"/>
                  </a:lnTo>
                  <a:lnTo>
                    <a:pt x="124" y="10"/>
                  </a:lnTo>
                  <a:lnTo>
                    <a:pt x="138" y="26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65" name="Papua New Guinea">
              <a:extLst>
                <a:ext uri="{FF2B5EF4-FFF2-40B4-BE49-F238E27FC236}">
                  <a16:creationId xmlns="" xmlns:a16="http://schemas.microsoft.com/office/drawing/2014/main" id="{FD5E19D2-67EF-4B7A-81E1-1D935CAE6A2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160474" y="4623647"/>
              <a:ext cx="462695" cy="257620"/>
            </a:xfrm>
            <a:custGeom>
              <a:avLst/>
              <a:gdLst/>
              <a:ahLst/>
              <a:cxnLst>
                <a:cxn ang="0">
                  <a:pos x="0" y="248"/>
                </a:cxn>
                <a:cxn ang="0">
                  <a:pos x="0" y="0"/>
                </a:cxn>
                <a:cxn ang="0">
                  <a:pos x="38" y="10"/>
                </a:cxn>
                <a:cxn ang="0">
                  <a:pos x="88" y="46"/>
                </a:cxn>
                <a:cxn ang="0">
                  <a:pos x="136" y="50"/>
                </a:cxn>
                <a:cxn ang="0">
                  <a:pos x="176" y="84"/>
                </a:cxn>
                <a:cxn ang="0">
                  <a:pos x="178" y="110"/>
                </a:cxn>
                <a:cxn ang="0">
                  <a:pos x="238" y="130"/>
                </a:cxn>
                <a:cxn ang="0">
                  <a:pos x="258" y="154"/>
                </a:cxn>
                <a:cxn ang="0">
                  <a:pos x="224" y="158"/>
                </a:cxn>
                <a:cxn ang="0">
                  <a:pos x="294" y="246"/>
                </a:cxn>
                <a:cxn ang="0">
                  <a:pos x="320" y="248"/>
                </a:cxn>
                <a:cxn ang="0">
                  <a:pos x="318" y="262"/>
                </a:cxn>
                <a:cxn ang="0">
                  <a:pos x="346" y="272"/>
                </a:cxn>
                <a:cxn ang="0">
                  <a:pos x="338" y="280"/>
                </a:cxn>
                <a:cxn ang="0">
                  <a:pos x="379" y="302"/>
                </a:cxn>
                <a:cxn ang="0">
                  <a:pos x="371" y="316"/>
                </a:cxn>
                <a:cxn ang="0">
                  <a:pos x="348" y="316"/>
                </a:cxn>
                <a:cxn ang="0">
                  <a:pos x="290" y="296"/>
                </a:cxn>
                <a:cxn ang="0">
                  <a:pos x="274" y="300"/>
                </a:cxn>
                <a:cxn ang="0">
                  <a:pos x="224" y="274"/>
                </a:cxn>
                <a:cxn ang="0">
                  <a:pos x="218" y="254"/>
                </a:cxn>
                <a:cxn ang="0">
                  <a:pos x="198" y="240"/>
                </a:cxn>
                <a:cxn ang="0">
                  <a:pos x="184" y="204"/>
                </a:cxn>
                <a:cxn ang="0">
                  <a:pos x="158" y="198"/>
                </a:cxn>
                <a:cxn ang="0">
                  <a:pos x="148" y="188"/>
                </a:cxn>
                <a:cxn ang="0">
                  <a:pos x="96" y="190"/>
                </a:cxn>
                <a:cxn ang="0">
                  <a:pos x="74" y="224"/>
                </a:cxn>
                <a:cxn ang="0">
                  <a:pos x="82" y="238"/>
                </a:cxn>
                <a:cxn ang="0">
                  <a:pos x="54" y="254"/>
                </a:cxn>
                <a:cxn ang="0">
                  <a:pos x="26" y="244"/>
                </a:cxn>
                <a:cxn ang="0">
                  <a:pos x="14" y="250"/>
                </a:cxn>
                <a:cxn ang="0">
                  <a:pos x="0" y="248"/>
                </a:cxn>
                <a:cxn ang="0">
                  <a:pos x="292" y="128"/>
                </a:cxn>
                <a:cxn ang="0">
                  <a:pos x="310" y="138"/>
                </a:cxn>
                <a:cxn ang="0">
                  <a:pos x="328" y="138"/>
                </a:cxn>
                <a:cxn ang="0">
                  <a:pos x="340" y="146"/>
                </a:cxn>
                <a:cxn ang="0">
                  <a:pos x="399" y="140"/>
                </a:cxn>
                <a:cxn ang="0">
                  <a:pos x="407" y="124"/>
                </a:cxn>
                <a:cxn ang="0">
                  <a:pos x="427" y="122"/>
                </a:cxn>
                <a:cxn ang="0">
                  <a:pos x="425" y="104"/>
                </a:cxn>
                <a:cxn ang="0">
                  <a:pos x="437" y="94"/>
                </a:cxn>
                <a:cxn ang="0">
                  <a:pos x="435" y="62"/>
                </a:cxn>
                <a:cxn ang="0">
                  <a:pos x="419" y="72"/>
                </a:cxn>
                <a:cxn ang="0">
                  <a:pos x="405" y="66"/>
                </a:cxn>
                <a:cxn ang="0">
                  <a:pos x="409" y="92"/>
                </a:cxn>
                <a:cxn ang="0">
                  <a:pos x="381" y="118"/>
                </a:cxn>
                <a:cxn ang="0">
                  <a:pos x="282" y="116"/>
                </a:cxn>
                <a:cxn ang="0">
                  <a:pos x="292" y="128"/>
                </a:cxn>
                <a:cxn ang="0">
                  <a:pos x="529" y="142"/>
                </a:cxn>
                <a:cxn ang="0">
                  <a:pos x="551" y="168"/>
                </a:cxn>
                <a:cxn ang="0">
                  <a:pos x="571" y="156"/>
                </a:cxn>
                <a:cxn ang="0">
                  <a:pos x="541" y="120"/>
                </a:cxn>
                <a:cxn ang="0">
                  <a:pos x="519" y="108"/>
                </a:cxn>
                <a:cxn ang="0">
                  <a:pos x="529" y="142"/>
                </a:cxn>
              </a:cxnLst>
              <a:rect l="0" t="0" r="r" b="b"/>
              <a:pathLst>
                <a:path w="571" h="316">
                  <a:moveTo>
                    <a:pt x="0" y="248"/>
                  </a:moveTo>
                  <a:lnTo>
                    <a:pt x="0" y="0"/>
                  </a:lnTo>
                  <a:lnTo>
                    <a:pt x="38" y="10"/>
                  </a:lnTo>
                  <a:lnTo>
                    <a:pt x="88" y="46"/>
                  </a:lnTo>
                  <a:lnTo>
                    <a:pt x="136" y="50"/>
                  </a:lnTo>
                  <a:lnTo>
                    <a:pt x="176" y="84"/>
                  </a:lnTo>
                  <a:lnTo>
                    <a:pt x="178" y="110"/>
                  </a:lnTo>
                  <a:lnTo>
                    <a:pt x="238" y="130"/>
                  </a:lnTo>
                  <a:lnTo>
                    <a:pt x="258" y="154"/>
                  </a:lnTo>
                  <a:lnTo>
                    <a:pt x="224" y="158"/>
                  </a:lnTo>
                  <a:lnTo>
                    <a:pt x="294" y="246"/>
                  </a:lnTo>
                  <a:lnTo>
                    <a:pt x="320" y="248"/>
                  </a:lnTo>
                  <a:lnTo>
                    <a:pt x="318" y="262"/>
                  </a:lnTo>
                  <a:lnTo>
                    <a:pt x="346" y="272"/>
                  </a:lnTo>
                  <a:lnTo>
                    <a:pt x="338" y="280"/>
                  </a:lnTo>
                  <a:lnTo>
                    <a:pt x="379" y="302"/>
                  </a:lnTo>
                  <a:lnTo>
                    <a:pt x="371" y="316"/>
                  </a:lnTo>
                  <a:lnTo>
                    <a:pt x="348" y="316"/>
                  </a:lnTo>
                  <a:lnTo>
                    <a:pt x="290" y="296"/>
                  </a:lnTo>
                  <a:lnTo>
                    <a:pt x="274" y="300"/>
                  </a:lnTo>
                  <a:lnTo>
                    <a:pt x="224" y="274"/>
                  </a:lnTo>
                  <a:lnTo>
                    <a:pt x="218" y="254"/>
                  </a:lnTo>
                  <a:lnTo>
                    <a:pt x="198" y="240"/>
                  </a:lnTo>
                  <a:lnTo>
                    <a:pt x="184" y="204"/>
                  </a:lnTo>
                  <a:lnTo>
                    <a:pt x="158" y="198"/>
                  </a:lnTo>
                  <a:lnTo>
                    <a:pt x="148" y="188"/>
                  </a:lnTo>
                  <a:lnTo>
                    <a:pt x="96" y="190"/>
                  </a:lnTo>
                  <a:lnTo>
                    <a:pt x="74" y="224"/>
                  </a:lnTo>
                  <a:lnTo>
                    <a:pt x="82" y="238"/>
                  </a:lnTo>
                  <a:lnTo>
                    <a:pt x="54" y="254"/>
                  </a:lnTo>
                  <a:lnTo>
                    <a:pt x="26" y="244"/>
                  </a:lnTo>
                  <a:lnTo>
                    <a:pt x="14" y="250"/>
                  </a:lnTo>
                  <a:lnTo>
                    <a:pt x="0" y="248"/>
                  </a:lnTo>
                  <a:close/>
                  <a:moveTo>
                    <a:pt x="292" y="128"/>
                  </a:moveTo>
                  <a:lnTo>
                    <a:pt x="310" y="138"/>
                  </a:lnTo>
                  <a:lnTo>
                    <a:pt x="328" y="138"/>
                  </a:lnTo>
                  <a:lnTo>
                    <a:pt x="340" y="146"/>
                  </a:lnTo>
                  <a:lnTo>
                    <a:pt x="399" y="140"/>
                  </a:lnTo>
                  <a:lnTo>
                    <a:pt x="407" y="124"/>
                  </a:lnTo>
                  <a:lnTo>
                    <a:pt x="427" y="122"/>
                  </a:lnTo>
                  <a:lnTo>
                    <a:pt x="425" y="104"/>
                  </a:lnTo>
                  <a:lnTo>
                    <a:pt x="437" y="94"/>
                  </a:lnTo>
                  <a:lnTo>
                    <a:pt x="435" y="62"/>
                  </a:lnTo>
                  <a:lnTo>
                    <a:pt x="419" y="72"/>
                  </a:lnTo>
                  <a:lnTo>
                    <a:pt x="405" y="66"/>
                  </a:lnTo>
                  <a:lnTo>
                    <a:pt x="409" y="92"/>
                  </a:lnTo>
                  <a:lnTo>
                    <a:pt x="381" y="118"/>
                  </a:lnTo>
                  <a:lnTo>
                    <a:pt x="282" y="116"/>
                  </a:lnTo>
                  <a:lnTo>
                    <a:pt x="292" y="128"/>
                  </a:lnTo>
                  <a:close/>
                  <a:moveTo>
                    <a:pt x="529" y="142"/>
                  </a:moveTo>
                  <a:lnTo>
                    <a:pt x="551" y="168"/>
                  </a:lnTo>
                  <a:lnTo>
                    <a:pt x="571" y="156"/>
                  </a:lnTo>
                  <a:lnTo>
                    <a:pt x="541" y="120"/>
                  </a:lnTo>
                  <a:lnTo>
                    <a:pt x="519" y="108"/>
                  </a:lnTo>
                  <a:lnTo>
                    <a:pt x="529" y="142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66" name="Paraguay">
              <a:extLst>
                <a:ext uri="{FF2B5EF4-FFF2-40B4-BE49-F238E27FC236}">
                  <a16:creationId xmlns="" xmlns:a16="http://schemas.microsoft.com/office/drawing/2014/main" id="{E8484F27-0D97-4EC9-8477-A04EFDC2AECE}"/>
                </a:ext>
              </a:extLst>
            </p:cNvPr>
            <p:cNvSpPr>
              <a:spLocks/>
            </p:cNvSpPr>
            <p:nvPr/>
          </p:nvSpPr>
          <p:spPr bwMode="gray">
            <a:xfrm>
              <a:off x="3764725" y="5254914"/>
              <a:ext cx="265513" cy="277285"/>
            </a:xfrm>
            <a:custGeom>
              <a:avLst/>
              <a:gdLst/>
              <a:ahLst/>
              <a:cxnLst>
                <a:cxn ang="0">
                  <a:pos x="6" y="128"/>
                </a:cxn>
                <a:cxn ang="0">
                  <a:pos x="0" y="112"/>
                </a:cxn>
                <a:cxn ang="0">
                  <a:pos x="14" y="60"/>
                </a:cxn>
                <a:cxn ang="0">
                  <a:pos x="14" y="40"/>
                </a:cxn>
                <a:cxn ang="0">
                  <a:pos x="32" y="6"/>
                </a:cxn>
                <a:cxn ang="0">
                  <a:pos x="66" y="8"/>
                </a:cxn>
                <a:cxn ang="0">
                  <a:pos x="98" y="6"/>
                </a:cxn>
                <a:cxn ang="0">
                  <a:pos x="144" y="0"/>
                </a:cxn>
                <a:cxn ang="0">
                  <a:pos x="174" y="18"/>
                </a:cxn>
                <a:cxn ang="0">
                  <a:pos x="188" y="44"/>
                </a:cxn>
                <a:cxn ang="0">
                  <a:pos x="180" y="98"/>
                </a:cxn>
                <a:cxn ang="0">
                  <a:pos x="194" y="110"/>
                </a:cxn>
                <a:cxn ang="0">
                  <a:pos x="230" y="116"/>
                </a:cxn>
                <a:cxn ang="0">
                  <a:pos x="254" y="114"/>
                </a:cxn>
                <a:cxn ang="0">
                  <a:pos x="266" y="120"/>
                </a:cxn>
                <a:cxn ang="0">
                  <a:pos x="276" y="144"/>
                </a:cxn>
                <a:cxn ang="0">
                  <a:pos x="278" y="178"/>
                </a:cxn>
                <a:cxn ang="0">
                  <a:pos x="292" y="184"/>
                </a:cxn>
                <a:cxn ang="0">
                  <a:pos x="314" y="184"/>
                </a:cxn>
                <a:cxn ang="0">
                  <a:pos x="326" y="198"/>
                </a:cxn>
                <a:cxn ang="0">
                  <a:pos x="310" y="256"/>
                </a:cxn>
                <a:cxn ang="0">
                  <a:pos x="302" y="290"/>
                </a:cxn>
                <a:cxn ang="0">
                  <a:pos x="296" y="312"/>
                </a:cxn>
                <a:cxn ang="0">
                  <a:pos x="270" y="336"/>
                </a:cxn>
                <a:cxn ang="0">
                  <a:pos x="220" y="340"/>
                </a:cxn>
                <a:cxn ang="0">
                  <a:pos x="204" y="334"/>
                </a:cxn>
                <a:cxn ang="0">
                  <a:pos x="186" y="326"/>
                </a:cxn>
                <a:cxn ang="0">
                  <a:pos x="172" y="324"/>
                </a:cxn>
                <a:cxn ang="0">
                  <a:pos x="166" y="314"/>
                </a:cxn>
                <a:cxn ang="0">
                  <a:pos x="200" y="238"/>
                </a:cxn>
                <a:cxn ang="0">
                  <a:pos x="164" y="214"/>
                </a:cxn>
                <a:cxn ang="0">
                  <a:pos x="148" y="212"/>
                </a:cxn>
                <a:cxn ang="0">
                  <a:pos x="128" y="198"/>
                </a:cxn>
                <a:cxn ang="0">
                  <a:pos x="90" y="200"/>
                </a:cxn>
                <a:cxn ang="0">
                  <a:pos x="30" y="150"/>
                </a:cxn>
                <a:cxn ang="0">
                  <a:pos x="28" y="140"/>
                </a:cxn>
                <a:cxn ang="0">
                  <a:pos x="20" y="140"/>
                </a:cxn>
                <a:cxn ang="0">
                  <a:pos x="6" y="128"/>
                </a:cxn>
              </a:cxnLst>
              <a:rect l="0" t="0" r="r" b="b"/>
              <a:pathLst>
                <a:path w="326" h="340">
                  <a:moveTo>
                    <a:pt x="6" y="128"/>
                  </a:moveTo>
                  <a:lnTo>
                    <a:pt x="0" y="112"/>
                  </a:lnTo>
                  <a:lnTo>
                    <a:pt x="14" y="60"/>
                  </a:lnTo>
                  <a:lnTo>
                    <a:pt x="14" y="40"/>
                  </a:lnTo>
                  <a:lnTo>
                    <a:pt x="32" y="6"/>
                  </a:lnTo>
                  <a:lnTo>
                    <a:pt x="66" y="8"/>
                  </a:lnTo>
                  <a:lnTo>
                    <a:pt x="98" y="6"/>
                  </a:lnTo>
                  <a:lnTo>
                    <a:pt x="144" y="0"/>
                  </a:lnTo>
                  <a:lnTo>
                    <a:pt x="174" y="18"/>
                  </a:lnTo>
                  <a:lnTo>
                    <a:pt x="188" y="44"/>
                  </a:lnTo>
                  <a:lnTo>
                    <a:pt x="180" y="98"/>
                  </a:lnTo>
                  <a:lnTo>
                    <a:pt x="194" y="110"/>
                  </a:lnTo>
                  <a:lnTo>
                    <a:pt x="230" y="116"/>
                  </a:lnTo>
                  <a:lnTo>
                    <a:pt x="254" y="114"/>
                  </a:lnTo>
                  <a:lnTo>
                    <a:pt x="266" y="120"/>
                  </a:lnTo>
                  <a:lnTo>
                    <a:pt x="276" y="144"/>
                  </a:lnTo>
                  <a:lnTo>
                    <a:pt x="278" y="178"/>
                  </a:lnTo>
                  <a:lnTo>
                    <a:pt x="292" y="184"/>
                  </a:lnTo>
                  <a:lnTo>
                    <a:pt x="314" y="184"/>
                  </a:lnTo>
                  <a:lnTo>
                    <a:pt x="326" y="198"/>
                  </a:lnTo>
                  <a:lnTo>
                    <a:pt x="310" y="256"/>
                  </a:lnTo>
                  <a:lnTo>
                    <a:pt x="302" y="290"/>
                  </a:lnTo>
                  <a:lnTo>
                    <a:pt x="296" y="312"/>
                  </a:lnTo>
                  <a:lnTo>
                    <a:pt x="270" y="336"/>
                  </a:lnTo>
                  <a:lnTo>
                    <a:pt x="220" y="340"/>
                  </a:lnTo>
                  <a:lnTo>
                    <a:pt x="204" y="334"/>
                  </a:lnTo>
                  <a:lnTo>
                    <a:pt x="186" y="326"/>
                  </a:lnTo>
                  <a:lnTo>
                    <a:pt x="172" y="324"/>
                  </a:lnTo>
                  <a:lnTo>
                    <a:pt x="166" y="314"/>
                  </a:lnTo>
                  <a:lnTo>
                    <a:pt x="200" y="238"/>
                  </a:lnTo>
                  <a:lnTo>
                    <a:pt x="164" y="214"/>
                  </a:lnTo>
                  <a:lnTo>
                    <a:pt x="148" y="212"/>
                  </a:lnTo>
                  <a:lnTo>
                    <a:pt x="128" y="198"/>
                  </a:lnTo>
                  <a:lnTo>
                    <a:pt x="90" y="200"/>
                  </a:lnTo>
                  <a:lnTo>
                    <a:pt x="30" y="150"/>
                  </a:lnTo>
                  <a:lnTo>
                    <a:pt x="28" y="140"/>
                  </a:lnTo>
                  <a:lnTo>
                    <a:pt x="20" y="140"/>
                  </a:lnTo>
                  <a:lnTo>
                    <a:pt x="6" y="128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67" name="Peru">
              <a:extLst>
                <a:ext uri="{FF2B5EF4-FFF2-40B4-BE49-F238E27FC236}">
                  <a16:creationId xmlns="" xmlns:a16="http://schemas.microsoft.com/office/drawing/2014/main" id="{9069F7E3-930B-4A87-830B-27A3A71D17A0}"/>
                </a:ext>
              </a:extLst>
            </p:cNvPr>
            <p:cNvSpPr>
              <a:spLocks/>
            </p:cNvSpPr>
            <p:nvPr/>
          </p:nvSpPr>
          <p:spPr bwMode="gray">
            <a:xfrm>
              <a:off x="3192699" y="4623647"/>
              <a:ext cx="392414" cy="593901"/>
            </a:xfrm>
            <a:custGeom>
              <a:avLst/>
              <a:gdLst/>
              <a:ahLst/>
              <a:cxnLst>
                <a:cxn ang="0">
                  <a:pos x="38" y="150"/>
                </a:cxn>
                <a:cxn ang="0">
                  <a:pos x="36" y="172"/>
                </a:cxn>
                <a:cxn ang="0">
                  <a:pos x="72" y="190"/>
                </a:cxn>
                <a:cxn ang="0">
                  <a:pos x="94" y="172"/>
                </a:cxn>
                <a:cxn ang="0">
                  <a:pos x="118" y="148"/>
                </a:cxn>
                <a:cxn ang="0">
                  <a:pos x="114" y="116"/>
                </a:cxn>
                <a:cxn ang="0">
                  <a:pos x="148" y="98"/>
                </a:cxn>
                <a:cxn ang="0">
                  <a:pos x="209" y="48"/>
                </a:cxn>
                <a:cxn ang="0">
                  <a:pos x="225" y="0"/>
                </a:cxn>
                <a:cxn ang="0">
                  <a:pos x="321" y="64"/>
                </a:cxn>
                <a:cxn ang="0">
                  <a:pos x="345" y="76"/>
                </a:cxn>
                <a:cxn ang="0">
                  <a:pos x="425" y="86"/>
                </a:cxn>
                <a:cxn ang="0">
                  <a:pos x="429" y="160"/>
                </a:cxn>
                <a:cxn ang="0">
                  <a:pos x="409" y="164"/>
                </a:cxn>
                <a:cxn ang="0">
                  <a:pos x="351" y="174"/>
                </a:cxn>
                <a:cxn ang="0">
                  <a:pos x="321" y="198"/>
                </a:cxn>
                <a:cxn ang="0">
                  <a:pos x="307" y="254"/>
                </a:cxn>
                <a:cxn ang="0">
                  <a:pos x="281" y="276"/>
                </a:cxn>
                <a:cxn ang="0">
                  <a:pos x="289" y="302"/>
                </a:cxn>
                <a:cxn ang="0">
                  <a:pos x="291" y="336"/>
                </a:cxn>
                <a:cxn ang="0">
                  <a:pos x="307" y="358"/>
                </a:cxn>
                <a:cxn ang="0">
                  <a:pos x="359" y="390"/>
                </a:cxn>
                <a:cxn ang="0">
                  <a:pos x="405" y="364"/>
                </a:cxn>
                <a:cxn ang="0">
                  <a:pos x="447" y="434"/>
                </a:cxn>
                <a:cxn ang="0">
                  <a:pos x="453" y="583"/>
                </a:cxn>
                <a:cxn ang="0">
                  <a:pos x="455" y="625"/>
                </a:cxn>
                <a:cxn ang="0">
                  <a:pos x="465" y="661"/>
                </a:cxn>
                <a:cxn ang="0">
                  <a:pos x="447" y="697"/>
                </a:cxn>
                <a:cxn ang="0">
                  <a:pos x="399" y="711"/>
                </a:cxn>
                <a:cxn ang="0">
                  <a:pos x="379" y="691"/>
                </a:cxn>
                <a:cxn ang="0">
                  <a:pos x="355" y="677"/>
                </a:cxn>
                <a:cxn ang="0">
                  <a:pos x="329" y="651"/>
                </a:cxn>
                <a:cxn ang="0">
                  <a:pos x="265" y="619"/>
                </a:cxn>
                <a:cxn ang="0">
                  <a:pos x="233" y="601"/>
                </a:cxn>
                <a:cxn ang="0">
                  <a:pos x="203" y="573"/>
                </a:cxn>
                <a:cxn ang="0">
                  <a:pos x="189" y="547"/>
                </a:cxn>
                <a:cxn ang="0">
                  <a:pos x="166" y="486"/>
                </a:cxn>
                <a:cxn ang="0">
                  <a:pos x="142" y="436"/>
                </a:cxn>
                <a:cxn ang="0">
                  <a:pos x="120" y="392"/>
                </a:cxn>
                <a:cxn ang="0">
                  <a:pos x="104" y="352"/>
                </a:cxn>
                <a:cxn ang="0">
                  <a:pos x="74" y="302"/>
                </a:cxn>
                <a:cxn ang="0">
                  <a:pos x="42" y="250"/>
                </a:cxn>
                <a:cxn ang="0">
                  <a:pos x="10" y="228"/>
                </a:cxn>
                <a:cxn ang="0">
                  <a:pos x="8" y="198"/>
                </a:cxn>
                <a:cxn ang="0">
                  <a:pos x="0" y="178"/>
                </a:cxn>
                <a:cxn ang="0">
                  <a:pos x="16" y="150"/>
                </a:cxn>
              </a:cxnLst>
              <a:rect l="0" t="0" r="r" b="b"/>
              <a:pathLst>
                <a:path w="483" h="725">
                  <a:moveTo>
                    <a:pt x="34" y="136"/>
                  </a:moveTo>
                  <a:lnTo>
                    <a:pt x="38" y="150"/>
                  </a:lnTo>
                  <a:lnTo>
                    <a:pt x="30" y="164"/>
                  </a:lnTo>
                  <a:lnTo>
                    <a:pt x="36" y="172"/>
                  </a:lnTo>
                  <a:lnTo>
                    <a:pt x="52" y="170"/>
                  </a:lnTo>
                  <a:lnTo>
                    <a:pt x="72" y="190"/>
                  </a:lnTo>
                  <a:lnTo>
                    <a:pt x="82" y="176"/>
                  </a:lnTo>
                  <a:lnTo>
                    <a:pt x="94" y="172"/>
                  </a:lnTo>
                  <a:lnTo>
                    <a:pt x="112" y="160"/>
                  </a:lnTo>
                  <a:lnTo>
                    <a:pt x="118" y="148"/>
                  </a:lnTo>
                  <a:lnTo>
                    <a:pt x="118" y="132"/>
                  </a:lnTo>
                  <a:lnTo>
                    <a:pt x="114" y="116"/>
                  </a:lnTo>
                  <a:lnTo>
                    <a:pt x="122" y="108"/>
                  </a:lnTo>
                  <a:lnTo>
                    <a:pt x="148" y="98"/>
                  </a:lnTo>
                  <a:lnTo>
                    <a:pt x="180" y="78"/>
                  </a:lnTo>
                  <a:lnTo>
                    <a:pt x="209" y="48"/>
                  </a:lnTo>
                  <a:lnTo>
                    <a:pt x="223" y="26"/>
                  </a:lnTo>
                  <a:lnTo>
                    <a:pt x="225" y="0"/>
                  </a:lnTo>
                  <a:lnTo>
                    <a:pt x="281" y="46"/>
                  </a:lnTo>
                  <a:lnTo>
                    <a:pt x="321" y="64"/>
                  </a:lnTo>
                  <a:lnTo>
                    <a:pt x="333" y="66"/>
                  </a:lnTo>
                  <a:lnTo>
                    <a:pt x="345" y="76"/>
                  </a:lnTo>
                  <a:lnTo>
                    <a:pt x="385" y="82"/>
                  </a:lnTo>
                  <a:lnTo>
                    <a:pt x="425" y="86"/>
                  </a:lnTo>
                  <a:lnTo>
                    <a:pt x="403" y="148"/>
                  </a:lnTo>
                  <a:lnTo>
                    <a:pt x="429" y="160"/>
                  </a:lnTo>
                  <a:lnTo>
                    <a:pt x="423" y="170"/>
                  </a:lnTo>
                  <a:lnTo>
                    <a:pt x="409" y="164"/>
                  </a:lnTo>
                  <a:lnTo>
                    <a:pt x="369" y="172"/>
                  </a:lnTo>
                  <a:lnTo>
                    <a:pt x="351" y="174"/>
                  </a:lnTo>
                  <a:lnTo>
                    <a:pt x="337" y="186"/>
                  </a:lnTo>
                  <a:lnTo>
                    <a:pt x="321" y="198"/>
                  </a:lnTo>
                  <a:lnTo>
                    <a:pt x="307" y="236"/>
                  </a:lnTo>
                  <a:lnTo>
                    <a:pt x="307" y="254"/>
                  </a:lnTo>
                  <a:lnTo>
                    <a:pt x="293" y="258"/>
                  </a:lnTo>
                  <a:lnTo>
                    <a:pt x="281" y="276"/>
                  </a:lnTo>
                  <a:lnTo>
                    <a:pt x="279" y="292"/>
                  </a:lnTo>
                  <a:lnTo>
                    <a:pt x="289" y="302"/>
                  </a:lnTo>
                  <a:lnTo>
                    <a:pt x="285" y="322"/>
                  </a:lnTo>
                  <a:lnTo>
                    <a:pt x="291" y="336"/>
                  </a:lnTo>
                  <a:lnTo>
                    <a:pt x="317" y="340"/>
                  </a:lnTo>
                  <a:lnTo>
                    <a:pt x="307" y="358"/>
                  </a:lnTo>
                  <a:lnTo>
                    <a:pt x="331" y="364"/>
                  </a:lnTo>
                  <a:lnTo>
                    <a:pt x="359" y="390"/>
                  </a:lnTo>
                  <a:lnTo>
                    <a:pt x="399" y="360"/>
                  </a:lnTo>
                  <a:lnTo>
                    <a:pt x="405" y="364"/>
                  </a:lnTo>
                  <a:lnTo>
                    <a:pt x="409" y="432"/>
                  </a:lnTo>
                  <a:lnTo>
                    <a:pt x="447" y="434"/>
                  </a:lnTo>
                  <a:lnTo>
                    <a:pt x="483" y="492"/>
                  </a:lnTo>
                  <a:lnTo>
                    <a:pt x="453" y="583"/>
                  </a:lnTo>
                  <a:lnTo>
                    <a:pt x="463" y="599"/>
                  </a:lnTo>
                  <a:lnTo>
                    <a:pt x="455" y="625"/>
                  </a:lnTo>
                  <a:lnTo>
                    <a:pt x="477" y="647"/>
                  </a:lnTo>
                  <a:lnTo>
                    <a:pt x="465" y="661"/>
                  </a:lnTo>
                  <a:lnTo>
                    <a:pt x="441" y="677"/>
                  </a:lnTo>
                  <a:lnTo>
                    <a:pt x="447" y="697"/>
                  </a:lnTo>
                  <a:lnTo>
                    <a:pt x="405" y="725"/>
                  </a:lnTo>
                  <a:lnTo>
                    <a:pt x="399" y="711"/>
                  </a:lnTo>
                  <a:lnTo>
                    <a:pt x="383" y="705"/>
                  </a:lnTo>
                  <a:lnTo>
                    <a:pt x="379" y="691"/>
                  </a:lnTo>
                  <a:lnTo>
                    <a:pt x="367" y="679"/>
                  </a:lnTo>
                  <a:lnTo>
                    <a:pt x="355" y="677"/>
                  </a:lnTo>
                  <a:lnTo>
                    <a:pt x="349" y="661"/>
                  </a:lnTo>
                  <a:lnTo>
                    <a:pt x="329" y="651"/>
                  </a:lnTo>
                  <a:lnTo>
                    <a:pt x="307" y="647"/>
                  </a:lnTo>
                  <a:lnTo>
                    <a:pt x="265" y="619"/>
                  </a:lnTo>
                  <a:lnTo>
                    <a:pt x="255" y="617"/>
                  </a:lnTo>
                  <a:lnTo>
                    <a:pt x="233" y="601"/>
                  </a:lnTo>
                  <a:lnTo>
                    <a:pt x="227" y="591"/>
                  </a:lnTo>
                  <a:lnTo>
                    <a:pt x="203" y="573"/>
                  </a:lnTo>
                  <a:lnTo>
                    <a:pt x="201" y="563"/>
                  </a:lnTo>
                  <a:lnTo>
                    <a:pt x="189" y="547"/>
                  </a:lnTo>
                  <a:lnTo>
                    <a:pt x="197" y="537"/>
                  </a:lnTo>
                  <a:lnTo>
                    <a:pt x="166" y="486"/>
                  </a:lnTo>
                  <a:lnTo>
                    <a:pt x="156" y="462"/>
                  </a:lnTo>
                  <a:lnTo>
                    <a:pt x="142" y="436"/>
                  </a:lnTo>
                  <a:lnTo>
                    <a:pt x="142" y="422"/>
                  </a:lnTo>
                  <a:lnTo>
                    <a:pt x="120" y="392"/>
                  </a:lnTo>
                  <a:lnTo>
                    <a:pt x="116" y="376"/>
                  </a:lnTo>
                  <a:lnTo>
                    <a:pt x="104" y="352"/>
                  </a:lnTo>
                  <a:lnTo>
                    <a:pt x="88" y="314"/>
                  </a:lnTo>
                  <a:lnTo>
                    <a:pt x="74" y="302"/>
                  </a:lnTo>
                  <a:lnTo>
                    <a:pt x="72" y="288"/>
                  </a:lnTo>
                  <a:lnTo>
                    <a:pt x="42" y="250"/>
                  </a:lnTo>
                  <a:lnTo>
                    <a:pt x="22" y="242"/>
                  </a:lnTo>
                  <a:lnTo>
                    <a:pt x="10" y="228"/>
                  </a:lnTo>
                  <a:lnTo>
                    <a:pt x="16" y="216"/>
                  </a:lnTo>
                  <a:lnTo>
                    <a:pt x="8" y="198"/>
                  </a:lnTo>
                  <a:lnTo>
                    <a:pt x="10" y="190"/>
                  </a:lnTo>
                  <a:lnTo>
                    <a:pt x="0" y="178"/>
                  </a:lnTo>
                  <a:lnTo>
                    <a:pt x="2" y="164"/>
                  </a:lnTo>
                  <a:lnTo>
                    <a:pt x="16" y="150"/>
                  </a:lnTo>
                  <a:lnTo>
                    <a:pt x="34" y="136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68" name="Philippines">
              <a:extLst>
                <a:ext uri="{FF2B5EF4-FFF2-40B4-BE49-F238E27FC236}">
                  <a16:creationId xmlns="" xmlns:a16="http://schemas.microsoft.com/office/drawing/2014/main" id="{BAE976DD-7E42-4FAB-B3A1-4C66FADC095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416646" y="3947151"/>
              <a:ext cx="285036" cy="412977"/>
            </a:xfrm>
            <a:custGeom>
              <a:avLst/>
              <a:gdLst/>
              <a:ahLst/>
              <a:cxnLst>
                <a:cxn ang="0">
                  <a:pos x="166" y="16"/>
                </a:cxn>
                <a:cxn ang="0">
                  <a:pos x="186" y="54"/>
                </a:cxn>
                <a:cxn ang="0">
                  <a:pos x="160" y="176"/>
                </a:cxn>
                <a:cxn ang="0">
                  <a:pos x="202" y="176"/>
                </a:cxn>
                <a:cxn ang="0">
                  <a:pos x="258" y="204"/>
                </a:cxn>
                <a:cxn ang="0">
                  <a:pos x="270" y="230"/>
                </a:cxn>
                <a:cxn ang="0">
                  <a:pos x="200" y="198"/>
                </a:cxn>
                <a:cxn ang="0">
                  <a:pos x="166" y="202"/>
                </a:cxn>
                <a:cxn ang="0">
                  <a:pos x="164" y="228"/>
                </a:cxn>
                <a:cxn ang="0">
                  <a:pos x="162" y="262"/>
                </a:cxn>
                <a:cxn ang="0">
                  <a:pos x="114" y="200"/>
                </a:cxn>
                <a:cxn ang="0">
                  <a:pos x="110" y="162"/>
                </a:cxn>
                <a:cxn ang="0">
                  <a:pos x="120" y="118"/>
                </a:cxn>
                <a:cxn ang="0">
                  <a:pos x="122" y="88"/>
                </a:cxn>
                <a:cxn ang="0">
                  <a:pos x="116" y="30"/>
                </a:cxn>
                <a:cxn ang="0">
                  <a:pos x="132" y="0"/>
                </a:cxn>
                <a:cxn ang="0">
                  <a:pos x="242" y="422"/>
                </a:cxn>
                <a:cxn ang="0">
                  <a:pos x="256" y="454"/>
                </a:cxn>
                <a:cxn ang="0">
                  <a:pos x="320" y="506"/>
                </a:cxn>
                <a:cxn ang="0">
                  <a:pos x="312" y="466"/>
                </a:cxn>
                <a:cxn ang="0">
                  <a:pos x="328" y="438"/>
                </a:cxn>
                <a:cxn ang="0">
                  <a:pos x="350" y="440"/>
                </a:cxn>
                <a:cxn ang="0">
                  <a:pos x="324" y="386"/>
                </a:cxn>
                <a:cxn ang="0">
                  <a:pos x="240" y="402"/>
                </a:cxn>
                <a:cxn ang="0">
                  <a:pos x="236" y="440"/>
                </a:cxn>
                <a:cxn ang="0">
                  <a:pos x="48" y="382"/>
                </a:cxn>
                <a:cxn ang="0">
                  <a:pos x="78" y="360"/>
                </a:cxn>
                <a:cxn ang="0">
                  <a:pos x="94" y="296"/>
                </a:cxn>
                <a:cxn ang="0">
                  <a:pos x="0" y="400"/>
                </a:cxn>
                <a:cxn ang="0">
                  <a:pos x="182" y="300"/>
                </a:cxn>
                <a:cxn ang="0">
                  <a:pos x="200" y="338"/>
                </a:cxn>
                <a:cxn ang="0">
                  <a:pos x="170" y="274"/>
                </a:cxn>
                <a:cxn ang="0">
                  <a:pos x="200" y="370"/>
                </a:cxn>
                <a:cxn ang="0">
                  <a:pos x="236" y="372"/>
                </a:cxn>
                <a:cxn ang="0">
                  <a:pos x="248" y="318"/>
                </a:cxn>
                <a:cxn ang="0">
                  <a:pos x="214" y="352"/>
                </a:cxn>
                <a:cxn ang="0">
                  <a:pos x="200" y="370"/>
                </a:cxn>
                <a:cxn ang="0">
                  <a:pos x="294" y="298"/>
                </a:cxn>
                <a:cxn ang="0">
                  <a:pos x="290" y="338"/>
                </a:cxn>
                <a:cxn ang="0">
                  <a:pos x="304" y="302"/>
                </a:cxn>
                <a:cxn ang="0">
                  <a:pos x="326" y="270"/>
                </a:cxn>
                <a:cxn ang="0">
                  <a:pos x="272" y="258"/>
                </a:cxn>
                <a:cxn ang="0">
                  <a:pos x="248" y="362"/>
                </a:cxn>
                <a:cxn ang="0">
                  <a:pos x="260" y="304"/>
                </a:cxn>
                <a:cxn ang="0">
                  <a:pos x="248" y="362"/>
                </a:cxn>
              </a:cxnLst>
              <a:rect l="0" t="0" r="r" b="b"/>
              <a:pathLst>
                <a:path w="350" h="506">
                  <a:moveTo>
                    <a:pt x="132" y="0"/>
                  </a:moveTo>
                  <a:lnTo>
                    <a:pt x="166" y="16"/>
                  </a:lnTo>
                  <a:lnTo>
                    <a:pt x="188" y="2"/>
                  </a:lnTo>
                  <a:lnTo>
                    <a:pt x="186" y="54"/>
                  </a:lnTo>
                  <a:lnTo>
                    <a:pt x="150" y="152"/>
                  </a:lnTo>
                  <a:lnTo>
                    <a:pt x="160" y="176"/>
                  </a:lnTo>
                  <a:lnTo>
                    <a:pt x="176" y="186"/>
                  </a:lnTo>
                  <a:lnTo>
                    <a:pt x="202" y="176"/>
                  </a:lnTo>
                  <a:lnTo>
                    <a:pt x="230" y="190"/>
                  </a:lnTo>
                  <a:lnTo>
                    <a:pt x="258" y="204"/>
                  </a:lnTo>
                  <a:lnTo>
                    <a:pt x="250" y="216"/>
                  </a:lnTo>
                  <a:lnTo>
                    <a:pt x="270" y="230"/>
                  </a:lnTo>
                  <a:lnTo>
                    <a:pt x="260" y="246"/>
                  </a:lnTo>
                  <a:lnTo>
                    <a:pt x="200" y="198"/>
                  </a:lnTo>
                  <a:lnTo>
                    <a:pt x="204" y="222"/>
                  </a:lnTo>
                  <a:lnTo>
                    <a:pt x="166" y="202"/>
                  </a:lnTo>
                  <a:lnTo>
                    <a:pt x="152" y="206"/>
                  </a:lnTo>
                  <a:lnTo>
                    <a:pt x="164" y="228"/>
                  </a:lnTo>
                  <a:lnTo>
                    <a:pt x="162" y="240"/>
                  </a:lnTo>
                  <a:lnTo>
                    <a:pt x="162" y="262"/>
                  </a:lnTo>
                  <a:lnTo>
                    <a:pt x="146" y="254"/>
                  </a:lnTo>
                  <a:lnTo>
                    <a:pt x="114" y="200"/>
                  </a:lnTo>
                  <a:lnTo>
                    <a:pt x="136" y="178"/>
                  </a:lnTo>
                  <a:lnTo>
                    <a:pt x="110" y="162"/>
                  </a:lnTo>
                  <a:lnTo>
                    <a:pt x="98" y="102"/>
                  </a:lnTo>
                  <a:lnTo>
                    <a:pt x="120" y="118"/>
                  </a:lnTo>
                  <a:lnTo>
                    <a:pt x="128" y="110"/>
                  </a:lnTo>
                  <a:lnTo>
                    <a:pt x="122" y="88"/>
                  </a:lnTo>
                  <a:lnTo>
                    <a:pt x="126" y="52"/>
                  </a:lnTo>
                  <a:lnTo>
                    <a:pt x="116" y="30"/>
                  </a:lnTo>
                  <a:lnTo>
                    <a:pt x="120" y="12"/>
                  </a:lnTo>
                  <a:lnTo>
                    <a:pt x="132" y="0"/>
                  </a:lnTo>
                  <a:close/>
                  <a:moveTo>
                    <a:pt x="236" y="440"/>
                  </a:moveTo>
                  <a:lnTo>
                    <a:pt x="242" y="422"/>
                  </a:lnTo>
                  <a:lnTo>
                    <a:pt x="270" y="444"/>
                  </a:lnTo>
                  <a:lnTo>
                    <a:pt x="256" y="454"/>
                  </a:lnTo>
                  <a:lnTo>
                    <a:pt x="266" y="478"/>
                  </a:lnTo>
                  <a:lnTo>
                    <a:pt x="320" y="506"/>
                  </a:lnTo>
                  <a:lnTo>
                    <a:pt x="328" y="482"/>
                  </a:lnTo>
                  <a:lnTo>
                    <a:pt x="312" y="466"/>
                  </a:lnTo>
                  <a:lnTo>
                    <a:pt x="312" y="438"/>
                  </a:lnTo>
                  <a:lnTo>
                    <a:pt x="328" y="438"/>
                  </a:lnTo>
                  <a:lnTo>
                    <a:pt x="342" y="470"/>
                  </a:lnTo>
                  <a:lnTo>
                    <a:pt x="350" y="440"/>
                  </a:lnTo>
                  <a:lnTo>
                    <a:pt x="334" y="360"/>
                  </a:lnTo>
                  <a:lnTo>
                    <a:pt x="324" y="386"/>
                  </a:lnTo>
                  <a:lnTo>
                    <a:pt x="252" y="408"/>
                  </a:lnTo>
                  <a:lnTo>
                    <a:pt x="240" y="402"/>
                  </a:lnTo>
                  <a:lnTo>
                    <a:pt x="182" y="422"/>
                  </a:lnTo>
                  <a:lnTo>
                    <a:pt x="236" y="440"/>
                  </a:lnTo>
                  <a:close/>
                  <a:moveTo>
                    <a:pt x="24" y="402"/>
                  </a:moveTo>
                  <a:lnTo>
                    <a:pt x="48" y="382"/>
                  </a:lnTo>
                  <a:lnTo>
                    <a:pt x="60" y="378"/>
                  </a:lnTo>
                  <a:lnTo>
                    <a:pt x="78" y="360"/>
                  </a:lnTo>
                  <a:lnTo>
                    <a:pt x="100" y="338"/>
                  </a:lnTo>
                  <a:lnTo>
                    <a:pt x="94" y="296"/>
                  </a:lnTo>
                  <a:lnTo>
                    <a:pt x="70" y="346"/>
                  </a:lnTo>
                  <a:lnTo>
                    <a:pt x="0" y="400"/>
                  </a:lnTo>
                  <a:lnTo>
                    <a:pt x="24" y="402"/>
                  </a:lnTo>
                  <a:close/>
                  <a:moveTo>
                    <a:pt x="182" y="300"/>
                  </a:moveTo>
                  <a:lnTo>
                    <a:pt x="178" y="336"/>
                  </a:lnTo>
                  <a:lnTo>
                    <a:pt x="200" y="338"/>
                  </a:lnTo>
                  <a:lnTo>
                    <a:pt x="224" y="290"/>
                  </a:lnTo>
                  <a:lnTo>
                    <a:pt x="170" y="274"/>
                  </a:lnTo>
                  <a:lnTo>
                    <a:pt x="182" y="300"/>
                  </a:lnTo>
                  <a:close/>
                  <a:moveTo>
                    <a:pt x="200" y="370"/>
                  </a:moveTo>
                  <a:lnTo>
                    <a:pt x="224" y="384"/>
                  </a:lnTo>
                  <a:lnTo>
                    <a:pt x="236" y="372"/>
                  </a:lnTo>
                  <a:lnTo>
                    <a:pt x="230" y="358"/>
                  </a:lnTo>
                  <a:lnTo>
                    <a:pt x="248" y="318"/>
                  </a:lnTo>
                  <a:lnTo>
                    <a:pt x="234" y="312"/>
                  </a:lnTo>
                  <a:lnTo>
                    <a:pt x="214" y="352"/>
                  </a:lnTo>
                  <a:lnTo>
                    <a:pt x="194" y="356"/>
                  </a:lnTo>
                  <a:lnTo>
                    <a:pt x="200" y="370"/>
                  </a:lnTo>
                  <a:close/>
                  <a:moveTo>
                    <a:pt x="298" y="282"/>
                  </a:moveTo>
                  <a:lnTo>
                    <a:pt x="294" y="298"/>
                  </a:lnTo>
                  <a:lnTo>
                    <a:pt x="266" y="290"/>
                  </a:lnTo>
                  <a:lnTo>
                    <a:pt x="290" y="338"/>
                  </a:lnTo>
                  <a:lnTo>
                    <a:pt x="310" y="336"/>
                  </a:lnTo>
                  <a:lnTo>
                    <a:pt x="304" y="302"/>
                  </a:lnTo>
                  <a:lnTo>
                    <a:pt x="332" y="312"/>
                  </a:lnTo>
                  <a:lnTo>
                    <a:pt x="326" y="270"/>
                  </a:lnTo>
                  <a:lnTo>
                    <a:pt x="300" y="256"/>
                  </a:lnTo>
                  <a:lnTo>
                    <a:pt x="272" y="258"/>
                  </a:lnTo>
                  <a:lnTo>
                    <a:pt x="298" y="282"/>
                  </a:lnTo>
                  <a:close/>
                  <a:moveTo>
                    <a:pt x="248" y="362"/>
                  </a:moveTo>
                  <a:lnTo>
                    <a:pt x="266" y="340"/>
                  </a:lnTo>
                  <a:lnTo>
                    <a:pt x="260" y="304"/>
                  </a:lnTo>
                  <a:lnTo>
                    <a:pt x="244" y="360"/>
                  </a:lnTo>
                  <a:lnTo>
                    <a:pt x="248" y="362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69" name="Poland">
              <a:extLst>
                <a:ext uri="{FF2B5EF4-FFF2-40B4-BE49-F238E27FC236}">
                  <a16:creationId xmlns="" xmlns:a16="http://schemas.microsoft.com/office/drawing/2014/main" id="{72CD58C6-77DB-456A-AA0D-2371F18EDC49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0484" y="2468297"/>
              <a:ext cx="320177" cy="294984"/>
            </a:xfrm>
            <a:custGeom>
              <a:avLst/>
              <a:gdLst/>
              <a:ahLst/>
              <a:cxnLst>
                <a:cxn ang="0">
                  <a:pos x="370" y="214"/>
                </a:cxn>
                <a:cxn ang="0">
                  <a:pos x="372" y="198"/>
                </a:cxn>
                <a:cxn ang="0">
                  <a:pos x="376" y="176"/>
                </a:cxn>
                <a:cxn ang="0">
                  <a:pos x="354" y="162"/>
                </a:cxn>
                <a:cxn ang="0">
                  <a:pos x="362" y="142"/>
                </a:cxn>
                <a:cxn ang="0">
                  <a:pos x="376" y="144"/>
                </a:cxn>
                <a:cxn ang="0">
                  <a:pos x="382" y="132"/>
                </a:cxn>
                <a:cxn ang="0">
                  <a:pos x="382" y="108"/>
                </a:cxn>
                <a:cxn ang="0">
                  <a:pos x="374" y="88"/>
                </a:cxn>
                <a:cxn ang="0">
                  <a:pos x="372" y="56"/>
                </a:cxn>
                <a:cxn ang="0">
                  <a:pos x="366" y="38"/>
                </a:cxn>
                <a:cxn ang="0">
                  <a:pos x="342" y="18"/>
                </a:cxn>
                <a:cxn ang="0">
                  <a:pos x="316" y="22"/>
                </a:cxn>
                <a:cxn ang="0">
                  <a:pos x="268" y="24"/>
                </a:cxn>
                <a:cxn ang="0">
                  <a:pos x="230" y="22"/>
                </a:cxn>
                <a:cxn ang="0">
                  <a:pos x="204" y="12"/>
                </a:cxn>
                <a:cxn ang="0">
                  <a:pos x="184" y="20"/>
                </a:cxn>
                <a:cxn ang="0">
                  <a:pos x="174" y="0"/>
                </a:cxn>
                <a:cxn ang="0">
                  <a:pos x="142" y="2"/>
                </a:cxn>
                <a:cxn ang="0">
                  <a:pos x="100" y="18"/>
                </a:cxn>
                <a:cxn ang="0">
                  <a:pos x="84" y="36"/>
                </a:cxn>
                <a:cxn ang="0">
                  <a:pos x="38" y="48"/>
                </a:cxn>
                <a:cxn ang="0">
                  <a:pos x="20" y="74"/>
                </a:cxn>
                <a:cxn ang="0">
                  <a:pos x="2" y="72"/>
                </a:cxn>
                <a:cxn ang="0">
                  <a:pos x="0" y="100"/>
                </a:cxn>
                <a:cxn ang="0">
                  <a:pos x="6" y="116"/>
                </a:cxn>
                <a:cxn ang="0">
                  <a:pos x="4" y="130"/>
                </a:cxn>
                <a:cxn ang="0">
                  <a:pos x="24" y="150"/>
                </a:cxn>
                <a:cxn ang="0">
                  <a:pos x="28" y="192"/>
                </a:cxn>
                <a:cxn ang="0">
                  <a:pos x="26" y="212"/>
                </a:cxn>
                <a:cxn ang="0">
                  <a:pos x="48" y="240"/>
                </a:cxn>
                <a:cxn ang="0">
                  <a:pos x="62" y="262"/>
                </a:cxn>
                <a:cxn ang="0">
                  <a:pos x="86" y="270"/>
                </a:cxn>
                <a:cxn ang="0">
                  <a:pos x="92" y="288"/>
                </a:cxn>
                <a:cxn ang="0">
                  <a:pos x="112" y="302"/>
                </a:cxn>
                <a:cxn ang="0">
                  <a:pos x="116" y="282"/>
                </a:cxn>
                <a:cxn ang="0">
                  <a:pos x="136" y="288"/>
                </a:cxn>
                <a:cxn ang="0">
                  <a:pos x="150" y="302"/>
                </a:cxn>
                <a:cxn ang="0">
                  <a:pos x="174" y="308"/>
                </a:cxn>
                <a:cxn ang="0">
                  <a:pos x="180" y="334"/>
                </a:cxn>
                <a:cxn ang="0">
                  <a:pos x="198" y="342"/>
                </a:cxn>
                <a:cxn ang="0">
                  <a:pos x="212" y="336"/>
                </a:cxn>
                <a:cxn ang="0">
                  <a:pos x="226" y="348"/>
                </a:cxn>
                <a:cxn ang="0">
                  <a:pos x="268" y="344"/>
                </a:cxn>
                <a:cxn ang="0">
                  <a:pos x="294" y="342"/>
                </a:cxn>
                <a:cxn ang="0">
                  <a:pos x="326" y="362"/>
                </a:cxn>
                <a:cxn ang="0">
                  <a:pos x="344" y="324"/>
                </a:cxn>
                <a:cxn ang="0">
                  <a:pos x="368" y="296"/>
                </a:cxn>
                <a:cxn ang="0">
                  <a:pos x="394" y="276"/>
                </a:cxn>
                <a:cxn ang="0">
                  <a:pos x="388" y="252"/>
                </a:cxn>
                <a:cxn ang="0">
                  <a:pos x="370" y="214"/>
                </a:cxn>
              </a:cxnLst>
              <a:rect l="0" t="0" r="r" b="b"/>
              <a:pathLst>
                <a:path w="394" h="362">
                  <a:moveTo>
                    <a:pt x="370" y="214"/>
                  </a:moveTo>
                  <a:lnTo>
                    <a:pt x="372" y="198"/>
                  </a:lnTo>
                  <a:lnTo>
                    <a:pt x="376" y="176"/>
                  </a:lnTo>
                  <a:lnTo>
                    <a:pt x="354" y="162"/>
                  </a:lnTo>
                  <a:lnTo>
                    <a:pt x="362" y="142"/>
                  </a:lnTo>
                  <a:lnTo>
                    <a:pt x="376" y="144"/>
                  </a:lnTo>
                  <a:lnTo>
                    <a:pt x="382" y="132"/>
                  </a:lnTo>
                  <a:lnTo>
                    <a:pt x="382" y="108"/>
                  </a:lnTo>
                  <a:lnTo>
                    <a:pt x="374" y="88"/>
                  </a:lnTo>
                  <a:lnTo>
                    <a:pt x="372" y="56"/>
                  </a:lnTo>
                  <a:lnTo>
                    <a:pt x="366" y="38"/>
                  </a:lnTo>
                  <a:lnTo>
                    <a:pt x="342" y="18"/>
                  </a:lnTo>
                  <a:lnTo>
                    <a:pt x="316" y="22"/>
                  </a:lnTo>
                  <a:lnTo>
                    <a:pt x="268" y="24"/>
                  </a:lnTo>
                  <a:lnTo>
                    <a:pt x="230" y="22"/>
                  </a:lnTo>
                  <a:lnTo>
                    <a:pt x="204" y="12"/>
                  </a:lnTo>
                  <a:lnTo>
                    <a:pt x="184" y="20"/>
                  </a:lnTo>
                  <a:lnTo>
                    <a:pt x="174" y="0"/>
                  </a:lnTo>
                  <a:lnTo>
                    <a:pt x="142" y="2"/>
                  </a:lnTo>
                  <a:lnTo>
                    <a:pt x="100" y="18"/>
                  </a:lnTo>
                  <a:lnTo>
                    <a:pt x="84" y="36"/>
                  </a:lnTo>
                  <a:lnTo>
                    <a:pt x="38" y="48"/>
                  </a:lnTo>
                  <a:lnTo>
                    <a:pt x="20" y="74"/>
                  </a:lnTo>
                  <a:lnTo>
                    <a:pt x="2" y="72"/>
                  </a:lnTo>
                  <a:lnTo>
                    <a:pt x="0" y="100"/>
                  </a:lnTo>
                  <a:lnTo>
                    <a:pt x="6" y="116"/>
                  </a:lnTo>
                  <a:lnTo>
                    <a:pt x="4" y="130"/>
                  </a:lnTo>
                  <a:lnTo>
                    <a:pt x="24" y="150"/>
                  </a:lnTo>
                  <a:lnTo>
                    <a:pt x="28" y="192"/>
                  </a:lnTo>
                  <a:lnTo>
                    <a:pt x="26" y="212"/>
                  </a:lnTo>
                  <a:lnTo>
                    <a:pt x="48" y="240"/>
                  </a:lnTo>
                  <a:lnTo>
                    <a:pt x="62" y="262"/>
                  </a:lnTo>
                  <a:lnTo>
                    <a:pt x="86" y="270"/>
                  </a:lnTo>
                  <a:lnTo>
                    <a:pt x="92" y="288"/>
                  </a:lnTo>
                  <a:lnTo>
                    <a:pt x="112" y="302"/>
                  </a:lnTo>
                  <a:lnTo>
                    <a:pt x="116" y="282"/>
                  </a:lnTo>
                  <a:lnTo>
                    <a:pt x="136" y="288"/>
                  </a:lnTo>
                  <a:lnTo>
                    <a:pt x="150" y="302"/>
                  </a:lnTo>
                  <a:lnTo>
                    <a:pt x="174" y="308"/>
                  </a:lnTo>
                  <a:lnTo>
                    <a:pt x="180" y="334"/>
                  </a:lnTo>
                  <a:lnTo>
                    <a:pt x="198" y="342"/>
                  </a:lnTo>
                  <a:lnTo>
                    <a:pt x="212" y="336"/>
                  </a:lnTo>
                  <a:lnTo>
                    <a:pt x="226" y="348"/>
                  </a:lnTo>
                  <a:lnTo>
                    <a:pt x="268" y="344"/>
                  </a:lnTo>
                  <a:lnTo>
                    <a:pt x="294" y="342"/>
                  </a:lnTo>
                  <a:lnTo>
                    <a:pt x="326" y="362"/>
                  </a:lnTo>
                  <a:lnTo>
                    <a:pt x="344" y="324"/>
                  </a:lnTo>
                  <a:lnTo>
                    <a:pt x="368" y="296"/>
                  </a:lnTo>
                  <a:lnTo>
                    <a:pt x="394" y="276"/>
                  </a:lnTo>
                  <a:lnTo>
                    <a:pt x="388" y="252"/>
                  </a:lnTo>
                  <a:lnTo>
                    <a:pt x="370" y="214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70" name="Portugal">
              <a:extLst>
                <a:ext uri="{FF2B5EF4-FFF2-40B4-BE49-F238E27FC236}">
                  <a16:creationId xmlns="" xmlns:a16="http://schemas.microsoft.com/office/drawing/2014/main" id="{AFBC0FEB-73BD-493E-92F1-23039DEF4194}"/>
                </a:ext>
              </a:extLst>
            </p:cNvPr>
            <p:cNvSpPr>
              <a:spLocks/>
            </p:cNvSpPr>
            <p:nvPr/>
          </p:nvSpPr>
          <p:spPr bwMode="gray">
            <a:xfrm>
              <a:off x="5512036" y="3073997"/>
              <a:ext cx="101519" cy="218289"/>
            </a:xfrm>
            <a:custGeom>
              <a:avLst/>
              <a:gdLst/>
              <a:ahLst/>
              <a:cxnLst>
                <a:cxn ang="0">
                  <a:pos x="76" y="254"/>
                </a:cxn>
                <a:cxn ang="0">
                  <a:pos x="78" y="228"/>
                </a:cxn>
                <a:cxn ang="0">
                  <a:pos x="94" y="214"/>
                </a:cxn>
                <a:cxn ang="0">
                  <a:pos x="86" y="200"/>
                </a:cxn>
                <a:cxn ang="0">
                  <a:pos x="86" y="186"/>
                </a:cxn>
                <a:cxn ang="0">
                  <a:pos x="94" y="178"/>
                </a:cxn>
                <a:cxn ang="0">
                  <a:pos x="78" y="160"/>
                </a:cxn>
                <a:cxn ang="0">
                  <a:pos x="70" y="140"/>
                </a:cxn>
                <a:cxn ang="0">
                  <a:pos x="86" y="138"/>
                </a:cxn>
                <a:cxn ang="0">
                  <a:pos x="92" y="126"/>
                </a:cxn>
                <a:cxn ang="0">
                  <a:pos x="88" y="110"/>
                </a:cxn>
                <a:cxn ang="0">
                  <a:pos x="96" y="88"/>
                </a:cxn>
                <a:cxn ang="0">
                  <a:pos x="96" y="70"/>
                </a:cxn>
                <a:cxn ang="0">
                  <a:pos x="102" y="58"/>
                </a:cxn>
                <a:cxn ang="0">
                  <a:pos x="124" y="36"/>
                </a:cxn>
                <a:cxn ang="0">
                  <a:pos x="108" y="18"/>
                </a:cxn>
                <a:cxn ang="0">
                  <a:pos x="86" y="12"/>
                </a:cxn>
                <a:cxn ang="0">
                  <a:pos x="66" y="12"/>
                </a:cxn>
                <a:cxn ang="0">
                  <a:pos x="50" y="12"/>
                </a:cxn>
                <a:cxn ang="0">
                  <a:pos x="42" y="0"/>
                </a:cxn>
                <a:cxn ang="0">
                  <a:pos x="20" y="14"/>
                </a:cxn>
                <a:cxn ang="0">
                  <a:pos x="22" y="46"/>
                </a:cxn>
                <a:cxn ang="0">
                  <a:pos x="22" y="66"/>
                </a:cxn>
                <a:cxn ang="0">
                  <a:pos x="26" y="78"/>
                </a:cxn>
                <a:cxn ang="0">
                  <a:pos x="22" y="86"/>
                </a:cxn>
                <a:cxn ang="0">
                  <a:pos x="18" y="106"/>
                </a:cxn>
                <a:cxn ang="0">
                  <a:pos x="18" y="140"/>
                </a:cxn>
                <a:cxn ang="0">
                  <a:pos x="10" y="156"/>
                </a:cxn>
                <a:cxn ang="0">
                  <a:pos x="6" y="172"/>
                </a:cxn>
                <a:cxn ang="0">
                  <a:pos x="0" y="182"/>
                </a:cxn>
                <a:cxn ang="0">
                  <a:pos x="8" y="188"/>
                </a:cxn>
                <a:cxn ang="0">
                  <a:pos x="8" y="200"/>
                </a:cxn>
                <a:cxn ang="0">
                  <a:pos x="26" y="200"/>
                </a:cxn>
                <a:cxn ang="0">
                  <a:pos x="30" y="206"/>
                </a:cxn>
                <a:cxn ang="0">
                  <a:pos x="24" y="214"/>
                </a:cxn>
                <a:cxn ang="0">
                  <a:pos x="28" y="234"/>
                </a:cxn>
                <a:cxn ang="0">
                  <a:pos x="18" y="262"/>
                </a:cxn>
                <a:cxn ang="0">
                  <a:pos x="24" y="266"/>
                </a:cxn>
                <a:cxn ang="0">
                  <a:pos x="36" y="256"/>
                </a:cxn>
                <a:cxn ang="0">
                  <a:pos x="50" y="262"/>
                </a:cxn>
                <a:cxn ang="0">
                  <a:pos x="62" y="262"/>
                </a:cxn>
                <a:cxn ang="0">
                  <a:pos x="76" y="254"/>
                </a:cxn>
              </a:cxnLst>
              <a:rect l="0" t="0" r="r" b="b"/>
              <a:pathLst>
                <a:path w="124" h="266">
                  <a:moveTo>
                    <a:pt x="76" y="254"/>
                  </a:moveTo>
                  <a:lnTo>
                    <a:pt x="78" y="228"/>
                  </a:lnTo>
                  <a:lnTo>
                    <a:pt x="94" y="214"/>
                  </a:lnTo>
                  <a:lnTo>
                    <a:pt x="86" y="200"/>
                  </a:lnTo>
                  <a:lnTo>
                    <a:pt x="86" y="186"/>
                  </a:lnTo>
                  <a:lnTo>
                    <a:pt x="94" y="178"/>
                  </a:lnTo>
                  <a:lnTo>
                    <a:pt x="78" y="160"/>
                  </a:lnTo>
                  <a:lnTo>
                    <a:pt x="70" y="140"/>
                  </a:lnTo>
                  <a:lnTo>
                    <a:pt x="86" y="138"/>
                  </a:lnTo>
                  <a:lnTo>
                    <a:pt x="92" y="126"/>
                  </a:lnTo>
                  <a:lnTo>
                    <a:pt x="88" y="110"/>
                  </a:lnTo>
                  <a:lnTo>
                    <a:pt x="96" y="88"/>
                  </a:lnTo>
                  <a:lnTo>
                    <a:pt x="96" y="70"/>
                  </a:lnTo>
                  <a:lnTo>
                    <a:pt x="102" y="58"/>
                  </a:lnTo>
                  <a:lnTo>
                    <a:pt x="124" y="36"/>
                  </a:lnTo>
                  <a:lnTo>
                    <a:pt x="108" y="18"/>
                  </a:lnTo>
                  <a:lnTo>
                    <a:pt x="86" y="12"/>
                  </a:lnTo>
                  <a:lnTo>
                    <a:pt x="66" y="12"/>
                  </a:lnTo>
                  <a:lnTo>
                    <a:pt x="50" y="12"/>
                  </a:lnTo>
                  <a:lnTo>
                    <a:pt x="42" y="0"/>
                  </a:lnTo>
                  <a:lnTo>
                    <a:pt x="20" y="14"/>
                  </a:lnTo>
                  <a:lnTo>
                    <a:pt x="22" y="46"/>
                  </a:lnTo>
                  <a:lnTo>
                    <a:pt x="22" y="66"/>
                  </a:lnTo>
                  <a:lnTo>
                    <a:pt x="26" y="78"/>
                  </a:lnTo>
                  <a:lnTo>
                    <a:pt x="22" y="86"/>
                  </a:lnTo>
                  <a:lnTo>
                    <a:pt x="18" y="106"/>
                  </a:lnTo>
                  <a:lnTo>
                    <a:pt x="18" y="140"/>
                  </a:lnTo>
                  <a:lnTo>
                    <a:pt x="10" y="156"/>
                  </a:lnTo>
                  <a:lnTo>
                    <a:pt x="6" y="172"/>
                  </a:lnTo>
                  <a:lnTo>
                    <a:pt x="0" y="182"/>
                  </a:lnTo>
                  <a:lnTo>
                    <a:pt x="8" y="188"/>
                  </a:lnTo>
                  <a:lnTo>
                    <a:pt x="8" y="200"/>
                  </a:lnTo>
                  <a:lnTo>
                    <a:pt x="26" y="200"/>
                  </a:lnTo>
                  <a:lnTo>
                    <a:pt x="30" y="206"/>
                  </a:lnTo>
                  <a:lnTo>
                    <a:pt x="24" y="214"/>
                  </a:lnTo>
                  <a:lnTo>
                    <a:pt x="28" y="234"/>
                  </a:lnTo>
                  <a:lnTo>
                    <a:pt x="18" y="262"/>
                  </a:lnTo>
                  <a:lnTo>
                    <a:pt x="24" y="266"/>
                  </a:lnTo>
                  <a:lnTo>
                    <a:pt x="36" y="256"/>
                  </a:lnTo>
                  <a:lnTo>
                    <a:pt x="50" y="262"/>
                  </a:lnTo>
                  <a:lnTo>
                    <a:pt x="62" y="262"/>
                  </a:lnTo>
                  <a:lnTo>
                    <a:pt x="76" y="254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71" name="Puerto Rico">
              <a:extLst>
                <a:ext uri="{FF2B5EF4-FFF2-40B4-BE49-F238E27FC236}">
                  <a16:creationId xmlns="" xmlns:a16="http://schemas.microsoft.com/office/drawing/2014/main" id="{2F6F037D-584A-4EFF-84A2-7AF48DB46539}"/>
                </a:ext>
              </a:extLst>
            </p:cNvPr>
            <p:cNvSpPr>
              <a:spLocks/>
            </p:cNvSpPr>
            <p:nvPr/>
          </p:nvSpPr>
          <p:spPr bwMode="gray">
            <a:xfrm>
              <a:off x="3692489" y="4021880"/>
              <a:ext cx="46855" cy="25566"/>
            </a:xfrm>
            <a:custGeom>
              <a:avLst/>
              <a:gdLst/>
              <a:ahLst/>
              <a:cxnLst>
                <a:cxn ang="0">
                  <a:pos x="2" y="4"/>
                </a:cxn>
                <a:cxn ang="0">
                  <a:pos x="18" y="0"/>
                </a:cxn>
                <a:cxn ang="0">
                  <a:pos x="28" y="4"/>
                </a:cxn>
                <a:cxn ang="0">
                  <a:pos x="39" y="0"/>
                </a:cxn>
                <a:cxn ang="0">
                  <a:pos x="53" y="6"/>
                </a:cxn>
                <a:cxn ang="0">
                  <a:pos x="59" y="14"/>
                </a:cxn>
                <a:cxn ang="0">
                  <a:pos x="53" y="26"/>
                </a:cxn>
                <a:cxn ang="0">
                  <a:pos x="39" y="30"/>
                </a:cxn>
                <a:cxn ang="0">
                  <a:pos x="35" y="30"/>
                </a:cxn>
                <a:cxn ang="0">
                  <a:pos x="22" y="26"/>
                </a:cxn>
                <a:cxn ang="0">
                  <a:pos x="12" y="24"/>
                </a:cxn>
                <a:cxn ang="0">
                  <a:pos x="2" y="22"/>
                </a:cxn>
                <a:cxn ang="0">
                  <a:pos x="2" y="18"/>
                </a:cxn>
                <a:cxn ang="0">
                  <a:pos x="0" y="10"/>
                </a:cxn>
                <a:cxn ang="0">
                  <a:pos x="2" y="4"/>
                </a:cxn>
              </a:cxnLst>
              <a:rect l="0" t="0" r="r" b="b"/>
              <a:pathLst>
                <a:path w="59" h="30">
                  <a:moveTo>
                    <a:pt x="2" y="4"/>
                  </a:moveTo>
                  <a:lnTo>
                    <a:pt x="18" y="0"/>
                  </a:lnTo>
                  <a:lnTo>
                    <a:pt x="28" y="4"/>
                  </a:lnTo>
                  <a:lnTo>
                    <a:pt x="39" y="0"/>
                  </a:lnTo>
                  <a:lnTo>
                    <a:pt x="53" y="6"/>
                  </a:lnTo>
                  <a:lnTo>
                    <a:pt x="59" y="14"/>
                  </a:lnTo>
                  <a:lnTo>
                    <a:pt x="53" y="26"/>
                  </a:lnTo>
                  <a:lnTo>
                    <a:pt x="39" y="30"/>
                  </a:lnTo>
                  <a:lnTo>
                    <a:pt x="35" y="30"/>
                  </a:lnTo>
                  <a:lnTo>
                    <a:pt x="22" y="26"/>
                  </a:lnTo>
                  <a:lnTo>
                    <a:pt x="12" y="24"/>
                  </a:lnTo>
                  <a:lnTo>
                    <a:pt x="2" y="22"/>
                  </a:lnTo>
                  <a:lnTo>
                    <a:pt x="2" y="18"/>
                  </a:lnTo>
                  <a:lnTo>
                    <a:pt x="0" y="10"/>
                  </a:lnTo>
                  <a:lnTo>
                    <a:pt x="2" y="4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72" name="Qatar">
              <a:extLst>
                <a:ext uri="{FF2B5EF4-FFF2-40B4-BE49-F238E27FC236}">
                  <a16:creationId xmlns="" xmlns:a16="http://schemas.microsoft.com/office/drawing/2014/main" id="{700773FB-2562-4E72-A908-9BA2F9463169}"/>
                </a:ext>
              </a:extLst>
            </p:cNvPr>
            <p:cNvSpPr>
              <a:spLocks/>
            </p:cNvSpPr>
            <p:nvPr/>
          </p:nvSpPr>
          <p:spPr bwMode="gray">
            <a:xfrm>
              <a:off x="7376487" y="3693464"/>
              <a:ext cx="21474" cy="53097"/>
            </a:xfrm>
            <a:custGeom>
              <a:avLst/>
              <a:gdLst/>
              <a:ahLst/>
              <a:cxnLst>
                <a:cxn ang="0">
                  <a:pos x="28" y="54"/>
                </a:cxn>
                <a:cxn ang="0">
                  <a:pos x="20" y="64"/>
                </a:cxn>
                <a:cxn ang="0">
                  <a:pos x="4" y="56"/>
                </a:cxn>
                <a:cxn ang="0">
                  <a:pos x="0" y="40"/>
                </a:cxn>
                <a:cxn ang="0">
                  <a:pos x="0" y="26"/>
                </a:cxn>
                <a:cxn ang="0">
                  <a:pos x="6" y="18"/>
                </a:cxn>
                <a:cxn ang="0">
                  <a:pos x="6" y="8"/>
                </a:cxn>
                <a:cxn ang="0">
                  <a:pos x="12" y="0"/>
                </a:cxn>
                <a:cxn ang="0">
                  <a:pos x="24" y="12"/>
                </a:cxn>
                <a:cxn ang="0">
                  <a:pos x="22" y="36"/>
                </a:cxn>
                <a:cxn ang="0">
                  <a:pos x="24" y="40"/>
                </a:cxn>
                <a:cxn ang="0">
                  <a:pos x="28" y="46"/>
                </a:cxn>
                <a:cxn ang="0">
                  <a:pos x="28" y="54"/>
                </a:cxn>
              </a:cxnLst>
              <a:rect l="0" t="0" r="r" b="b"/>
              <a:pathLst>
                <a:path w="28" h="64">
                  <a:moveTo>
                    <a:pt x="28" y="54"/>
                  </a:moveTo>
                  <a:lnTo>
                    <a:pt x="20" y="64"/>
                  </a:lnTo>
                  <a:lnTo>
                    <a:pt x="4" y="56"/>
                  </a:lnTo>
                  <a:lnTo>
                    <a:pt x="0" y="40"/>
                  </a:lnTo>
                  <a:lnTo>
                    <a:pt x="0" y="26"/>
                  </a:lnTo>
                  <a:lnTo>
                    <a:pt x="6" y="18"/>
                  </a:lnTo>
                  <a:lnTo>
                    <a:pt x="6" y="8"/>
                  </a:lnTo>
                  <a:lnTo>
                    <a:pt x="12" y="0"/>
                  </a:lnTo>
                  <a:lnTo>
                    <a:pt x="24" y="12"/>
                  </a:lnTo>
                  <a:lnTo>
                    <a:pt x="22" y="36"/>
                  </a:lnTo>
                  <a:lnTo>
                    <a:pt x="24" y="40"/>
                  </a:lnTo>
                  <a:lnTo>
                    <a:pt x="28" y="46"/>
                  </a:lnTo>
                  <a:lnTo>
                    <a:pt x="28" y="54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73" name="Romania">
              <a:extLst>
                <a:ext uri="{FF2B5EF4-FFF2-40B4-BE49-F238E27FC236}">
                  <a16:creationId xmlns="" xmlns:a16="http://schemas.microsoft.com/office/drawing/2014/main" id="{B927BE0C-0384-4812-84AC-E82217E1ED0D}"/>
                </a:ext>
              </a:extLst>
            </p:cNvPr>
            <p:cNvSpPr>
              <a:spLocks/>
            </p:cNvSpPr>
            <p:nvPr/>
          </p:nvSpPr>
          <p:spPr bwMode="gray">
            <a:xfrm>
              <a:off x="6437430" y="2800647"/>
              <a:ext cx="277228" cy="220255"/>
            </a:xfrm>
            <a:custGeom>
              <a:avLst/>
              <a:gdLst/>
              <a:ahLst/>
              <a:cxnLst>
                <a:cxn ang="0">
                  <a:pos x="74" y="228"/>
                </a:cxn>
                <a:cxn ang="0">
                  <a:pos x="66" y="216"/>
                </a:cxn>
                <a:cxn ang="0">
                  <a:pos x="38" y="202"/>
                </a:cxn>
                <a:cxn ang="0">
                  <a:pos x="30" y="186"/>
                </a:cxn>
                <a:cxn ang="0">
                  <a:pos x="26" y="172"/>
                </a:cxn>
                <a:cxn ang="0">
                  <a:pos x="12" y="164"/>
                </a:cxn>
                <a:cxn ang="0">
                  <a:pos x="10" y="140"/>
                </a:cxn>
                <a:cxn ang="0">
                  <a:pos x="0" y="120"/>
                </a:cxn>
                <a:cxn ang="0">
                  <a:pos x="20" y="112"/>
                </a:cxn>
                <a:cxn ang="0">
                  <a:pos x="38" y="86"/>
                </a:cxn>
                <a:cxn ang="0">
                  <a:pos x="52" y="48"/>
                </a:cxn>
                <a:cxn ang="0">
                  <a:pos x="66" y="34"/>
                </a:cxn>
                <a:cxn ang="0">
                  <a:pos x="82" y="32"/>
                </a:cxn>
                <a:cxn ang="0">
                  <a:pos x="86" y="16"/>
                </a:cxn>
                <a:cxn ang="0">
                  <a:pos x="100" y="10"/>
                </a:cxn>
                <a:cxn ang="0">
                  <a:pos x="138" y="24"/>
                </a:cxn>
                <a:cxn ang="0">
                  <a:pos x="154" y="20"/>
                </a:cxn>
                <a:cxn ang="0">
                  <a:pos x="172" y="26"/>
                </a:cxn>
                <a:cxn ang="0">
                  <a:pos x="206" y="12"/>
                </a:cxn>
                <a:cxn ang="0">
                  <a:pos x="220" y="0"/>
                </a:cxn>
                <a:cxn ang="0">
                  <a:pos x="238" y="12"/>
                </a:cxn>
                <a:cxn ang="0">
                  <a:pos x="254" y="34"/>
                </a:cxn>
                <a:cxn ang="0">
                  <a:pos x="266" y="62"/>
                </a:cxn>
                <a:cxn ang="0">
                  <a:pos x="278" y="80"/>
                </a:cxn>
                <a:cxn ang="0">
                  <a:pos x="284" y="108"/>
                </a:cxn>
                <a:cxn ang="0">
                  <a:pos x="286" y="122"/>
                </a:cxn>
                <a:cxn ang="0">
                  <a:pos x="282" y="144"/>
                </a:cxn>
                <a:cxn ang="0">
                  <a:pos x="286" y="162"/>
                </a:cxn>
                <a:cxn ang="0">
                  <a:pos x="290" y="178"/>
                </a:cxn>
                <a:cxn ang="0">
                  <a:pos x="312" y="178"/>
                </a:cxn>
                <a:cxn ang="0">
                  <a:pos x="332" y="174"/>
                </a:cxn>
                <a:cxn ang="0">
                  <a:pos x="342" y="182"/>
                </a:cxn>
                <a:cxn ang="0">
                  <a:pos x="334" y="198"/>
                </a:cxn>
                <a:cxn ang="0">
                  <a:pos x="316" y="198"/>
                </a:cxn>
                <a:cxn ang="0">
                  <a:pos x="308" y="222"/>
                </a:cxn>
                <a:cxn ang="0">
                  <a:pos x="302" y="238"/>
                </a:cxn>
                <a:cxn ang="0">
                  <a:pos x="302" y="254"/>
                </a:cxn>
                <a:cxn ang="0">
                  <a:pos x="280" y="248"/>
                </a:cxn>
                <a:cxn ang="0">
                  <a:pos x="268" y="232"/>
                </a:cxn>
                <a:cxn ang="0">
                  <a:pos x="256" y="238"/>
                </a:cxn>
                <a:cxn ang="0">
                  <a:pos x="244" y="244"/>
                </a:cxn>
                <a:cxn ang="0">
                  <a:pos x="228" y="244"/>
                </a:cxn>
                <a:cxn ang="0">
                  <a:pos x="212" y="256"/>
                </a:cxn>
                <a:cxn ang="0">
                  <a:pos x="176" y="270"/>
                </a:cxn>
                <a:cxn ang="0">
                  <a:pos x="142" y="264"/>
                </a:cxn>
                <a:cxn ang="0">
                  <a:pos x="124" y="256"/>
                </a:cxn>
                <a:cxn ang="0">
                  <a:pos x="92" y="250"/>
                </a:cxn>
                <a:cxn ang="0">
                  <a:pos x="90" y="232"/>
                </a:cxn>
                <a:cxn ang="0">
                  <a:pos x="74" y="228"/>
                </a:cxn>
              </a:cxnLst>
              <a:rect l="0" t="0" r="r" b="b"/>
              <a:pathLst>
                <a:path w="342" h="270">
                  <a:moveTo>
                    <a:pt x="74" y="228"/>
                  </a:moveTo>
                  <a:lnTo>
                    <a:pt x="66" y="216"/>
                  </a:lnTo>
                  <a:lnTo>
                    <a:pt x="38" y="202"/>
                  </a:lnTo>
                  <a:lnTo>
                    <a:pt x="30" y="186"/>
                  </a:lnTo>
                  <a:lnTo>
                    <a:pt x="26" y="172"/>
                  </a:lnTo>
                  <a:lnTo>
                    <a:pt x="12" y="164"/>
                  </a:lnTo>
                  <a:lnTo>
                    <a:pt x="10" y="140"/>
                  </a:lnTo>
                  <a:lnTo>
                    <a:pt x="0" y="120"/>
                  </a:lnTo>
                  <a:lnTo>
                    <a:pt x="20" y="112"/>
                  </a:lnTo>
                  <a:lnTo>
                    <a:pt x="38" y="86"/>
                  </a:lnTo>
                  <a:lnTo>
                    <a:pt x="52" y="48"/>
                  </a:lnTo>
                  <a:lnTo>
                    <a:pt x="66" y="34"/>
                  </a:lnTo>
                  <a:lnTo>
                    <a:pt x="82" y="32"/>
                  </a:lnTo>
                  <a:lnTo>
                    <a:pt x="86" y="16"/>
                  </a:lnTo>
                  <a:lnTo>
                    <a:pt x="100" y="10"/>
                  </a:lnTo>
                  <a:lnTo>
                    <a:pt x="138" y="24"/>
                  </a:lnTo>
                  <a:lnTo>
                    <a:pt x="154" y="20"/>
                  </a:lnTo>
                  <a:lnTo>
                    <a:pt x="172" y="26"/>
                  </a:lnTo>
                  <a:lnTo>
                    <a:pt x="206" y="12"/>
                  </a:lnTo>
                  <a:lnTo>
                    <a:pt x="220" y="0"/>
                  </a:lnTo>
                  <a:lnTo>
                    <a:pt x="238" y="12"/>
                  </a:lnTo>
                  <a:lnTo>
                    <a:pt x="254" y="34"/>
                  </a:lnTo>
                  <a:lnTo>
                    <a:pt x="266" y="62"/>
                  </a:lnTo>
                  <a:lnTo>
                    <a:pt x="278" y="80"/>
                  </a:lnTo>
                  <a:lnTo>
                    <a:pt x="284" y="108"/>
                  </a:lnTo>
                  <a:lnTo>
                    <a:pt x="286" y="122"/>
                  </a:lnTo>
                  <a:lnTo>
                    <a:pt x="282" y="144"/>
                  </a:lnTo>
                  <a:lnTo>
                    <a:pt x="286" y="162"/>
                  </a:lnTo>
                  <a:lnTo>
                    <a:pt x="290" y="178"/>
                  </a:lnTo>
                  <a:lnTo>
                    <a:pt x="312" y="178"/>
                  </a:lnTo>
                  <a:lnTo>
                    <a:pt x="332" y="174"/>
                  </a:lnTo>
                  <a:lnTo>
                    <a:pt x="342" y="182"/>
                  </a:lnTo>
                  <a:lnTo>
                    <a:pt x="334" y="198"/>
                  </a:lnTo>
                  <a:lnTo>
                    <a:pt x="316" y="198"/>
                  </a:lnTo>
                  <a:lnTo>
                    <a:pt x="308" y="222"/>
                  </a:lnTo>
                  <a:lnTo>
                    <a:pt x="302" y="238"/>
                  </a:lnTo>
                  <a:lnTo>
                    <a:pt x="302" y="254"/>
                  </a:lnTo>
                  <a:lnTo>
                    <a:pt x="280" y="248"/>
                  </a:lnTo>
                  <a:lnTo>
                    <a:pt x="268" y="232"/>
                  </a:lnTo>
                  <a:lnTo>
                    <a:pt x="256" y="238"/>
                  </a:lnTo>
                  <a:lnTo>
                    <a:pt x="244" y="244"/>
                  </a:lnTo>
                  <a:lnTo>
                    <a:pt x="228" y="244"/>
                  </a:lnTo>
                  <a:lnTo>
                    <a:pt x="212" y="256"/>
                  </a:lnTo>
                  <a:lnTo>
                    <a:pt x="176" y="270"/>
                  </a:lnTo>
                  <a:lnTo>
                    <a:pt x="142" y="264"/>
                  </a:lnTo>
                  <a:lnTo>
                    <a:pt x="124" y="256"/>
                  </a:lnTo>
                  <a:lnTo>
                    <a:pt x="92" y="250"/>
                  </a:lnTo>
                  <a:lnTo>
                    <a:pt x="90" y="232"/>
                  </a:lnTo>
                  <a:lnTo>
                    <a:pt x="74" y="228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74" name="Rwanda">
              <a:extLst>
                <a:ext uri="{FF2B5EF4-FFF2-40B4-BE49-F238E27FC236}">
                  <a16:creationId xmlns="" xmlns:a16="http://schemas.microsoft.com/office/drawing/2014/main" id="{16625C9F-C5BE-4EB4-9ECC-967B37CD58D4}"/>
                </a:ext>
              </a:extLst>
            </p:cNvPr>
            <p:cNvSpPr>
              <a:spLocks/>
            </p:cNvSpPr>
            <p:nvPr/>
          </p:nvSpPr>
          <p:spPr bwMode="gray">
            <a:xfrm>
              <a:off x="6710751" y="4602015"/>
              <a:ext cx="52712" cy="55064"/>
            </a:xfrm>
            <a:custGeom>
              <a:avLst/>
              <a:gdLst/>
              <a:ahLst/>
              <a:cxnLst>
                <a:cxn ang="0">
                  <a:pos x="64" y="34"/>
                </a:cxn>
                <a:cxn ang="0">
                  <a:pos x="56" y="54"/>
                </a:cxn>
                <a:cxn ang="0">
                  <a:pos x="34" y="58"/>
                </a:cxn>
                <a:cxn ang="0">
                  <a:pos x="14" y="68"/>
                </a:cxn>
                <a:cxn ang="0">
                  <a:pos x="0" y="48"/>
                </a:cxn>
                <a:cxn ang="0">
                  <a:pos x="8" y="36"/>
                </a:cxn>
                <a:cxn ang="0">
                  <a:pos x="10" y="16"/>
                </a:cxn>
                <a:cxn ang="0">
                  <a:pos x="28" y="4"/>
                </a:cxn>
                <a:cxn ang="0">
                  <a:pos x="40" y="8"/>
                </a:cxn>
                <a:cxn ang="0">
                  <a:pos x="50" y="0"/>
                </a:cxn>
                <a:cxn ang="0">
                  <a:pos x="62" y="22"/>
                </a:cxn>
                <a:cxn ang="0">
                  <a:pos x="64" y="34"/>
                </a:cxn>
              </a:cxnLst>
              <a:rect l="0" t="0" r="r" b="b"/>
              <a:pathLst>
                <a:path w="64" h="68">
                  <a:moveTo>
                    <a:pt x="64" y="34"/>
                  </a:moveTo>
                  <a:lnTo>
                    <a:pt x="56" y="54"/>
                  </a:lnTo>
                  <a:lnTo>
                    <a:pt x="34" y="58"/>
                  </a:lnTo>
                  <a:lnTo>
                    <a:pt x="14" y="68"/>
                  </a:lnTo>
                  <a:lnTo>
                    <a:pt x="0" y="48"/>
                  </a:lnTo>
                  <a:lnTo>
                    <a:pt x="8" y="36"/>
                  </a:lnTo>
                  <a:lnTo>
                    <a:pt x="10" y="16"/>
                  </a:lnTo>
                  <a:lnTo>
                    <a:pt x="28" y="4"/>
                  </a:lnTo>
                  <a:lnTo>
                    <a:pt x="40" y="8"/>
                  </a:lnTo>
                  <a:lnTo>
                    <a:pt x="50" y="0"/>
                  </a:lnTo>
                  <a:lnTo>
                    <a:pt x="62" y="22"/>
                  </a:lnTo>
                  <a:lnTo>
                    <a:pt x="64" y="34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75" name="San Marino">
              <a:extLst>
                <a:ext uri="{FF2B5EF4-FFF2-40B4-BE49-F238E27FC236}">
                  <a16:creationId xmlns="" xmlns:a16="http://schemas.microsoft.com/office/drawing/2014/main" id="{3A6AC99F-0E90-4334-969E-74B236EFB72A}"/>
                </a:ext>
              </a:extLst>
            </p:cNvPr>
            <p:cNvSpPr>
              <a:spLocks/>
            </p:cNvSpPr>
            <p:nvPr/>
          </p:nvSpPr>
          <p:spPr bwMode="gray">
            <a:xfrm>
              <a:off x="6173867" y="2999268"/>
              <a:ext cx="13667" cy="15732"/>
            </a:xfrm>
            <a:custGeom>
              <a:avLst/>
              <a:gdLst/>
              <a:ahLst/>
              <a:cxnLst>
                <a:cxn ang="0">
                  <a:pos x="188" y="94"/>
                </a:cxn>
                <a:cxn ang="0">
                  <a:pos x="94" y="188"/>
                </a:cxn>
                <a:cxn ang="0">
                  <a:pos x="0" y="94"/>
                </a:cxn>
                <a:cxn ang="0">
                  <a:pos x="0" y="90"/>
                </a:cxn>
                <a:cxn ang="0">
                  <a:pos x="94" y="0"/>
                </a:cxn>
                <a:cxn ang="0">
                  <a:pos x="188" y="94"/>
                </a:cxn>
              </a:cxnLst>
              <a:rect l="0" t="0" r="r" b="b"/>
              <a:pathLst>
                <a:path w="188" h="188">
                  <a:moveTo>
                    <a:pt x="188" y="94"/>
                  </a:moveTo>
                  <a:cubicBezTo>
                    <a:pt x="188" y="146"/>
                    <a:pt x="146" y="188"/>
                    <a:pt x="94" y="188"/>
                  </a:cubicBezTo>
                  <a:cubicBezTo>
                    <a:pt x="42" y="188"/>
                    <a:pt x="0" y="146"/>
                    <a:pt x="0" y="94"/>
                  </a:cubicBezTo>
                  <a:cubicBezTo>
                    <a:pt x="0" y="93"/>
                    <a:pt x="0" y="91"/>
                    <a:pt x="0" y="90"/>
                  </a:cubicBezTo>
                  <a:cubicBezTo>
                    <a:pt x="3" y="40"/>
                    <a:pt x="44" y="0"/>
                    <a:pt x="94" y="0"/>
                  </a:cubicBezTo>
                  <a:cubicBezTo>
                    <a:pt x="146" y="0"/>
                    <a:pt x="188" y="43"/>
                    <a:pt x="188" y="94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76" name="Saudi Arabia">
              <a:extLst>
                <a:ext uri="{FF2B5EF4-FFF2-40B4-BE49-F238E27FC236}">
                  <a16:creationId xmlns="" xmlns:a16="http://schemas.microsoft.com/office/drawing/2014/main" id="{03D87748-9EC4-4835-8A05-965379021C88}"/>
                </a:ext>
              </a:extLst>
            </p:cNvPr>
            <p:cNvSpPr>
              <a:spLocks/>
            </p:cNvSpPr>
            <p:nvPr/>
          </p:nvSpPr>
          <p:spPr bwMode="gray">
            <a:xfrm>
              <a:off x="6866936" y="3475176"/>
              <a:ext cx="640356" cy="574236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28" y="196"/>
                </a:cxn>
                <a:cxn ang="0">
                  <a:pos x="62" y="254"/>
                </a:cxn>
                <a:cxn ang="0">
                  <a:pos x="104" y="348"/>
                </a:cxn>
                <a:cxn ang="0">
                  <a:pos x="156" y="388"/>
                </a:cxn>
                <a:cxn ang="0">
                  <a:pos x="164" y="450"/>
                </a:cxn>
                <a:cxn ang="0">
                  <a:pos x="180" y="486"/>
                </a:cxn>
                <a:cxn ang="0">
                  <a:pos x="234" y="538"/>
                </a:cxn>
                <a:cxn ang="0">
                  <a:pos x="246" y="554"/>
                </a:cxn>
                <a:cxn ang="0">
                  <a:pos x="276" y="602"/>
                </a:cxn>
                <a:cxn ang="0">
                  <a:pos x="306" y="648"/>
                </a:cxn>
                <a:cxn ang="0">
                  <a:pos x="322" y="682"/>
                </a:cxn>
                <a:cxn ang="0">
                  <a:pos x="336" y="648"/>
                </a:cxn>
                <a:cxn ang="0">
                  <a:pos x="368" y="656"/>
                </a:cxn>
                <a:cxn ang="0">
                  <a:pos x="428" y="678"/>
                </a:cxn>
                <a:cxn ang="0">
                  <a:pos x="566" y="626"/>
                </a:cxn>
                <a:cxn ang="0">
                  <a:pos x="776" y="554"/>
                </a:cxn>
                <a:cxn ang="0">
                  <a:pos x="784" y="436"/>
                </a:cxn>
                <a:cxn ang="0">
                  <a:pos x="644" y="390"/>
                </a:cxn>
                <a:cxn ang="0">
                  <a:pos x="626" y="352"/>
                </a:cxn>
                <a:cxn ang="0">
                  <a:pos x="630" y="324"/>
                </a:cxn>
                <a:cxn ang="0">
                  <a:pos x="602" y="290"/>
                </a:cxn>
                <a:cxn ang="0">
                  <a:pos x="572" y="228"/>
                </a:cxn>
                <a:cxn ang="0">
                  <a:pos x="550" y="196"/>
                </a:cxn>
                <a:cxn ang="0">
                  <a:pos x="508" y="190"/>
                </a:cxn>
                <a:cxn ang="0">
                  <a:pos x="466" y="166"/>
                </a:cxn>
                <a:cxn ang="0">
                  <a:pos x="404" y="158"/>
                </a:cxn>
                <a:cxn ang="0">
                  <a:pos x="360" y="144"/>
                </a:cxn>
                <a:cxn ang="0">
                  <a:pos x="354" y="118"/>
                </a:cxn>
                <a:cxn ang="0">
                  <a:pos x="330" y="100"/>
                </a:cxn>
                <a:cxn ang="0">
                  <a:pos x="228" y="18"/>
                </a:cxn>
                <a:cxn ang="0">
                  <a:pos x="204" y="8"/>
                </a:cxn>
                <a:cxn ang="0">
                  <a:pos x="180" y="0"/>
                </a:cxn>
                <a:cxn ang="0">
                  <a:pos x="94" y="38"/>
                </a:cxn>
                <a:cxn ang="0">
                  <a:pos x="118" y="94"/>
                </a:cxn>
                <a:cxn ang="0">
                  <a:pos x="84" y="116"/>
                </a:cxn>
                <a:cxn ang="0">
                  <a:pos x="58" y="146"/>
                </a:cxn>
                <a:cxn ang="0">
                  <a:pos x="10" y="168"/>
                </a:cxn>
              </a:cxnLst>
              <a:rect l="0" t="0" r="r" b="b"/>
              <a:pathLst>
                <a:path w="788" h="702">
                  <a:moveTo>
                    <a:pt x="10" y="168"/>
                  </a:moveTo>
                  <a:lnTo>
                    <a:pt x="0" y="190"/>
                  </a:lnTo>
                  <a:lnTo>
                    <a:pt x="20" y="190"/>
                  </a:lnTo>
                  <a:lnTo>
                    <a:pt x="28" y="196"/>
                  </a:lnTo>
                  <a:lnTo>
                    <a:pt x="34" y="216"/>
                  </a:lnTo>
                  <a:lnTo>
                    <a:pt x="62" y="254"/>
                  </a:lnTo>
                  <a:lnTo>
                    <a:pt x="102" y="322"/>
                  </a:lnTo>
                  <a:lnTo>
                    <a:pt x="104" y="348"/>
                  </a:lnTo>
                  <a:lnTo>
                    <a:pt x="126" y="360"/>
                  </a:lnTo>
                  <a:lnTo>
                    <a:pt x="156" y="388"/>
                  </a:lnTo>
                  <a:lnTo>
                    <a:pt x="172" y="444"/>
                  </a:lnTo>
                  <a:lnTo>
                    <a:pt x="164" y="450"/>
                  </a:lnTo>
                  <a:lnTo>
                    <a:pt x="178" y="468"/>
                  </a:lnTo>
                  <a:lnTo>
                    <a:pt x="180" y="486"/>
                  </a:lnTo>
                  <a:lnTo>
                    <a:pt x="206" y="528"/>
                  </a:lnTo>
                  <a:lnTo>
                    <a:pt x="234" y="538"/>
                  </a:lnTo>
                  <a:lnTo>
                    <a:pt x="234" y="548"/>
                  </a:lnTo>
                  <a:lnTo>
                    <a:pt x="246" y="554"/>
                  </a:lnTo>
                  <a:lnTo>
                    <a:pt x="246" y="570"/>
                  </a:lnTo>
                  <a:lnTo>
                    <a:pt x="276" y="602"/>
                  </a:lnTo>
                  <a:lnTo>
                    <a:pt x="276" y="610"/>
                  </a:lnTo>
                  <a:lnTo>
                    <a:pt x="306" y="648"/>
                  </a:lnTo>
                  <a:lnTo>
                    <a:pt x="312" y="666"/>
                  </a:lnTo>
                  <a:lnTo>
                    <a:pt x="322" y="682"/>
                  </a:lnTo>
                  <a:lnTo>
                    <a:pt x="332" y="672"/>
                  </a:lnTo>
                  <a:lnTo>
                    <a:pt x="336" y="648"/>
                  </a:lnTo>
                  <a:lnTo>
                    <a:pt x="346" y="644"/>
                  </a:lnTo>
                  <a:lnTo>
                    <a:pt x="368" y="656"/>
                  </a:lnTo>
                  <a:lnTo>
                    <a:pt x="384" y="654"/>
                  </a:lnTo>
                  <a:lnTo>
                    <a:pt x="428" y="678"/>
                  </a:lnTo>
                  <a:lnTo>
                    <a:pt x="442" y="702"/>
                  </a:lnTo>
                  <a:lnTo>
                    <a:pt x="566" y="626"/>
                  </a:lnTo>
                  <a:lnTo>
                    <a:pt x="692" y="582"/>
                  </a:lnTo>
                  <a:lnTo>
                    <a:pt x="776" y="554"/>
                  </a:lnTo>
                  <a:lnTo>
                    <a:pt x="788" y="460"/>
                  </a:lnTo>
                  <a:lnTo>
                    <a:pt x="784" y="436"/>
                  </a:lnTo>
                  <a:lnTo>
                    <a:pt x="644" y="408"/>
                  </a:lnTo>
                  <a:lnTo>
                    <a:pt x="644" y="390"/>
                  </a:lnTo>
                  <a:lnTo>
                    <a:pt x="634" y="362"/>
                  </a:lnTo>
                  <a:lnTo>
                    <a:pt x="626" y="352"/>
                  </a:lnTo>
                  <a:lnTo>
                    <a:pt x="624" y="338"/>
                  </a:lnTo>
                  <a:lnTo>
                    <a:pt x="630" y="324"/>
                  </a:lnTo>
                  <a:lnTo>
                    <a:pt x="620" y="314"/>
                  </a:lnTo>
                  <a:lnTo>
                    <a:pt x="602" y="290"/>
                  </a:lnTo>
                  <a:lnTo>
                    <a:pt x="598" y="252"/>
                  </a:lnTo>
                  <a:lnTo>
                    <a:pt x="572" y="228"/>
                  </a:lnTo>
                  <a:lnTo>
                    <a:pt x="560" y="202"/>
                  </a:lnTo>
                  <a:lnTo>
                    <a:pt x="550" y="196"/>
                  </a:lnTo>
                  <a:lnTo>
                    <a:pt x="540" y="174"/>
                  </a:lnTo>
                  <a:lnTo>
                    <a:pt x="508" y="190"/>
                  </a:lnTo>
                  <a:lnTo>
                    <a:pt x="490" y="168"/>
                  </a:lnTo>
                  <a:lnTo>
                    <a:pt x="466" y="166"/>
                  </a:lnTo>
                  <a:lnTo>
                    <a:pt x="456" y="160"/>
                  </a:lnTo>
                  <a:lnTo>
                    <a:pt x="404" y="158"/>
                  </a:lnTo>
                  <a:lnTo>
                    <a:pt x="376" y="148"/>
                  </a:lnTo>
                  <a:lnTo>
                    <a:pt x="360" y="144"/>
                  </a:lnTo>
                  <a:lnTo>
                    <a:pt x="350" y="132"/>
                  </a:lnTo>
                  <a:lnTo>
                    <a:pt x="354" y="118"/>
                  </a:lnTo>
                  <a:lnTo>
                    <a:pt x="354" y="102"/>
                  </a:lnTo>
                  <a:lnTo>
                    <a:pt x="330" y="100"/>
                  </a:lnTo>
                  <a:lnTo>
                    <a:pt x="322" y="76"/>
                  </a:lnTo>
                  <a:lnTo>
                    <a:pt x="228" y="18"/>
                  </a:lnTo>
                  <a:lnTo>
                    <a:pt x="212" y="16"/>
                  </a:lnTo>
                  <a:lnTo>
                    <a:pt x="204" y="8"/>
                  </a:lnTo>
                  <a:lnTo>
                    <a:pt x="192" y="8"/>
                  </a:lnTo>
                  <a:lnTo>
                    <a:pt x="180" y="0"/>
                  </a:lnTo>
                  <a:lnTo>
                    <a:pt x="168" y="14"/>
                  </a:lnTo>
                  <a:lnTo>
                    <a:pt x="94" y="38"/>
                  </a:lnTo>
                  <a:lnTo>
                    <a:pt x="132" y="84"/>
                  </a:lnTo>
                  <a:lnTo>
                    <a:pt x="118" y="94"/>
                  </a:lnTo>
                  <a:lnTo>
                    <a:pt x="112" y="108"/>
                  </a:lnTo>
                  <a:lnTo>
                    <a:pt x="84" y="116"/>
                  </a:lnTo>
                  <a:lnTo>
                    <a:pt x="74" y="132"/>
                  </a:lnTo>
                  <a:lnTo>
                    <a:pt x="58" y="146"/>
                  </a:lnTo>
                  <a:lnTo>
                    <a:pt x="14" y="130"/>
                  </a:lnTo>
                  <a:lnTo>
                    <a:pt x="10" y="168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77" name="Senegal">
              <a:extLst>
                <a:ext uri="{FF2B5EF4-FFF2-40B4-BE49-F238E27FC236}">
                  <a16:creationId xmlns="" xmlns:a16="http://schemas.microsoft.com/office/drawing/2014/main" id="{9D02A1FC-1DBE-4D38-B122-A6C2A7D1774F}"/>
                </a:ext>
              </a:extLst>
            </p:cNvPr>
            <p:cNvSpPr>
              <a:spLocks/>
            </p:cNvSpPr>
            <p:nvPr/>
          </p:nvSpPr>
          <p:spPr bwMode="gray">
            <a:xfrm>
              <a:off x="5275808" y="4027780"/>
              <a:ext cx="171803" cy="139625"/>
            </a:xfrm>
            <a:custGeom>
              <a:avLst/>
              <a:gdLst/>
              <a:ahLst/>
              <a:cxnLst>
                <a:cxn ang="0">
                  <a:pos x="201" y="106"/>
                </a:cxn>
                <a:cxn ang="0">
                  <a:pos x="195" y="72"/>
                </a:cxn>
                <a:cxn ang="0">
                  <a:pos x="172" y="56"/>
                </a:cxn>
                <a:cxn ang="0">
                  <a:pos x="150" y="28"/>
                </a:cxn>
                <a:cxn ang="0">
                  <a:pos x="124" y="18"/>
                </a:cxn>
                <a:cxn ang="0">
                  <a:pos x="108" y="0"/>
                </a:cxn>
                <a:cxn ang="0">
                  <a:pos x="54" y="12"/>
                </a:cxn>
                <a:cxn ang="0">
                  <a:pos x="40" y="4"/>
                </a:cxn>
                <a:cxn ang="0">
                  <a:pos x="22" y="14"/>
                </a:cxn>
                <a:cxn ang="0">
                  <a:pos x="24" y="28"/>
                </a:cxn>
                <a:cxn ang="0">
                  <a:pos x="0" y="60"/>
                </a:cxn>
                <a:cxn ang="0">
                  <a:pos x="22" y="108"/>
                </a:cxn>
                <a:cxn ang="0">
                  <a:pos x="56" y="110"/>
                </a:cxn>
                <a:cxn ang="0">
                  <a:pos x="72" y="110"/>
                </a:cxn>
                <a:cxn ang="0">
                  <a:pos x="80" y="104"/>
                </a:cxn>
                <a:cxn ang="0">
                  <a:pos x="88" y="108"/>
                </a:cxn>
                <a:cxn ang="0">
                  <a:pos x="104" y="118"/>
                </a:cxn>
                <a:cxn ang="0">
                  <a:pos x="116" y="118"/>
                </a:cxn>
                <a:cxn ang="0">
                  <a:pos x="122" y="126"/>
                </a:cxn>
                <a:cxn ang="0">
                  <a:pos x="112" y="134"/>
                </a:cxn>
                <a:cxn ang="0">
                  <a:pos x="88" y="126"/>
                </a:cxn>
                <a:cxn ang="0">
                  <a:pos x="72" y="126"/>
                </a:cxn>
                <a:cxn ang="0">
                  <a:pos x="60" y="132"/>
                </a:cxn>
                <a:cxn ang="0">
                  <a:pos x="10" y="138"/>
                </a:cxn>
                <a:cxn ang="0">
                  <a:pos x="14" y="160"/>
                </a:cxn>
                <a:cxn ang="0">
                  <a:pos x="26" y="160"/>
                </a:cxn>
                <a:cxn ang="0">
                  <a:pos x="18" y="170"/>
                </a:cxn>
                <a:cxn ang="0">
                  <a:pos x="48" y="168"/>
                </a:cxn>
                <a:cxn ang="0">
                  <a:pos x="58" y="158"/>
                </a:cxn>
                <a:cxn ang="0">
                  <a:pos x="72" y="154"/>
                </a:cxn>
                <a:cxn ang="0">
                  <a:pos x="86" y="162"/>
                </a:cxn>
                <a:cxn ang="0">
                  <a:pos x="134" y="164"/>
                </a:cxn>
                <a:cxn ang="0">
                  <a:pos x="148" y="162"/>
                </a:cxn>
                <a:cxn ang="0">
                  <a:pos x="162" y="170"/>
                </a:cxn>
                <a:cxn ang="0">
                  <a:pos x="195" y="170"/>
                </a:cxn>
                <a:cxn ang="0">
                  <a:pos x="211" y="166"/>
                </a:cxn>
                <a:cxn ang="0">
                  <a:pos x="213" y="148"/>
                </a:cxn>
                <a:cxn ang="0">
                  <a:pos x="197" y="118"/>
                </a:cxn>
                <a:cxn ang="0">
                  <a:pos x="201" y="106"/>
                </a:cxn>
              </a:cxnLst>
              <a:rect l="0" t="0" r="r" b="b"/>
              <a:pathLst>
                <a:path w="213" h="170">
                  <a:moveTo>
                    <a:pt x="201" y="106"/>
                  </a:moveTo>
                  <a:lnTo>
                    <a:pt x="195" y="72"/>
                  </a:lnTo>
                  <a:lnTo>
                    <a:pt x="172" y="56"/>
                  </a:lnTo>
                  <a:lnTo>
                    <a:pt x="150" y="28"/>
                  </a:lnTo>
                  <a:lnTo>
                    <a:pt x="124" y="18"/>
                  </a:lnTo>
                  <a:lnTo>
                    <a:pt x="108" y="0"/>
                  </a:lnTo>
                  <a:lnTo>
                    <a:pt x="54" y="12"/>
                  </a:lnTo>
                  <a:lnTo>
                    <a:pt x="40" y="4"/>
                  </a:lnTo>
                  <a:lnTo>
                    <a:pt x="22" y="14"/>
                  </a:lnTo>
                  <a:lnTo>
                    <a:pt x="24" y="28"/>
                  </a:lnTo>
                  <a:lnTo>
                    <a:pt x="0" y="60"/>
                  </a:lnTo>
                  <a:lnTo>
                    <a:pt x="22" y="108"/>
                  </a:lnTo>
                  <a:lnTo>
                    <a:pt x="56" y="110"/>
                  </a:lnTo>
                  <a:lnTo>
                    <a:pt x="72" y="110"/>
                  </a:lnTo>
                  <a:lnTo>
                    <a:pt x="80" y="104"/>
                  </a:lnTo>
                  <a:lnTo>
                    <a:pt x="88" y="108"/>
                  </a:lnTo>
                  <a:lnTo>
                    <a:pt x="104" y="118"/>
                  </a:lnTo>
                  <a:lnTo>
                    <a:pt x="116" y="118"/>
                  </a:lnTo>
                  <a:lnTo>
                    <a:pt x="122" y="126"/>
                  </a:lnTo>
                  <a:lnTo>
                    <a:pt x="112" y="134"/>
                  </a:lnTo>
                  <a:lnTo>
                    <a:pt x="88" y="126"/>
                  </a:lnTo>
                  <a:lnTo>
                    <a:pt x="72" y="126"/>
                  </a:lnTo>
                  <a:lnTo>
                    <a:pt x="60" y="132"/>
                  </a:lnTo>
                  <a:lnTo>
                    <a:pt x="10" y="138"/>
                  </a:lnTo>
                  <a:lnTo>
                    <a:pt x="14" y="160"/>
                  </a:lnTo>
                  <a:lnTo>
                    <a:pt x="26" y="160"/>
                  </a:lnTo>
                  <a:lnTo>
                    <a:pt x="18" y="170"/>
                  </a:lnTo>
                  <a:lnTo>
                    <a:pt x="48" y="168"/>
                  </a:lnTo>
                  <a:lnTo>
                    <a:pt x="58" y="158"/>
                  </a:lnTo>
                  <a:lnTo>
                    <a:pt x="72" y="154"/>
                  </a:lnTo>
                  <a:lnTo>
                    <a:pt x="86" y="162"/>
                  </a:lnTo>
                  <a:lnTo>
                    <a:pt x="134" y="164"/>
                  </a:lnTo>
                  <a:lnTo>
                    <a:pt x="148" y="162"/>
                  </a:lnTo>
                  <a:lnTo>
                    <a:pt x="162" y="170"/>
                  </a:lnTo>
                  <a:lnTo>
                    <a:pt x="195" y="170"/>
                  </a:lnTo>
                  <a:lnTo>
                    <a:pt x="211" y="166"/>
                  </a:lnTo>
                  <a:lnTo>
                    <a:pt x="213" y="148"/>
                  </a:lnTo>
                  <a:lnTo>
                    <a:pt x="197" y="118"/>
                  </a:lnTo>
                  <a:lnTo>
                    <a:pt x="201" y="106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78" name="Serbia">
              <a:extLst>
                <a:ext uri="{FF2B5EF4-FFF2-40B4-BE49-F238E27FC236}">
                  <a16:creationId xmlns="" xmlns:a16="http://schemas.microsoft.com/office/drawing/2014/main" id="{3EFBD7A4-C3F2-4DA0-AD10-5FBCEAFF3A51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376907" y="2898976"/>
              <a:ext cx="132756" cy="196656"/>
            </a:xfrm>
            <a:custGeom>
              <a:avLst/>
              <a:gdLst/>
              <a:ahLst/>
              <a:cxnLst>
                <a:cxn ang="0">
                  <a:pos x="638" y="2433"/>
                </a:cxn>
                <a:cxn ang="0">
                  <a:pos x="780" y="2456"/>
                </a:cxn>
                <a:cxn ang="0">
                  <a:pos x="851" y="2858"/>
                </a:cxn>
                <a:cxn ang="0">
                  <a:pos x="969" y="2645"/>
                </a:cxn>
                <a:cxn ang="0">
                  <a:pos x="1134" y="2551"/>
                </a:cxn>
                <a:cxn ang="0">
                  <a:pos x="1368" y="2433"/>
                </a:cxn>
                <a:cxn ang="0">
                  <a:pos x="1581" y="2480"/>
                </a:cxn>
                <a:cxn ang="0">
                  <a:pos x="1722" y="2433"/>
                </a:cxn>
                <a:cxn ang="0">
                  <a:pos x="1699" y="2291"/>
                </a:cxn>
                <a:cxn ang="0">
                  <a:pos x="1722" y="2173"/>
                </a:cxn>
                <a:cxn ang="0">
                  <a:pos x="1841" y="2173"/>
                </a:cxn>
                <a:cxn ang="0">
                  <a:pos x="1959" y="2008"/>
                </a:cxn>
                <a:cxn ang="0">
                  <a:pos x="1841" y="1866"/>
                </a:cxn>
                <a:cxn ang="0">
                  <a:pos x="1722" y="1701"/>
                </a:cxn>
                <a:cxn ang="0">
                  <a:pos x="1604" y="1512"/>
                </a:cxn>
                <a:cxn ang="0">
                  <a:pos x="1675" y="1441"/>
                </a:cxn>
                <a:cxn ang="0">
                  <a:pos x="1722" y="1275"/>
                </a:cxn>
                <a:cxn ang="0">
                  <a:pos x="1628" y="1134"/>
                </a:cxn>
                <a:cxn ang="0">
                  <a:pos x="1297" y="968"/>
                </a:cxn>
                <a:cxn ang="0">
                  <a:pos x="1205" y="779"/>
                </a:cxn>
                <a:cxn ang="0">
                  <a:pos x="1158" y="614"/>
                </a:cxn>
                <a:cxn ang="0">
                  <a:pos x="992" y="519"/>
                </a:cxn>
                <a:cxn ang="0">
                  <a:pos x="969" y="236"/>
                </a:cxn>
                <a:cxn ang="0">
                  <a:pos x="851" y="0"/>
                </a:cxn>
                <a:cxn ang="0">
                  <a:pos x="662" y="47"/>
                </a:cxn>
                <a:cxn ang="0">
                  <a:pos x="426" y="0"/>
                </a:cxn>
                <a:cxn ang="0">
                  <a:pos x="0" y="260"/>
                </a:cxn>
                <a:cxn ang="0">
                  <a:pos x="95" y="472"/>
                </a:cxn>
                <a:cxn ang="0">
                  <a:pos x="284" y="590"/>
                </a:cxn>
                <a:cxn ang="0">
                  <a:pos x="142" y="826"/>
                </a:cxn>
                <a:cxn ang="0">
                  <a:pos x="237" y="874"/>
                </a:cxn>
                <a:cxn ang="0">
                  <a:pos x="166" y="1134"/>
                </a:cxn>
                <a:cxn ang="0">
                  <a:pos x="213" y="1275"/>
                </a:cxn>
                <a:cxn ang="0">
                  <a:pos x="331" y="1370"/>
                </a:cxn>
                <a:cxn ang="0">
                  <a:pos x="213" y="1488"/>
                </a:cxn>
                <a:cxn ang="0">
                  <a:pos x="307" y="1724"/>
                </a:cxn>
                <a:cxn ang="0">
                  <a:pos x="574" y="1970"/>
                </a:cxn>
                <a:cxn ang="0">
                  <a:pos x="818" y="2119"/>
                </a:cxn>
                <a:cxn ang="0">
                  <a:pos x="690" y="2244"/>
                </a:cxn>
                <a:cxn ang="0">
                  <a:pos x="638" y="2433"/>
                </a:cxn>
              </a:cxnLst>
              <a:rect l="0" t="0" r="r" b="b"/>
              <a:pathLst>
                <a:path w="1959" h="2858">
                  <a:moveTo>
                    <a:pt x="638" y="2433"/>
                  </a:moveTo>
                  <a:lnTo>
                    <a:pt x="780" y="2456"/>
                  </a:lnTo>
                  <a:lnTo>
                    <a:pt x="851" y="2858"/>
                  </a:lnTo>
                  <a:lnTo>
                    <a:pt x="969" y="2645"/>
                  </a:lnTo>
                  <a:lnTo>
                    <a:pt x="1134" y="2551"/>
                  </a:lnTo>
                  <a:lnTo>
                    <a:pt x="1368" y="2433"/>
                  </a:lnTo>
                  <a:lnTo>
                    <a:pt x="1581" y="2480"/>
                  </a:lnTo>
                  <a:lnTo>
                    <a:pt x="1722" y="2433"/>
                  </a:lnTo>
                  <a:lnTo>
                    <a:pt x="1699" y="2291"/>
                  </a:lnTo>
                  <a:lnTo>
                    <a:pt x="1722" y="2173"/>
                  </a:lnTo>
                  <a:lnTo>
                    <a:pt x="1841" y="2173"/>
                  </a:lnTo>
                  <a:lnTo>
                    <a:pt x="1959" y="2008"/>
                  </a:lnTo>
                  <a:lnTo>
                    <a:pt x="1841" y="1866"/>
                  </a:lnTo>
                  <a:lnTo>
                    <a:pt x="1722" y="1701"/>
                  </a:lnTo>
                  <a:lnTo>
                    <a:pt x="1604" y="1512"/>
                  </a:lnTo>
                  <a:lnTo>
                    <a:pt x="1675" y="1441"/>
                  </a:lnTo>
                  <a:lnTo>
                    <a:pt x="1722" y="1275"/>
                  </a:lnTo>
                  <a:lnTo>
                    <a:pt x="1628" y="1134"/>
                  </a:lnTo>
                  <a:lnTo>
                    <a:pt x="1297" y="968"/>
                  </a:lnTo>
                  <a:lnTo>
                    <a:pt x="1205" y="779"/>
                  </a:lnTo>
                  <a:lnTo>
                    <a:pt x="1158" y="614"/>
                  </a:lnTo>
                  <a:lnTo>
                    <a:pt x="992" y="519"/>
                  </a:lnTo>
                  <a:lnTo>
                    <a:pt x="969" y="236"/>
                  </a:lnTo>
                  <a:lnTo>
                    <a:pt x="851" y="0"/>
                  </a:lnTo>
                  <a:lnTo>
                    <a:pt x="662" y="47"/>
                  </a:lnTo>
                  <a:lnTo>
                    <a:pt x="426" y="0"/>
                  </a:lnTo>
                  <a:lnTo>
                    <a:pt x="0" y="260"/>
                  </a:lnTo>
                  <a:lnTo>
                    <a:pt x="95" y="472"/>
                  </a:lnTo>
                  <a:lnTo>
                    <a:pt x="284" y="590"/>
                  </a:lnTo>
                  <a:lnTo>
                    <a:pt x="142" y="826"/>
                  </a:lnTo>
                  <a:lnTo>
                    <a:pt x="237" y="874"/>
                  </a:lnTo>
                  <a:lnTo>
                    <a:pt x="166" y="1134"/>
                  </a:lnTo>
                  <a:lnTo>
                    <a:pt x="213" y="1275"/>
                  </a:lnTo>
                  <a:lnTo>
                    <a:pt x="331" y="1370"/>
                  </a:lnTo>
                  <a:lnTo>
                    <a:pt x="213" y="1488"/>
                  </a:lnTo>
                  <a:lnTo>
                    <a:pt x="307" y="1724"/>
                  </a:lnTo>
                  <a:lnTo>
                    <a:pt x="574" y="1970"/>
                  </a:lnTo>
                  <a:lnTo>
                    <a:pt x="818" y="2119"/>
                  </a:lnTo>
                  <a:lnTo>
                    <a:pt x="690" y="2244"/>
                  </a:lnTo>
                  <a:lnTo>
                    <a:pt x="638" y="2433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79" name="Sierra Leone">
              <a:extLst>
                <a:ext uri="{FF2B5EF4-FFF2-40B4-BE49-F238E27FC236}">
                  <a16:creationId xmlns="" xmlns:a16="http://schemas.microsoft.com/office/drawing/2014/main" id="{8E68B010-ED07-4077-8046-D2114BE6E136}"/>
                </a:ext>
              </a:extLst>
            </p:cNvPr>
            <p:cNvSpPr>
              <a:spLocks/>
            </p:cNvSpPr>
            <p:nvPr/>
          </p:nvSpPr>
          <p:spPr bwMode="gray">
            <a:xfrm>
              <a:off x="5390994" y="4250002"/>
              <a:ext cx="107378" cy="90461"/>
            </a:xfrm>
            <a:custGeom>
              <a:avLst/>
              <a:gdLst/>
              <a:ahLst/>
              <a:cxnLst>
                <a:cxn ang="0">
                  <a:pos x="129" y="67"/>
                </a:cxn>
                <a:cxn ang="0">
                  <a:pos x="123" y="53"/>
                </a:cxn>
                <a:cxn ang="0">
                  <a:pos x="109" y="61"/>
                </a:cxn>
                <a:cxn ang="0">
                  <a:pos x="97" y="16"/>
                </a:cxn>
                <a:cxn ang="0">
                  <a:pos x="83" y="4"/>
                </a:cxn>
                <a:cxn ang="0">
                  <a:pos x="75" y="0"/>
                </a:cxn>
                <a:cxn ang="0">
                  <a:pos x="59" y="4"/>
                </a:cxn>
                <a:cxn ang="0">
                  <a:pos x="45" y="2"/>
                </a:cxn>
                <a:cxn ang="0">
                  <a:pos x="0" y="24"/>
                </a:cxn>
                <a:cxn ang="0">
                  <a:pos x="6" y="38"/>
                </a:cxn>
                <a:cxn ang="0">
                  <a:pos x="4" y="57"/>
                </a:cxn>
                <a:cxn ang="0">
                  <a:pos x="12" y="71"/>
                </a:cxn>
                <a:cxn ang="0">
                  <a:pos x="20" y="85"/>
                </a:cxn>
                <a:cxn ang="0">
                  <a:pos x="40" y="97"/>
                </a:cxn>
                <a:cxn ang="0">
                  <a:pos x="63" y="113"/>
                </a:cxn>
                <a:cxn ang="0">
                  <a:pos x="83" y="97"/>
                </a:cxn>
                <a:cxn ang="0">
                  <a:pos x="95" y="95"/>
                </a:cxn>
                <a:cxn ang="0">
                  <a:pos x="129" y="67"/>
                </a:cxn>
              </a:cxnLst>
              <a:rect l="0" t="0" r="r" b="b"/>
              <a:pathLst>
                <a:path w="129" h="113">
                  <a:moveTo>
                    <a:pt x="129" y="67"/>
                  </a:moveTo>
                  <a:lnTo>
                    <a:pt x="123" y="53"/>
                  </a:lnTo>
                  <a:lnTo>
                    <a:pt x="109" y="61"/>
                  </a:lnTo>
                  <a:lnTo>
                    <a:pt x="97" y="16"/>
                  </a:lnTo>
                  <a:lnTo>
                    <a:pt x="83" y="4"/>
                  </a:lnTo>
                  <a:lnTo>
                    <a:pt x="75" y="0"/>
                  </a:lnTo>
                  <a:lnTo>
                    <a:pt x="59" y="4"/>
                  </a:lnTo>
                  <a:lnTo>
                    <a:pt x="45" y="2"/>
                  </a:lnTo>
                  <a:lnTo>
                    <a:pt x="0" y="24"/>
                  </a:lnTo>
                  <a:lnTo>
                    <a:pt x="6" y="38"/>
                  </a:lnTo>
                  <a:lnTo>
                    <a:pt x="4" y="57"/>
                  </a:lnTo>
                  <a:lnTo>
                    <a:pt x="12" y="71"/>
                  </a:lnTo>
                  <a:lnTo>
                    <a:pt x="20" y="85"/>
                  </a:lnTo>
                  <a:lnTo>
                    <a:pt x="40" y="97"/>
                  </a:lnTo>
                  <a:lnTo>
                    <a:pt x="63" y="113"/>
                  </a:lnTo>
                  <a:lnTo>
                    <a:pt x="83" y="97"/>
                  </a:lnTo>
                  <a:lnTo>
                    <a:pt x="95" y="95"/>
                  </a:lnTo>
                  <a:lnTo>
                    <a:pt x="129" y="67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80" name="Singapore">
              <a:extLst>
                <a:ext uri="{FF2B5EF4-FFF2-40B4-BE49-F238E27FC236}">
                  <a16:creationId xmlns="" xmlns:a16="http://schemas.microsoft.com/office/drawing/2014/main" id="{9298D1DF-C0EE-4CA3-BB34-6990036616A1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0566" y="4491888"/>
              <a:ext cx="27332" cy="25565"/>
            </a:xfrm>
            <a:custGeom>
              <a:avLst/>
              <a:gdLst/>
              <a:ahLst/>
              <a:cxnLst>
                <a:cxn ang="0">
                  <a:pos x="188" y="94"/>
                </a:cxn>
                <a:cxn ang="0">
                  <a:pos x="94" y="188"/>
                </a:cxn>
                <a:cxn ang="0">
                  <a:pos x="0" y="94"/>
                </a:cxn>
                <a:cxn ang="0">
                  <a:pos x="0" y="90"/>
                </a:cxn>
                <a:cxn ang="0">
                  <a:pos x="94" y="0"/>
                </a:cxn>
                <a:cxn ang="0">
                  <a:pos x="188" y="94"/>
                </a:cxn>
              </a:cxnLst>
              <a:rect l="0" t="0" r="r" b="b"/>
              <a:pathLst>
                <a:path w="188" h="188">
                  <a:moveTo>
                    <a:pt x="188" y="94"/>
                  </a:moveTo>
                  <a:cubicBezTo>
                    <a:pt x="188" y="146"/>
                    <a:pt x="146" y="188"/>
                    <a:pt x="94" y="188"/>
                  </a:cubicBezTo>
                  <a:cubicBezTo>
                    <a:pt x="42" y="188"/>
                    <a:pt x="0" y="146"/>
                    <a:pt x="0" y="94"/>
                  </a:cubicBezTo>
                  <a:cubicBezTo>
                    <a:pt x="0" y="93"/>
                    <a:pt x="0" y="91"/>
                    <a:pt x="0" y="90"/>
                  </a:cubicBezTo>
                  <a:cubicBezTo>
                    <a:pt x="3" y="40"/>
                    <a:pt x="44" y="0"/>
                    <a:pt x="94" y="0"/>
                  </a:cubicBezTo>
                  <a:cubicBezTo>
                    <a:pt x="146" y="0"/>
                    <a:pt x="188" y="43"/>
                    <a:pt x="188" y="94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81" name="Slovakia">
              <a:extLst>
                <a:ext uri="{FF2B5EF4-FFF2-40B4-BE49-F238E27FC236}">
                  <a16:creationId xmlns="" xmlns:a16="http://schemas.microsoft.com/office/drawing/2014/main" id="{C12D7609-7E7E-4F10-9BC3-879A1ECF8528}"/>
                </a:ext>
              </a:extLst>
            </p:cNvPr>
            <p:cNvSpPr>
              <a:spLocks/>
            </p:cNvSpPr>
            <p:nvPr/>
          </p:nvSpPr>
          <p:spPr bwMode="gray">
            <a:xfrm>
              <a:off x="6324195" y="2741650"/>
              <a:ext cx="171803" cy="70796"/>
            </a:xfrm>
            <a:custGeom>
              <a:avLst/>
              <a:gdLst/>
              <a:ahLst/>
              <a:cxnLst>
                <a:cxn ang="0">
                  <a:pos x="200" y="58"/>
                </a:cxn>
                <a:cxn ang="0">
                  <a:pos x="184" y="68"/>
                </a:cxn>
                <a:cxn ang="0">
                  <a:pos x="170" y="56"/>
                </a:cxn>
                <a:cxn ang="0">
                  <a:pos x="158" y="58"/>
                </a:cxn>
                <a:cxn ang="0">
                  <a:pos x="138" y="54"/>
                </a:cxn>
                <a:cxn ang="0">
                  <a:pos x="128" y="58"/>
                </a:cxn>
                <a:cxn ang="0">
                  <a:pos x="112" y="72"/>
                </a:cxn>
                <a:cxn ang="0">
                  <a:pos x="74" y="72"/>
                </a:cxn>
                <a:cxn ang="0">
                  <a:pos x="68" y="88"/>
                </a:cxn>
                <a:cxn ang="0">
                  <a:pos x="22" y="88"/>
                </a:cxn>
                <a:cxn ang="0">
                  <a:pos x="14" y="80"/>
                </a:cxn>
                <a:cxn ang="0">
                  <a:pos x="0" y="68"/>
                </a:cxn>
                <a:cxn ang="0">
                  <a:pos x="6" y="50"/>
                </a:cxn>
                <a:cxn ang="0">
                  <a:pos x="18" y="40"/>
                </a:cxn>
                <a:cxn ang="0">
                  <a:pos x="34" y="42"/>
                </a:cxn>
                <a:cxn ang="0">
                  <a:pos x="42" y="30"/>
                </a:cxn>
                <a:cxn ang="0">
                  <a:pos x="56" y="26"/>
                </a:cxn>
                <a:cxn ang="0">
                  <a:pos x="58" y="10"/>
                </a:cxn>
                <a:cxn ang="0">
                  <a:pos x="64" y="0"/>
                </a:cxn>
                <a:cxn ang="0">
                  <a:pos x="82" y="8"/>
                </a:cxn>
                <a:cxn ang="0">
                  <a:pos x="96" y="2"/>
                </a:cxn>
                <a:cxn ang="0">
                  <a:pos x="110" y="14"/>
                </a:cxn>
                <a:cxn ang="0">
                  <a:pos x="152" y="10"/>
                </a:cxn>
                <a:cxn ang="0">
                  <a:pos x="178" y="8"/>
                </a:cxn>
                <a:cxn ang="0">
                  <a:pos x="210" y="28"/>
                </a:cxn>
                <a:cxn ang="0">
                  <a:pos x="204" y="46"/>
                </a:cxn>
                <a:cxn ang="0">
                  <a:pos x="200" y="58"/>
                </a:cxn>
              </a:cxnLst>
              <a:rect l="0" t="0" r="r" b="b"/>
              <a:pathLst>
                <a:path w="210" h="88">
                  <a:moveTo>
                    <a:pt x="200" y="58"/>
                  </a:moveTo>
                  <a:lnTo>
                    <a:pt x="184" y="68"/>
                  </a:lnTo>
                  <a:lnTo>
                    <a:pt x="170" y="56"/>
                  </a:lnTo>
                  <a:lnTo>
                    <a:pt x="158" y="58"/>
                  </a:lnTo>
                  <a:lnTo>
                    <a:pt x="138" y="54"/>
                  </a:lnTo>
                  <a:lnTo>
                    <a:pt x="128" y="58"/>
                  </a:lnTo>
                  <a:lnTo>
                    <a:pt x="112" y="72"/>
                  </a:lnTo>
                  <a:lnTo>
                    <a:pt x="74" y="72"/>
                  </a:lnTo>
                  <a:lnTo>
                    <a:pt x="68" y="88"/>
                  </a:lnTo>
                  <a:lnTo>
                    <a:pt x="22" y="88"/>
                  </a:lnTo>
                  <a:lnTo>
                    <a:pt x="14" y="80"/>
                  </a:lnTo>
                  <a:lnTo>
                    <a:pt x="0" y="68"/>
                  </a:lnTo>
                  <a:lnTo>
                    <a:pt x="6" y="50"/>
                  </a:lnTo>
                  <a:lnTo>
                    <a:pt x="18" y="40"/>
                  </a:lnTo>
                  <a:lnTo>
                    <a:pt x="34" y="42"/>
                  </a:lnTo>
                  <a:lnTo>
                    <a:pt x="42" y="30"/>
                  </a:lnTo>
                  <a:lnTo>
                    <a:pt x="56" y="26"/>
                  </a:lnTo>
                  <a:lnTo>
                    <a:pt x="58" y="10"/>
                  </a:lnTo>
                  <a:lnTo>
                    <a:pt x="64" y="0"/>
                  </a:lnTo>
                  <a:lnTo>
                    <a:pt x="82" y="8"/>
                  </a:lnTo>
                  <a:lnTo>
                    <a:pt x="96" y="2"/>
                  </a:lnTo>
                  <a:lnTo>
                    <a:pt x="110" y="14"/>
                  </a:lnTo>
                  <a:lnTo>
                    <a:pt x="152" y="10"/>
                  </a:lnTo>
                  <a:lnTo>
                    <a:pt x="178" y="8"/>
                  </a:lnTo>
                  <a:lnTo>
                    <a:pt x="210" y="28"/>
                  </a:lnTo>
                  <a:lnTo>
                    <a:pt x="204" y="46"/>
                  </a:lnTo>
                  <a:lnTo>
                    <a:pt x="200" y="58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82" name="Slovenia">
              <a:extLst>
                <a:ext uri="{FF2B5EF4-FFF2-40B4-BE49-F238E27FC236}">
                  <a16:creationId xmlns="" xmlns:a16="http://schemas.microsoft.com/office/drawing/2014/main" id="{A691FC18-C188-4594-B618-517AC23488B9}"/>
                </a:ext>
              </a:extLst>
            </p:cNvPr>
            <p:cNvSpPr>
              <a:spLocks/>
            </p:cNvSpPr>
            <p:nvPr/>
          </p:nvSpPr>
          <p:spPr bwMode="gray">
            <a:xfrm>
              <a:off x="6214866" y="2867510"/>
              <a:ext cx="85901" cy="68829"/>
            </a:xfrm>
            <a:custGeom>
              <a:avLst/>
              <a:gdLst/>
              <a:ahLst/>
              <a:cxnLst>
                <a:cxn ang="0">
                  <a:pos x="6" y="50"/>
                </a:cxn>
                <a:cxn ang="0">
                  <a:pos x="2" y="36"/>
                </a:cxn>
                <a:cxn ang="0">
                  <a:pos x="6" y="24"/>
                </a:cxn>
                <a:cxn ang="0">
                  <a:pos x="44" y="26"/>
                </a:cxn>
                <a:cxn ang="0">
                  <a:pos x="56" y="16"/>
                </a:cxn>
                <a:cxn ang="0">
                  <a:pos x="70" y="8"/>
                </a:cxn>
                <a:cxn ang="0">
                  <a:pos x="78" y="12"/>
                </a:cxn>
                <a:cxn ang="0">
                  <a:pos x="92" y="0"/>
                </a:cxn>
                <a:cxn ang="0">
                  <a:pos x="104" y="2"/>
                </a:cxn>
                <a:cxn ang="0">
                  <a:pos x="106" y="30"/>
                </a:cxn>
                <a:cxn ang="0">
                  <a:pos x="92" y="38"/>
                </a:cxn>
                <a:cxn ang="0">
                  <a:pos x="92" y="54"/>
                </a:cxn>
                <a:cxn ang="0">
                  <a:pos x="82" y="64"/>
                </a:cxn>
                <a:cxn ang="0">
                  <a:pos x="84" y="76"/>
                </a:cxn>
                <a:cxn ang="0">
                  <a:pos x="70" y="78"/>
                </a:cxn>
                <a:cxn ang="0">
                  <a:pos x="56" y="72"/>
                </a:cxn>
                <a:cxn ang="0">
                  <a:pos x="40" y="74"/>
                </a:cxn>
                <a:cxn ang="0">
                  <a:pos x="20" y="74"/>
                </a:cxn>
                <a:cxn ang="0">
                  <a:pos x="0" y="86"/>
                </a:cxn>
                <a:cxn ang="0">
                  <a:pos x="4" y="70"/>
                </a:cxn>
                <a:cxn ang="0">
                  <a:pos x="6" y="50"/>
                </a:cxn>
              </a:cxnLst>
              <a:rect l="0" t="0" r="r" b="b"/>
              <a:pathLst>
                <a:path w="106" h="86">
                  <a:moveTo>
                    <a:pt x="6" y="50"/>
                  </a:moveTo>
                  <a:lnTo>
                    <a:pt x="2" y="36"/>
                  </a:lnTo>
                  <a:lnTo>
                    <a:pt x="6" y="24"/>
                  </a:lnTo>
                  <a:lnTo>
                    <a:pt x="44" y="26"/>
                  </a:lnTo>
                  <a:lnTo>
                    <a:pt x="56" y="16"/>
                  </a:lnTo>
                  <a:lnTo>
                    <a:pt x="70" y="8"/>
                  </a:lnTo>
                  <a:lnTo>
                    <a:pt x="78" y="12"/>
                  </a:lnTo>
                  <a:lnTo>
                    <a:pt x="92" y="0"/>
                  </a:lnTo>
                  <a:lnTo>
                    <a:pt x="104" y="2"/>
                  </a:lnTo>
                  <a:lnTo>
                    <a:pt x="106" y="30"/>
                  </a:lnTo>
                  <a:lnTo>
                    <a:pt x="92" y="38"/>
                  </a:lnTo>
                  <a:lnTo>
                    <a:pt x="92" y="54"/>
                  </a:lnTo>
                  <a:lnTo>
                    <a:pt x="82" y="64"/>
                  </a:lnTo>
                  <a:lnTo>
                    <a:pt x="84" y="76"/>
                  </a:lnTo>
                  <a:lnTo>
                    <a:pt x="70" y="78"/>
                  </a:lnTo>
                  <a:lnTo>
                    <a:pt x="56" y="72"/>
                  </a:lnTo>
                  <a:lnTo>
                    <a:pt x="40" y="74"/>
                  </a:lnTo>
                  <a:lnTo>
                    <a:pt x="20" y="74"/>
                  </a:lnTo>
                  <a:lnTo>
                    <a:pt x="0" y="86"/>
                  </a:lnTo>
                  <a:lnTo>
                    <a:pt x="4" y="70"/>
                  </a:lnTo>
                  <a:lnTo>
                    <a:pt x="6" y="50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83" name="Somalia">
              <a:extLst>
                <a:ext uri="{FF2B5EF4-FFF2-40B4-BE49-F238E27FC236}">
                  <a16:creationId xmlns="" xmlns:a16="http://schemas.microsoft.com/office/drawing/2014/main" id="{68B68182-AC57-481C-BCED-ED45642D3F67}"/>
                </a:ext>
              </a:extLst>
            </p:cNvPr>
            <p:cNvSpPr>
              <a:spLocks/>
            </p:cNvSpPr>
            <p:nvPr/>
          </p:nvSpPr>
          <p:spPr bwMode="gray">
            <a:xfrm>
              <a:off x="7077785" y="4179204"/>
              <a:ext cx="324082" cy="434610"/>
            </a:xfrm>
            <a:custGeom>
              <a:avLst/>
              <a:gdLst/>
              <a:ahLst/>
              <a:cxnLst>
                <a:cxn ang="0">
                  <a:pos x="52" y="515"/>
                </a:cxn>
                <a:cxn ang="0">
                  <a:pos x="32" y="535"/>
                </a:cxn>
                <a:cxn ang="0">
                  <a:pos x="0" y="501"/>
                </a:cxn>
                <a:cxn ang="0">
                  <a:pos x="0" y="371"/>
                </a:cxn>
                <a:cxn ang="0">
                  <a:pos x="18" y="343"/>
                </a:cxn>
                <a:cxn ang="0">
                  <a:pos x="24" y="329"/>
                </a:cxn>
                <a:cxn ang="0">
                  <a:pos x="32" y="313"/>
                </a:cxn>
                <a:cxn ang="0">
                  <a:pos x="62" y="311"/>
                </a:cxn>
                <a:cxn ang="0">
                  <a:pos x="78" y="291"/>
                </a:cxn>
                <a:cxn ang="0">
                  <a:pos x="148" y="279"/>
                </a:cxn>
                <a:cxn ang="0">
                  <a:pos x="258" y="165"/>
                </a:cxn>
                <a:cxn ang="0">
                  <a:pos x="210" y="161"/>
                </a:cxn>
                <a:cxn ang="0">
                  <a:pos x="164" y="145"/>
                </a:cxn>
                <a:cxn ang="0">
                  <a:pos x="108" y="122"/>
                </a:cxn>
                <a:cxn ang="0">
                  <a:pos x="74" y="46"/>
                </a:cxn>
                <a:cxn ang="0">
                  <a:pos x="92" y="24"/>
                </a:cxn>
                <a:cxn ang="0">
                  <a:pos x="132" y="60"/>
                </a:cxn>
                <a:cxn ang="0">
                  <a:pos x="156" y="66"/>
                </a:cxn>
                <a:cxn ang="0">
                  <a:pos x="178" y="52"/>
                </a:cxn>
                <a:cxn ang="0">
                  <a:pos x="210" y="58"/>
                </a:cxn>
                <a:cxn ang="0">
                  <a:pos x="246" y="36"/>
                </a:cxn>
                <a:cxn ang="0">
                  <a:pos x="270" y="40"/>
                </a:cxn>
                <a:cxn ang="0">
                  <a:pos x="286" y="32"/>
                </a:cxn>
                <a:cxn ang="0">
                  <a:pos x="322" y="28"/>
                </a:cxn>
                <a:cxn ang="0">
                  <a:pos x="342" y="16"/>
                </a:cxn>
                <a:cxn ang="0">
                  <a:pos x="354" y="16"/>
                </a:cxn>
                <a:cxn ang="0">
                  <a:pos x="368" y="0"/>
                </a:cxn>
                <a:cxn ang="0">
                  <a:pos x="388" y="0"/>
                </a:cxn>
                <a:cxn ang="0">
                  <a:pos x="392" y="30"/>
                </a:cxn>
                <a:cxn ang="0">
                  <a:pos x="386" y="56"/>
                </a:cxn>
                <a:cxn ang="0">
                  <a:pos x="400" y="58"/>
                </a:cxn>
                <a:cxn ang="0">
                  <a:pos x="398" y="66"/>
                </a:cxn>
                <a:cxn ang="0">
                  <a:pos x="384" y="68"/>
                </a:cxn>
                <a:cxn ang="0">
                  <a:pos x="374" y="106"/>
                </a:cxn>
                <a:cxn ang="0">
                  <a:pos x="360" y="145"/>
                </a:cxn>
                <a:cxn ang="0">
                  <a:pos x="344" y="161"/>
                </a:cxn>
                <a:cxn ang="0">
                  <a:pos x="342" y="173"/>
                </a:cxn>
                <a:cxn ang="0">
                  <a:pos x="310" y="241"/>
                </a:cxn>
                <a:cxn ang="0">
                  <a:pos x="276" y="297"/>
                </a:cxn>
                <a:cxn ang="0">
                  <a:pos x="204" y="363"/>
                </a:cxn>
                <a:cxn ang="0">
                  <a:pos x="174" y="383"/>
                </a:cxn>
                <a:cxn ang="0">
                  <a:pos x="130" y="415"/>
                </a:cxn>
                <a:cxn ang="0">
                  <a:pos x="108" y="441"/>
                </a:cxn>
                <a:cxn ang="0">
                  <a:pos x="74" y="481"/>
                </a:cxn>
                <a:cxn ang="0">
                  <a:pos x="52" y="515"/>
                </a:cxn>
              </a:cxnLst>
              <a:rect l="0" t="0" r="r" b="b"/>
              <a:pathLst>
                <a:path w="400" h="535">
                  <a:moveTo>
                    <a:pt x="52" y="515"/>
                  </a:moveTo>
                  <a:lnTo>
                    <a:pt x="32" y="535"/>
                  </a:lnTo>
                  <a:lnTo>
                    <a:pt x="0" y="501"/>
                  </a:lnTo>
                  <a:lnTo>
                    <a:pt x="0" y="371"/>
                  </a:lnTo>
                  <a:lnTo>
                    <a:pt x="18" y="343"/>
                  </a:lnTo>
                  <a:lnTo>
                    <a:pt x="24" y="329"/>
                  </a:lnTo>
                  <a:lnTo>
                    <a:pt x="32" y="313"/>
                  </a:lnTo>
                  <a:lnTo>
                    <a:pt x="62" y="311"/>
                  </a:lnTo>
                  <a:lnTo>
                    <a:pt x="78" y="291"/>
                  </a:lnTo>
                  <a:lnTo>
                    <a:pt x="148" y="279"/>
                  </a:lnTo>
                  <a:lnTo>
                    <a:pt x="258" y="165"/>
                  </a:lnTo>
                  <a:lnTo>
                    <a:pt x="210" y="161"/>
                  </a:lnTo>
                  <a:lnTo>
                    <a:pt x="164" y="145"/>
                  </a:lnTo>
                  <a:lnTo>
                    <a:pt x="108" y="122"/>
                  </a:lnTo>
                  <a:lnTo>
                    <a:pt x="74" y="46"/>
                  </a:lnTo>
                  <a:lnTo>
                    <a:pt x="92" y="24"/>
                  </a:lnTo>
                  <a:lnTo>
                    <a:pt x="132" y="60"/>
                  </a:lnTo>
                  <a:lnTo>
                    <a:pt x="156" y="66"/>
                  </a:lnTo>
                  <a:lnTo>
                    <a:pt x="178" y="52"/>
                  </a:lnTo>
                  <a:lnTo>
                    <a:pt x="210" y="58"/>
                  </a:lnTo>
                  <a:lnTo>
                    <a:pt x="246" y="36"/>
                  </a:lnTo>
                  <a:lnTo>
                    <a:pt x="270" y="40"/>
                  </a:lnTo>
                  <a:lnTo>
                    <a:pt x="286" y="32"/>
                  </a:lnTo>
                  <a:lnTo>
                    <a:pt x="322" y="28"/>
                  </a:lnTo>
                  <a:lnTo>
                    <a:pt x="342" y="16"/>
                  </a:lnTo>
                  <a:lnTo>
                    <a:pt x="354" y="16"/>
                  </a:lnTo>
                  <a:lnTo>
                    <a:pt x="368" y="0"/>
                  </a:lnTo>
                  <a:lnTo>
                    <a:pt x="388" y="0"/>
                  </a:lnTo>
                  <a:lnTo>
                    <a:pt x="392" y="30"/>
                  </a:lnTo>
                  <a:lnTo>
                    <a:pt x="386" y="56"/>
                  </a:lnTo>
                  <a:lnTo>
                    <a:pt x="400" y="58"/>
                  </a:lnTo>
                  <a:lnTo>
                    <a:pt x="398" y="66"/>
                  </a:lnTo>
                  <a:lnTo>
                    <a:pt x="384" y="68"/>
                  </a:lnTo>
                  <a:lnTo>
                    <a:pt x="374" y="106"/>
                  </a:lnTo>
                  <a:lnTo>
                    <a:pt x="360" y="145"/>
                  </a:lnTo>
                  <a:lnTo>
                    <a:pt x="344" y="161"/>
                  </a:lnTo>
                  <a:lnTo>
                    <a:pt x="342" y="173"/>
                  </a:lnTo>
                  <a:lnTo>
                    <a:pt x="310" y="241"/>
                  </a:lnTo>
                  <a:lnTo>
                    <a:pt x="276" y="297"/>
                  </a:lnTo>
                  <a:lnTo>
                    <a:pt x="204" y="363"/>
                  </a:lnTo>
                  <a:lnTo>
                    <a:pt x="174" y="383"/>
                  </a:lnTo>
                  <a:lnTo>
                    <a:pt x="130" y="415"/>
                  </a:lnTo>
                  <a:lnTo>
                    <a:pt x="108" y="441"/>
                  </a:lnTo>
                  <a:lnTo>
                    <a:pt x="74" y="481"/>
                  </a:lnTo>
                  <a:lnTo>
                    <a:pt x="52" y="515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84" name="South Africa">
              <a:extLst>
                <a:ext uri="{FF2B5EF4-FFF2-40B4-BE49-F238E27FC236}">
                  <a16:creationId xmlns="" xmlns:a16="http://schemas.microsoft.com/office/drawing/2014/main" id="{29A21BB1-6F80-483E-B907-83E4E97F65F4}"/>
                </a:ext>
              </a:extLst>
            </p:cNvPr>
            <p:cNvSpPr>
              <a:spLocks noChangeAspect="1" noEditPoints="1"/>
            </p:cNvSpPr>
            <p:nvPr/>
          </p:nvSpPr>
          <p:spPr bwMode="gray">
            <a:xfrm>
              <a:off x="6306625" y="5288344"/>
              <a:ext cx="517360" cy="466075"/>
            </a:xfrm>
            <a:custGeom>
              <a:avLst/>
              <a:gdLst/>
              <a:ahLst/>
              <a:cxnLst>
                <a:cxn ang="0">
                  <a:pos x="517" y="354"/>
                </a:cxn>
                <a:cxn ang="0">
                  <a:pos x="555" y="333"/>
                </a:cxn>
                <a:cxn ang="0">
                  <a:pos x="579" y="352"/>
                </a:cxn>
                <a:cxn ang="0">
                  <a:pos x="600" y="361"/>
                </a:cxn>
                <a:cxn ang="0">
                  <a:pos x="586" y="399"/>
                </a:cxn>
                <a:cxn ang="0">
                  <a:pos x="557" y="411"/>
                </a:cxn>
                <a:cxn ang="0">
                  <a:pos x="538" y="425"/>
                </a:cxn>
                <a:cxn ang="0">
                  <a:pos x="517" y="427"/>
                </a:cxn>
                <a:cxn ang="0">
                  <a:pos x="496" y="399"/>
                </a:cxn>
                <a:cxn ang="0">
                  <a:pos x="494" y="373"/>
                </a:cxn>
                <a:cxn ang="0">
                  <a:pos x="720" y="238"/>
                </a:cxn>
                <a:cxn ang="0">
                  <a:pos x="673" y="259"/>
                </a:cxn>
                <a:cxn ang="0">
                  <a:pos x="654" y="233"/>
                </a:cxn>
                <a:cxn ang="0">
                  <a:pos x="671" y="184"/>
                </a:cxn>
                <a:cxn ang="0">
                  <a:pos x="706" y="165"/>
                </a:cxn>
                <a:cxn ang="0">
                  <a:pos x="687" y="14"/>
                </a:cxn>
                <a:cxn ang="0">
                  <a:pos x="602" y="0"/>
                </a:cxn>
                <a:cxn ang="0">
                  <a:pos x="562" y="23"/>
                </a:cxn>
                <a:cxn ang="0">
                  <a:pos x="538" y="40"/>
                </a:cxn>
                <a:cxn ang="0">
                  <a:pos x="482" y="82"/>
                </a:cxn>
                <a:cxn ang="0">
                  <a:pos x="458" y="120"/>
                </a:cxn>
                <a:cxn ang="0">
                  <a:pos x="420" y="174"/>
                </a:cxn>
                <a:cxn ang="0">
                  <a:pos x="331" y="174"/>
                </a:cxn>
                <a:cxn ang="0">
                  <a:pos x="290" y="207"/>
                </a:cxn>
                <a:cxn ang="0">
                  <a:pos x="203" y="245"/>
                </a:cxn>
                <a:cxn ang="0">
                  <a:pos x="194" y="182"/>
                </a:cxn>
                <a:cxn ang="0">
                  <a:pos x="177" y="316"/>
                </a:cxn>
                <a:cxn ang="0">
                  <a:pos x="139" y="337"/>
                </a:cxn>
                <a:cxn ang="0">
                  <a:pos x="104" y="349"/>
                </a:cxn>
                <a:cxn ang="0">
                  <a:pos x="64" y="344"/>
                </a:cxn>
                <a:cxn ang="0">
                  <a:pos x="35" y="330"/>
                </a:cxn>
                <a:cxn ang="0">
                  <a:pos x="24" y="314"/>
                </a:cxn>
                <a:cxn ang="0">
                  <a:pos x="26" y="352"/>
                </a:cxn>
                <a:cxn ang="0">
                  <a:pos x="71" y="441"/>
                </a:cxn>
                <a:cxn ang="0">
                  <a:pos x="85" y="540"/>
                </a:cxn>
                <a:cxn ang="0">
                  <a:pos x="99" y="604"/>
                </a:cxn>
                <a:cxn ang="0">
                  <a:pos x="104" y="642"/>
                </a:cxn>
                <a:cxn ang="0">
                  <a:pos x="123" y="642"/>
                </a:cxn>
                <a:cxn ang="0">
                  <a:pos x="168" y="668"/>
                </a:cxn>
                <a:cxn ang="0">
                  <a:pos x="236" y="649"/>
                </a:cxn>
                <a:cxn ang="0">
                  <a:pos x="276" y="628"/>
                </a:cxn>
                <a:cxn ang="0">
                  <a:pos x="321" y="625"/>
                </a:cxn>
                <a:cxn ang="0">
                  <a:pos x="385" y="628"/>
                </a:cxn>
                <a:cxn ang="0">
                  <a:pos x="442" y="609"/>
                </a:cxn>
                <a:cxn ang="0">
                  <a:pos x="515" y="571"/>
                </a:cxn>
                <a:cxn ang="0">
                  <a:pos x="605" y="481"/>
                </a:cxn>
                <a:cxn ang="0">
                  <a:pos x="666" y="399"/>
                </a:cxn>
                <a:cxn ang="0">
                  <a:pos x="720" y="354"/>
                </a:cxn>
                <a:cxn ang="0">
                  <a:pos x="741" y="262"/>
                </a:cxn>
                <a:cxn ang="0">
                  <a:pos x="753" y="236"/>
                </a:cxn>
              </a:cxnLst>
              <a:rect l="0" t="0" r="r" b="b"/>
              <a:pathLst>
                <a:path w="753" h="668">
                  <a:moveTo>
                    <a:pt x="494" y="373"/>
                  </a:moveTo>
                  <a:lnTo>
                    <a:pt x="517" y="354"/>
                  </a:lnTo>
                  <a:lnTo>
                    <a:pt x="541" y="335"/>
                  </a:lnTo>
                  <a:lnTo>
                    <a:pt x="555" y="333"/>
                  </a:lnTo>
                  <a:lnTo>
                    <a:pt x="569" y="344"/>
                  </a:lnTo>
                  <a:lnTo>
                    <a:pt x="579" y="352"/>
                  </a:lnTo>
                  <a:lnTo>
                    <a:pt x="590" y="352"/>
                  </a:lnTo>
                  <a:lnTo>
                    <a:pt x="600" y="361"/>
                  </a:lnTo>
                  <a:lnTo>
                    <a:pt x="595" y="380"/>
                  </a:lnTo>
                  <a:lnTo>
                    <a:pt x="586" y="399"/>
                  </a:lnTo>
                  <a:lnTo>
                    <a:pt x="574" y="411"/>
                  </a:lnTo>
                  <a:lnTo>
                    <a:pt x="557" y="411"/>
                  </a:lnTo>
                  <a:lnTo>
                    <a:pt x="541" y="411"/>
                  </a:lnTo>
                  <a:lnTo>
                    <a:pt x="538" y="425"/>
                  </a:lnTo>
                  <a:lnTo>
                    <a:pt x="534" y="439"/>
                  </a:lnTo>
                  <a:lnTo>
                    <a:pt x="517" y="427"/>
                  </a:lnTo>
                  <a:lnTo>
                    <a:pt x="505" y="406"/>
                  </a:lnTo>
                  <a:lnTo>
                    <a:pt x="496" y="399"/>
                  </a:lnTo>
                  <a:lnTo>
                    <a:pt x="491" y="382"/>
                  </a:lnTo>
                  <a:lnTo>
                    <a:pt x="494" y="373"/>
                  </a:lnTo>
                  <a:close/>
                  <a:moveTo>
                    <a:pt x="753" y="236"/>
                  </a:moveTo>
                  <a:lnTo>
                    <a:pt x="720" y="238"/>
                  </a:lnTo>
                  <a:lnTo>
                    <a:pt x="699" y="259"/>
                  </a:lnTo>
                  <a:lnTo>
                    <a:pt x="673" y="259"/>
                  </a:lnTo>
                  <a:lnTo>
                    <a:pt x="661" y="257"/>
                  </a:lnTo>
                  <a:lnTo>
                    <a:pt x="654" y="233"/>
                  </a:lnTo>
                  <a:lnTo>
                    <a:pt x="664" y="210"/>
                  </a:lnTo>
                  <a:lnTo>
                    <a:pt x="671" y="184"/>
                  </a:lnTo>
                  <a:lnTo>
                    <a:pt x="690" y="189"/>
                  </a:lnTo>
                  <a:lnTo>
                    <a:pt x="706" y="165"/>
                  </a:lnTo>
                  <a:lnTo>
                    <a:pt x="694" y="45"/>
                  </a:lnTo>
                  <a:lnTo>
                    <a:pt x="687" y="14"/>
                  </a:lnTo>
                  <a:lnTo>
                    <a:pt x="626" y="2"/>
                  </a:lnTo>
                  <a:lnTo>
                    <a:pt x="602" y="0"/>
                  </a:lnTo>
                  <a:lnTo>
                    <a:pt x="586" y="7"/>
                  </a:lnTo>
                  <a:lnTo>
                    <a:pt x="562" y="23"/>
                  </a:lnTo>
                  <a:lnTo>
                    <a:pt x="548" y="28"/>
                  </a:lnTo>
                  <a:lnTo>
                    <a:pt x="538" y="40"/>
                  </a:lnTo>
                  <a:lnTo>
                    <a:pt x="512" y="47"/>
                  </a:lnTo>
                  <a:lnTo>
                    <a:pt x="482" y="82"/>
                  </a:lnTo>
                  <a:lnTo>
                    <a:pt x="475" y="111"/>
                  </a:lnTo>
                  <a:lnTo>
                    <a:pt x="458" y="120"/>
                  </a:lnTo>
                  <a:lnTo>
                    <a:pt x="437" y="127"/>
                  </a:lnTo>
                  <a:lnTo>
                    <a:pt x="420" y="174"/>
                  </a:lnTo>
                  <a:lnTo>
                    <a:pt x="364" y="189"/>
                  </a:lnTo>
                  <a:lnTo>
                    <a:pt x="331" y="174"/>
                  </a:lnTo>
                  <a:lnTo>
                    <a:pt x="312" y="174"/>
                  </a:lnTo>
                  <a:lnTo>
                    <a:pt x="290" y="207"/>
                  </a:lnTo>
                  <a:lnTo>
                    <a:pt x="250" y="241"/>
                  </a:lnTo>
                  <a:lnTo>
                    <a:pt x="203" y="245"/>
                  </a:lnTo>
                  <a:lnTo>
                    <a:pt x="189" y="215"/>
                  </a:lnTo>
                  <a:lnTo>
                    <a:pt x="194" y="182"/>
                  </a:lnTo>
                  <a:lnTo>
                    <a:pt x="175" y="146"/>
                  </a:lnTo>
                  <a:lnTo>
                    <a:pt x="177" y="316"/>
                  </a:lnTo>
                  <a:lnTo>
                    <a:pt x="163" y="333"/>
                  </a:lnTo>
                  <a:lnTo>
                    <a:pt x="139" y="337"/>
                  </a:lnTo>
                  <a:lnTo>
                    <a:pt x="135" y="354"/>
                  </a:lnTo>
                  <a:lnTo>
                    <a:pt x="104" y="349"/>
                  </a:lnTo>
                  <a:lnTo>
                    <a:pt x="87" y="354"/>
                  </a:lnTo>
                  <a:lnTo>
                    <a:pt x="64" y="344"/>
                  </a:lnTo>
                  <a:lnTo>
                    <a:pt x="45" y="342"/>
                  </a:lnTo>
                  <a:lnTo>
                    <a:pt x="35" y="330"/>
                  </a:lnTo>
                  <a:lnTo>
                    <a:pt x="43" y="314"/>
                  </a:lnTo>
                  <a:lnTo>
                    <a:pt x="24" y="314"/>
                  </a:lnTo>
                  <a:lnTo>
                    <a:pt x="0" y="330"/>
                  </a:lnTo>
                  <a:lnTo>
                    <a:pt x="26" y="352"/>
                  </a:lnTo>
                  <a:lnTo>
                    <a:pt x="52" y="411"/>
                  </a:lnTo>
                  <a:lnTo>
                    <a:pt x="71" y="441"/>
                  </a:lnTo>
                  <a:lnTo>
                    <a:pt x="87" y="486"/>
                  </a:lnTo>
                  <a:lnTo>
                    <a:pt x="85" y="540"/>
                  </a:lnTo>
                  <a:lnTo>
                    <a:pt x="71" y="545"/>
                  </a:lnTo>
                  <a:lnTo>
                    <a:pt x="99" y="604"/>
                  </a:lnTo>
                  <a:lnTo>
                    <a:pt x="90" y="616"/>
                  </a:lnTo>
                  <a:lnTo>
                    <a:pt x="104" y="642"/>
                  </a:lnTo>
                  <a:lnTo>
                    <a:pt x="111" y="623"/>
                  </a:lnTo>
                  <a:lnTo>
                    <a:pt x="123" y="642"/>
                  </a:lnTo>
                  <a:lnTo>
                    <a:pt x="139" y="649"/>
                  </a:lnTo>
                  <a:lnTo>
                    <a:pt x="168" y="668"/>
                  </a:lnTo>
                  <a:lnTo>
                    <a:pt x="180" y="649"/>
                  </a:lnTo>
                  <a:lnTo>
                    <a:pt x="236" y="649"/>
                  </a:lnTo>
                  <a:lnTo>
                    <a:pt x="257" y="635"/>
                  </a:lnTo>
                  <a:lnTo>
                    <a:pt x="276" y="628"/>
                  </a:lnTo>
                  <a:lnTo>
                    <a:pt x="312" y="637"/>
                  </a:lnTo>
                  <a:lnTo>
                    <a:pt x="321" y="625"/>
                  </a:lnTo>
                  <a:lnTo>
                    <a:pt x="371" y="642"/>
                  </a:lnTo>
                  <a:lnTo>
                    <a:pt x="385" y="628"/>
                  </a:lnTo>
                  <a:lnTo>
                    <a:pt x="427" y="628"/>
                  </a:lnTo>
                  <a:lnTo>
                    <a:pt x="442" y="609"/>
                  </a:lnTo>
                  <a:lnTo>
                    <a:pt x="465" y="609"/>
                  </a:lnTo>
                  <a:lnTo>
                    <a:pt x="515" y="571"/>
                  </a:lnTo>
                  <a:lnTo>
                    <a:pt x="574" y="522"/>
                  </a:lnTo>
                  <a:lnTo>
                    <a:pt x="605" y="481"/>
                  </a:lnTo>
                  <a:lnTo>
                    <a:pt x="633" y="455"/>
                  </a:lnTo>
                  <a:lnTo>
                    <a:pt x="666" y="399"/>
                  </a:lnTo>
                  <a:lnTo>
                    <a:pt x="701" y="356"/>
                  </a:lnTo>
                  <a:lnTo>
                    <a:pt x="720" y="354"/>
                  </a:lnTo>
                  <a:lnTo>
                    <a:pt x="746" y="302"/>
                  </a:lnTo>
                  <a:lnTo>
                    <a:pt x="741" y="262"/>
                  </a:lnTo>
                  <a:lnTo>
                    <a:pt x="751" y="257"/>
                  </a:lnTo>
                  <a:lnTo>
                    <a:pt x="753" y="236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 cmpd="sng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85" name="Spain">
              <a:extLst>
                <a:ext uri="{FF2B5EF4-FFF2-40B4-BE49-F238E27FC236}">
                  <a16:creationId xmlns="" xmlns:a16="http://schemas.microsoft.com/office/drawing/2014/main" id="{BF7B8A80-1E7D-40B3-B38A-389F81B6EEB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517158" y="3007570"/>
              <a:ext cx="439268" cy="326449"/>
            </a:xfrm>
            <a:custGeom>
              <a:avLst/>
              <a:gdLst/>
              <a:ahLst/>
              <a:cxnLst>
                <a:cxn ang="0">
                  <a:pos x="308" y="26"/>
                </a:cxn>
                <a:cxn ang="0">
                  <a:pos x="330" y="38"/>
                </a:cxn>
                <a:cxn ang="0">
                  <a:pos x="362" y="54"/>
                </a:cxn>
                <a:cxn ang="0">
                  <a:pos x="414" y="48"/>
                </a:cxn>
                <a:cxn ang="0">
                  <a:pos x="410" y="66"/>
                </a:cxn>
                <a:cxn ang="0">
                  <a:pos x="436" y="64"/>
                </a:cxn>
                <a:cxn ang="0">
                  <a:pos x="486" y="60"/>
                </a:cxn>
                <a:cxn ang="0">
                  <a:pos x="486" y="82"/>
                </a:cxn>
                <a:cxn ang="0">
                  <a:pos x="452" y="124"/>
                </a:cxn>
                <a:cxn ang="0">
                  <a:pos x="392" y="152"/>
                </a:cxn>
                <a:cxn ang="0">
                  <a:pos x="376" y="184"/>
                </a:cxn>
                <a:cxn ang="0">
                  <a:pos x="352" y="244"/>
                </a:cxn>
                <a:cxn ang="0">
                  <a:pos x="350" y="278"/>
                </a:cxn>
                <a:cxn ang="0">
                  <a:pos x="332" y="328"/>
                </a:cxn>
                <a:cxn ang="0">
                  <a:pos x="290" y="340"/>
                </a:cxn>
                <a:cxn ang="0">
                  <a:pos x="282" y="364"/>
                </a:cxn>
                <a:cxn ang="0">
                  <a:pos x="254" y="364"/>
                </a:cxn>
                <a:cxn ang="0">
                  <a:pos x="214" y="362"/>
                </a:cxn>
                <a:cxn ang="0">
                  <a:pos x="184" y="370"/>
                </a:cxn>
                <a:cxn ang="0">
                  <a:pos x="158" y="390"/>
                </a:cxn>
                <a:cxn ang="0">
                  <a:pos x="132" y="384"/>
                </a:cxn>
                <a:cxn ang="0">
                  <a:pos x="118" y="366"/>
                </a:cxn>
                <a:cxn ang="0">
                  <a:pos x="110" y="354"/>
                </a:cxn>
                <a:cxn ang="0">
                  <a:pos x="84" y="338"/>
                </a:cxn>
                <a:cxn ang="0">
                  <a:pos x="76" y="306"/>
                </a:cxn>
                <a:cxn ang="0">
                  <a:pos x="84" y="278"/>
                </a:cxn>
                <a:cxn ang="0">
                  <a:pos x="92" y="256"/>
                </a:cxn>
                <a:cxn ang="0">
                  <a:pos x="68" y="218"/>
                </a:cxn>
                <a:cxn ang="0">
                  <a:pos x="90" y="204"/>
                </a:cxn>
                <a:cxn ang="0">
                  <a:pos x="94" y="166"/>
                </a:cxn>
                <a:cxn ang="0">
                  <a:pos x="100" y="136"/>
                </a:cxn>
                <a:cxn ang="0">
                  <a:pos x="106" y="96"/>
                </a:cxn>
                <a:cxn ang="0">
                  <a:pos x="64" y="90"/>
                </a:cxn>
                <a:cxn ang="0">
                  <a:pos x="40" y="78"/>
                </a:cxn>
                <a:cxn ang="0">
                  <a:pos x="16" y="76"/>
                </a:cxn>
                <a:cxn ang="0">
                  <a:pos x="12" y="42"/>
                </a:cxn>
                <a:cxn ang="0">
                  <a:pos x="0" y="26"/>
                </a:cxn>
                <a:cxn ang="0">
                  <a:pos x="34" y="8"/>
                </a:cxn>
                <a:cxn ang="0">
                  <a:pos x="102" y="2"/>
                </a:cxn>
                <a:cxn ang="0">
                  <a:pos x="170" y="6"/>
                </a:cxn>
                <a:cxn ang="0">
                  <a:pos x="228" y="8"/>
                </a:cxn>
                <a:cxn ang="0">
                  <a:pos x="280" y="20"/>
                </a:cxn>
                <a:cxn ang="0">
                  <a:pos x="492" y="238"/>
                </a:cxn>
                <a:cxn ang="0">
                  <a:pos x="502" y="218"/>
                </a:cxn>
                <a:cxn ang="0">
                  <a:pos x="472" y="214"/>
                </a:cxn>
                <a:cxn ang="0">
                  <a:pos x="492" y="238"/>
                </a:cxn>
                <a:cxn ang="0">
                  <a:pos x="424" y="256"/>
                </a:cxn>
                <a:cxn ang="0">
                  <a:pos x="406" y="260"/>
                </a:cxn>
                <a:cxn ang="0">
                  <a:pos x="534" y="208"/>
                </a:cxn>
                <a:cxn ang="0">
                  <a:pos x="526" y="188"/>
                </a:cxn>
                <a:cxn ang="0">
                  <a:pos x="534" y="208"/>
                </a:cxn>
              </a:cxnLst>
              <a:rect l="0" t="0" r="r" b="b"/>
              <a:pathLst>
                <a:path w="540" h="398">
                  <a:moveTo>
                    <a:pt x="298" y="16"/>
                  </a:moveTo>
                  <a:lnTo>
                    <a:pt x="308" y="26"/>
                  </a:lnTo>
                  <a:lnTo>
                    <a:pt x="316" y="34"/>
                  </a:lnTo>
                  <a:lnTo>
                    <a:pt x="330" y="38"/>
                  </a:lnTo>
                  <a:lnTo>
                    <a:pt x="344" y="48"/>
                  </a:lnTo>
                  <a:lnTo>
                    <a:pt x="362" y="54"/>
                  </a:lnTo>
                  <a:lnTo>
                    <a:pt x="390" y="48"/>
                  </a:lnTo>
                  <a:lnTo>
                    <a:pt x="414" y="48"/>
                  </a:lnTo>
                  <a:lnTo>
                    <a:pt x="414" y="56"/>
                  </a:lnTo>
                  <a:lnTo>
                    <a:pt x="410" y="66"/>
                  </a:lnTo>
                  <a:lnTo>
                    <a:pt x="424" y="74"/>
                  </a:lnTo>
                  <a:lnTo>
                    <a:pt x="436" y="64"/>
                  </a:lnTo>
                  <a:lnTo>
                    <a:pt x="460" y="64"/>
                  </a:lnTo>
                  <a:lnTo>
                    <a:pt x="486" y="60"/>
                  </a:lnTo>
                  <a:lnTo>
                    <a:pt x="492" y="72"/>
                  </a:lnTo>
                  <a:lnTo>
                    <a:pt x="486" y="82"/>
                  </a:lnTo>
                  <a:lnTo>
                    <a:pt x="484" y="98"/>
                  </a:lnTo>
                  <a:lnTo>
                    <a:pt x="452" y="124"/>
                  </a:lnTo>
                  <a:lnTo>
                    <a:pt x="436" y="126"/>
                  </a:lnTo>
                  <a:lnTo>
                    <a:pt x="392" y="152"/>
                  </a:lnTo>
                  <a:lnTo>
                    <a:pt x="394" y="166"/>
                  </a:lnTo>
                  <a:lnTo>
                    <a:pt x="376" y="184"/>
                  </a:lnTo>
                  <a:lnTo>
                    <a:pt x="352" y="222"/>
                  </a:lnTo>
                  <a:lnTo>
                    <a:pt x="352" y="244"/>
                  </a:lnTo>
                  <a:lnTo>
                    <a:pt x="366" y="266"/>
                  </a:lnTo>
                  <a:lnTo>
                    <a:pt x="350" y="278"/>
                  </a:lnTo>
                  <a:lnTo>
                    <a:pt x="336" y="302"/>
                  </a:lnTo>
                  <a:lnTo>
                    <a:pt x="332" y="328"/>
                  </a:lnTo>
                  <a:lnTo>
                    <a:pt x="312" y="330"/>
                  </a:lnTo>
                  <a:lnTo>
                    <a:pt x="290" y="340"/>
                  </a:lnTo>
                  <a:lnTo>
                    <a:pt x="290" y="356"/>
                  </a:lnTo>
                  <a:lnTo>
                    <a:pt x="282" y="364"/>
                  </a:lnTo>
                  <a:lnTo>
                    <a:pt x="272" y="354"/>
                  </a:lnTo>
                  <a:lnTo>
                    <a:pt x="254" y="364"/>
                  </a:lnTo>
                  <a:lnTo>
                    <a:pt x="240" y="362"/>
                  </a:lnTo>
                  <a:lnTo>
                    <a:pt x="214" y="362"/>
                  </a:lnTo>
                  <a:lnTo>
                    <a:pt x="198" y="360"/>
                  </a:lnTo>
                  <a:lnTo>
                    <a:pt x="184" y="370"/>
                  </a:lnTo>
                  <a:lnTo>
                    <a:pt x="164" y="374"/>
                  </a:lnTo>
                  <a:lnTo>
                    <a:pt x="158" y="390"/>
                  </a:lnTo>
                  <a:lnTo>
                    <a:pt x="144" y="398"/>
                  </a:lnTo>
                  <a:lnTo>
                    <a:pt x="132" y="384"/>
                  </a:lnTo>
                  <a:lnTo>
                    <a:pt x="122" y="380"/>
                  </a:lnTo>
                  <a:lnTo>
                    <a:pt x="118" y="366"/>
                  </a:lnTo>
                  <a:lnTo>
                    <a:pt x="112" y="364"/>
                  </a:lnTo>
                  <a:lnTo>
                    <a:pt x="110" y="354"/>
                  </a:lnTo>
                  <a:lnTo>
                    <a:pt x="98" y="338"/>
                  </a:lnTo>
                  <a:lnTo>
                    <a:pt x="84" y="338"/>
                  </a:lnTo>
                  <a:lnTo>
                    <a:pt x="74" y="332"/>
                  </a:lnTo>
                  <a:lnTo>
                    <a:pt x="76" y="306"/>
                  </a:lnTo>
                  <a:lnTo>
                    <a:pt x="92" y="292"/>
                  </a:lnTo>
                  <a:lnTo>
                    <a:pt x="84" y="278"/>
                  </a:lnTo>
                  <a:lnTo>
                    <a:pt x="84" y="264"/>
                  </a:lnTo>
                  <a:lnTo>
                    <a:pt x="92" y="256"/>
                  </a:lnTo>
                  <a:lnTo>
                    <a:pt x="76" y="238"/>
                  </a:lnTo>
                  <a:lnTo>
                    <a:pt x="68" y="218"/>
                  </a:lnTo>
                  <a:lnTo>
                    <a:pt x="84" y="216"/>
                  </a:lnTo>
                  <a:lnTo>
                    <a:pt x="90" y="204"/>
                  </a:lnTo>
                  <a:lnTo>
                    <a:pt x="86" y="188"/>
                  </a:lnTo>
                  <a:lnTo>
                    <a:pt x="94" y="166"/>
                  </a:lnTo>
                  <a:lnTo>
                    <a:pt x="94" y="148"/>
                  </a:lnTo>
                  <a:lnTo>
                    <a:pt x="100" y="136"/>
                  </a:lnTo>
                  <a:lnTo>
                    <a:pt x="122" y="114"/>
                  </a:lnTo>
                  <a:lnTo>
                    <a:pt x="106" y="96"/>
                  </a:lnTo>
                  <a:lnTo>
                    <a:pt x="84" y="90"/>
                  </a:lnTo>
                  <a:lnTo>
                    <a:pt x="64" y="90"/>
                  </a:lnTo>
                  <a:lnTo>
                    <a:pt x="48" y="90"/>
                  </a:lnTo>
                  <a:lnTo>
                    <a:pt x="40" y="78"/>
                  </a:lnTo>
                  <a:lnTo>
                    <a:pt x="18" y="92"/>
                  </a:lnTo>
                  <a:lnTo>
                    <a:pt x="16" y="76"/>
                  </a:lnTo>
                  <a:lnTo>
                    <a:pt x="10" y="62"/>
                  </a:lnTo>
                  <a:lnTo>
                    <a:pt x="12" y="42"/>
                  </a:lnTo>
                  <a:lnTo>
                    <a:pt x="2" y="36"/>
                  </a:lnTo>
                  <a:lnTo>
                    <a:pt x="0" y="26"/>
                  </a:lnTo>
                  <a:lnTo>
                    <a:pt x="10" y="10"/>
                  </a:lnTo>
                  <a:lnTo>
                    <a:pt x="34" y="8"/>
                  </a:lnTo>
                  <a:lnTo>
                    <a:pt x="48" y="0"/>
                  </a:lnTo>
                  <a:lnTo>
                    <a:pt x="102" y="2"/>
                  </a:lnTo>
                  <a:lnTo>
                    <a:pt x="136" y="0"/>
                  </a:lnTo>
                  <a:lnTo>
                    <a:pt x="170" y="6"/>
                  </a:lnTo>
                  <a:lnTo>
                    <a:pt x="192" y="10"/>
                  </a:lnTo>
                  <a:lnTo>
                    <a:pt x="228" y="8"/>
                  </a:lnTo>
                  <a:lnTo>
                    <a:pt x="256" y="14"/>
                  </a:lnTo>
                  <a:lnTo>
                    <a:pt x="280" y="20"/>
                  </a:lnTo>
                  <a:lnTo>
                    <a:pt x="298" y="16"/>
                  </a:lnTo>
                  <a:close/>
                  <a:moveTo>
                    <a:pt x="492" y="238"/>
                  </a:moveTo>
                  <a:lnTo>
                    <a:pt x="496" y="226"/>
                  </a:lnTo>
                  <a:lnTo>
                    <a:pt x="502" y="218"/>
                  </a:lnTo>
                  <a:lnTo>
                    <a:pt x="492" y="204"/>
                  </a:lnTo>
                  <a:lnTo>
                    <a:pt x="472" y="214"/>
                  </a:lnTo>
                  <a:lnTo>
                    <a:pt x="458" y="228"/>
                  </a:lnTo>
                  <a:lnTo>
                    <a:pt x="492" y="238"/>
                  </a:lnTo>
                  <a:close/>
                  <a:moveTo>
                    <a:pt x="420" y="268"/>
                  </a:moveTo>
                  <a:lnTo>
                    <a:pt x="424" y="256"/>
                  </a:lnTo>
                  <a:lnTo>
                    <a:pt x="420" y="244"/>
                  </a:lnTo>
                  <a:lnTo>
                    <a:pt x="406" y="260"/>
                  </a:lnTo>
                  <a:lnTo>
                    <a:pt x="420" y="268"/>
                  </a:lnTo>
                  <a:close/>
                  <a:moveTo>
                    <a:pt x="534" y="208"/>
                  </a:moveTo>
                  <a:lnTo>
                    <a:pt x="540" y="200"/>
                  </a:lnTo>
                  <a:lnTo>
                    <a:pt x="526" y="188"/>
                  </a:lnTo>
                  <a:lnTo>
                    <a:pt x="514" y="200"/>
                  </a:lnTo>
                  <a:lnTo>
                    <a:pt x="534" y="208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86" name="Sri Lanka">
              <a:extLst>
                <a:ext uri="{FF2B5EF4-FFF2-40B4-BE49-F238E27FC236}">
                  <a16:creationId xmlns="" xmlns:a16="http://schemas.microsoft.com/office/drawing/2014/main" id="{4FD981E9-36F6-4CBD-9C36-CF7165887CD7}"/>
                </a:ext>
              </a:extLst>
            </p:cNvPr>
            <p:cNvSpPr>
              <a:spLocks/>
            </p:cNvSpPr>
            <p:nvPr/>
          </p:nvSpPr>
          <p:spPr bwMode="gray">
            <a:xfrm>
              <a:off x="8260881" y="4242135"/>
              <a:ext cx="66379" cy="110128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20" y="0"/>
                </a:cxn>
                <a:cxn ang="0">
                  <a:pos x="38" y="14"/>
                </a:cxn>
                <a:cxn ang="0">
                  <a:pos x="52" y="36"/>
                </a:cxn>
                <a:cxn ang="0">
                  <a:pos x="54" y="50"/>
                </a:cxn>
                <a:cxn ang="0">
                  <a:pos x="60" y="50"/>
                </a:cxn>
                <a:cxn ang="0">
                  <a:pos x="70" y="76"/>
                </a:cxn>
                <a:cxn ang="0">
                  <a:pos x="78" y="74"/>
                </a:cxn>
                <a:cxn ang="0">
                  <a:pos x="80" y="94"/>
                </a:cxn>
                <a:cxn ang="0">
                  <a:pos x="76" y="120"/>
                </a:cxn>
                <a:cxn ang="0">
                  <a:pos x="60" y="124"/>
                </a:cxn>
                <a:cxn ang="0">
                  <a:pos x="42" y="134"/>
                </a:cxn>
                <a:cxn ang="0">
                  <a:pos x="16" y="134"/>
                </a:cxn>
                <a:cxn ang="0">
                  <a:pos x="2" y="110"/>
                </a:cxn>
                <a:cxn ang="0">
                  <a:pos x="2" y="90"/>
                </a:cxn>
                <a:cxn ang="0">
                  <a:pos x="0" y="50"/>
                </a:cxn>
                <a:cxn ang="0">
                  <a:pos x="8" y="32"/>
                </a:cxn>
                <a:cxn ang="0">
                  <a:pos x="14" y="14"/>
                </a:cxn>
                <a:cxn ang="0">
                  <a:pos x="8" y="0"/>
                </a:cxn>
              </a:cxnLst>
              <a:rect l="0" t="0" r="r" b="b"/>
              <a:pathLst>
                <a:path w="80" h="134">
                  <a:moveTo>
                    <a:pt x="8" y="0"/>
                  </a:moveTo>
                  <a:lnTo>
                    <a:pt x="20" y="0"/>
                  </a:lnTo>
                  <a:lnTo>
                    <a:pt x="38" y="14"/>
                  </a:lnTo>
                  <a:lnTo>
                    <a:pt x="52" y="36"/>
                  </a:lnTo>
                  <a:lnTo>
                    <a:pt x="54" y="50"/>
                  </a:lnTo>
                  <a:lnTo>
                    <a:pt x="60" y="50"/>
                  </a:lnTo>
                  <a:lnTo>
                    <a:pt x="70" y="76"/>
                  </a:lnTo>
                  <a:lnTo>
                    <a:pt x="78" y="74"/>
                  </a:lnTo>
                  <a:lnTo>
                    <a:pt x="80" y="94"/>
                  </a:lnTo>
                  <a:lnTo>
                    <a:pt x="76" y="120"/>
                  </a:lnTo>
                  <a:lnTo>
                    <a:pt x="60" y="124"/>
                  </a:lnTo>
                  <a:lnTo>
                    <a:pt x="42" y="134"/>
                  </a:lnTo>
                  <a:lnTo>
                    <a:pt x="16" y="134"/>
                  </a:lnTo>
                  <a:lnTo>
                    <a:pt x="2" y="110"/>
                  </a:lnTo>
                  <a:lnTo>
                    <a:pt x="2" y="90"/>
                  </a:lnTo>
                  <a:lnTo>
                    <a:pt x="0" y="50"/>
                  </a:lnTo>
                  <a:lnTo>
                    <a:pt x="8" y="32"/>
                  </a:lnTo>
                  <a:lnTo>
                    <a:pt x="14" y="14"/>
                  </a:lnTo>
                  <a:lnTo>
                    <a:pt x="8" y="0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87" name="Sudan">
              <a:extLst>
                <a:ext uri="{FF2B5EF4-FFF2-40B4-BE49-F238E27FC236}">
                  <a16:creationId xmlns="" xmlns:a16="http://schemas.microsoft.com/office/drawing/2014/main" id="{44DB2662-C9A1-42E4-A510-0E2C6CD57E8D}"/>
                </a:ext>
              </a:extLst>
            </p:cNvPr>
            <p:cNvSpPr>
              <a:spLocks/>
            </p:cNvSpPr>
            <p:nvPr/>
          </p:nvSpPr>
          <p:spPr bwMode="gray">
            <a:xfrm>
              <a:off x="6478427" y="3848823"/>
              <a:ext cx="523217" cy="605700"/>
            </a:xfrm>
            <a:custGeom>
              <a:avLst/>
              <a:gdLst/>
              <a:ahLst/>
              <a:cxnLst>
                <a:cxn ang="0">
                  <a:pos x="216" y="647"/>
                </a:cxn>
                <a:cxn ang="0">
                  <a:pos x="178" y="609"/>
                </a:cxn>
                <a:cxn ang="0">
                  <a:pos x="142" y="573"/>
                </a:cxn>
                <a:cxn ang="0">
                  <a:pos x="110" y="535"/>
                </a:cxn>
                <a:cxn ang="0">
                  <a:pos x="64" y="524"/>
                </a:cxn>
                <a:cxn ang="0">
                  <a:pos x="72" y="480"/>
                </a:cxn>
                <a:cxn ang="0">
                  <a:pos x="48" y="440"/>
                </a:cxn>
                <a:cxn ang="0">
                  <a:pos x="42" y="424"/>
                </a:cxn>
                <a:cxn ang="0">
                  <a:pos x="6" y="362"/>
                </a:cxn>
                <a:cxn ang="0">
                  <a:pos x="0" y="334"/>
                </a:cxn>
                <a:cxn ang="0">
                  <a:pos x="20" y="298"/>
                </a:cxn>
                <a:cxn ang="0">
                  <a:pos x="36" y="264"/>
                </a:cxn>
                <a:cxn ang="0">
                  <a:pos x="76" y="104"/>
                </a:cxn>
                <a:cxn ang="0">
                  <a:pos x="84" y="70"/>
                </a:cxn>
                <a:cxn ang="0">
                  <a:pos x="126" y="0"/>
                </a:cxn>
                <a:cxn ang="0">
                  <a:pos x="594" y="40"/>
                </a:cxn>
                <a:cxn ang="0">
                  <a:pos x="590" y="86"/>
                </a:cxn>
                <a:cxn ang="0">
                  <a:pos x="646" y="160"/>
                </a:cxn>
                <a:cxn ang="0">
                  <a:pos x="608" y="180"/>
                </a:cxn>
                <a:cxn ang="0">
                  <a:pos x="584" y="200"/>
                </a:cxn>
                <a:cxn ang="0">
                  <a:pos x="576" y="272"/>
                </a:cxn>
                <a:cxn ang="0">
                  <a:pos x="562" y="314"/>
                </a:cxn>
                <a:cxn ang="0">
                  <a:pos x="552" y="376"/>
                </a:cxn>
                <a:cxn ang="0">
                  <a:pos x="506" y="410"/>
                </a:cxn>
                <a:cxn ang="0">
                  <a:pos x="504" y="444"/>
                </a:cxn>
                <a:cxn ang="0">
                  <a:pos x="474" y="488"/>
                </a:cxn>
                <a:cxn ang="0">
                  <a:pos x="446" y="545"/>
                </a:cxn>
                <a:cxn ang="0">
                  <a:pos x="478" y="593"/>
                </a:cxn>
                <a:cxn ang="0">
                  <a:pos x="506" y="621"/>
                </a:cxn>
                <a:cxn ang="0">
                  <a:pos x="540" y="665"/>
                </a:cxn>
                <a:cxn ang="0">
                  <a:pos x="524" y="681"/>
                </a:cxn>
                <a:cxn ang="0">
                  <a:pos x="476" y="717"/>
                </a:cxn>
                <a:cxn ang="0">
                  <a:pos x="408" y="727"/>
                </a:cxn>
                <a:cxn ang="0">
                  <a:pos x="382" y="721"/>
                </a:cxn>
                <a:cxn ang="0">
                  <a:pos x="354" y="739"/>
                </a:cxn>
                <a:cxn ang="0">
                  <a:pos x="288" y="701"/>
                </a:cxn>
                <a:cxn ang="0">
                  <a:pos x="254" y="701"/>
                </a:cxn>
              </a:cxnLst>
              <a:rect l="0" t="0" r="r" b="b"/>
              <a:pathLst>
                <a:path w="646" h="739">
                  <a:moveTo>
                    <a:pt x="222" y="683"/>
                  </a:moveTo>
                  <a:lnTo>
                    <a:pt x="216" y="647"/>
                  </a:lnTo>
                  <a:lnTo>
                    <a:pt x="176" y="621"/>
                  </a:lnTo>
                  <a:lnTo>
                    <a:pt x="178" y="609"/>
                  </a:lnTo>
                  <a:lnTo>
                    <a:pt x="140" y="585"/>
                  </a:lnTo>
                  <a:lnTo>
                    <a:pt x="142" y="573"/>
                  </a:lnTo>
                  <a:lnTo>
                    <a:pt x="108" y="551"/>
                  </a:lnTo>
                  <a:lnTo>
                    <a:pt x="110" y="535"/>
                  </a:lnTo>
                  <a:lnTo>
                    <a:pt x="90" y="537"/>
                  </a:lnTo>
                  <a:lnTo>
                    <a:pt x="64" y="524"/>
                  </a:lnTo>
                  <a:lnTo>
                    <a:pt x="74" y="508"/>
                  </a:lnTo>
                  <a:lnTo>
                    <a:pt x="72" y="480"/>
                  </a:lnTo>
                  <a:lnTo>
                    <a:pt x="54" y="462"/>
                  </a:lnTo>
                  <a:lnTo>
                    <a:pt x="48" y="440"/>
                  </a:lnTo>
                  <a:lnTo>
                    <a:pt x="52" y="430"/>
                  </a:lnTo>
                  <a:lnTo>
                    <a:pt x="42" y="424"/>
                  </a:lnTo>
                  <a:lnTo>
                    <a:pt x="22" y="372"/>
                  </a:lnTo>
                  <a:lnTo>
                    <a:pt x="6" y="362"/>
                  </a:lnTo>
                  <a:lnTo>
                    <a:pt x="10" y="348"/>
                  </a:lnTo>
                  <a:lnTo>
                    <a:pt x="0" y="334"/>
                  </a:lnTo>
                  <a:lnTo>
                    <a:pt x="32" y="318"/>
                  </a:lnTo>
                  <a:lnTo>
                    <a:pt x="20" y="298"/>
                  </a:lnTo>
                  <a:lnTo>
                    <a:pt x="36" y="288"/>
                  </a:lnTo>
                  <a:lnTo>
                    <a:pt x="36" y="264"/>
                  </a:lnTo>
                  <a:lnTo>
                    <a:pt x="74" y="256"/>
                  </a:lnTo>
                  <a:lnTo>
                    <a:pt x="76" y="104"/>
                  </a:lnTo>
                  <a:lnTo>
                    <a:pt x="78" y="80"/>
                  </a:lnTo>
                  <a:lnTo>
                    <a:pt x="84" y="70"/>
                  </a:lnTo>
                  <a:lnTo>
                    <a:pt x="126" y="70"/>
                  </a:lnTo>
                  <a:lnTo>
                    <a:pt x="126" y="0"/>
                  </a:lnTo>
                  <a:lnTo>
                    <a:pt x="574" y="2"/>
                  </a:lnTo>
                  <a:lnTo>
                    <a:pt x="594" y="40"/>
                  </a:lnTo>
                  <a:lnTo>
                    <a:pt x="584" y="40"/>
                  </a:lnTo>
                  <a:lnTo>
                    <a:pt x="590" y="86"/>
                  </a:lnTo>
                  <a:lnTo>
                    <a:pt x="604" y="132"/>
                  </a:lnTo>
                  <a:lnTo>
                    <a:pt x="646" y="160"/>
                  </a:lnTo>
                  <a:lnTo>
                    <a:pt x="628" y="174"/>
                  </a:lnTo>
                  <a:lnTo>
                    <a:pt x="608" y="180"/>
                  </a:lnTo>
                  <a:lnTo>
                    <a:pt x="598" y="198"/>
                  </a:lnTo>
                  <a:lnTo>
                    <a:pt x="584" y="200"/>
                  </a:lnTo>
                  <a:lnTo>
                    <a:pt x="586" y="248"/>
                  </a:lnTo>
                  <a:lnTo>
                    <a:pt x="576" y="272"/>
                  </a:lnTo>
                  <a:lnTo>
                    <a:pt x="560" y="280"/>
                  </a:lnTo>
                  <a:lnTo>
                    <a:pt x="562" y="314"/>
                  </a:lnTo>
                  <a:lnTo>
                    <a:pt x="564" y="342"/>
                  </a:lnTo>
                  <a:lnTo>
                    <a:pt x="552" y="376"/>
                  </a:lnTo>
                  <a:lnTo>
                    <a:pt x="534" y="376"/>
                  </a:lnTo>
                  <a:lnTo>
                    <a:pt x="506" y="410"/>
                  </a:lnTo>
                  <a:lnTo>
                    <a:pt x="500" y="422"/>
                  </a:lnTo>
                  <a:lnTo>
                    <a:pt x="504" y="444"/>
                  </a:lnTo>
                  <a:lnTo>
                    <a:pt x="482" y="450"/>
                  </a:lnTo>
                  <a:lnTo>
                    <a:pt x="474" y="488"/>
                  </a:lnTo>
                  <a:lnTo>
                    <a:pt x="478" y="547"/>
                  </a:lnTo>
                  <a:lnTo>
                    <a:pt x="446" y="545"/>
                  </a:lnTo>
                  <a:lnTo>
                    <a:pt x="436" y="575"/>
                  </a:lnTo>
                  <a:lnTo>
                    <a:pt x="478" y="593"/>
                  </a:lnTo>
                  <a:lnTo>
                    <a:pt x="488" y="611"/>
                  </a:lnTo>
                  <a:lnTo>
                    <a:pt x="506" y="621"/>
                  </a:lnTo>
                  <a:lnTo>
                    <a:pt x="508" y="655"/>
                  </a:lnTo>
                  <a:lnTo>
                    <a:pt x="540" y="665"/>
                  </a:lnTo>
                  <a:lnTo>
                    <a:pt x="542" y="693"/>
                  </a:lnTo>
                  <a:lnTo>
                    <a:pt x="524" y="681"/>
                  </a:lnTo>
                  <a:lnTo>
                    <a:pt x="494" y="697"/>
                  </a:lnTo>
                  <a:lnTo>
                    <a:pt x="476" y="717"/>
                  </a:lnTo>
                  <a:lnTo>
                    <a:pt x="462" y="731"/>
                  </a:lnTo>
                  <a:lnTo>
                    <a:pt x="408" y="727"/>
                  </a:lnTo>
                  <a:lnTo>
                    <a:pt x="396" y="711"/>
                  </a:lnTo>
                  <a:lnTo>
                    <a:pt x="382" y="721"/>
                  </a:lnTo>
                  <a:lnTo>
                    <a:pt x="366" y="723"/>
                  </a:lnTo>
                  <a:lnTo>
                    <a:pt x="354" y="739"/>
                  </a:lnTo>
                  <a:lnTo>
                    <a:pt x="308" y="691"/>
                  </a:lnTo>
                  <a:lnTo>
                    <a:pt x="288" y="701"/>
                  </a:lnTo>
                  <a:lnTo>
                    <a:pt x="272" y="693"/>
                  </a:lnTo>
                  <a:lnTo>
                    <a:pt x="254" y="701"/>
                  </a:lnTo>
                  <a:lnTo>
                    <a:pt x="222" y="683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88" name="Suriname">
              <a:extLst>
                <a:ext uri="{FF2B5EF4-FFF2-40B4-BE49-F238E27FC236}">
                  <a16:creationId xmlns="" xmlns:a16="http://schemas.microsoft.com/office/drawing/2014/main" id="{1D4CFD02-E50E-420A-974D-9FC987C5529B}"/>
                </a:ext>
              </a:extLst>
            </p:cNvPr>
            <p:cNvSpPr>
              <a:spLocks/>
            </p:cNvSpPr>
            <p:nvPr/>
          </p:nvSpPr>
          <p:spPr bwMode="gray">
            <a:xfrm>
              <a:off x="3909196" y="4426990"/>
              <a:ext cx="130803" cy="129793"/>
            </a:xfrm>
            <a:custGeom>
              <a:avLst/>
              <a:gdLst/>
              <a:ahLst/>
              <a:cxnLst>
                <a:cxn ang="0">
                  <a:pos x="84" y="160"/>
                </a:cxn>
                <a:cxn ang="0">
                  <a:pos x="44" y="158"/>
                </a:cxn>
                <a:cxn ang="0">
                  <a:pos x="26" y="112"/>
                </a:cxn>
                <a:cxn ang="0">
                  <a:pos x="6" y="100"/>
                </a:cxn>
                <a:cxn ang="0">
                  <a:pos x="0" y="70"/>
                </a:cxn>
                <a:cxn ang="0">
                  <a:pos x="2" y="46"/>
                </a:cxn>
                <a:cxn ang="0">
                  <a:pos x="18" y="50"/>
                </a:cxn>
                <a:cxn ang="0">
                  <a:pos x="30" y="40"/>
                </a:cxn>
                <a:cxn ang="0">
                  <a:pos x="30" y="24"/>
                </a:cxn>
                <a:cxn ang="0">
                  <a:pos x="36" y="6"/>
                </a:cxn>
                <a:cxn ang="0">
                  <a:pos x="62" y="10"/>
                </a:cxn>
                <a:cxn ang="0">
                  <a:pos x="86" y="10"/>
                </a:cxn>
                <a:cxn ang="0">
                  <a:pos x="112" y="0"/>
                </a:cxn>
                <a:cxn ang="0">
                  <a:pos x="142" y="6"/>
                </a:cxn>
                <a:cxn ang="0">
                  <a:pos x="158" y="8"/>
                </a:cxn>
                <a:cxn ang="0">
                  <a:pos x="162" y="18"/>
                </a:cxn>
                <a:cxn ang="0">
                  <a:pos x="142" y="42"/>
                </a:cxn>
                <a:cxn ang="0">
                  <a:pos x="138" y="64"/>
                </a:cxn>
                <a:cxn ang="0">
                  <a:pos x="142" y="88"/>
                </a:cxn>
                <a:cxn ang="0">
                  <a:pos x="156" y="102"/>
                </a:cxn>
                <a:cxn ang="0">
                  <a:pos x="148" y="112"/>
                </a:cxn>
                <a:cxn ang="0">
                  <a:pos x="152" y="126"/>
                </a:cxn>
                <a:cxn ang="0">
                  <a:pos x="138" y="148"/>
                </a:cxn>
                <a:cxn ang="0">
                  <a:pos x="118" y="130"/>
                </a:cxn>
                <a:cxn ang="0">
                  <a:pos x="100" y="146"/>
                </a:cxn>
                <a:cxn ang="0">
                  <a:pos x="82" y="138"/>
                </a:cxn>
                <a:cxn ang="0">
                  <a:pos x="76" y="146"/>
                </a:cxn>
                <a:cxn ang="0">
                  <a:pos x="84" y="160"/>
                </a:cxn>
              </a:cxnLst>
              <a:rect l="0" t="0" r="r" b="b"/>
              <a:pathLst>
                <a:path w="162" h="160">
                  <a:moveTo>
                    <a:pt x="84" y="160"/>
                  </a:moveTo>
                  <a:lnTo>
                    <a:pt x="44" y="158"/>
                  </a:lnTo>
                  <a:lnTo>
                    <a:pt x="26" y="112"/>
                  </a:lnTo>
                  <a:lnTo>
                    <a:pt x="6" y="100"/>
                  </a:lnTo>
                  <a:lnTo>
                    <a:pt x="0" y="70"/>
                  </a:lnTo>
                  <a:lnTo>
                    <a:pt x="2" y="46"/>
                  </a:lnTo>
                  <a:lnTo>
                    <a:pt x="18" y="50"/>
                  </a:lnTo>
                  <a:lnTo>
                    <a:pt x="30" y="40"/>
                  </a:lnTo>
                  <a:lnTo>
                    <a:pt x="30" y="24"/>
                  </a:lnTo>
                  <a:lnTo>
                    <a:pt x="36" y="6"/>
                  </a:lnTo>
                  <a:lnTo>
                    <a:pt x="62" y="10"/>
                  </a:lnTo>
                  <a:lnTo>
                    <a:pt x="86" y="10"/>
                  </a:lnTo>
                  <a:lnTo>
                    <a:pt x="112" y="0"/>
                  </a:lnTo>
                  <a:lnTo>
                    <a:pt x="142" y="6"/>
                  </a:lnTo>
                  <a:lnTo>
                    <a:pt x="158" y="8"/>
                  </a:lnTo>
                  <a:lnTo>
                    <a:pt x="162" y="18"/>
                  </a:lnTo>
                  <a:lnTo>
                    <a:pt x="142" y="42"/>
                  </a:lnTo>
                  <a:lnTo>
                    <a:pt x="138" y="64"/>
                  </a:lnTo>
                  <a:lnTo>
                    <a:pt x="142" y="88"/>
                  </a:lnTo>
                  <a:lnTo>
                    <a:pt x="156" y="102"/>
                  </a:lnTo>
                  <a:lnTo>
                    <a:pt x="148" y="112"/>
                  </a:lnTo>
                  <a:lnTo>
                    <a:pt x="152" y="126"/>
                  </a:lnTo>
                  <a:lnTo>
                    <a:pt x="138" y="148"/>
                  </a:lnTo>
                  <a:lnTo>
                    <a:pt x="118" y="130"/>
                  </a:lnTo>
                  <a:lnTo>
                    <a:pt x="100" y="146"/>
                  </a:lnTo>
                  <a:lnTo>
                    <a:pt x="82" y="138"/>
                  </a:lnTo>
                  <a:lnTo>
                    <a:pt x="76" y="146"/>
                  </a:lnTo>
                  <a:lnTo>
                    <a:pt x="84" y="160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89" name="Swaziland">
              <a:extLst>
                <a:ext uri="{FF2B5EF4-FFF2-40B4-BE49-F238E27FC236}">
                  <a16:creationId xmlns="" xmlns:a16="http://schemas.microsoft.com/office/drawing/2014/main" id="{FD1473B1-2C89-4EB1-8DEC-CF366509F806}"/>
                </a:ext>
              </a:extLst>
            </p:cNvPr>
            <p:cNvSpPr>
              <a:spLocks/>
            </p:cNvSpPr>
            <p:nvPr/>
          </p:nvSpPr>
          <p:spPr bwMode="gray">
            <a:xfrm>
              <a:off x="6755655" y="5418137"/>
              <a:ext cx="46855" cy="51131"/>
            </a:xfrm>
            <a:custGeom>
              <a:avLst/>
              <a:gdLst/>
              <a:ahLst/>
              <a:cxnLst>
                <a:cxn ang="0">
                  <a:pos x="38" y="64"/>
                </a:cxn>
                <a:cxn ang="0">
                  <a:pos x="56" y="46"/>
                </a:cxn>
                <a:cxn ang="0">
                  <a:pos x="54" y="24"/>
                </a:cxn>
                <a:cxn ang="0">
                  <a:pos x="44" y="12"/>
                </a:cxn>
                <a:cxn ang="0">
                  <a:pos x="30" y="4"/>
                </a:cxn>
                <a:cxn ang="0">
                  <a:pos x="14" y="0"/>
                </a:cxn>
                <a:cxn ang="0">
                  <a:pos x="8" y="22"/>
                </a:cxn>
                <a:cxn ang="0">
                  <a:pos x="0" y="42"/>
                </a:cxn>
                <a:cxn ang="0">
                  <a:pos x="6" y="62"/>
                </a:cxn>
                <a:cxn ang="0">
                  <a:pos x="16" y="64"/>
                </a:cxn>
                <a:cxn ang="0">
                  <a:pos x="38" y="64"/>
                </a:cxn>
              </a:cxnLst>
              <a:rect l="0" t="0" r="r" b="b"/>
              <a:pathLst>
                <a:path w="56" h="64">
                  <a:moveTo>
                    <a:pt x="38" y="64"/>
                  </a:moveTo>
                  <a:lnTo>
                    <a:pt x="56" y="46"/>
                  </a:lnTo>
                  <a:lnTo>
                    <a:pt x="54" y="24"/>
                  </a:lnTo>
                  <a:lnTo>
                    <a:pt x="44" y="12"/>
                  </a:lnTo>
                  <a:lnTo>
                    <a:pt x="30" y="4"/>
                  </a:lnTo>
                  <a:lnTo>
                    <a:pt x="14" y="0"/>
                  </a:lnTo>
                  <a:lnTo>
                    <a:pt x="8" y="22"/>
                  </a:lnTo>
                  <a:lnTo>
                    <a:pt x="0" y="42"/>
                  </a:lnTo>
                  <a:lnTo>
                    <a:pt x="6" y="62"/>
                  </a:lnTo>
                  <a:lnTo>
                    <a:pt x="16" y="64"/>
                  </a:lnTo>
                  <a:lnTo>
                    <a:pt x="38" y="64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90" name="Sweden">
              <a:extLst>
                <a:ext uri="{FF2B5EF4-FFF2-40B4-BE49-F238E27FC236}">
                  <a16:creationId xmlns="" xmlns:a16="http://schemas.microsoft.com/office/drawing/2014/main" id="{9A755762-ACDE-407F-B7BF-DC514413BCBB}"/>
                </a:ext>
              </a:extLst>
            </p:cNvPr>
            <p:cNvSpPr>
              <a:spLocks/>
            </p:cNvSpPr>
            <p:nvPr/>
          </p:nvSpPr>
          <p:spPr bwMode="gray">
            <a:xfrm>
              <a:off x="6144582" y="1469286"/>
              <a:ext cx="404127" cy="967548"/>
            </a:xfrm>
            <a:custGeom>
              <a:avLst/>
              <a:gdLst/>
              <a:ahLst/>
              <a:cxnLst>
                <a:cxn ang="0">
                  <a:pos x="12" y="968"/>
                </a:cxn>
                <a:cxn ang="0">
                  <a:pos x="18" y="1010"/>
                </a:cxn>
                <a:cxn ang="0">
                  <a:pos x="42" y="1078"/>
                </a:cxn>
                <a:cxn ang="0">
                  <a:pos x="60" y="1100"/>
                </a:cxn>
                <a:cxn ang="0">
                  <a:pos x="56" y="1144"/>
                </a:cxn>
                <a:cxn ang="0">
                  <a:pos x="76" y="1186"/>
                </a:cxn>
                <a:cxn ang="0">
                  <a:pos x="110" y="1180"/>
                </a:cxn>
                <a:cxn ang="0">
                  <a:pos x="118" y="1148"/>
                </a:cxn>
                <a:cxn ang="0">
                  <a:pos x="138" y="1128"/>
                </a:cxn>
                <a:cxn ang="0">
                  <a:pos x="168" y="1132"/>
                </a:cxn>
                <a:cxn ang="0">
                  <a:pos x="192" y="1104"/>
                </a:cxn>
                <a:cxn ang="0">
                  <a:pos x="204" y="1064"/>
                </a:cxn>
                <a:cxn ang="0">
                  <a:pos x="210" y="1022"/>
                </a:cxn>
                <a:cxn ang="0">
                  <a:pos x="222" y="976"/>
                </a:cxn>
                <a:cxn ang="0">
                  <a:pos x="232" y="954"/>
                </a:cxn>
                <a:cxn ang="0">
                  <a:pos x="268" y="934"/>
                </a:cxn>
                <a:cxn ang="0">
                  <a:pos x="286" y="886"/>
                </a:cxn>
                <a:cxn ang="0">
                  <a:pos x="296" y="844"/>
                </a:cxn>
                <a:cxn ang="0">
                  <a:pos x="270" y="812"/>
                </a:cxn>
                <a:cxn ang="0">
                  <a:pos x="246" y="790"/>
                </a:cxn>
                <a:cxn ang="0">
                  <a:pos x="252" y="710"/>
                </a:cxn>
                <a:cxn ang="0">
                  <a:pos x="246" y="638"/>
                </a:cxn>
                <a:cxn ang="0">
                  <a:pos x="274" y="608"/>
                </a:cxn>
                <a:cxn ang="0">
                  <a:pos x="308" y="572"/>
                </a:cxn>
                <a:cxn ang="0">
                  <a:pos x="332" y="550"/>
                </a:cxn>
                <a:cxn ang="0">
                  <a:pos x="354" y="528"/>
                </a:cxn>
                <a:cxn ang="0">
                  <a:pos x="388" y="492"/>
                </a:cxn>
                <a:cxn ang="0">
                  <a:pos x="374" y="450"/>
                </a:cxn>
                <a:cxn ang="0">
                  <a:pos x="390" y="402"/>
                </a:cxn>
                <a:cxn ang="0">
                  <a:pos x="442" y="342"/>
                </a:cxn>
                <a:cxn ang="0">
                  <a:pos x="498" y="348"/>
                </a:cxn>
                <a:cxn ang="0">
                  <a:pos x="498" y="244"/>
                </a:cxn>
                <a:cxn ang="0">
                  <a:pos x="474" y="104"/>
                </a:cxn>
                <a:cxn ang="0">
                  <a:pos x="408" y="50"/>
                </a:cxn>
                <a:cxn ang="0">
                  <a:pos x="336" y="0"/>
                </a:cxn>
                <a:cxn ang="0">
                  <a:pos x="322" y="62"/>
                </a:cxn>
                <a:cxn ang="0">
                  <a:pos x="278" y="54"/>
                </a:cxn>
                <a:cxn ang="0">
                  <a:pos x="262" y="54"/>
                </a:cxn>
                <a:cxn ang="0">
                  <a:pos x="264" y="104"/>
                </a:cxn>
                <a:cxn ang="0">
                  <a:pos x="214" y="140"/>
                </a:cxn>
                <a:cxn ang="0">
                  <a:pos x="194" y="162"/>
                </a:cxn>
                <a:cxn ang="0">
                  <a:pos x="152" y="282"/>
                </a:cxn>
                <a:cxn ang="0">
                  <a:pos x="150" y="318"/>
                </a:cxn>
                <a:cxn ang="0">
                  <a:pos x="98" y="452"/>
                </a:cxn>
                <a:cxn ang="0">
                  <a:pos x="88" y="490"/>
                </a:cxn>
                <a:cxn ang="0">
                  <a:pos x="34" y="530"/>
                </a:cxn>
                <a:cxn ang="0">
                  <a:pos x="32" y="672"/>
                </a:cxn>
                <a:cxn ang="0">
                  <a:pos x="38" y="768"/>
                </a:cxn>
                <a:cxn ang="0">
                  <a:pos x="24" y="884"/>
                </a:cxn>
                <a:cxn ang="0">
                  <a:pos x="8" y="920"/>
                </a:cxn>
                <a:cxn ang="0">
                  <a:pos x="0" y="950"/>
                </a:cxn>
              </a:cxnLst>
              <a:rect l="0" t="0" r="r" b="b"/>
              <a:pathLst>
                <a:path w="498" h="1186">
                  <a:moveTo>
                    <a:pt x="0" y="950"/>
                  </a:moveTo>
                  <a:lnTo>
                    <a:pt x="12" y="968"/>
                  </a:lnTo>
                  <a:lnTo>
                    <a:pt x="24" y="978"/>
                  </a:lnTo>
                  <a:lnTo>
                    <a:pt x="18" y="1010"/>
                  </a:lnTo>
                  <a:lnTo>
                    <a:pt x="30" y="1026"/>
                  </a:lnTo>
                  <a:lnTo>
                    <a:pt x="42" y="1078"/>
                  </a:lnTo>
                  <a:lnTo>
                    <a:pt x="56" y="1086"/>
                  </a:lnTo>
                  <a:lnTo>
                    <a:pt x="60" y="1100"/>
                  </a:lnTo>
                  <a:lnTo>
                    <a:pt x="46" y="1120"/>
                  </a:lnTo>
                  <a:lnTo>
                    <a:pt x="56" y="1144"/>
                  </a:lnTo>
                  <a:lnTo>
                    <a:pt x="60" y="1170"/>
                  </a:lnTo>
                  <a:lnTo>
                    <a:pt x="76" y="1186"/>
                  </a:lnTo>
                  <a:lnTo>
                    <a:pt x="96" y="1178"/>
                  </a:lnTo>
                  <a:lnTo>
                    <a:pt x="110" y="1180"/>
                  </a:lnTo>
                  <a:lnTo>
                    <a:pt x="118" y="1170"/>
                  </a:lnTo>
                  <a:lnTo>
                    <a:pt x="118" y="1148"/>
                  </a:lnTo>
                  <a:lnTo>
                    <a:pt x="134" y="1140"/>
                  </a:lnTo>
                  <a:lnTo>
                    <a:pt x="138" y="1128"/>
                  </a:lnTo>
                  <a:lnTo>
                    <a:pt x="152" y="1122"/>
                  </a:lnTo>
                  <a:lnTo>
                    <a:pt x="168" y="1132"/>
                  </a:lnTo>
                  <a:lnTo>
                    <a:pt x="188" y="1128"/>
                  </a:lnTo>
                  <a:lnTo>
                    <a:pt x="192" y="1104"/>
                  </a:lnTo>
                  <a:lnTo>
                    <a:pt x="200" y="1086"/>
                  </a:lnTo>
                  <a:lnTo>
                    <a:pt x="204" y="1064"/>
                  </a:lnTo>
                  <a:lnTo>
                    <a:pt x="212" y="1056"/>
                  </a:lnTo>
                  <a:lnTo>
                    <a:pt x="210" y="1022"/>
                  </a:lnTo>
                  <a:lnTo>
                    <a:pt x="210" y="1012"/>
                  </a:lnTo>
                  <a:lnTo>
                    <a:pt x="222" y="976"/>
                  </a:lnTo>
                  <a:lnTo>
                    <a:pt x="218" y="962"/>
                  </a:lnTo>
                  <a:lnTo>
                    <a:pt x="232" y="954"/>
                  </a:lnTo>
                  <a:lnTo>
                    <a:pt x="250" y="922"/>
                  </a:lnTo>
                  <a:lnTo>
                    <a:pt x="268" y="934"/>
                  </a:lnTo>
                  <a:lnTo>
                    <a:pt x="284" y="910"/>
                  </a:lnTo>
                  <a:lnTo>
                    <a:pt x="286" y="886"/>
                  </a:lnTo>
                  <a:lnTo>
                    <a:pt x="298" y="872"/>
                  </a:lnTo>
                  <a:lnTo>
                    <a:pt x="296" y="844"/>
                  </a:lnTo>
                  <a:lnTo>
                    <a:pt x="284" y="832"/>
                  </a:lnTo>
                  <a:lnTo>
                    <a:pt x="270" y="812"/>
                  </a:lnTo>
                  <a:lnTo>
                    <a:pt x="262" y="798"/>
                  </a:lnTo>
                  <a:lnTo>
                    <a:pt x="246" y="790"/>
                  </a:lnTo>
                  <a:lnTo>
                    <a:pt x="238" y="708"/>
                  </a:lnTo>
                  <a:lnTo>
                    <a:pt x="252" y="710"/>
                  </a:lnTo>
                  <a:lnTo>
                    <a:pt x="254" y="664"/>
                  </a:lnTo>
                  <a:lnTo>
                    <a:pt x="246" y="638"/>
                  </a:lnTo>
                  <a:lnTo>
                    <a:pt x="264" y="632"/>
                  </a:lnTo>
                  <a:lnTo>
                    <a:pt x="274" y="608"/>
                  </a:lnTo>
                  <a:lnTo>
                    <a:pt x="296" y="570"/>
                  </a:lnTo>
                  <a:lnTo>
                    <a:pt x="308" y="572"/>
                  </a:lnTo>
                  <a:lnTo>
                    <a:pt x="314" y="544"/>
                  </a:lnTo>
                  <a:lnTo>
                    <a:pt x="332" y="550"/>
                  </a:lnTo>
                  <a:lnTo>
                    <a:pt x="340" y="530"/>
                  </a:lnTo>
                  <a:lnTo>
                    <a:pt x="354" y="528"/>
                  </a:lnTo>
                  <a:lnTo>
                    <a:pt x="372" y="502"/>
                  </a:lnTo>
                  <a:lnTo>
                    <a:pt x="388" y="492"/>
                  </a:lnTo>
                  <a:lnTo>
                    <a:pt x="398" y="478"/>
                  </a:lnTo>
                  <a:lnTo>
                    <a:pt x="374" y="450"/>
                  </a:lnTo>
                  <a:lnTo>
                    <a:pt x="390" y="422"/>
                  </a:lnTo>
                  <a:lnTo>
                    <a:pt x="390" y="402"/>
                  </a:lnTo>
                  <a:lnTo>
                    <a:pt x="424" y="372"/>
                  </a:lnTo>
                  <a:lnTo>
                    <a:pt x="442" y="342"/>
                  </a:lnTo>
                  <a:lnTo>
                    <a:pt x="460" y="350"/>
                  </a:lnTo>
                  <a:lnTo>
                    <a:pt x="498" y="348"/>
                  </a:lnTo>
                  <a:lnTo>
                    <a:pt x="490" y="288"/>
                  </a:lnTo>
                  <a:lnTo>
                    <a:pt x="498" y="244"/>
                  </a:lnTo>
                  <a:lnTo>
                    <a:pt x="482" y="174"/>
                  </a:lnTo>
                  <a:lnTo>
                    <a:pt x="474" y="104"/>
                  </a:lnTo>
                  <a:lnTo>
                    <a:pt x="456" y="78"/>
                  </a:lnTo>
                  <a:lnTo>
                    <a:pt x="408" y="50"/>
                  </a:lnTo>
                  <a:lnTo>
                    <a:pt x="350" y="0"/>
                  </a:lnTo>
                  <a:lnTo>
                    <a:pt x="336" y="0"/>
                  </a:lnTo>
                  <a:lnTo>
                    <a:pt x="334" y="46"/>
                  </a:lnTo>
                  <a:lnTo>
                    <a:pt x="322" y="62"/>
                  </a:lnTo>
                  <a:lnTo>
                    <a:pt x="310" y="54"/>
                  </a:lnTo>
                  <a:lnTo>
                    <a:pt x="278" y="54"/>
                  </a:lnTo>
                  <a:lnTo>
                    <a:pt x="268" y="48"/>
                  </a:lnTo>
                  <a:lnTo>
                    <a:pt x="262" y="54"/>
                  </a:lnTo>
                  <a:lnTo>
                    <a:pt x="266" y="84"/>
                  </a:lnTo>
                  <a:lnTo>
                    <a:pt x="264" y="104"/>
                  </a:lnTo>
                  <a:lnTo>
                    <a:pt x="234" y="92"/>
                  </a:lnTo>
                  <a:lnTo>
                    <a:pt x="214" y="140"/>
                  </a:lnTo>
                  <a:lnTo>
                    <a:pt x="198" y="144"/>
                  </a:lnTo>
                  <a:lnTo>
                    <a:pt x="194" y="162"/>
                  </a:lnTo>
                  <a:lnTo>
                    <a:pt x="216" y="192"/>
                  </a:lnTo>
                  <a:lnTo>
                    <a:pt x="152" y="282"/>
                  </a:lnTo>
                  <a:lnTo>
                    <a:pt x="160" y="306"/>
                  </a:lnTo>
                  <a:lnTo>
                    <a:pt x="150" y="318"/>
                  </a:lnTo>
                  <a:lnTo>
                    <a:pt x="136" y="318"/>
                  </a:lnTo>
                  <a:lnTo>
                    <a:pt x="98" y="452"/>
                  </a:lnTo>
                  <a:lnTo>
                    <a:pt x="114" y="464"/>
                  </a:lnTo>
                  <a:lnTo>
                    <a:pt x="88" y="490"/>
                  </a:lnTo>
                  <a:lnTo>
                    <a:pt x="62" y="488"/>
                  </a:lnTo>
                  <a:lnTo>
                    <a:pt x="34" y="530"/>
                  </a:lnTo>
                  <a:lnTo>
                    <a:pt x="40" y="550"/>
                  </a:lnTo>
                  <a:lnTo>
                    <a:pt x="32" y="672"/>
                  </a:lnTo>
                  <a:lnTo>
                    <a:pt x="58" y="732"/>
                  </a:lnTo>
                  <a:lnTo>
                    <a:pt x="38" y="768"/>
                  </a:lnTo>
                  <a:lnTo>
                    <a:pt x="54" y="836"/>
                  </a:lnTo>
                  <a:lnTo>
                    <a:pt x="24" y="884"/>
                  </a:lnTo>
                  <a:lnTo>
                    <a:pt x="20" y="920"/>
                  </a:lnTo>
                  <a:lnTo>
                    <a:pt x="8" y="920"/>
                  </a:lnTo>
                  <a:lnTo>
                    <a:pt x="0" y="928"/>
                  </a:lnTo>
                  <a:lnTo>
                    <a:pt x="0" y="950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91" name="Switzerland">
              <a:extLst>
                <a:ext uri="{FF2B5EF4-FFF2-40B4-BE49-F238E27FC236}">
                  <a16:creationId xmlns="" xmlns:a16="http://schemas.microsoft.com/office/drawing/2014/main" id="{364CDDC1-127E-48CB-8600-68CCCC105D80}"/>
                </a:ext>
              </a:extLst>
            </p:cNvPr>
            <p:cNvSpPr>
              <a:spLocks/>
            </p:cNvSpPr>
            <p:nvPr/>
          </p:nvSpPr>
          <p:spPr bwMode="gray">
            <a:xfrm>
              <a:off x="5988399" y="2828179"/>
              <a:ext cx="142519" cy="86528"/>
            </a:xfrm>
            <a:custGeom>
              <a:avLst/>
              <a:gdLst/>
              <a:ahLst/>
              <a:cxnLst>
                <a:cxn ang="0">
                  <a:pos x="62" y="94"/>
                </a:cxn>
                <a:cxn ang="0">
                  <a:pos x="74" y="100"/>
                </a:cxn>
                <a:cxn ang="0">
                  <a:pos x="82" y="90"/>
                </a:cxn>
                <a:cxn ang="0">
                  <a:pos x="96" y="78"/>
                </a:cxn>
                <a:cxn ang="0">
                  <a:pos x="104" y="90"/>
                </a:cxn>
                <a:cxn ang="0">
                  <a:pos x="116" y="96"/>
                </a:cxn>
                <a:cxn ang="0">
                  <a:pos x="118" y="80"/>
                </a:cxn>
                <a:cxn ang="0">
                  <a:pos x="122" y="68"/>
                </a:cxn>
                <a:cxn ang="0">
                  <a:pos x="132" y="72"/>
                </a:cxn>
                <a:cxn ang="0">
                  <a:pos x="158" y="78"/>
                </a:cxn>
                <a:cxn ang="0">
                  <a:pos x="164" y="64"/>
                </a:cxn>
                <a:cxn ang="0">
                  <a:pos x="166" y="52"/>
                </a:cxn>
                <a:cxn ang="0">
                  <a:pos x="178" y="48"/>
                </a:cxn>
                <a:cxn ang="0">
                  <a:pos x="168" y="40"/>
                </a:cxn>
                <a:cxn ang="0">
                  <a:pos x="154" y="44"/>
                </a:cxn>
                <a:cxn ang="0">
                  <a:pos x="140" y="38"/>
                </a:cxn>
                <a:cxn ang="0">
                  <a:pos x="136" y="24"/>
                </a:cxn>
                <a:cxn ang="0">
                  <a:pos x="142" y="10"/>
                </a:cxn>
                <a:cxn ang="0">
                  <a:pos x="132" y="2"/>
                </a:cxn>
                <a:cxn ang="0">
                  <a:pos x="114" y="4"/>
                </a:cxn>
                <a:cxn ang="0">
                  <a:pos x="102" y="0"/>
                </a:cxn>
                <a:cxn ang="0">
                  <a:pos x="82" y="10"/>
                </a:cxn>
                <a:cxn ang="0">
                  <a:pos x="68" y="4"/>
                </a:cxn>
                <a:cxn ang="0">
                  <a:pos x="52" y="12"/>
                </a:cxn>
                <a:cxn ang="0">
                  <a:pos x="40" y="10"/>
                </a:cxn>
                <a:cxn ang="0">
                  <a:pos x="30" y="20"/>
                </a:cxn>
                <a:cxn ang="0">
                  <a:pos x="36" y="30"/>
                </a:cxn>
                <a:cxn ang="0">
                  <a:pos x="16" y="48"/>
                </a:cxn>
                <a:cxn ang="0">
                  <a:pos x="6" y="70"/>
                </a:cxn>
                <a:cxn ang="0">
                  <a:pos x="0" y="90"/>
                </a:cxn>
                <a:cxn ang="0">
                  <a:pos x="16" y="90"/>
                </a:cxn>
                <a:cxn ang="0">
                  <a:pos x="28" y="76"/>
                </a:cxn>
                <a:cxn ang="0">
                  <a:pos x="40" y="86"/>
                </a:cxn>
                <a:cxn ang="0">
                  <a:pos x="44" y="104"/>
                </a:cxn>
                <a:cxn ang="0">
                  <a:pos x="62" y="94"/>
                </a:cxn>
              </a:cxnLst>
              <a:rect l="0" t="0" r="r" b="b"/>
              <a:pathLst>
                <a:path w="178" h="104">
                  <a:moveTo>
                    <a:pt x="62" y="94"/>
                  </a:moveTo>
                  <a:lnTo>
                    <a:pt x="74" y="100"/>
                  </a:lnTo>
                  <a:lnTo>
                    <a:pt x="82" y="90"/>
                  </a:lnTo>
                  <a:lnTo>
                    <a:pt x="96" y="78"/>
                  </a:lnTo>
                  <a:lnTo>
                    <a:pt x="104" y="90"/>
                  </a:lnTo>
                  <a:lnTo>
                    <a:pt x="116" y="96"/>
                  </a:lnTo>
                  <a:lnTo>
                    <a:pt x="118" y="80"/>
                  </a:lnTo>
                  <a:lnTo>
                    <a:pt x="122" y="68"/>
                  </a:lnTo>
                  <a:lnTo>
                    <a:pt x="132" y="72"/>
                  </a:lnTo>
                  <a:lnTo>
                    <a:pt x="158" y="78"/>
                  </a:lnTo>
                  <a:lnTo>
                    <a:pt x="164" y="64"/>
                  </a:lnTo>
                  <a:lnTo>
                    <a:pt x="166" y="52"/>
                  </a:lnTo>
                  <a:lnTo>
                    <a:pt x="178" y="48"/>
                  </a:lnTo>
                  <a:lnTo>
                    <a:pt x="168" y="40"/>
                  </a:lnTo>
                  <a:lnTo>
                    <a:pt x="154" y="44"/>
                  </a:lnTo>
                  <a:lnTo>
                    <a:pt x="140" y="38"/>
                  </a:lnTo>
                  <a:lnTo>
                    <a:pt x="136" y="24"/>
                  </a:lnTo>
                  <a:lnTo>
                    <a:pt x="142" y="10"/>
                  </a:lnTo>
                  <a:lnTo>
                    <a:pt x="132" y="2"/>
                  </a:lnTo>
                  <a:lnTo>
                    <a:pt x="114" y="4"/>
                  </a:lnTo>
                  <a:lnTo>
                    <a:pt x="102" y="0"/>
                  </a:lnTo>
                  <a:lnTo>
                    <a:pt x="82" y="10"/>
                  </a:lnTo>
                  <a:lnTo>
                    <a:pt x="68" y="4"/>
                  </a:lnTo>
                  <a:lnTo>
                    <a:pt x="52" y="12"/>
                  </a:lnTo>
                  <a:lnTo>
                    <a:pt x="40" y="10"/>
                  </a:lnTo>
                  <a:lnTo>
                    <a:pt x="30" y="20"/>
                  </a:lnTo>
                  <a:lnTo>
                    <a:pt x="36" y="30"/>
                  </a:lnTo>
                  <a:lnTo>
                    <a:pt x="16" y="48"/>
                  </a:lnTo>
                  <a:lnTo>
                    <a:pt x="6" y="70"/>
                  </a:lnTo>
                  <a:lnTo>
                    <a:pt x="0" y="90"/>
                  </a:lnTo>
                  <a:lnTo>
                    <a:pt x="16" y="90"/>
                  </a:lnTo>
                  <a:lnTo>
                    <a:pt x="28" y="76"/>
                  </a:lnTo>
                  <a:lnTo>
                    <a:pt x="40" y="86"/>
                  </a:lnTo>
                  <a:lnTo>
                    <a:pt x="44" y="104"/>
                  </a:lnTo>
                  <a:lnTo>
                    <a:pt x="62" y="94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92" name="Syria">
              <a:extLst>
                <a:ext uri="{FF2B5EF4-FFF2-40B4-BE49-F238E27FC236}">
                  <a16:creationId xmlns="" xmlns:a16="http://schemas.microsoft.com/office/drawing/2014/main" id="{DE63C68D-C1EE-420E-8F3F-55297C128683}"/>
                </a:ext>
              </a:extLst>
            </p:cNvPr>
            <p:cNvSpPr>
              <a:spLocks/>
            </p:cNvSpPr>
            <p:nvPr/>
          </p:nvSpPr>
          <p:spPr bwMode="gray">
            <a:xfrm>
              <a:off x="6905983" y="3286387"/>
              <a:ext cx="216707" cy="188791"/>
            </a:xfrm>
            <a:custGeom>
              <a:avLst/>
              <a:gdLst/>
              <a:ahLst/>
              <a:cxnLst>
                <a:cxn ang="0">
                  <a:pos x="4" y="182"/>
                </a:cxn>
                <a:cxn ang="0">
                  <a:pos x="6" y="192"/>
                </a:cxn>
                <a:cxn ang="0">
                  <a:pos x="6" y="198"/>
                </a:cxn>
                <a:cxn ang="0">
                  <a:pos x="6" y="202"/>
                </a:cxn>
                <a:cxn ang="0">
                  <a:pos x="2" y="210"/>
                </a:cxn>
                <a:cxn ang="0">
                  <a:pos x="8" y="210"/>
                </a:cxn>
                <a:cxn ang="0">
                  <a:pos x="14" y="220"/>
                </a:cxn>
                <a:cxn ang="0">
                  <a:pos x="16" y="220"/>
                </a:cxn>
                <a:cxn ang="0">
                  <a:pos x="24" y="226"/>
                </a:cxn>
                <a:cxn ang="0">
                  <a:pos x="42" y="230"/>
                </a:cxn>
                <a:cxn ang="0">
                  <a:pos x="112" y="180"/>
                </a:cxn>
                <a:cxn ang="0">
                  <a:pos x="212" y="114"/>
                </a:cxn>
                <a:cxn ang="0">
                  <a:pos x="210" y="96"/>
                </a:cxn>
                <a:cxn ang="0">
                  <a:pos x="216" y="82"/>
                </a:cxn>
                <a:cxn ang="0">
                  <a:pos x="220" y="50"/>
                </a:cxn>
                <a:cxn ang="0">
                  <a:pos x="266" y="16"/>
                </a:cxn>
                <a:cxn ang="0">
                  <a:pos x="248" y="0"/>
                </a:cxn>
                <a:cxn ang="0">
                  <a:pos x="224" y="12"/>
                </a:cxn>
                <a:cxn ang="0">
                  <a:pos x="190" y="12"/>
                </a:cxn>
                <a:cxn ang="0">
                  <a:pos x="174" y="24"/>
                </a:cxn>
                <a:cxn ang="0">
                  <a:pos x="160" y="28"/>
                </a:cxn>
                <a:cxn ang="0">
                  <a:pos x="128" y="28"/>
                </a:cxn>
                <a:cxn ang="0">
                  <a:pos x="112" y="22"/>
                </a:cxn>
                <a:cxn ang="0">
                  <a:pos x="82" y="32"/>
                </a:cxn>
                <a:cxn ang="0">
                  <a:pos x="68" y="32"/>
                </a:cxn>
                <a:cxn ang="0">
                  <a:pos x="58" y="18"/>
                </a:cxn>
                <a:cxn ang="0">
                  <a:pos x="48" y="20"/>
                </a:cxn>
                <a:cxn ang="0">
                  <a:pos x="40" y="34"/>
                </a:cxn>
                <a:cxn ang="0">
                  <a:pos x="48" y="50"/>
                </a:cxn>
                <a:cxn ang="0">
                  <a:pos x="36" y="52"/>
                </a:cxn>
                <a:cxn ang="0">
                  <a:pos x="16" y="70"/>
                </a:cxn>
                <a:cxn ang="0">
                  <a:pos x="6" y="60"/>
                </a:cxn>
                <a:cxn ang="0">
                  <a:pos x="4" y="70"/>
                </a:cxn>
                <a:cxn ang="0">
                  <a:pos x="2" y="108"/>
                </a:cxn>
                <a:cxn ang="0">
                  <a:pos x="2" y="114"/>
                </a:cxn>
                <a:cxn ang="0">
                  <a:pos x="0" y="122"/>
                </a:cxn>
                <a:cxn ang="0">
                  <a:pos x="6" y="122"/>
                </a:cxn>
                <a:cxn ang="0">
                  <a:pos x="12" y="128"/>
                </a:cxn>
                <a:cxn ang="0">
                  <a:pos x="20" y="136"/>
                </a:cxn>
                <a:cxn ang="0">
                  <a:pos x="22" y="154"/>
                </a:cxn>
                <a:cxn ang="0">
                  <a:pos x="18" y="166"/>
                </a:cxn>
                <a:cxn ang="0">
                  <a:pos x="10" y="176"/>
                </a:cxn>
                <a:cxn ang="0">
                  <a:pos x="6" y="182"/>
                </a:cxn>
                <a:cxn ang="0">
                  <a:pos x="4" y="182"/>
                </a:cxn>
              </a:cxnLst>
              <a:rect l="0" t="0" r="r" b="b"/>
              <a:pathLst>
                <a:path w="266" h="230">
                  <a:moveTo>
                    <a:pt x="4" y="182"/>
                  </a:moveTo>
                  <a:lnTo>
                    <a:pt x="6" y="192"/>
                  </a:lnTo>
                  <a:lnTo>
                    <a:pt x="6" y="198"/>
                  </a:lnTo>
                  <a:lnTo>
                    <a:pt x="6" y="202"/>
                  </a:lnTo>
                  <a:lnTo>
                    <a:pt x="2" y="210"/>
                  </a:lnTo>
                  <a:lnTo>
                    <a:pt x="8" y="210"/>
                  </a:lnTo>
                  <a:lnTo>
                    <a:pt x="14" y="220"/>
                  </a:lnTo>
                  <a:lnTo>
                    <a:pt x="16" y="220"/>
                  </a:lnTo>
                  <a:lnTo>
                    <a:pt x="24" y="226"/>
                  </a:lnTo>
                  <a:lnTo>
                    <a:pt x="42" y="230"/>
                  </a:lnTo>
                  <a:lnTo>
                    <a:pt x="112" y="180"/>
                  </a:lnTo>
                  <a:lnTo>
                    <a:pt x="212" y="114"/>
                  </a:lnTo>
                  <a:lnTo>
                    <a:pt x="210" y="96"/>
                  </a:lnTo>
                  <a:lnTo>
                    <a:pt x="216" y="82"/>
                  </a:lnTo>
                  <a:lnTo>
                    <a:pt x="220" y="50"/>
                  </a:lnTo>
                  <a:lnTo>
                    <a:pt x="266" y="16"/>
                  </a:lnTo>
                  <a:lnTo>
                    <a:pt x="248" y="0"/>
                  </a:lnTo>
                  <a:lnTo>
                    <a:pt x="224" y="12"/>
                  </a:lnTo>
                  <a:lnTo>
                    <a:pt x="190" y="12"/>
                  </a:lnTo>
                  <a:lnTo>
                    <a:pt x="174" y="24"/>
                  </a:lnTo>
                  <a:lnTo>
                    <a:pt x="160" y="28"/>
                  </a:lnTo>
                  <a:lnTo>
                    <a:pt x="128" y="28"/>
                  </a:lnTo>
                  <a:lnTo>
                    <a:pt x="112" y="22"/>
                  </a:lnTo>
                  <a:lnTo>
                    <a:pt x="82" y="32"/>
                  </a:lnTo>
                  <a:lnTo>
                    <a:pt x="68" y="32"/>
                  </a:lnTo>
                  <a:lnTo>
                    <a:pt x="58" y="18"/>
                  </a:lnTo>
                  <a:lnTo>
                    <a:pt x="48" y="20"/>
                  </a:lnTo>
                  <a:lnTo>
                    <a:pt x="40" y="34"/>
                  </a:lnTo>
                  <a:lnTo>
                    <a:pt x="48" y="50"/>
                  </a:lnTo>
                  <a:lnTo>
                    <a:pt x="36" y="52"/>
                  </a:lnTo>
                  <a:lnTo>
                    <a:pt x="16" y="70"/>
                  </a:lnTo>
                  <a:lnTo>
                    <a:pt x="6" y="60"/>
                  </a:lnTo>
                  <a:lnTo>
                    <a:pt x="4" y="70"/>
                  </a:lnTo>
                  <a:lnTo>
                    <a:pt x="2" y="108"/>
                  </a:lnTo>
                  <a:lnTo>
                    <a:pt x="2" y="114"/>
                  </a:lnTo>
                  <a:lnTo>
                    <a:pt x="0" y="122"/>
                  </a:lnTo>
                  <a:lnTo>
                    <a:pt x="6" y="122"/>
                  </a:lnTo>
                  <a:lnTo>
                    <a:pt x="12" y="128"/>
                  </a:lnTo>
                  <a:lnTo>
                    <a:pt x="20" y="136"/>
                  </a:lnTo>
                  <a:lnTo>
                    <a:pt x="22" y="154"/>
                  </a:lnTo>
                  <a:lnTo>
                    <a:pt x="18" y="166"/>
                  </a:lnTo>
                  <a:lnTo>
                    <a:pt x="10" y="176"/>
                  </a:lnTo>
                  <a:lnTo>
                    <a:pt x="6" y="182"/>
                  </a:lnTo>
                  <a:lnTo>
                    <a:pt x="4" y="182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93" name="Taiwan">
              <a:extLst>
                <a:ext uri="{FF2B5EF4-FFF2-40B4-BE49-F238E27FC236}">
                  <a16:creationId xmlns="" xmlns:a16="http://schemas.microsoft.com/office/drawing/2014/main" id="{B7142251-A7CF-496C-ABA3-23C5EF47F214}"/>
                </a:ext>
              </a:extLst>
            </p:cNvPr>
            <p:cNvSpPr>
              <a:spLocks/>
            </p:cNvSpPr>
            <p:nvPr/>
          </p:nvSpPr>
          <p:spPr bwMode="gray">
            <a:xfrm>
              <a:off x="9506451" y="3720997"/>
              <a:ext cx="56617" cy="121926"/>
            </a:xfrm>
            <a:custGeom>
              <a:avLst/>
              <a:gdLst/>
              <a:ahLst/>
              <a:cxnLst>
                <a:cxn ang="0">
                  <a:pos x="36" y="12"/>
                </a:cxn>
                <a:cxn ang="0">
                  <a:pos x="50" y="0"/>
                </a:cxn>
                <a:cxn ang="0">
                  <a:pos x="68" y="12"/>
                </a:cxn>
                <a:cxn ang="0">
                  <a:pos x="58" y="44"/>
                </a:cxn>
                <a:cxn ang="0">
                  <a:pos x="54" y="80"/>
                </a:cxn>
                <a:cxn ang="0">
                  <a:pos x="50" y="88"/>
                </a:cxn>
                <a:cxn ang="0">
                  <a:pos x="50" y="98"/>
                </a:cxn>
                <a:cxn ang="0">
                  <a:pos x="36" y="120"/>
                </a:cxn>
                <a:cxn ang="0">
                  <a:pos x="38" y="140"/>
                </a:cxn>
                <a:cxn ang="0">
                  <a:pos x="32" y="152"/>
                </a:cxn>
                <a:cxn ang="0">
                  <a:pos x="14" y="128"/>
                </a:cxn>
                <a:cxn ang="0">
                  <a:pos x="2" y="108"/>
                </a:cxn>
                <a:cxn ang="0">
                  <a:pos x="0" y="94"/>
                </a:cxn>
                <a:cxn ang="0">
                  <a:pos x="2" y="72"/>
                </a:cxn>
                <a:cxn ang="0">
                  <a:pos x="20" y="62"/>
                </a:cxn>
                <a:cxn ang="0">
                  <a:pos x="12" y="56"/>
                </a:cxn>
                <a:cxn ang="0">
                  <a:pos x="30" y="28"/>
                </a:cxn>
                <a:cxn ang="0">
                  <a:pos x="36" y="12"/>
                </a:cxn>
              </a:cxnLst>
              <a:rect l="0" t="0" r="r" b="b"/>
              <a:pathLst>
                <a:path w="68" h="152">
                  <a:moveTo>
                    <a:pt x="36" y="12"/>
                  </a:moveTo>
                  <a:lnTo>
                    <a:pt x="50" y="0"/>
                  </a:lnTo>
                  <a:lnTo>
                    <a:pt x="68" y="12"/>
                  </a:lnTo>
                  <a:lnTo>
                    <a:pt x="58" y="44"/>
                  </a:lnTo>
                  <a:lnTo>
                    <a:pt x="54" y="80"/>
                  </a:lnTo>
                  <a:lnTo>
                    <a:pt x="50" y="88"/>
                  </a:lnTo>
                  <a:lnTo>
                    <a:pt x="50" y="98"/>
                  </a:lnTo>
                  <a:lnTo>
                    <a:pt x="36" y="120"/>
                  </a:lnTo>
                  <a:lnTo>
                    <a:pt x="38" y="140"/>
                  </a:lnTo>
                  <a:lnTo>
                    <a:pt x="32" y="152"/>
                  </a:lnTo>
                  <a:lnTo>
                    <a:pt x="14" y="128"/>
                  </a:lnTo>
                  <a:lnTo>
                    <a:pt x="2" y="108"/>
                  </a:lnTo>
                  <a:lnTo>
                    <a:pt x="0" y="94"/>
                  </a:lnTo>
                  <a:lnTo>
                    <a:pt x="2" y="72"/>
                  </a:lnTo>
                  <a:lnTo>
                    <a:pt x="20" y="62"/>
                  </a:lnTo>
                  <a:lnTo>
                    <a:pt x="12" y="56"/>
                  </a:lnTo>
                  <a:lnTo>
                    <a:pt x="30" y="28"/>
                  </a:lnTo>
                  <a:lnTo>
                    <a:pt x="36" y="12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94" name="Tajikistan">
              <a:extLst>
                <a:ext uri="{FF2B5EF4-FFF2-40B4-BE49-F238E27FC236}">
                  <a16:creationId xmlns="" xmlns:a16="http://schemas.microsoft.com/office/drawing/2014/main" id="{79A52297-299B-499C-9F98-3837D9606F87}"/>
                </a:ext>
              </a:extLst>
            </p:cNvPr>
            <p:cNvSpPr>
              <a:spLocks/>
            </p:cNvSpPr>
            <p:nvPr/>
          </p:nvSpPr>
          <p:spPr bwMode="gray">
            <a:xfrm>
              <a:off x="7876279" y="3132995"/>
              <a:ext cx="238181" cy="180924"/>
            </a:xfrm>
            <a:custGeom>
              <a:avLst/>
              <a:gdLst/>
              <a:ahLst/>
              <a:cxnLst>
                <a:cxn ang="0">
                  <a:pos x="246" y="128"/>
                </a:cxn>
                <a:cxn ang="0">
                  <a:pos x="246" y="78"/>
                </a:cxn>
                <a:cxn ang="0">
                  <a:pos x="224" y="70"/>
                </a:cxn>
                <a:cxn ang="0">
                  <a:pos x="204" y="74"/>
                </a:cxn>
                <a:cxn ang="0">
                  <a:pos x="188" y="84"/>
                </a:cxn>
                <a:cxn ang="0">
                  <a:pos x="162" y="84"/>
                </a:cxn>
                <a:cxn ang="0">
                  <a:pos x="158" y="72"/>
                </a:cxn>
                <a:cxn ang="0">
                  <a:pos x="134" y="68"/>
                </a:cxn>
                <a:cxn ang="0">
                  <a:pos x="118" y="68"/>
                </a:cxn>
                <a:cxn ang="0">
                  <a:pos x="86" y="66"/>
                </a:cxn>
                <a:cxn ang="0">
                  <a:pos x="74" y="58"/>
                </a:cxn>
                <a:cxn ang="0">
                  <a:pos x="88" y="46"/>
                </a:cxn>
                <a:cxn ang="0">
                  <a:pos x="112" y="50"/>
                </a:cxn>
                <a:cxn ang="0">
                  <a:pos x="118" y="40"/>
                </a:cxn>
                <a:cxn ang="0">
                  <a:pos x="102" y="30"/>
                </a:cxn>
                <a:cxn ang="0">
                  <a:pos x="120" y="10"/>
                </a:cxn>
                <a:cxn ang="0">
                  <a:pos x="110" y="0"/>
                </a:cxn>
                <a:cxn ang="0">
                  <a:pos x="90" y="10"/>
                </a:cxn>
                <a:cxn ang="0">
                  <a:pos x="70" y="4"/>
                </a:cxn>
                <a:cxn ang="0">
                  <a:pos x="68" y="26"/>
                </a:cxn>
                <a:cxn ang="0">
                  <a:pos x="40" y="60"/>
                </a:cxn>
                <a:cxn ang="0">
                  <a:pos x="14" y="64"/>
                </a:cxn>
                <a:cxn ang="0">
                  <a:pos x="8" y="80"/>
                </a:cxn>
                <a:cxn ang="0">
                  <a:pos x="20" y="92"/>
                </a:cxn>
                <a:cxn ang="0">
                  <a:pos x="28" y="128"/>
                </a:cxn>
                <a:cxn ang="0">
                  <a:pos x="12" y="146"/>
                </a:cxn>
                <a:cxn ang="0">
                  <a:pos x="0" y="200"/>
                </a:cxn>
                <a:cxn ang="0">
                  <a:pos x="20" y="204"/>
                </a:cxn>
                <a:cxn ang="0">
                  <a:pos x="32" y="196"/>
                </a:cxn>
                <a:cxn ang="0">
                  <a:pos x="60" y="194"/>
                </a:cxn>
                <a:cxn ang="0">
                  <a:pos x="70" y="174"/>
                </a:cxn>
                <a:cxn ang="0">
                  <a:pos x="84" y="168"/>
                </a:cxn>
                <a:cxn ang="0">
                  <a:pos x="98" y="172"/>
                </a:cxn>
                <a:cxn ang="0">
                  <a:pos x="102" y="156"/>
                </a:cxn>
                <a:cxn ang="0">
                  <a:pos x="128" y="136"/>
                </a:cxn>
                <a:cxn ang="0">
                  <a:pos x="140" y="134"/>
                </a:cxn>
                <a:cxn ang="0">
                  <a:pos x="154" y="144"/>
                </a:cxn>
                <a:cxn ang="0">
                  <a:pos x="148" y="160"/>
                </a:cxn>
                <a:cxn ang="0">
                  <a:pos x="156" y="166"/>
                </a:cxn>
                <a:cxn ang="0">
                  <a:pos x="148" y="208"/>
                </a:cxn>
                <a:cxn ang="0">
                  <a:pos x="150" y="218"/>
                </a:cxn>
                <a:cxn ang="0">
                  <a:pos x="160" y="222"/>
                </a:cxn>
                <a:cxn ang="0">
                  <a:pos x="180" y="208"/>
                </a:cxn>
                <a:cxn ang="0">
                  <a:pos x="204" y="190"/>
                </a:cxn>
                <a:cxn ang="0">
                  <a:pos x="226" y="186"/>
                </a:cxn>
                <a:cxn ang="0">
                  <a:pos x="250" y="194"/>
                </a:cxn>
                <a:cxn ang="0">
                  <a:pos x="276" y="182"/>
                </a:cxn>
                <a:cxn ang="0">
                  <a:pos x="284" y="192"/>
                </a:cxn>
                <a:cxn ang="0">
                  <a:pos x="294" y="182"/>
                </a:cxn>
                <a:cxn ang="0">
                  <a:pos x="284" y="172"/>
                </a:cxn>
                <a:cxn ang="0">
                  <a:pos x="286" y="152"/>
                </a:cxn>
                <a:cxn ang="0">
                  <a:pos x="280" y="134"/>
                </a:cxn>
                <a:cxn ang="0">
                  <a:pos x="266" y="128"/>
                </a:cxn>
                <a:cxn ang="0">
                  <a:pos x="246" y="128"/>
                </a:cxn>
              </a:cxnLst>
              <a:rect l="0" t="0" r="r" b="b"/>
              <a:pathLst>
                <a:path w="294" h="222">
                  <a:moveTo>
                    <a:pt x="246" y="128"/>
                  </a:moveTo>
                  <a:lnTo>
                    <a:pt x="246" y="78"/>
                  </a:lnTo>
                  <a:lnTo>
                    <a:pt x="224" y="70"/>
                  </a:lnTo>
                  <a:lnTo>
                    <a:pt x="204" y="74"/>
                  </a:lnTo>
                  <a:lnTo>
                    <a:pt x="188" y="84"/>
                  </a:lnTo>
                  <a:lnTo>
                    <a:pt x="162" y="84"/>
                  </a:lnTo>
                  <a:lnTo>
                    <a:pt x="158" y="72"/>
                  </a:lnTo>
                  <a:lnTo>
                    <a:pt x="134" y="68"/>
                  </a:lnTo>
                  <a:lnTo>
                    <a:pt x="118" y="68"/>
                  </a:lnTo>
                  <a:lnTo>
                    <a:pt x="86" y="66"/>
                  </a:lnTo>
                  <a:lnTo>
                    <a:pt x="74" y="58"/>
                  </a:lnTo>
                  <a:lnTo>
                    <a:pt x="88" y="46"/>
                  </a:lnTo>
                  <a:lnTo>
                    <a:pt x="112" y="50"/>
                  </a:lnTo>
                  <a:lnTo>
                    <a:pt x="118" y="40"/>
                  </a:lnTo>
                  <a:lnTo>
                    <a:pt x="102" y="30"/>
                  </a:lnTo>
                  <a:lnTo>
                    <a:pt x="120" y="10"/>
                  </a:lnTo>
                  <a:lnTo>
                    <a:pt x="110" y="0"/>
                  </a:lnTo>
                  <a:lnTo>
                    <a:pt x="90" y="10"/>
                  </a:lnTo>
                  <a:lnTo>
                    <a:pt x="70" y="4"/>
                  </a:lnTo>
                  <a:lnTo>
                    <a:pt x="68" y="26"/>
                  </a:lnTo>
                  <a:lnTo>
                    <a:pt x="40" y="60"/>
                  </a:lnTo>
                  <a:lnTo>
                    <a:pt x="14" y="64"/>
                  </a:lnTo>
                  <a:lnTo>
                    <a:pt x="8" y="80"/>
                  </a:lnTo>
                  <a:lnTo>
                    <a:pt x="20" y="92"/>
                  </a:lnTo>
                  <a:lnTo>
                    <a:pt x="28" y="128"/>
                  </a:lnTo>
                  <a:lnTo>
                    <a:pt x="12" y="146"/>
                  </a:lnTo>
                  <a:lnTo>
                    <a:pt x="0" y="200"/>
                  </a:lnTo>
                  <a:lnTo>
                    <a:pt x="20" y="204"/>
                  </a:lnTo>
                  <a:lnTo>
                    <a:pt x="32" y="196"/>
                  </a:lnTo>
                  <a:lnTo>
                    <a:pt x="60" y="194"/>
                  </a:lnTo>
                  <a:lnTo>
                    <a:pt x="70" y="174"/>
                  </a:lnTo>
                  <a:lnTo>
                    <a:pt x="84" y="168"/>
                  </a:lnTo>
                  <a:lnTo>
                    <a:pt x="98" y="172"/>
                  </a:lnTo>
                  <a:lnTo>
                    <a:pt x="102" y="156"/>
                  </a:lnTo>
                  <a:lnTo>
                    <a:pt x="128" y="136"/>
                  </a:lnTo>
                  <a:lnTo>
                    <a:pt x="140" y="134"/>
                  </a:lnTo>
                  <a:lnTo>
                    <a:pt x="154" y="144"/>
                  </a:lnTo>
                  <a:lnTo>
                    <a:pt x="148" y="160"/>
                  </a:lnTo>
                  <a:lnTo>
                    <a:pt x="156" y="166"/>
                  </a:lnTo>
                  <a:lnTo>
                    <a:pt x="148" y="208"/>
                  </a:lnTo>
                  <a:lnTo>
                    <a:pt x="150" y="218"/>
                  </a:lnTo>
                  <a:lnTo>
                    <a:pt x="160" y="222"/>
                  </a:lnTo>
                  <a:lnTo>
                    <a:pt x="180" y="208"/>
                  </a:lnTo>
                  <a:lnTo>
                    <a:pt x="204" y="190"/>
                  </a:lnTo>
                  <a:lnTo>
                    <a:pt x="226" y="186"/>
                  </a:lnTo>
                  <a:lnTo>
                    <a:pt x="250" y="194"/>
                  </a:lnTo>
                  <a:lnTo>
                    <a:pt x="276" y="182"/>
                  </a:lnTo>
                  <a:lnTo>
                    <a:pt x="284" y="192"/>
                  </a:lnTo>
                  <a:lnTo>
                    <a:pt x="294" y="182"/>
                  </a:lnTo>
                  <a:lnTo>
                    <a:pt x="284" y="172"/>
                  </a:lnTo>
                  <a:lnTo>
                    <a:pt x="286" y="152"/>
                  </a:lnTo>
                  <a:lnTo>
                    <a:pt x="280" y="134"/>
                  </a:lnTo>
                  <a:lnTo>
                    <a:pt x="266" y="128"/>
                  </a:lnTo>
                  <a:lnTo>
                    <a:pt x="246" y="128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95" name="Tanzania">
              <a:extLst>
                <a:ext uri="{FF2B5EF4-FFF2-40B4-BE49-F238E27FC236}">
                  <a16:creationId xmlns="" xmlns:a16="http://schemas.microsoft.com/office/drawing/2014/main" id="{197A9E74-9FA0-4162-8FC9-3DF48EFFF7BD}"/>
                </a:ext>
              </a:extLst>
            </p:cNvPr>
            <p:cNvSpPr>
              <a:spLocks/>
            </p:cNvSpPr>
            <p:nvPr/>
          </p:nvSpPr>
          <p:spPr bwMode="gray">
            <a:xfrm>
              <a:off x="6716609" y="4598083"/>
              <a:ext cx="331892" cy="340214"/>
            </a:xfrm>
            <a:custGeom>
              <a:avLst/>
              <a:gdLst/>
              <a:ahLst/>
              <a:cxnLst>
                <a:cxn ang="0">
                  <a:pos x="372" y="162"/>
                </a:cxn>
                <a:cxn ang="0">
                  <a:pos x="376" y="144"/>
                </a:cxn>
                <a:cxn ang="0">
                  <a:pos x="310" y="108"/>
                </a:cxn>
                <a:cxn ang="0">
                  <a:pos x="318" y="84"/>
                </a:cxn>
                <a:cxn ang="0">
                  <a:pos x="168" y="0"/>
                </a:cxn>
                <a:cxn ang="0">
                  <a:pos x="52" y="2"/>
                </a:cxn>
                <a:cxn ang="0">
                  <a:pos x="42" y="6"/>
                </a:cxn>
                <a:cxn ang="0">
                  <a:pos x="54" y="28"/>
                </a:cxn>
                <a:cxn ang="0">
                  <a:pos x="56" y="40"/>
                </a:cxn>
                <a:cxn ang="0">
                  <a:pos x="48" y="60"/>
                </a:cxn>
                <a:cxn ang="0">
                  <a:pos x="62" y="88"/>
                </a:cxn>
                <a:cxn ang="0">
                  <a:pos x="24" y="124"/>
                </a:cxn>
                <a:cxn ang="0">
                  <a:pos x="22" y="136"/>
                </a:cxn>
                <a:cxn ang="0">
                  <a:pos x="0" y="138"/>
                </a:cxn>
                <a:cxn ang="0">
                  <a:pos x="8" y="198"/>
                </a:cxn>
                <a:cxn ang="0">
                  <a:pos x="36" y="242"/>
                </a:cxn>
                <a:cxn ang="0">
                  <a:pos x="54" y="288"/>
                </a:cxn>
                <a:cxn ang="0">
                  <a:pos x="92" y="312"/>
                </a:cxn>
                <a:cxn ang="0">
                  <a:pos x="108" y="312"/>
                </a:cxn>
                <a:cxn ang="0">
                  <a:pos x="132" y="332"/>
                </a:cxn>
                <a:cxn ang="0">
                  <a:pos x="148" y="324"/>
                </a:cxn>
                <a:cxn ang="0">
                  <a:pos x="162" y="336"/>
                </a:cxn>
                <a:cxn ang="0">
                  <a:pos x="172" y="336"/>
                </a:cxn>
                <a:cxn ang="0">
                  <a:pos x="184" y="382"/>
                </a:cxn>
                <a:cxn ang="0">
                  <a:pos x="196" y="414"/>
                </a:cxn>
                <a:cxn ang="0">
                  <a:pos x="238" y="402"/>
                </a:cxn>
                <a:cxn ang="0">
                  <a:pos x="264" y="416"/>
                </a:cxn>
                <a:cxn ang="0">
                  <a:pos x="288" y="402"/>
                </a:cxn>
                <a:cxn ang="0">
                  <a:pos x="310" y="410"/>
                </a:cxn>
                <a:cxn ang="0">
                  <a:pos x="328" y="396"/>
                </a:cxn>
                <a:cxn ang="0">
                  <a:pos x="368" y="394"/>
                </a:cxn>
                <a:cxn ang="0">
                  <a:pos x="410" y="370"/>
                </a:cxn>
                <a:cxn ang="0">
                  <a:pos x="396" y="352"/>
                </a:cxn>
                <a:cxn ang="0">
                  <a:pos x="394" y="332"/>
                </a:cxn>
                <a:cxn ang="0">
                  <a:pos x="382" y="292"/>
                </a:cxn>
                <a:cxn ang="0">
                  <a:pos x="390" y="266"/>
                </a:cxn>
                <a:cxn ang="0">
                  <a:pos x="382" y="262"/>
                </a:cxn>
                <a:cxn ang="0">
                  <a:pos x="384" y="224"/>
                </a:cxn>
                <a:cxn ang="0">
                  <a:pos x="360" y="196"/>
                </a:cxn>
                <a:cxn ang="0">
                  <a:pos x="372" y="162"/>
                </a:cxn>
              </a:cxnLst>
              <a:rect l="0" t="0" r="r" b="b"/>
              <a:pathLst>
                <a:path w="410" h="416">
                  <a:moveTo>
                    <a:pt x="372" y="162"/>
                  </a:moveTo>
                  <a:lnTo>
                    <a:pt x="376" y="144"/>
                  </a:lnTo>
                  <a:lnTo>
                    <a:pt x="310" y="108"/>
                  </a:lnTo>
                  <a:lnTo>
                    <a:pt x="318" y="84"/>
                  </a:lnTo>
                  <a:lnTo>
                    <a:pt x="168" y="0"/>
                  </a:lnTo>
                  <a:lnTo>
                    <a:pt x="52" y="2"/>
                  </a:lnTo>
                  <a:lnTo>
                    <a:pt x="42" y="6"/>
                  </a:lnTo>
                  <a:lnTo>
                    <a:pt x="54" y="28"/>
                  </a:lnTo>
                  <a:lnTo>
                    <a:pt x="56" y="40"/>
                  </a:lnTo>
                  <a:lnTo>
                    <a:pt x="48" y="60"/>
                  </a:lnTo>
                  <a:lnTo>
                    <a:pt x="62" y="88"/>
                  </a:lnTo>
                  <a:lnTo>
                    <a:pt x="24" y="124"/>
                  </a:lnTo>
                  <a:lnTo>
                    <a:pt x="22" y="136"/>
                  </a:lnTo>
                  <a:lnTo>
                    <a:pt x="0" y="138"/>
                  </a:lnTo>
                  <a:lnTo>
                    <a:pt x="8" y="198"/>
                  </a:lnTo>
                  <a:lnTo>
                    <a:pt x="36" y="242"/>
                  </a:lnTo>
                  <a:lnTo>
                    <a:pt x="54" y="288"/>
                  </a:lnTo>
                  <a:lnTo>
                    <a:pt x="92" y="312"/>
                  </a:lnTo>
                  <a:lnTo>
                    <a:pt x="108" y="312"/>
                  </a:lnTo>
                  <a:lnTo>
                    <a:pt x="132" y="332"/>
                  </a:lnTo>
                  <a:lnTo>
                    <a:pt x="148" y="324"/>
                  </a:lnTo>
                  <a:lnTo>
                    <a:pt x="162" y="336"/>
                  </a:lnTo>
                  <a:lnTo>
                    <a:pt x="172" y="336"/>
                  </a:lnTo>
                  <a:lnTo>
                    <a:pt x="184" y="382"/>
                  </a:lnTo>
                  <a:lnTo>
                    <a:pt x="196" y="414"/>
                  </a:lnTo>
                  <a:lnTo>
                    <a:pt x="238" y="402"/>
                  </a:lnTo>
                  <a:lnTo>
                    <a:pt x="264" y="416"/>
                  </a:lnTo>
                  <a:lnTo>
                    <a:pt x="288" y="402"/>
                  </a:lnTo>
                  <a:lnTo>
                    <a:pt x="310" y="410"/>
                  </a:lnTo>
                  <a:lnTo>
                    <a:pt x="328" y="396"/>
                  </a:lnTo>
                  <a:lnTo>
                    <a:pt x="368" y="394"/>
                  </a:lnTo>
                  <a:lnTo>
                    <a:pt x="410" y="370"/>
                  </a:lnTo>
                  <a:lnTo>
                    <a:pt x="396" y="352"/>
                  </a:lnTo>
                  <a:lnTo>
                    <a:pt x="394" y="332"/>
                  </a:lnTo>
                  <a:lnTo>
                    <a:pt x="382" y="292"/>
                  </a:lnTo>
                  <a:lnTo>
                    <a:pt x="390" y="266"/>
                  </a:lnTo>
                  <a:lnTo>
                    <a:pt x="382" y="262"/>
                  </a:lnTo>
                  <a:lnTo>
                    <a:pt x="384" y="224"/>
                  </a:lnTo>
                  <a:lnTo>
                    <a:pt x="360" y="196"/>
                  </a:lnTo>
                  <a:lnTo>
                    <a:pt x="372" y="162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96" name="Thailand">
              <a:extLst>
                <a:ext uri="{FF2B5EF4-FFF2-40B4-BE49-F238E27FC236}">
                  <a16:creationId xmlns="" xmlns:a16="http://schemas.microsoft.com/office/drawing/2014/main" id="{DC98E3AD-564F-4E25-96DE-45340F5D9AF8}"/>
                </a:ext>
              </a:extLst>
            </p:cNvPr>
            <p:cNvSpPr>
              <a:spLocks/>
            </p:cNvSpPr>
            <p:nvPr/>
          </p:nvSpPr>
          <p:spPr bwMode="gray">
            <a:xfrm>
              <a:off x="8807527" y="3894054"/>
              <a:ext cx="251847" cy="462141"/>
            </a:xfrm>
            <a:custGeom>
              <a:avLst/>
              <a:gdLst/>
              <a:ahLst/>
              <a:cxnLst>
                <a:cxn ang="0">
                  <a:pos x="38" y="412"/>
                </a:cxn>
                <a:cxn ang="0">
                  <a:pos x="80" y="340"/>
                </a:cxn>
                <a:cxn ang="0">
                  <a:pos x="72" y="308"/>
                </a:cxn>
                <a:cxn ang="0">
                  <a:pos x="76" y="276"/>
                </a:cxn>
                <a:cxn ang="0">
                  <a:pos x="34" y="224"/>
                </a:cxn>
                <a:cxn ang="0">
                  <a:pos x="34" y="204"/>
                </a:cxn>
                <a:cxn ang="0">
                  <a:pos x="42" y="174"/>
                </a:cxn>
                <a:cxn ang="0">
                  <a:pos x="10" y="128"/>
                </a:cxn>
                <a:cxn ang="0">
                  <a:pos x="0" y="78"/>
                </a:cxn>
                <a:cxn ang="0">
                  <a:pos x="18" y="44"/>
                </a:cxn>
                <a:cxn ang="0">
                  <a:pos x="40" y="36"/>
                </a:cxn>
                <a:cxn ang="0">
                  <a:pos x="82" y="0"/>
                </a:cxn>
                <a:cxn ang="0">
                  <a:pos x="112" y="8"/>
                </a:cxn>
                <a:cxn ang="0">
                  <a:pos x="124" y="28"/>
                </a:cxn>
                <a:cxn ang="0">
                  <a:pos x="146" y="34"/>
                </a:cxn>
                <a:cxn ang="0">
                  <a:pos x="138" y="80"/>
                </a:cxn>
                <a:cxn ang="0">
                  <a:pos x="150" y="124"/>
                </a:cxn>
                <a:cxn ang="0">
                  <a:pos x="208" y="96"/>
                </a:cxn>
                <a:cxn ang="0">
                  <a:pos x="246" y="92"/>
                </a:cxn>
                <a:cxn ang="0">
                  <a:pos x="268" y="152"/>
                </a:cxn>
                <a:cxn ang="0">
                  <a:pos x="312" y="192"/>
                </a:cxn>
                <a:cxn ang="0">
                  <a:pos x="304" y="226"/>
                </a:cxn>
                <a:cxn ang="0">
                  <a:pos x="264" y="240"/>
                </a:cxn>
                <a:cxn ang="0">
                  <a:pos x="190" y="286"/>
                </a:cxn>
                <a:cxn ang="0">
                  <a:pos x="208" y="324"/>
                </a:cxn>
                <a:cxn ang="0">
                  <a:pos x="190" y="328"/>
                </a:cxn>
                <a:cxn ang="0">
                  <a:pos x="128" y="306"/>
                </a:cxn>
                <a:cxn ang="0">
                  <a:pos x="108" y="268"/>
                </a:cxn>
                <a:cxn ang="0">
                  <a:pos x="98" y="298"/>
                </a:cxn>
                <a:cxn ang="0">
                  <a:pos x="82" y="358"/>
                </a:cxn>
                <a:cxn ang="0">
                  <a:pos x="68" y="414"/>
                </a:cxn>
                <a:cxn ang="0">
                  <a:pos x="96" y="442"/>
                </a:cxn>
                <a:cxn ang="0">
                  <a:pos x="112" y="474"/>
                </a:cxn>
                <a:cxn ang="0">
                  <a:pos x="110" y="514"/>
                </a:cxn>
                <a:cxn ang="0">
                  <a:pos x="154" y="530"/>
                </a:cxn>
                <a:cxn ang="0">
                  <a:pos x="180" y="546"/>
                </a:cxn>
                <a:cxn ang="0">
                  <a:pos x="140" y="562"/>
                </a:cxn>
                <a:cxn ang="0">
                  <a:pos x="126" y="536"/>
                </a:cxn>
                <a:cxn ang="0">
                  <a:pos x="78" y="526"/>
                </a:cxn>
                <a:cxn ang="0">
                  <a:pos x="64" y="510"/>
                </a:cxn>
                <a:cxn ang="0">
                  <a:pos x="44" y="476"/>
                </a:cxn>
                <a:cxn ang="0">
                  <a:pos x="28" y="460"/>
                </a:cxn>
              </a:cxnLst>
              <a:rect l="0" t="0" r="r" b="b"/>
              <a:pathLst>
                <a:path w="312" h="562">
                  <a:moveTo>
                    <a:pt x="42" y="428"/>
                  </a:moveTo>
                  <a:lnTo>
                    <a:pt x="38" y="412"/>
                  </a:lnTo>
                  <a:lnTo>
                    <a:pt x="78" y="358"/>
                  </a:lnTo>
                  <a:lnTo>
                    <a:pt x="80" y="340"/>
                  </a:lnTo>
                  <a:lnTo>
                    <a:pt x="72" y="324"/>
                  </a:lnTo>
                  <a:lnTo>
                    <a:pt x="72" y="308"/>
                  </a:lnTo>
                  <a:lnTo>
                    <a:pt x="78" y="298"/>
                  </a:lnTo>
                  <a:lnTo>
                    <a:pt x="76" y="276"/>
                  </a:lnTo>
                  <a:lnTo>
                    <a:pt x="62" y="252"/>
                  </a:lnTo>
                  <a:lnTo>
                    <a:pt x="34" y="224"/>
                  </a:lnTo>
                  <a:lnTo>
                    <a:pt x="28" y="210"/>
                  </a:lnTo>
                  <a:lnTo>
                    <a:pt x="34" y="204"/>
                  </a:lnTo>
                  <a:lnTo>
                    <a:pt x="48" y="184"/>
                  </a:lnTo>
                  <a:lnTo>
                    <a:pt x="42" y="174"/>
                  </a:lnTo>
                  <a:lnTo>
                    <a:pt x="36" y="158"/>
                  </a:lnTo>
                  <a:lnTo>
                    <a:pt x="10" y="128"/>
                  </a:lnTo>
                  <a:lnTo>
                    <a:pt x="10" y="92"/>
                  </a:lnTo>
                  <a:lnTo>
                    <a:pt x="0" y="78"/>
                  </a:lnTo>
                  <a:lnTo>
                    <a:pt x="16" y="70"/>
                  </a:lnTo>
                  <a:lnTo>
                    <a:pt x="18" y="44"/>
                  </a:lnTo>
                  <a:lnTo>
                    <a:pt x="28" y="32"/>
                  </a:lnTo>
                  <a:lnTo>
                    <a:pt x="40" y="36"/>
                  </a:lnTo>
                  <a:lnTo>
                    <a:pt x="72" y="16"/>
                  </a:lnTo>
                  <a:lnTo>
                    <a:pt x="82" y="0"/>
                  </a:lnTo>
                  <a:lnTo>
                    <a:pt x="108" y="2"/>
                  </a:lnTo>
                  <a:lnTo>
                    <a:pt x="112" y="8"/>
                  </a:lnTo>
                  <a:lnTo>
                    <a:pt x="122" y="10"/>
                  </a:lnTo>
                  <a:lnTo>
                    <a:pt x="124" y="28"/>
                  </a:lnTo>
                  <a:lnTo>
                    <a:pt x="134" y="38"/>
                  </a:lnTo>
                  <a:lnTo>
                    <a:pt x="146" y="34"/>
                  </a:lnTo>
                  <a:lnTo>
                    <a:pt x="144" y="66"/>
                  </a:lnTo>
                  <a:lnTo>
                    <a:pt x="138" y="80"/>
                  </a:lnTo>
                  <a:lnTo>
                    <a:pt x="142" y="124"/>
                  </a:lnTo>
                  <a:lnTo>
                    <a:pt x="150" y="124"/>
                  </a:lnTo>
                  <a:lnTo>
                    <a:pt x="166" y="102"/>
                  </a:lnTo>
                  <a:lnTo>
                    <a:pt x="208" y="96"/>
                  </a:lnTo>
                  <a:lnTo>
                    <a:pt x="222" y="86"/>
                  </a:lnTo>
                  <a:lnTo>
                    <a:pt x="246" y="92"/>
                  </a:lnTo>
                  <a:lnTo>
                    <a:pt x="264" y="112"/>
                  </a:lnTo>
                  <a:lnTo>
                    <a:pt x="268" y="152"/>
                  </a:lnTo>
                  <a:lnTo>
                    <a:pt x="296" y="176"/>
                  </a:lnTo>
                  <a:lnTo>
                    <a:pt x="312" y="192"/>
                  </a:lnTo>
                  <a:lnTo>
                    <a:pt x="306" y="210"/>
                  </a:lnTo>
                  <a:lnTo>
                    <a:pt x="304" y="226"/>
                  </a:lnTo>
                  <a:lnTo>
                    <a:pt x="288" y="236"/>
                  </a:lnTo>
                  <a:lnTo>
                    <a:pt x="264" y="240"/>
                  </a:lnTo>
                  <a:lnTo>
                    <a:pt x="218" y="248"/>
                  </a:lnTo>
                  <a:lnTo>
                    <a:pt x="190" y="286"/>
                  </a:lnTo>
                  <a:lnTo>
                    <a:pt x="188" y="300"/>
                  </a:lnTo>
                  <a:lnTo>
                    <a:pt x="208" y="324"/>
                  </a:lnTo>
                  <a:lnTo>
                    <a:pt x="206" y="342"/>
                  </a:lnTo>
                  <a:lnTo>
                    <a:pt x="190" y="328"/>
                  </a:lnTo>
                  <a:lnTo>
                    <a:pt x="162" y="312"/>
                  </a:lnTo>
                  <a:lnTo>
                    <a:pt x="128" y="306"/>
                  </a:lnTo>
                  <a:lnTo>
                    <a:pt x="124" y="280"/>
                  </a:lnTo>
                  <a:lnTo>
                    <a:pt x="108" y="268"/>
                  </a:lnTo>
                  <a:lnTo>
                    <a:pt x="94" y="280"/>
                  </a:lnTo>
                  <a:lnTo>
                    <a:pt x="98" y="298"/>
                  </a:lnTo>
                  <a:lnTo>
                    <a:pt x="94" y="328"/>
                  </a:lnTo>
                  <a:lnTo>
                    <a:pt x="82" y="358"/>
                  </a:lnTo>
                  <a:lnTo>
                    <a:pt x="82" y="372"/>
                  </a:lnTo>
                  <a:lnTo>
                    <a:pt x="68" y="414"/>
                  </a:lnTo>
                  <a:lnTo>
                    <a:pt x="66" y="442"/>
                  </a:lnTo>
                  <a:lnTo>
                    <a:pt x="96" y="442"/>
                  </a:lnTo>
                  <a:lnTo>
                    <a:pt x="96" y="464"/>
                  </a:lnTo>
                  <a:lnTo>
                    <a:pt x="112" y="474"/>
                  </a:lnTo>
                  <a:lnTo>
                    <a:pt x="108" y="492"/>
                  </a:lnTo>
                  <a:lnTo>
                    <a:pt x="110" y="514"/>
                  </a:lnTo>
                  <a:lnTo>
                    <a:pt x="140" y="528"/>
                  </a:lnTo>
                  <a:lnTo>
                    <a:pt x="154" y="530"/>
                  </a:lnTo>
                  <a:lnTo>
                    <a:pt x="168" y="544"/>
                  </a:lnTo>
                  <a:lnTo>
                    <a:pt x="180" y="546"/>
                  </a:lnTo>
                  <a:lnTo>
                    <a:pt x="170" y="562"/>
                  </a:lnTo>
                  <a:lnTo>
                    <a:pt x="140" y="562"/>
                  </a:lnTo>
                  <a:lnTo>
                    <a:pt x="140" y="546"/>
                  </a:lnTo>
                  <a:lnTo>
                    <a:pt x="126" y="536"/>
                  </a:lnTo>
                  <a:lnTo>
                    <a:pt x="102" y="536"/>
                  </a:lnTo>
                  <a:lnTo>
                    <a:pt x="78" y="526"/>
                  </a:lnTo>
                  <a:lnTo>
                    <a:pt x="72" y="508"/>
                  </a:lnTo>
                  <a:lnTo>
                    <a:pt x="64" y="510"/>
                  </a:lnTo>
                  <a:lnTo>
                    <a:pt x="44" y="494"/>
                  </a:lnTo>
                  <a:lnTo>
                    <a:pt x="44" y="476"/>
                  </a:lnTo>
                  <a:lnTo>
                    <a:pt x="30" y="482"/>
                  </a:lnTo>
                  <a:lnTo>
                    <a:pt x="28" y="460"/>
                  </a:lnTo>
                  <a:lnTo>
                    <a:pt x="42" y="428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97" name="Togo">
              <a:extLst>
                <a:ext uri="{FF2B5EF4-FFF2-40B4-BE49-F238E27FC236}">
                  <a16:creationId xmlns="" xmlns:a16="http://schemas.microsoft.com/office/drawing/2014/main" id="{44570338-5D07-4DE3-96ED-A0AC1F889AE2}"/>
                </a:ext>
              </a:extLst>
            </p:cNvPr>
            <p:cNvSpPr>
              <a:spLocks/>
            </p:cNvSpPr>
            <p:nvPr/>
          </p:nvSpPr>
          <p:spPr bwMode="gray">
            <a:xfrm>
              <a:off x="5808787" y="4208703"/>
              <a:ext cx="58569" cy="153392"/>
            </a:xfrm>
            <a:custGeom>
              <a:avLst/>
              <a:gdLst/>
              <a:ahLst/>
              <a:cxnLst>
                <a:cxn ang="0">
                  <a:pos x="44" y="183"/>
                </a:cxn>
                <a:cxn ang="0">
                  <a:pos x="22" y="153"/>
                </a:cxn>
                <a:cxn ang="0">
                  <a:pos x="18" y="109"/>
                </a:cxn>
                <a:cxn ang="0">
                  <a:pos x="6" y="88"/>
                </a:cxn>
                <a:cxn ang="0">
                  <a:pos x="16" y="72"/>
                </a:cxn>
                <a:cxn ang="0">
                  <a:pos x="12" y="42"/>
                </a:cxn>
                <a:cxn ang="0">
                  <a:pos x="8" y="14"/>
                </a:cxn>
                <a:cxn ang="0">
                  <a:pos x="0" y="6"/>
                </a:cxn>
                <a:cxn ang="0">
                  <a:pos x="2" y="0"/>
                </a:cxn>
                <a:cxn ang="0">
                  <a:pos x="18" y="0"/>
                </a:cxn>
                <a:cxn ang="0">
                  <a:pos x="28" y="6"/>
                </a:cxn>
                <a:cxn ang="0">
                  <a:pos x="50" y="38"/>
                </a:cxn>
                <a:cxn ang="0">
                  <a:pos x="50" y="66"/>
                </a:cxn>
                <a:cxn ang="0">
                  <a:pos x="64" y="80"/>
                </a:cxn>
                <a:cxn ang="0">
                  <a:pos x="68" y="173"/>
                </a:cxn>
                <a:cxn ang="0">
                  <a:pos x="72" y="185"/>
                </a:cxn>
                <a:cxn ang="0">
                  <a:pos x="50" y="185"/>
                </a:cxn>
                <a:cxn ang="0">
                  <a:pos x="44" y="183"/>
                </a:cxn>
              </a:cxnLst>
              <a:rect l="0" t="0" r="r" b="b"/>
              <a:pathLst>
                <a:path w="72" h="185">
                  <a:moveTo>
                    <a:pt x="44" y="183"/>
                  </a:moveTo>
                  <a:lnTo>
                    <a:pt x="22" y="153"/>
                  </a:lnTo>
                  <a:lnTo>
                    <a:pt x="18" y="109"/>
                  </a:lnTo>
                  <a:lnTo>
                    <a:pt x="6" y="88"/>
                  </a:lnTo>
                  <a:lnTo>
                    <a:pt x="16" y="72"/>
                  </a:lnTo>
                  <a:lnTo>
                    <a:pt x="12" y="42"/>
                  </a:lnTo>
                  <a:lnTo>
                    <a:pt x="8" y="14"/>
                  </a:lnTo>
                  <a:lnTo>
                    <a:pt x="0" y="6"/>
                  </a:lnTo>
                  <a:lnTo>
                    <a:pt x="2" y="0"/>
                  </a:lnTo>
                  <a:lnTo>
                    <a:pt x="18" y="0"/>
                  </a:lnTo>
                  <a:lnTo>
                    <a:pt x="28" y="6"/>
                  </a:lnTo>
                  <a:lnTo>
                    <a:pt x="50" y="38"/>
                  </a:lnTo>
                  <a:lnTo>
                    <a:pt x="50" y="66"/>
                  </a:lnTo>
                  <a:lnTo>
                    <a:pt x="64" y="80"/>
                  </a:lnTo>
                  <a:lnTo>
                    <a:pt x="68" y="173"/>
                  </a:lnTo>
                  <a:lnTo>
                    <a:pt x="72" y="185"/>
                  </a:lnTo>
                  <a:lnTo>
                    <a:pt x="50" y="185"/>
                  </a:lnTo>
                  <a:lnTo>
                    <a:pt x="44" y="183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98" name="Tunisia">
              <a:extLst>
                <a:ext uri="{FF2B5EF4-FFF2-40B4-BE49-F238E27FC236}">
                  <a16:creationId xmlns="" xmlns:a16="http://schemas.microsoft.com/office/drawing/2014/main" id="{E1E79D6B-CC1A-41DE-AFAA-6C8CB652C44D}"/>
                </a:ext>
              </a:extLst>
            </p:cNvPr>
            <p:cNvSpPr>
              <a:spLocks/>
            </p:cNvSpPr>
            <p:nvPr/>
          </p:nvSpPr>
          <p:spPr bwMode="gray">
            <a:xfrm>
              <a:off x="6037207" y="3274587"/>
              <a:ext cx="134708" cy="291051"/>
            </a:xfrm>
            <a:custGeom>
              <a:avLst/>
              <a:gdLst/>
              <a:ahLst/>
              <a:cxnLst>
                <a:cxn ang="0">
                  <a:pos x="114" y="322"/>
                </a:cxn>
                <a:cxn ang="0">
                  <a:pos x="90" y="356"/>
                </a:cxn>
                <a:cxn ang="0">
                  <a:pos x="70" y="262"/>
                </a:cxn>
                <a:cxn ang="0">
                  <a:pos x="42" y="244"/>
                </a:cxn>
                <a:cxn ang="0">
                  <a:pos x="40" y="228"/>
                </a:cxn>
                <a:cxn ang="0">
                  <a:pos x="14" y="208"/>
                </a:cxn>
                <a:cxn ang="0">
                  <a:pos x="0" y="168"/>
                </a:cxn>
                <a:cxn ang="0">
                  <a:pos x="6" y="154"/>
                </a:cxn>
                <a:cxn ang="0">
                  <a:pos x="34" y="116"/>
                </a:cxn>
                <a:cxn ang="0">
                  <a:pos x="34" y="40"/>
                </a:cxn>
                <a:cxn ang="0">
                  <a:pos x="40" y="20"/>
                </a:cxn>
                <a:cxn ang="0">
                  <a:pos x="48" y="20"/>
                </a:cxn>
                <a:cxn ang="0">
                  <a:pos x="56" y="12"/>
                </a:cxn>
                <a:cxn ang="0">
                  <a:pos x="94" y="0"/>
                </a:cxn>
                <a:cxn ang="0">
                  <a:pos x="108" y="10"/>
                </a:cxn>
                <a:cxn ang="0">
                  <a:pos x="112" y="18"/>
                </a:cxn>
                <a:cxn ang="0">
                  <a:pos x="122" y="26"/>
                </a:cxn>
                <a:cxn ang="0">
                  <a:pos x="136" y="18"/>
                </a:cxn>
                <a:cxn ang="0">
                  <a:pos x="138" y="30"/>
                </a:cxn>
                <a:cxn ang="0">
                  <a:pos x="118" y="58"/>
                </a:cxn>
                <a:cxn ang="0">
                  <a:pos x="120" y="66"/>
                </a:cxn>
                <a:cxn ang="0">
                  <a:pos x="140" y="94"/>
                </a:cxn>
                <a:cxn ang="0">
                  <a:pos x="142" y="106"/>
                </a:cxn>
                <a:cxn ang="0">
                  <a:pos x="124" y="134"/>
                </a:cxn>
                <a:cxn ang="0">
                  <a:pos x="108" y="146"/>
                </a:cxn>
                <a:cxn ang="0">
                  <a:pos x="108" y="158"/>
                </a:cxn>
                <a:cxn ang="0">
                  <a:pos x="114" y="168"/>
                </a:cxn>
                <a:cxn ang="0">
                  <a:pos x="130" y="172"/>
                </a:cxn>
                <a:cxn ang="0">
                  <a:pos x="142" y="178"/>
                </a:cxn>
                <a:cxn ang="0">
                  <a:pos x="152" y="196"/>
                </a:cxn>
                <a:cxn ang="0">
                  <a:pos x="162" y="198"/>
                </a:cxn>
                <a:cxn ang="0">
                  <a:pos x="166" y="238"/>
                </a:cxn>
                <a:cxn ang="0">
                  <a:pos x="158" y="246"/>
                </a:cxn>
                <a:cxn ang="0">
                  <a:pos x="142" y="252"/>
                </a:cxn>
                <a:cxn ang="0">
                  <a:pos x="132" y="262"/>
                </a:cxn>
                <a:cxn ang="0">
                  <a:pos x="120" y="264"/>
                </a:cxn>
                <a:cxn ang="0">
                  <a:pos x="108" y="276"/>
                </a:cxn>
                <a:cxn ang="0">
                  <a:pos x="108" y="294"/>
                </a:cxn>
                <a:cxn ang="0">
                  <a:pos x="114" y="322"/>
                </a:cxn>
              </a:cxnLst>
              <a:rect l="0" t="0" r="r" b="b"/>
              <a:pathLst>
                <a:path w="166" h="356">
                  <a:moveTo>
                    <a:pt x="114" y="322"/>
                  </a:moveTo>
                  <a:lnTo>
                    <a:pt x="90" y="356"/>
                  </a:lnTo>
                  <a:lnTo>
                    <a:pt x="70" y="262"/>
                  </a:lnTo>
                  <a:lnTo>
                    <a:pt x="42" y="244"/>
                  </a:lnTo>
                  <a:lnTo>
                    <a:pt x="40" y="228"/>
                  </a:lnTo>
                  <a:lnTo>
                    <a:pt x="14" y="208"/>
                  </a:lnTo>
                  <a:lnTo>
                    <a:pt x="0" y="168"/>
                  </a:lnTo>
                  <a:lnTo>
                    <a:pt x="6" y="154"/>
                  </a:lnTo>
                  <a:lnTo>
                    <a:pt x="34" y="116"/>
                  </a:lnTo>
                  <a:lnTo>
                    <a:pt x="34" y="40"/>
                  </a:lnTo>
                  <a:lnTo>
                    <a:pt x="40" y="20"/>
                  </a:lnTo>
                  <a:lnTo>
                    <a:pt x="48" y="20"/>
                  </a:lnTo>
                  <a:lnTo>
                    <a:pt x="56" y="12"/>
                  </a:lnTo>
                  <a:lnTo>
                    <a:pt x="94" y="0"/>
                  </a:lnTo>
                  <a:lnTo>
                    <a:pt x="108" y="10"/>
                  </a:lnTo>
                  <a:lnTo>
                    <a:pt x="112" y="18"/>
                  </a:lnTo>
                  <a:lnTo>
                    <a:pt x="122" y="26"/>
                  </a:lnTo>
                  <a:lnTo>
                    <a:pt x="136" y="18"/>
                  </a:lnTo>
                  <a:lnTo>
                    <a:pt x="138" y="30"/>
                  </a:lnTo>
                  <a:lnTo>
                    <a:pt x="118" y="58"/>
                  </a:lnTo>
                  <a:lnTo>
                    <a:pt x="120" y="66"/>
                  </a:lnTo>
                  <a:lnTo>
                    <a:pt x="140" y="94"/>
                  </a:lnTo>
                  <a:lnTo>
                    <a:pt x="142" y="106"/>
                  </a:lnTo>
                  <a:lnTo>
                    <a:pt x="124" y="134"/>
                  </a:lnTo>
                  <a:lnTo>
                    <a:pt x="108" y="146"/>
                  </a:lnTo>
                  <a:lnTo>
                    <a:pt x="108" y="158"/>
                  </a:lnTo>
                  <a:lnTo>
                    <a:pt x="114" y="168"/>
                  </a:lnTo>
                  <a:lnTo>
                    <a:pt x="130" y="172"/>
                  </a:lnTo>
                  <a:lnTo>
                    <a:pt x="142" y="178"/>
                  </a:lnTo>
                  <a:lnTo>
                    <a:pt x="152" y="196"/>
                  </a:lnTo>
                  <a:lnTo>
                    <a:pt x="162" y="198"/>
                  </a:lnTo>
                  <a:lnTo>
                    <a:pt x="166" y="238"/>
                  </a:lnTo>
                  <a:lnTo>
                    <a:pt x="158" y="246"/>
                  </a:lnTo>
                  <a:lnTo>
                    <a:pt x="142" y="252"/>
                  </a:lnTo>
                  <a:lnTo>
                    <a:pt x="132" y="262"/>
                  </a:lnTo>
                  <a:lnTo>
                    <a:pt x="120" y="264"/>
                  </a:lnTo>
                  <a:lnTo>
                    <a:pt x="108" y="276"/>
                  </a:lnTo>
                  <a:lnTo>
                    <a:pt x="108" y="294"/>
                  </a:lnTo>
                  <a:lnTo>
                    <a:pt x="114" y="322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99" name="Turkey">
              <a:extLst>
                <a:ext uri="{FF2B5EF4-FFF2-40B4-BE49-F238E27FC236}">
                  <a16:creationId xmlns="" xmlns:a16="http://schemas.microsoft.com/office/drawing/2014/main" id="{6BAF72A1-3FE4-4EA7-8FED-5BEDABB7131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599471" y="3079898"/>
              <a:ext cx="589596" cy="263518"/>
            </a:xfrm>
            <a:custGeom>
              <a:avLst/>
              <a:gdLst/>
              <a:ahLst/>
              <a:cxnLst>
                <a:cxn ang="0">
                  <a:pos x="700" y="262"/>
                </a:cxn>
                <a:cxn ang="0">
                  <a:pos x="654" y="254"/>
                </a:cxn>
                <a:cxn ang="0">
                  <a:pos x="624" y="252"/>
                </a:cxn>
                <a:cxn ang="0">
                  <a:pos x="566" y="264"/>
                </a:cxn>
                <a:cxn ang="0">
                  <a:pos x="536" y="280"/>
                </a:cxn>
                <a:cxn ang="0">
                  <a:pos x="488" y="274"/>
                </a:cxn>
                <a:cxn ang="0">
                  <a:pos x="444" y="284"/>
                </a:cxn>
                <a:cxn ang="0">
                  <a:pos x="424" y="272"/>
                </a:cxn>
                <a:cxn ang="0">
                  <a:pos x="424" y="302"/>
                </a:cxn>
                <a:cxn ang="0">
                  <a:pos x="392" y="322"/>
                </a:cxn>
                <a:cxn ang="0">
                  <a:pos x="384" y="296"/>
                </a:cxn>
                <a:cxn ang="0">
                  <a:pos x="396" y="272"/>
                </a:cxn>
                <a:cxn ang="0">
                  <a:pos x="376" y="288"/>
                </a:cxn>
                <a:cxn ang="0">
                  <a:pos x="336" y="274"/>
                </a:cxn>
                <a:cxn ang="0">
                  <a:pos x="322" y="288"/>
                </a:cxn>
                <a:cxn ang="0">
                  <a:pos x="276" y="308"/>
                </a:cxn>
                <a:cxn ang="0">
                  <a:pos x="244" y="310"/>
                </a:cxn>
                <a:cxn ang="0">
                  <a:pos x="196" y="274"/>
                </a:cxn>
                <a:cxn ang="0">
                  <a:pos x="176" y="300"/>
                </a:cxn>
                <a:cxn ang="0">
                  <a:pos x="128" y="286"/>
                </a:cxn>
                <a:cxn ang="0">
                  <a:pos x="108" y="272"/>
                </a:cxn>
                <a:cxn ang="0">
                  <a:pos x="88" y="284"/>
                </a:cxn>
                <a:cxn ang="0">
                  <a:pos x="78" y="276"/>
                </a:cxn>
                <a:cxn ang="0">
                  <a:pos x="52" y="268"/>
                </a:cxn>
                <a:cxn ang="0">
                  <a:pos x="56" y="254"/>
                </a:cxn>
                <a:cxn ang="0">
                  <a:pos x="52" y="224"/>
                </a:cxn>
                <a:cxn ang="0">
                  <a:pos x="20" y="206"/>
                </a:cxn>
                <a:cxn ang="0">
                  <a:pos x="14" y="186"/>
                </a:cxn>
                <a:cxn ang="0">
                  <a:pos x="26" y="190"/>
                </a:cxn>
                <a:cxn ang="0">
                  <a:pos x="36" y="182"/>
                </a:cxn>
                <a:cxn ang="0">
                  <a:pos x="28" y="154"/>
                </a:cxn>
                <a:cxn ang="0">
                  <a:pos x="36" y="130"/>
                </a:cxn>
                <a:cxn ang="0">
                  <a:pos x="10" y="112"/>
                </a:cxn>
                <a:cxn ang="0">
                  <a:pos x="26" y="94"/>
                </a:cxn>
                <a:cxn ang="0">
                  <a:pos x="72" y="90"/>
                </a:cxn>
                <a:cxn ang="0">
                  <a:pos x="108" y="76"/>
                </a:cxn>
                <a:cxn ang="0">
                  <a:pos x="122" y="56"/>
                </a:cxn>
                <a:cxn ang="0">
                  <a:pos x="202" y="48"/>
                </a:cxn>
                <a:cxn ang="0">
                  <a:pos x="284" y="6"/>
                </a:cxn>
                <a:cxn ang="0">
                  <a:pos x="342" y="4"/>
                </a:cxn>
                <a:cxn ang="0">
                  <a:pos x="360" y="22"/>
                </a:cxn>
                <a:cxn ang="0">
                  <a:pos x="402" y="44"/>
                </a:cxn>
                <a:cxn ang="0">
                  <a:pos x="424" y="48"/>
                </a:cxn>
                <a:cxn ang="0">
                  <a:pos x="520" y="46"/>
                </a:cxn>
                <a:cxn ang="0">
                  <a:pos x="570" y="50"/>
                </a:cxn>
                <a:cxn ang="0">
                  <a:pos x="632" y="40"/>
                </a:cxn>
                <a:cxn ang="0">
                  <a:pos x="672" y="52"/>
                </a:cxn>
                <a:cxn ang="0">
                  <a:pos x="674" y="84"/>
                </a:cxn>
                <a:cxn ang="0">
                  <a:pos x="688" y="114"/>
                </a:cxn>
                <a:cxn ang="0">
                  <a:pos x="712" y="132"/>
                </a:cxn>
                <a:cxn ang="0">
                  <a:pos x="700" y="168"/>
                </a:cxn>
                <a:cxn ang="0">
                  <a:pos x="714" y="212"/>
                </a:cxn>
                <a:cxn ang="0">
                  <a:pos x="726" y="256"/>
                </a:cxn>
                <a:cxn ang="0">
                  <a:pos x="20" y="72"/>
                </a:cxn>
                <a:cxn ang="0">
                  <a:pos x="34" y="84"/>
                </a:cxn>
                <a:cxn ang="0">
                  <a:pos x="74" y="62"/>
                </a:cxn>
                <a:cxn ang="0">
                  <a:pos x="94" y="54"/>
                </a:cxn>
                <a:cxn ang="0">
                  <a:pos x="96" y="30"/>
                </a:cxn>
                <a:cxn ang="0">
                  <a:pos x="84" y="0"/>
                </a:cxn>
                <a:cxn ang="0">
                  <a:pos x="52" y="2"/>
                </a:cxn>
                <a:cxn ang="0">
                  <a:pos x="16" y="22"/>
                </a:cxn>
                <a:cxn ang="0">
                  <a:pos x="0" y="68"/>
                </a:cxn>
              </a:cxnLst>
              <a:rect l="0" t="0" r="r" b="b"/>
              <a:pathLst>
                <a:path w="726" h="322">
                  <a:moveTo>
                    <a:pt x="706" y="270"/>
                  </a:moveTo>
                  <a:lnTo>
                    <a:pt x="700" y="262"/>
                  </a:lnTo>
                  <a:lnTo>
                    <a:pt x="680" y="260"/>
                  </a:lnTo>
                  <a:lnTo>
                    <a:pt x="654" y="254"/>
                  </a:lnTo>
                  <a:lnTo>
                    <a:pt x="642" y="268"/>
                  </a:lnTo>
                  <a:lnTo>
                    <a:pt x="624" y="252"/>
                  </a:lnTo>
                  <a:lnTo>
                    <a:pt x="600" y="264"/>
                  </a:lnTo>
                  <a:lnTo>
                    <a:pt x="566" y="264"/>
                  </a:lnTo>
                  <a:lnTo>
                    <a:pt x="550" y="276"/>
                  </a:lnTo>
                  <a:lnTo>
                    <a:pt x="536" y="280"/>
                  </a:lnTo>
                  <a:lnTo>
                    <a:pt x="504" y="280"/>
                  </a:lnTo>
                  <a:lnTo>
                    <a:pt x="488" y="274"/>
                  </a:lnTo>
                  <a:lnTo>
                    <a:pt x="458" y="284"/>
                  </a:lnTo>
                  <a:lnTo>
                    <a:pt x="444" y="284"/>
                  </a:lnTo>
                  <a:lnTo>
                    <a:pt x="434" y="270"/>
                  </a:lnTo>
                  <a:lnTo>
                    <a:pt x="424" y="272"/>
                  </a:lnTo>
                  <a:lnTo>
                    <a:pt x="416" y="286"/>
                  </a:lnTo>
                  <a:lnTo>
                    <a:pt x="424" y="302"/>
                  </a:lnTo>
                  <a:lnTo>
                    <a:pt x="412" y="304"/>
                  </a:lnTo>
                  <a:lnTo>
                    <a:pt x="392" y="322"/>
                  </a:lnTo>
                  <a:lnTo>
                    <a:pt x="382" y="312"/>
                  </a:lnTo>
                  <a:lnTo>
                    <a:pt x="384" y="296"/>
                  </a:lnTo>
                  <a:lnTo>
                    <a:pt x="396" y="284"/>
                  </a:lnTo>
                  <a:lnTo>
                    <a:pt x="396" y="272"/>
                  </a:lnTo>
                  <a:lnTo>
                    <a:pt x="390" y="272"/>
                  </a:lnTo>
                  <a:lnTo>
                    <a:pt x="376" y="288"/>
                  </a:lnTo>
                  <a:lnTo>
                    <a:pt x="364" y="288"/>
                  </a:lnTo>
                  <a:lnTo>
                    <a:pt x="336" y="274"/>
                  </a:lnTo>
                  <a:lnTo>
                    <a:pt x="326" y="274"/>
                  </a:lnTo>
                  <a:lnTo>
                    <a:pt x="322" y="288"/>
                  </a:lnTo>
                  <a:lnTo>
                    <a:pt x="310" y="300"/>
                  </a:lnTo>
                  <a:lnTo>
                    <a:pt x="276" y="308"/>
                  </a:lnTo>
                  <a:lnTo>
                    <a:pt x="262" y="312"/>
                  </a:lnTo>
                  <a:lnTo>
                    <a:pt x="244" y="310"/>
                  </a:lnTo>
                  <a:lnTo>
                    <a:pt x="228" y="288"/>
                  </a:lnTo>
                  <a:lnTo>
                    <a:pt x="196" y="274"/>
                  </a:lnTo>
                  <a:lnTo>
                    <a:pt x="178" y="276"/>
                  </a:lnTo>
                  <a:lnTo>
                    <a:pt x="176" y="300"/>
                  </a:lnTo>
                  <a:lnTo>
                    <a:pt x="152" y="300"/>
                  </a:lnTo>
                  <a:lnTo>
                    <a:pt x="128" y="286"/>
                  </a:lnTo>
                  <a:lnTo>
                    <a:pt x="126" y="280"/>
                  </a:lnTo>
                  <a:lnTo>
                    <a:pt x="108" y="272"/>
                  </a:lnTo>
                  <a:lnTo>
                    <a:pt x="96" y="272"/>
                  </a:lnTo>
                  <a:lnTo>
                    <a:pt x="88" y="284"/>
                  </a:lnTo>
                  <a:lnTo>
                    <a:pt x="84" y="284"/>
                  </a:lnTo>
                  <a:lnTo>
                    <a:pt x="78" y="276"/>
                  </a:lnTo>
                  <a:lnTo>
                    <a:pt x="80" y="266"/>
                  </a:lnTo>
                  <a:lnTo>
                    <a:pt x="52" y="268"/>
                  </a:lnTo>
                  <a:lnTo>
                    <a:pt x="44" y="264"/>
                  </a:lnTo>
                  <a:lnTo>
                    <a:pt x="56" y="254"/>
                  </a:lnTo>
                  <a:lnTo>
                    <a:pt x="44" y="236"/>
                  </a:lnTo>
                  <a:lnTo>
                    <a:pt x="52" y="224"/>
                  </a:lnTo>
                  <a:lnTo>
                    <a:pt x="32" y="208"/>
                  </a:lnTo>
                  <a:lnTo>
                    <a:pt x="20" y="206"/>
                  </a:lnTo>
                  <a:lnTo>
                    <a:pt x="18" y="192"/>
                  </a:lnTo>
                  <a:lnTo>
                    <a:pt x="14" y="186"/>
                  </a:lnTo>
                  <a:lnTo>
                    <a:pt x="16" y="180"/>
                  </a:lnTo>
                  <a:lnTo>
                    <a:pt x="26" y="190"/>
                  </a:lnTo>
                  <a:lnTo>
                    <a:pt x="38" y="192"/>
                  </a:lnTo>
                  <a:lnTo>
                    <a:pt x="36" y="182"/>
                  </a:lnTo>
                  <a:lnTo>
                    <a:pt x="38" y="170"/>
                  </a:lnTo>
                  <a:lnTo>
                    <a:pt x="28" y="154"/>
                  </a:lnTo>
                  <a:lnTo>
                    <a:pt x="28" y="144"/>
                  </a:lnTo>
                  <a:lnTo>
                    <a:pt x="36" y="130"/>
                  </a:lnTo>
                  <a:lnTo>
                    <a:pt x="10" y="128"/>
                  </a:lnTo>
                  <a:lnTo>
                    <a:pt x="10" y="112"/>
                  </a:lnTo>
                  <a:lnTo>
                    <a:pt x="18" y="106"/>
                  </a:lnTo>
                  <a:lnTo>
                    <a:pt x="26" y="94"/>
                  </a:lnTo>
                  <a:lnTo>
                    <a:pt x="58" y="98"/>
                  </a:lnTo>
                  <a:lnTo>
                    <a:pt x="72" y="90"/>
                  </a:lnTo>
                  <a:lnTo>
                    <a:pt x="96" y="92"/>
                  </a:lnTo>
                  <a:lnTo>
                    <a:pt x="108" y="76"/>
                  </a:lnTo>
                  <a:lnTo>
                    <a:pt x="124" y="66"/>
                  </a:lnTo>
                  <a:lnTo>
                    <a:pt x="122" y="56"/>
                  </a:lnTo>
                  <a:lnTo>
                    <a:pt x="126" y="50"/>
                  </a:lnTo>
                  <a:lnTo>
                    <a:pt x="202" y="48"/>
                  </a:lnTo>
                  <a:lnTo>
                    <a:pt x="230" y="28"/>
                  </a:lnTo>
                  <a:lnTo>
                    <a:pt x="284" y="6"/>
                  </a:lnTo>
                  <a:lnTo>
                    <a:pt x="326" y="14"/>
                  </a:lnTo>
                  <a:lnTo>
                    <a:pt x="342" y="4"/>
                  </a:lnTo>
                  <a:lnTo>
                    <a:pt x="350" y="4"/>
                  </a:lnTo>
                  <a:lnTo>
                    <a:pt x="360" y="22"/>
                  </a:lnTo>
                  <a:lnTo>
                    <a:pt x="384" y="20"/>
                  </a:lnTo>
                  <a:lnTo>
                    <a:pt x="402" y="44"/>
                  </a:lnTo>
                  <a:lnTo>
                    <a:pt x="414" y="42"/>
                  </a:lnTo>
                  <a:lnTo>
                    <a:pt x="424" y="48"/>
                  </a:lnTo>
                  <a:lnTo>
                    <a:pt x="480" y="60"/>
                  </a:lnTo>
                  <a:lnTo>
                    <a:pt x="520" y="46"/>
                  </a:lnTo>
                  <a:lnTo>
                    <a:pt x="542" y="56"/>
                  </a:lnTo>
                  <a:lnTo>
                    <a:pt x="570" y="50"/>
                  </a:lnTo>
                  <a:lnTo>
                    <a:pt x="588" y="32"/>
                  </a:lnTo>
                  <a:lnTo>
                    <a:pt x="632" y="40"/>
                  </a:lnTo>
                  <a:lnTo>
                    <a:pt x="648" y="36"/>
                  </a:lnTo>
                  <a:lnTo>
                    <a:pt x="672" y="52"/>
                  </a:lnTo>
                  <a:lnTo>
                    <a:pt x="674" y="66"/>
                  </a:lnTo>
                  <a:lnTo>
                    <a:pt x="674" y="84"/>
                  </a:lnTo>
                  <a:lnTo>
                    <a:pt x="678" y="100"/>
                  </a:lnTo>
                  <a:lnTo>
                    <a:pt x="688" y="114"/>
                  </a:lnTo>
                  <a:lnTo>
                    <a:pt x="698" y="112"/>
                  </a:lnTo>
                  <a:lnTo>
                    <a:pt x="712" y="132"/>
                  </a:lnTo>
                  <a:lnTo>
                    <a:pt x="708" y="146"/>
                  </a:lnTo>
                  <a:lnTo>
                    <a:pt x="700" y="168"/>
                  </a:lnTo>
                  <a:lnTo>
                    <a:pt x="702" y="186"/>
                  </a:lnTo>
                  <a:lnTo>
                    <a:pt x="714" y="212"/>
                  </a:lnTo>
                  <a:lnTo>
                    <a:pt x="714" y="228"/>
                  </a:lnTo>
                  <a:lnTo>
                    <a:pt x="726" y="256"/>
                  </a:lnTo>
                  <a:lnTo>
                    <a:pt x="706" y="270"/>
                  </a:lnTo>
                  <a:close/>
                  <a:moveTo>
                    <a:pt x="20" y="72"/>
                  </a:moveTo>
                  <a:lnTo>
                    <a:pt x="18" y="86"/>
                  </a:lnTo>
                  <a:lnTo>
                    <a:pt x="34" y="84"/>
                  </a:lnTo>
                  <a:lnTo>
                    <a:pt x="54" y="66"/>
                  </a:lnTo>
                  <a:lnTo>
                    <a:pt x="74" y="62"/>
                  </a:lnTo>
                  <a:lnTo>
                    <a:pt x="76" y="54"/>
                  </a:lnTo>
                  <a:lnTo>
                    <a:pt x="94" y="54"/>
                  </a:lnTo>
                  <a:lnTo>
                    <a:pt x="114" y="48"/>
                  </a:lnTo>
                  <a:lnTo>
                    <a:pt x="96" y="30"/>
                  </a:lnTo>
                  <a:lnTo>
                    <a:pt x="88" y="16"/>
                  </a:lnTo>
                  <a:lnTo>
                    <a:pt x="84" y="0"/>
                  </a:lnTo>
                  <a:lnTo>
                    <a:pt x="66" y="4"/>
                  </a:lnTo>
                  <a:lnTo>
                    <a:pt x="52" y="2"/>
                  </a:lnTo>
                  <a:lnTo>
                    <a:pt x="36" y="2"/>
                  </a:lnTo>
                  <a:lnTo>
                    <a:pt x="16" y="22"/>
                  </a:lnTo>
                  <a:lnTo>
                    <a:pt x="14" y="42"/>
                  </a:lnTo>
                  <a:lnTo>
                    <a:pt x="0" y="68"/>
                  </a:lnTo>
                  <a:lnTo>
                    <a:pt x="20" y="72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srgbClr val="E7E6E6">
                    <a:lumMod val="85000"/>
                  </a:srgbClr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400" name="Turkmenistan">
              <a:extLst>
                <a:ext uri="{FF2B5EF4-FFF2-40B4-BE49-F238E27FC236}">
                  <a16:creationId xmlns="" xmlns:a16="http://schemas.microsoft.com/office/drawing/2014/main" id="{9A53E79E-3834-4445-9FC0-197154DE535C}"/>
                </a:ext>
              </a:extLst>
            </p:cNvPr>
            <p:cNvSpPr>
              <a:spLocks/>
            </p:cNvSpPr>
            <p:nvPr/>
          </p:nvSpPr>
          <p:spPr bwMode="gray">
            <a:xfrm>
              <a:off x="7425295" y="3054334"/>
              <a:ext cx="400222" cy="314649"/>
            </a:xfrm>
            <a:custGeom>
              <a:avLst/>
              <a:gdLst/>
              <a:ahLst/>
              <a:cxnLst>
                <a:cxn ang="0">
                  <a:pos x="54" y="278"/>
                </a:cxn>
                <a:cxn ang="0">
                  <a:pos x="108" y="250"/>
                </a:cxn>
                <a:cxn ang="0">
                  <a:pos x="146" y="236"/>
                </a:cxn>
                <a:cxn ang="0">
                  <a:pos x="186" y="252"/>
                </a:cxn>
                <a:cxn ang="0">
                  <a:pos x="216" y="268"/>
                </a:cxn>
                <a:cxn ang="0">
                  <a:pos x="254" y="282"/>
                </a:cxn>
                <a:cxn ang="0">
                  <a:pos x="284" y="296"/>
                </a:cxn>
                <a:cxn ang="0">
                  <a:pos x="304" y="318"/>
                </a:cxn>
                <a:cxn ang="0">
                  <a:pos x="324" y="354"/>
                </a:cxn>
                <a:cxn ang="0">
                  <a:pos x="370" y="384"/>
                </a:cxn>
                <a:cxn ang="0">
                  <a:pos x="418" y="356"/>
                </a:cxn>
                <a:cxn ang="0">
                  <a:pos x="454" y="314"/>
                </a:cxn>
                <a:cxn ang="0">
                  <a:pos x="470" y="286"/>
                </a:cxn>
                <a:cxn ang="0">
                  <a:pos x="488" y="244"/>
                </a:cxn>
                <a:cxn ang="0">
                  <a:pos x="470" y="214"/>
                </a:cxn>
                <a:cxn ang="0">
                  <a:pos x="366" y="124"/>
                </a:cxn>
                <a:cxn ang="0">
                  <a:pos x="338" y="82"/>
                </a:cxn>
                <a:cxn ang="0">
                  <a:pos x="280" y="70"/>
                </a:cxn>
                <a:cxn ang="0">
                  <a:pos x="280" y="42"/>
                </a:cxn>
                <a:cxn ang="0">
                  <a:pos x="216" y="8"/>
                </a:cxn>
                <a:cxn ang="0">
                  <a:pos x="206" y="16"/>
                </a:cxn>
                <a:cxn ang="0">
                  <a:pos x="168" y="54"/>
                </a:cxn>
                <a:cxn ang="0">
                  <a:pos x="168" y="74"/>
                </a:cxn>
                <a:cxn ang="0">
                  <a:pos x="116" y="72"/>
                </a:cxn>
                <a:cxn ang="0">
                  <a:pos x="86" y="28"/>
                </a:cxn>
                <a:cxn ang="0">
                  <a:pos x="16" y="18"/>
                </a:cxn>
                <a:cxn ang="0">
                  <a:pos x="0" y="46"/>
                </a:cxn>
                <a:cxn ang="0">
                  <a:pos x="22" y="64"/>
                </a:cxn>
                <a:cxn ang="0">
                  <a:pos x="22" y="40"/>
                </a:cxn>
                <a:cxn ang="0">
                  <a:pos x="64" y="70"/>
                </a:cxn>
                <a:cxn ang="0">
                  <a:pos x="72" y="114"/>
                </a:cxn>
                <a:cxn ang="0">
                  <a:pos x="22" y="104"/>
                </a:cxn>
                <a:cxn ang="0">
                  <a:pos x="8" y="144"/>
                </a:cxn>
                <a:cxn ang="0">
                  <a:pos x="22" y="146"/>
                </a:cxn>
                <a:cxn ang="0">
                  <a:pos x="48" y="150"/>
                </a:cxn>
                <a:cxn ang="0">
                  <a:pos x="54" y="174"/>
                </a:cxn>
                <a:cxn ang="0">
                  <a:pos x="32" y="180"/>
                </a:cxn>
                <a:cxn ang="0">
                  <a:pos x="22" y="184"/>
                </a:cxn>
                <a:cxn ang="0">
                  <a:pos x="30" y="190"/>
                </a:cxn>
                <a:cxn ang="0">
                  <a:pos x="46" y="204"/>
                </a:cxn>
              </a:cxnLst>
              <a:rect l="0" t="0" r="r" b="b"/>
              <a:pathLst>
                <a:path w="494" h="384">
                  <a:moveTo>
                    <a:pt x="56" y="212"/>
                  </a:moveTo>
                  <a:lnTo>
                    <a:pt x="54" y="278"/>
                  </a:lnTo>
                  <a:lnTo>
                    <a:pt x="70" y="286"/>
                  </a:lnTo>
                  <a:lnTo>
                    <a:pt x="108" y="250"/>
                  </a:lnTo>
                  <a:lnTo>
                    <a:pt x="136" y="250"/>
                  </a:lnTo>
                  <a:lnTo>
                    <a:pt x="146" y="236"/>
                  </a:lnTo>
                  <a:lnTo>
                    <a:pt x="172" y="234"/>
                  </a:lnTo>
                  <a:lnTo>
                    <a:pt x="186" y="252"/>
                  </a:lnTo>
                  <a:lnTo>
                    <a:pt x="204" y="256"/>
                  </a:lnTo>
                  <a:lnTo>
                    <a:pt x="216" y="268"/>
                  </a:lnTo>
                  <a:lnTo>
                    <a:pt x="246" y="268"/>
                  </a:lnTo>
                  <a:lnTo>
                    <a:pt x="254" y="282"/>
                  </a:lnTo>
                  <a:lnTo>
                    <a:pt x="270" y="286"/>
                  </a:lnTo>
                  <a:lnTo>
                    <a:pt x="284" y="296"/>
                  </a:lnTo>
                  <a:lnTo>
                    <a:pt x="290" y="312"/>
                  </a:lnTo>
                  <a:lnTo>
                    <a:pt x="304" y="318"/>
                  </a:lnTo>
                  <a:lnTo>
                    <a:pt x="324" y="316"/>
                  </a:lnTo>
                  <a:lnTo>
                    <a:pt x="324" y="354"/>
                  </a:lnTo>
                  <a:lnTo>
                    <a:pt x="364" y="366"/>
                  </a:lnTo>
                  <a:lnTo>
                    <a:pt x="370" y="384"/>
                  </a:lnTo>
                  <a:lnTo>
                    <a:pt x="402" y="356"/>
                  </a:lnTo>
                  <a:lnTo>
                    <a:pt x="418" y="356"/>
                  </a:lnTo>
                  <a:lnTo>
                    <a:pt x="452" y="330"/>
                  </a:lnTo>
                  <a:lnTo>
                    <a:pt x="454" y="314"/>
                  </a:lnTo>
                  <a:lnTo>
                    <a:pt x="466" y="300"/>
                  </a:lnTo>
                  <a:lnTo>
                    <a:pt x="470" y="286"/>
                  </a:lnTo>
                  <a:lnTo>
                    <a:pt x="490" y="272"/>
                  </a:lnTo>
                  <a:lnTo>
                    <a:pt x="488" y="244"/>
                  </a:lnTo>
                  <a:lnTo>
                    <a:pt x="494" y="228"/>
                  </a:lnTo>
                  <a:lnTo>
                    <a:pt x="470" y="214"/>
                  </a:lnTo>
                  <a:lnTo>
                    <a:pt x="454" y="214"/>
                  </a:lnTo>
                  <a:lnTo>
                    <a:pt x="366" y="124"/>
                  </a:lnTo>
                  <a:lnTo>
                    <a:pt x="364" y="108"/>
                  </a:lnTo>
                  <a:lnTo>
                    <a:pt x="338" y="82"/>
                  </a:lnTo>
                  <a:lnTo>
                    <a:pt x="304" y="82"/>
                  </a:lnTo>
                  <a:lnTo>
                    <a:pt x="280" y="70"/>
                  </a:lnTo>
                  <a:lnTo>
                    <a:pt x="284" y="52"/>
                  </a:lnTo>
                  <a:lnTo>
                    <a:pt x="280" y="42"/>
                  </a:lnTo>
                  <a:lnTo>
                    <a:pt x="224" y="0"/>
                  </a:lnTo>
                  <a:lnTo>
                    <a:pt x="216" y="8"/>
                  </a:lnTo>
                  <a:lnTo>
                    <a:pt x="226" y="20"/>
                  </a:lnTo>
                  <a:lnTo>
                    <a:pt x="206" y="16"/>
                  </a:lnTo>
                  <a:lnTo>
                    <a:pt x="172" y="32"/>
                  </a:lnTo>
                  <a:lnTo>
                    <a:pt x="168" y="54"/>
                  </a:lnTo>
                  <a:lnTo>
                    <a:pt x="180" y="66"/>
                  </a:lnTo>
                  <a:lnTo>
                    <a:pt x="168" y="74"/>
                  </a:lnTo>
                  <a:lnTo>
                    <a:pt x="132" y="72"/>
                  </a:lnTo>
                  <a:lnTo>
                    <a:pt x="116" y="72"/>
                  </a:lnTo>
                  <a:lnTo>
                    <a:pt x="90" y="42"/>
                  </a:lnTo>
                  <a:lnTo>
                    <a:pt x="86" y="28"/>
                  </a:lnTo>
                  <a:lnTo>
                    <a:pt x="64" y="0"/>
                  </a:lnTo>
                  <a:lnTo>
                    <a:pt x="16" y="18"/>
                  </a:lnTo>
                  <a:lnTo>
                    <a:pt x="14" y="38"/>
                  </a:lnTo>
                  <a:lnTo>
                    <a:pt x="0" y="46"/>
                  </a:lnTo>
                  <a:lnTo>
                    <a:pt x="20" y="90"/>
                  </a:lnTo>
                  <a:lnTo>
                    <a:pt x="22" y="64"/>
                  </a:lnTo>
                  <a:lnTo>
                    <a:pt x="18" y="54"/>
                  </a:lnTo>
                  <a:lnTo>
                    <a:pt x="22" y="40"/>
                  </a:lnTo>
                  <a:lnTo>
                    <a:pt x="52" y="34"/>
                  </a:lnTo>
                  <a:lnTo>
                    <a:pt x="64" y="70"/>
                  </a:lnTo>
                  <a:lnTo>
                    <a:pt x="82" y="92"/>
                  </a:lnTo>
                  <a:lnTo>
                    <a:pt x="72" y="114"/>
                  </a:lnTo>
                  <a:lnTo>
                    <a:pt x="22" y="114"/>
                  </a:lnTo>
                  <a:lnTo>
                    <a:pt x="22" y="104"/>
                  </a:lnTo>
                  <a:lnTo>
                    <a:pt x="12" y="114"/>
                  </a:lnTo>
                  <a:lnTo>
                    <a:pt x="8" y="144"/>
                  </a:lnTo>
                  <a:lnTo>
                    <a:pt x="18" y="164"/>
                  </a:lnTo>
                  <a:lnTo>
                    <a:pt x="22" y="146"/>
                  </a:lnTo>
                  <a:lnTo>
                    <a:pt x="38" y="150"/>
                  </a:lnTo>
                  <a:lnTo>
                    <a:pt x="48" y="150"/>
                  </a:lnTo>
                  <a:lnTo>
                    <a:pt x="48" y="166"/>
                  </a:lnTo>
                  <a:lnTo>
                    <a:pt x="54" y="174"/>
                  </a:lnTo>
                  <a:lnTo>
                    <a:pt x="46" y="180"/>
                  </a:lnTo>
                  <a:lnTo>
                    <a:pt x="32" y="180"/>
                  </a:lnTo>
                  <a:lnTo>
                    <a:pt x="30" y="170"/>
                  </a:lnTo>
                  <a:lnTo>
                    <a:pt x="22" y="184"/>
                  </a:lnTo>
                  <a:lnTo>
                    <a:pt x="24" y="196"/>
                  </a:lnTo>
                  <a:lnTo>
                    <a:pt x="30" y="190"/>
                  </a:lnTo>
                  <a:lnTo>
                    <a:pt x="40" y="192"/>
                  </a:lnTo>
                  <a:lnTo>
                    <a:pt x="46" y="204"/>
                  </a:lnTo>
                  <a:lnTo>
                    <a:pt x="56" y="212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401" name="Uganda">
              <a:extLst>
                <a:ext uri="{FF2B5EF4-FFF2-40B4-BE49-F238E27FC236}">
                  <a16:creationId xmlns="" xmlns:a16="http://schemas.microsoft.com/office/drawing/2014/main" id="{D363614C-A6A6-445C-9B0C-0EF75E0E3520}"/>
                </a:ext>
              </a:extLst>
            </p:cNvPr>
            <p:cNvSpPr>
              <a:spLocks/>
            </p:cNvSpPr>
            <p:nvPr/>
          </p:nvSpPr>
          <p:spPr bwMode="gray">
            <a:xfrm>
              <a:off x="6724418" y="4430924"/>
              <a:ext cx="167898" cy="176991"/>
            </a:xfrm>
            <a:custGeom>
              <a:avLst/>
              <a:gdLst/>
              <a:ahLst/>
              <a:cxnLst>
                <a:cxn ang="0">
                  <a:pos x="24" y="216"/>
                </a:cxn>
                <a:cxn ang="0">
                  <a:pos x="12" y="212"/>
                </a:cxn>
                <a:cxn ang="0">
                  <a:pos x="0" y="194"/>
                </a:cxn>
                <a:cxn ang="0">
                  <a:pos x="8" y="168"/>
                </a:cxn>
                <a:cxn ang="0">
                  <a:pos x="10" y="136"/>
                </a:cxn>
                <a:cxn ang="0">
                  <a:pos x="36" y="108"/>
                </a:cxn>
                <a:cxn ang="0">
                  <a:pos x="58" y="74"/>
                </a:cxn>
                <a:cxn ang="0">
                  <a:pos x="40" y="72"/>
                </a:cxn>
                <a:cxn ang="0">
                  <a:pos x="48" y="60"/>
                </a:cxn>
                <a:cxn ang="0">
                  <a:pos x="48" y="44"/>
                </a:cxn>
                <a:cxn ang="0">
                  <a:pos x="52" y="28"/>
                </a:cxn>
                <a:cxn ang="0">
                  <a:pos x="64" y="12"/>
                </a:cxn>
                <a:cxn ang="0">
                  <a:pos x="80" y="10"/>
                </a:cxn>
                <a:cxn ang="0">
                  <a:pos x="94" y="0"/>
                </a:cxn>
                <a:cxn ang="0">
                  <a:pos x="106" y="16"/>
                </a:cxn>
                <a:cxn ang="0">
                  <a:pos x="160" y="20"/>
                </a:cxn>
                <a:cxn ang="0">
                  <a:pos x="174" y="6"/>
                </a:cxn>
                <a:cxn ang="0">
                  <a:pos x="186" y="18"/>
                </a:cxn>
                <a:cxn ang="0">
                  <a:pos x="186" y="38"/>
                </a:cxn>
                <a:cxn ang="0">
                  <a:pos x="204" y="46"/>
                </a:cxn>
                <a:cxn ang="0">
                  <a:pos x="208" y="70"/>
                </a:cxn>
                <a:cxn ang="0">
                  <a:pos x="200" y="88"/>
                </a:cxn>
                <a:cxn ang="0">
                  <a:pos x="194" y="108"/>
                </a:cxn>
                <a:cxn ang="0">
                  <a:pos x="180" y="118"/>
                </a:cxn>
                <a:cxn ang="0">
                  <a:pos x="170" y="140"/>
                </a:cxn>
                <a:cxn ang="0">
                  <a:pos x="166" y="156"/>
                </a:cxn>
                <a:cxn ang="0">
                  <a:pos x="158" y="170"/>
                </a:cxn>
                <a:cxn ang="0">
                  <a:pos x="160" y="202"/>
                </a:cxn>
                <a:cxn ang="0">
                  <a:pos x="44" y="204"/>
                </a:cxn>
                <a:cxn ang="0">
                  <a:pos x="34" y="208"/>
                </a:cxn>
                <a:cxn ang="0">
                  <a:pos x="24" y="216"/>
                </a:cxn>
              </a:cxnLst>
              <a:rect l="0" t="0" r="r" b="b"/>
              <a:pathLst>
                <a:path w="208" h="216">
                  <a:moveTo>
                    <a:pt x="24" y="216"/>
                  </a:moveTo>
                  <a:lnTo>
                    <a:pt x="12" y="212"/>
                  </a:lnTo>
                  <a:lnTo>
                    <a:pt x="0" y="194"/>
                  </a:lnTo>
                  <a:lnTo>
                    <a:pt x="8" y="168"/>
                  </a:lnTo>
                  <a:lnTo>
                    <a:pt x="10" y="136"/>
                  </a:lnTo>
                  <a:lnTo>
                    <a:pt x="36" y="108"/>
                  </a:lnTo>
                  <a:lnTo>
                    <a:pt x="58" y="74"/>
                  </a:lnTo>
                  <a:lnTo>
                    <a:pt x="40" y="72"/>
                  </a:lnTo>
                  <a:lnTo>
                    <a:pt x="48" y="60"/>
                  </a:lnTo>
                  <a:lnTo>
                    <a:pt x="48" y="44"/>
                  </a:lnTo>
                  <a:lnTo>
                    <a:pt x="52" y="28"/>
                  </a:lnTo>
                  <a:lnTo>
                    <a:pt x="64" y="12"/>
                  </a:lnTo>
                  <a:lnTo>
                    <a:pt x="80" y="10"/>
                  </a:lnTo>
                  <a:lnTo>
                    <a:pt x="94" y="0"/>
                  </a:lnTo>
                  <a:lnTo>
                    <a:pt x="106" y="16"/>
                  </a:lnTo>
                  <a:lnTo>
                    <a:pt x="160" y="20"/>
                  </a:lnTo>
                  <a:lnTo>
                    <a:pt x="174" y="6"/>
                  </a:lnTo>
                  <a:lnTo>
                    <a:pt x="186" y="18"/>
                  </a:lnTo>
                  <a:lnTo>
                    <a:pt x="186" y="38"/>
                  </a:lnTo>
                  <a:lnTo>
                    <a:pt x="204" y="46"/>
                  </a:lnTo>
                  <a:lnTo>
                    <a:pt x="208" y="70"/>
                  </a:lnTo>
                  <a:lnTo>
                    <a:pt x="200" y="88"/>
                  </a:lnTo>
                  <a:lnTo>
                    <a:pt x="194" y="108"/>
                  </a:lnTo>
                  <a:lnTo>
                    <a:pt x="180" y="118"/>
                  </a:lnTo>
                  <a:lnTo>
                    <a:pt x="170" y="140"/>
                  </a:lnTo>
                  <a:lnTo>
                    <a:pt x="166" y="156"/>
                  </a:lnTo>
                  <a:lnTo>
                    <a:pt x="158" y="170"/>
                  </a:lnTo>
                  <a:lnTo>
                    <a:pt x="160" y="202"/>
                  </a:lnTo>
                  <a:lnTo>
                    <a:pt x="44" y="204"/>
                  </a:lnTo>
                  <a:lnTo>
                    <a:pt x="34" y="208"/>
                  </a:lnTo>
                  <a:lnTo>
                    <a:pt x="24" y="216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402" name="Ukraine">
              <a:extLst>
                <a:ext uri="{FF2B5EF4-FFF2-40B4-BE49-F238E27FC236}">
                  <a16:creationId xmlns="" xmlns:a16="http://schemas.microsoft.com/office/drawing/2014/main" id="{00114ADE-AADA-43B1-B7FB-FAA140B8B6FB}"/>
                </a:ext>
              </a:extLst>
            </p:cNvPr>
            <p:cNvSpPr>
              <a:spLocks/>
            </p:cNvSpPr>
            <p:nvPr/>
          </p:nvSpPr>
          <p:spPr bwMode="gray">
            <a:xfrm>
              <a:off x="6488189" y="2582359"/>
              <a:ext cx="564216" cy="399212"/>
            </a:xfrm>
            <a:custGeom>
              <a:avLst/>
              <a:gdLst/>
              <a:ahLst/>
              <a:cxnLst>
                <a:cxn ang="0">
                  <a:pos x="520" y="434"/>
                </a:cxn>
                <a:cxn ang="0">
                  <a:pos x="552" y="436"/>
                </a:cxn>
                <a:cxn ang="0">
                  <a:pos x="546" y="456"/>
                </a:cxn>
                <a:cxn ang="0">
                  <a:pos x="520" y="452"/>
                </a:cxn>
                <a:cxn ang="0">
                  <a:pos x="490" y="464"/>
                </a:cxn>
                <a:cxn ang="0">
                  <a:pos x="448" y="488"/>
                </a:cxn>
                <a:cxn ang="0">
                  <a:pos x="424" y="482"/>
                </a:cxn>
                <a:cxn ang="0">
                  <a:pos x="432" y="444"/>
                </a:cxn>
                <a:cxn ang="0">
                  <a:pos x="396" y="428"/>
                </a:cxn>
                <a:cxn ang="0">
                  <a:pos x="388" y="392"/>
                </a:cxn>
                <a:cxn ang="0">
                  <a:pos x="384" y="368"/>
                </a:cxn>
                <a:cxn ang="0">
                  <a:pos x="334" y="370"/>
                </a:cxn>
                <a:cxn ang="0">
                  <a:pos x="282" y="430"/>
                </a:cxn>
                <a:cxn ang="0">
                  <a:pos x="270" y="440"/>
                </a:cxn>
                <a:cxn ang="0">
                  <a:pos x="228" y="444"/>
                </a:cxn>
                <a:cxn ang="0">
                  <a:pos x="242" y="418"/>
                </a:cxn>
                <a:cxn ang="0">
                  <a:pos x="262" y="370"/>
                </a:cxn>
                <a:cxn ang="0">
                  <a:pos x="308" y="372"/>
                </a:cxn>
                <a:cxn ang="0">
                  <a:pos x="292" y="326"/>
                </a:cxn>
                <a:cxn ang="0">
                  <a:pos x="272" y="286"/>
                </a:cxn>
                <a:cxn ang="0">
                  <a:pos x="242" y="270"/>
                </a:cxn>
                <a:cxn ang="0">
                  <a:pos x="206" y="268"/>
                </a:cxn>
                <a:cxn ang="0">
                  <a:pos x="160" y="254"/>
                </a:cxn>
                <a:cxn ang="0">
                  <a:pos x="144" y="278"/>
                </a:cxn>
                <a:cxn ang="0">
                  <a:pos x="92" y="286"/>
                </a:cxn>
                <a:cxn ang="0">
                  <a:pos x="38" y="276"/>
                </a:cxn>
                <a:cxn ang="0">
                  <a:pos x="10" y="272"/>
                </a:cxn>
                <a:cxn ang="0">
                  <a:pos x="4" y="238"/>
                </a:cxn>
                <a:cxn ang="0">
                  <a:pos x="28" y="182"/>
                </a:cxn>
                <a:cxn ang="0">
                  <a:pos x="78" y="134"/>
                </a:cxn>
                <a:cxn ang="0">
                  <a:pos x="54" y="72"/>
                </a:cxn>
                <a:cxn ang="0">
                  <a:pos x="74" y="56"/>
                </a:cxn>
                <a:cxn ang="0">
                  <a:pos x="134" y="44"/>
                </a:cxn>
                <a:cxn ang="0">
                  <a:pos x="160" y="46"/>
                </a:cxn>
                <a:cxn ang="0">
                  <a:pos x="186" y="56"/>
                </a:cxn>
                <a:cxn ang="0">
                  <a:pos x="220" y="70"/>
                </a:cxn>
                <a:cxn ang="0">
                  <a:pos x="254" y="68"/>
                </a:cxn>
                <a:cxn ang="0">
                  <a:pos x="276" y="64"/>
                </a:cxn>
                <a:cxn ang="0">
                  <a:pos x="304" y="78"/>
                </a:cxn>
                <a:cxn ang="0">
                  <a:pos x="324" y="54"/>
                </a:cxn>
                <a:cxn ang="0">
                  <a:pos x="368" y="20"/>
                </a:cxn>
                <a:cxn ang="0">
                  <a:pos x="440" y="0"/>
                </a:cxn>
                <a:cxn ang="0">
                  <a:pos x="476" y="56"/>
                </a:cxn>
                <a:cxn ang="0">
                  <a:pos x="474" y="86"/>
                </a:cxn>
                <a:cxn ang="0">
                  <a:pos x="520" y="98"/>
                </a:cxn>
                <a:cxn ang="0">
                  <a:pos x="508" y="130"/>
                </a:cxn>
                <a:cxn ang="0">
                  <a:pos x="536" y="142"/>
                </a:cxn>
                <a:cxn ang="0">
                  <a:pos x="594" y="134"/>
                </a:cxn>
                <a:cxn ang="0">
                  <a:pos x="626" y="160"/>
                </a:cxn>
                <a:cxn ang="0">
                  <a:pos x="698" y="190"/>
                </a:cxn>
                <a:cxn ang="0">
                  <a:pos x="666" y="224"/>
                </a:cxn>
                <a:cxn ang="0">
                  <a:pos x="688" y="262"/>
                </a:cxn>
                <a:cxn ang="0">
                  <a:pos x="652" y="292"/>
                </a:cxn>
                <a:cxn ang="0">
                  <a:pos x="620" y="328"/>
                </a:cxn>
                <a:cxn ang="0">
                  <a:pos x="594" y="340"/>
                </a:cxn>
                <a:cxn ang="0">
                  <a:pos x="568" y="344"/>
                </a:cxn>
                <a:cxn ang="0">
                  <a:pos x="544" y="352"/>
                </a:cxn>
                <a:cxn ang="0">
                  <a:pos x="516" y="362"/>
                </a:cxn>
                <a:cxn ang="0">
                  <a:pos x="488" y="370"/>
                </a:cxn>
                <a:cxn ang="0">
                  <a:pos x="490" y="414"/>
                </a:cxn>
              </a:cxnLst>
              <a:rect l="0" t="0" r="r" b="b"/>
              <a:pathLst>
                <a:path w="698" h="488">
                  <a:moveTo>
                    <a:pt x="508" y="438"/>
                  </a:moveTo>
                  <a:lnTo>
                    <a:pt x="520" y="434"/>
                  </a:lnTo>
                  <a:lnTo>
                    <a:pt x="546" y="432"/>
                  </a:lnTo>
                  <a:lnTo>
                    <a:pt x="552" y="436"/>
                  </a:lnTo>
                  <a:lnTo>
                    <a:pt x="548" y="444"/>
                  </a:lnTo>
                  <a:lnTo>
                    <a:pt x="546" y="456"/>
                  </a:lnTo>
                  <a:lnTo>
                    <a:pt x="530" y="458"/>
                  </a:lnTo>
                  <a:lnTo>
                    <a:pt x="520" y="452"/>
                  </a:lnTo>
                  <a:lnTo>
                    <a:pt x="508" y="448"/>
                  </a:lnTo>
                  <a:lnTo>
                    <a:pt x="490" y="464"/>
                  </a:lnTo>
                  <a:lnTo>
                    <a:pt x="474" y="468"/>
                  </a:lnTo>
                  <a:lnTo>
                    <a:pt x="448" y="488"/>
                  </a:lnTo>
                  <a:lnTo>
                    <a:pt x="438" y="482"/>
                  </a:lnTo>
                  <a:lnTo>
                    <a:pt x="424" y="482"/>
                  </a:lnTo>
                  <a:lnTo>
                    <a:pt x="434" y="458"/>
                  </a:lnTo>
                  <a:lnTo>
                    <a:pt x="432" y="444"/>
                  </a:lnTo>
                  <a:lnTo>
                    <a:pt x="392" y="436"/>
                  </a:lnTo>
                  <a:lnTo>
                    <a:pt x="396" y="428"/>
                  </a:lnTo>
                  <a:lnTo>
                    <a:pt x="430" y="404"/>
                  </a:lnTo>
                  <a:lnTo>
                    <a:pt x="388" y="392"/>
                  </a:lnTo>
                  <a:lnTo>
                    <a:pt x="374" y="384"/>
                  </a:lnTo>
                  <a:lnTo>
                    <a:pt x="384" y="368"/>
                  </a:lnTo>
                  <a:lnTo>
                    <a:pt x="366" y="360"/>
                  </a:lnTo>
                  <a:lnTo>
                    <a:pt x="334" y="370"/>
                  </a:lnTo>
                  <a:lnTo>
                    <a:pt x="312" y="392"/>
                  </a:lnTo>
                  <a:lnTo>
                    <a:pt x="282" y="430"/>
                  </a:lnTo>
                  <a:lnTo>
                    <a:pt x="280" y="448"/>
                  </a:lnTo>
                  <a:lnTo>
                    <a:pt x="270" y="440"/>
                  </a:lnTo>
                  <a:lnTo>
                    <a:pt x="250" y="444"/>
                  </a:lnTo>
                  <a:lnTo>
                    <a:pt x="228" y="444"/>
                  </a:lnTo>
                  <a:lnTo>
                    <a:pt x="224" y="428"/>
                  </a:lnTo>
                  <a:lnTo>
                    <a:pt x="242" y="418"/>
                  </a:lnTo>
                  <a:lnTo>
                    <a:pt x="254" y="396"/>
                  </a:lnTo>
                  <a:lnTo>
                    <a:pt x="262" y="370"/>
                  </a:lnTo>
                  <a:lnTo>
                    <a:pt x="284" y="376"/>
                  </a:lnTo>
                  <a:lnTo>
                    <a:pt x="308" y="372"/>
                  </a:lnTo>
                  <a:lnTo>
                    <a:pt x="298" y="350"/>
                  </a:lnTo>
                  <a:lnTo>
                    <a:pt x="292" y="326"/>
                  </a:lnTo>
                  <a:lnTo>
                    <a:pt x="286" y="302"/>
                  </a:lnTo>
                  <a:lnTo>
                    <a:pt x="272" y="286"/>
                  </a:lnTo>
                  <a:lnTo>
                    <a:pt x="258" y="278"/>
                  </a:lnTo>
                  <a:lnTo>
                    <a:pt x="242" y="270"/>
                  </a:lnTo>
                  <a:lnTo>
                    <a:pt x="226" y="274"/>
                  </a:lnTo>
                  <a:lnTo>
                    <a:pt x="206" y="268"/>
                  </a:lnTo>
                  <a:lnTo>
                    <a:pt x="176" y="250"/>
                  </a:lnTo>
                  <a:lnTo>
                    <a:pt x="160" y="254"/>
                  </a:lnTo>
                  <a:lnTo>
                    <a:pt x="158" y="266"/>
                  </a:lnTo>
                  <a:lnTo>
                    <a:pt x="144" y="278"/>
                  </a:lnTo>
                  <a:lnTo>
                    <a:pt x="110" y="292"/>
                  </a:lnTo>
                  <a:lnTo>
                    <a:pt x="92" y="286"/>
                  </a:lnTo>
                  <a:lnTo>
                    <a:pt x="76" y="290"/>
                  </a:lnTo>
                  <a:lnTo>
                    <a:pt x="38" y="276"/>
                  </a:lnTo>
                  <a:lnTo>
                    <a:pt x="24" y="282"/>
                  </a:lnTo>
                  <a:lnTo>
                    <a:pt x="10" y="272"/>
                  </a:lnTo>
                  <a:lnTo>
                    <a:pt x="0" y="250"/>
                  </a:lnTo>
                  <a:lnTo>
                    <a:pt x="4" y="238"/>
                  </a:lnTo>
                  <a:lnTo>
                    <a:pt x="10" y="220"/>
                  </a:lnTo>
                  <a:lnTo>
                    <a:pt x="28" y="182"/>
                  </a:lnTo>
                  <a:lnTo>
                    <a:pt x="52" y="154"/>
                  </a:lnTo>
                  <a:lnTo>
                    <a:pt x="78" y="134"/>
                  </a:lnTo>
                  <a:lnTo>
                    <a:pt x="72" y="110"/>
                  </a:lnTo>
                  <a:lnTo>
                    <a:pt x="54" y="72"/>
                  </a:lnTo>
                  <a:lnTo>
                    <a:pt x="56" y="56"/>
                  </a:lnTo>
                  <a:lnTo>
                    <a:pt x="74" y="56"/>
                  </a:lnTo>
                  <a:lnTo>
                    <a:pt x="90" y="48"/>
                  </a:lnTo>
                  <a:lnTo>
                    <a:pt x="134" y="44"/>
                  </a:lnTo>
                  <a:lnTo>
                    <a:pt x="146" y="46"/>
                  </a:lnTo>
                  <a:lnTo>
                    <a:pt x="160" y="46"/>
                  </a:lnTo>
                  <a:lnTo>
                    <a:pt x="172" y="56"/>
                  </a:lnTo>
                  <a:lnTo>
                    <a:pt x="186" y="56"/>
                  </a:lnTo>
                  <a:lnTo>
                    <a:pt x="198" y="54"/>
                  </a:lnTo>
                  <a:lnTo>
                    <a:pt x="220" y="70"/>
                  </a:lnTo>
                  <a:lnTo>
                    <a:pt x="236" y="58"/>
                  </a:lnTo>
                  <a:lnTo>
                    <a:pt x="254" y="68"/>
                  </a:lnTo>
                  <a:lnTo>
                    <a:pt x="264" y="60"/>
                  </a:lnTo>
                  <a:lnTo>
                    <a:pt x="276" y="64"/>
                  </a:lnTo>
                  <a:lnTo>
                    <a:pt x="280" y="82"/>
                  </a:lnTo>
                  <a:lnTo>
                    <a:pt x="304" y="78"/>
                  </a:lnTo>
                  <a:lnTo>
                    <a:pt x="320" y="80"/>
                  </a:lnTo>
                  <a:lnTo>
                    <a:pt x="324" y="54"/>
                  </a:lnTo>
                  <a:lnTo>
                    <a:pt x="338" y="28"/>
                  </a:lnTo>
                  <a:lnTo>
                    <a:pt x="368" y="20"/>
                  </a:lnTo>
                  <a:lnTo>
                    <a:pt x="414" y="20"/>
                  </a:lnTo>
                  <a:lnTo>
                    <a:pt x="440" y="0"/>
                  </a:lnTo>
                  <a:lnTo>
                    <a:pt x="458" y="10"/>
                  </a:lnTo>
                  <a:lnTo>
                    <a:pt x="476" y="56"/>
                  </a:lnTo>
                  <a:lnTo>
                    <a:pt x="464" y="58"/>
                  </a:lnTo>
                  <a:lnTo>
                    <a:pt x="474" y="86"/>
                  </a:lnTo>
                  <a:lnTo>
                    <a:pt x="506" y="84"/>
                  </a:lnTo>
                  <a:lnTo>
                    <a:pt x="520" y="98"/>
                  </a:lnTo>
                  <a:lnTo>
                    <a:pt x="516" y="124"/>
                  </a:lnTo>
                  <a:lnTo>
                    <a:pt x="508" y="130"/>
                  </a:lnTo>
                  <a:lnTo>
                    <a:pt x="518" y="150"/>
                  </a:lnTo>
                  <a:lnTo>
                    <a:pt x="536" y="142"/>
                  </a:lnTo>
                  <a:lnTo>
                    <a:pt x="560" y="154"/>
                  </a:lnTo>
                  <a:lnTo>
                    <a:pt x="594" y="134"/>
                  </a:lnTo>
                  <a:lnTo>
                    <a:pt x="598" y="158"/>
                  </a:lnTo>
                  <a:lnTo>
                    <a:pt x="626" y="160"/>
                  </a:lnTo>
                  <a:lnTo>
                    <a:pt x="676" y="190"/>
                  </a:lnTo>
                  <a:lnTo>
                    <a:pt x="698" y="190"/>
                  </a:lnTo>
                  <a:lnTo>
                    <a:pt x="694" y="216"/>
                  </a:lnTo>
                  <a:lnTo>
                    <a:pt x="666" y="224"/>
                  </a:lnTo>
                  <a:lnTo>
                    <a:pt x="666" y="236"/>
                  </a:lnTo>
                  <a:lnTo>
                    <a:pt x="688" y="262"/>
                  </a:lnTo>
                  <a:lnTo>
                    <a:pt x="674" y="288"/>
                  </a:lnTo>
                  <a:lnTo>
                    <a:pt x="652" y="292"/>
                  </a:lnTo>
                  <a:lnTo>
                    <a:pt x="622" y="308"/>
                  </a:lnTo>
                  <a:lnTo>
                    <a:pt x="620" y="328"/>
                  </a:lnTo>
                  <a:lnTo>
                    <a:pt x="614" y="342"/>
                  </a:lnTo>
                  <a:lnTo>
                    <a:pt x="594" y="340"/>
                  </a:lnTo>
                  <a:lnTo>
                    <a:pt x="576" y="350"/>
                  </a:lnTo>
                  <a:lnTo>
                    <a:pt x="568" y="344"/>
                  </a:lnTo>
                  <a:lnTo>
                    <a:pt x="554" y="358"/>
                  </a:lnTo>
                  <a:lnTo>
                    <a:pt x="544" y="352"/>
                  </a:lnTo>
                  <a:lnTo>
                    <a:pt x="526" y="368"/>
                  </a:lnTo>
                  <a:lnTo>
                    <a:pt x="516" y="362"/>
                  </a:lnTo>
                  <a:lnTo>
                    <a:pt x="500" y="380"/>
                  </a:lnTo>
                  <a:lnTo>
                    <a:pt x="488" y="370"/>
                  </a:lnTo>
                  <a:lnTo>
                    <a:pt x="480" y="386"/>
                  </a:lnTo>
                  <a:lnTo>
                    <a:pt x="490" y="414"/>
                  </a:lnTo>
                  <a:lnTo>
                    <a:pt x="508" y="438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403" name="United Arab Emirates">
              <a:extLst>
                <a:ext uri="{FF2B5EF4-FFF2-40B4-BE49-F238E27FC236}">
                  <a16:creationId xmlns="" xmlns:a16="http://schemas.microsoft.com/office/drawing/2014/main" id="{464B41D3-0825-4ED0-8964-3A53C6A2E7F1}"/>
                </a:ext>
              </a:extLst>
            </p:cNvPr>
            <p:cNvSpPr>
              <a:spLocks/>
            </p:cNvSpPr>
            <p:nvPr/>
          </p:nvSpPr>
          <p:spPr bwMode="gray">
            <a:xfrm>
              <a:off x="7374536" y="3707231"/>
              <a:ext cx="156183" cy="123894"/>
            </a:xfrm>
            <a:custGeom>
              <a:avLst/>
              <a:gdLst/>
              <a:ahLst/>
              <a:cxnLst>
                <a:cxn ang="0">
                  <a:pos x="182" y="16"/>
                </a:cxn>
                <a:cxn ang="0">
                  <a:pos x="192" y="0"/>
                </a:cxn>
                <a:cxn ang="0">
                  <a:pos x="194" y="22"/>
                </a:cxn>
                <a:cxn ang="0">
                  <a:pos x="186" y="52"/>
                </a:cxn>
                <a:cxn ang="0">
                  <a:pos x="180" y="64"/>
                </a:cxn>
                <a:cxn ang="0">
                  <a:pos x="172" y="112"/>
                </a:cxn>
                <a:cxn ang="0">
                  <a:pos x="164" y="118"/>
                </a:cxn>
                <a:cxn ang="0">
                  <a:pos x="160" y="150"/>
                </a:cxn>
                <a:cxn ang="0">
                  <a:pos x="20" y="122"/>
                </a:cxn>
                <a:cxn ang="0">
                  <a:pos x="20" y="104"/>
                </a:cxn>
                <a:cxn ang="0">
                  <a:pos x="10" y="76"/>
                </a:cxn>
                <a:cxn ang="0">
                  <a:pos x="2" y="66"/>
                </a:cxn>
                <a:cxn ang="0">
                  <a:pos x="0" y="52"/>
                </a:cxn>
                <a:cxn ang="0">
                  <a:pos x="6" y="38"/>
                </a:cxn>
                <a:cxn ang="0">
                  <a:pos x="22" y="46"/>
                </a:cxn>
                <a:cxn ang="0">
                  <a:pos x="26" y="60"/>
                </a:cxn>
                <a:cxn ang="0">
                  <a:pos x="32" y="56"/>
                </a:cxn>
                <a:cxn ang="0">
                  <a:pos x="42" y="58"/>
                </a:cxn>
                <a:cxn ang="0">
                  <a:pos x="56" y="72"/>
                </a:cxn>
                <a:cxn ang="0">
                  <a:pos x="68" y="62"/>
                </a:cxn>
                <a:cxn ang="0">
                  <a:pos x="78" y="68"/>
                </a:cxn>
                <a:cxn ang="0">
                  <a:pos x="108" y="70"/>
                </a:cxn>
                <a:cxn ang="0">
                  <a:pos x="110" y="76"/>
                </a:cxn>
                <a:cxn ang="0">
                  <a:pos x="132" y="74"/>
                </a:cxn>
                <a:cxn ang="0">
                  <a:pos x="160" y="38"/>
                </a:cxn>
                <a:cxn ang="0">
                  <a:pos x="182" y="16"/>
                </a:cxn>
              </a:cxnLst>
              <a:rect l="0" t="0" r="r" b="b"/>
              <a:pathLst>
                <a:path w="194" h="150">
                  <a:moveTo>
                    <a:pt x="182" y="16"/>
                  </a:moveTo>
                  <a:lnTo>
                    <a:pt x="192" y="0"/>
                  </a:lnTo>
                  <a:lnTo>
                    <a:pt x="194" y="22"/>
                  </a:lnTo>
                  <a:lnTo>
                    <a:pt x="186" y="52"/>
                  </a:lnTo>
                  <a:lnTo>
                    <a:pt x="180" y="64"/>
                  </a:lnTo>
                  <a:lnTo>
                    <a:pt x="172" y="112"/>
                  </a:lnTo>
                  <a:lnTo>
                    <a:pt x="164" y="118"/>
                  </a:lnTo>
                  <a:lnTo>
                    <a:pt x="160" y="150"/>
                  </a:lnTo>
                  <a:lnTo>
                    <a:pt x="20" y="122"/>
                  </a:lnTo>
                  <a:lnTo>
                    <a:pt x="20" y="104"/>
                  </a:lnTo>
                  <a:lnTo>
                    <a:pt x="10" y="76"/>
                  </a:lnTo>
                  <a:lnTo>
                    <a:pt x="2" y="66"/>
                  </a:lnTo>
                  <a:lnTo>
                    <a:pt x="0" y="52"/>
                  </a:lnTo>
                  <a:lnTo>
                    <a:pt x="6" y="38"/>
                  </a:lnTo>
                  <a:lnTo>
                    <a:pt x="22" y="46"/>
                  </a:lnTo>
                  <a:lnTo>
                    <a:pt x="26" y="60"/>
                  </a:lnTo>
                  <a:lnTo>
                    <a:pt x="32" y="56"/>
                  </a:lnTo>
                  <a:lnTo>
                    <a:pt x="42" y="58"/>
                  </a:lnTo>
                  <a:lnTo>
                    <a:pt x="56" y="72"/>
                  </a:lnTo>
                  <a:lnTo>
                    <a:pt x="68" y="62"/>
                  </a:lnTo>
                  <a:lnTo>
                    <a:pt x="78" y="68"/>
                  </a:lnTo>
                  <a:lnTo>
                    <a:pt x="108" y="70"/>
                  </a:lnTo>
                  <a:lnTo>
                    <a:pt x="110" y="76"/>
                  </a:lnTo>
                  <a:lnTo>
                    <a:pt x="132" y="74"/>
                  </a:lnTo>
                  <a:lnTo>
                    <a:pt x="160" y="38"/>
                  </a:lnTo>
                  <a:lnTo>
                    <a:pt x="182" y="16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404" name="United Kingdom">
              <a:extLst>
                <a:ext uri="{FF2B5EF4-FFF2-40B4-BE49-F238E27FC236}">
                  <a16:creationId xmlns="" xmlns:a16="http://schemas.microsoft.com/office/drawing/2014/main" id="{CE18A2E0-E032-4435-B455-34E9355D19C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551083" y="2240176"/>
              <a:ext cx="314323" cy="477875"/>
            </a:xfrm>
            <a:custGeom>
              <a:avLst/>
              <a:gdLst/>
              <a:ahLst/>
              <a:cxnLst>
                <a:cxn ang="0">
                  <a:pos x="224" y="80"/>
                </a:cxn>
                <a:cxn ang="0">
                  <a:pos x="244" y="110"/>
                </a:cxn>
                <a:cxn ang="0">
                  <a:pos x="204" y="166"/>
                </a:cxn>
                <a:cxn ang="0">
                  <a:pos x="224" y="198"/>
                </a:cxn>
                <a:cxn ang="0">
                  <a:pos x="260" y="266"/>
                </a:cxn>
                <a:cxn ang="0">
                  <a:pos x="294" y="300"/>
                </a:cxn>
                <a:cxn ang="0">
                  <a:pos x="324" y="358"/>
                </a:cxn>
                <a:cxn ang="0">
                  <a:pos x="320" y="402"/>
                </a:cxn>
                <a:cxn ang="0">
                  <a:pos x="356" y="400"/>
                </a:cxn>
                <a:cxn ang="0">
                  <a:pos x="388" y="434"/>
                </a:cxn>
                <a:cxn ang="0">
                  <a:pos x="356" y="470"/>
                </a:cxn>
                <a:cxn ang="0">
                  <a:pos x="374" y="490"/>
                </a:cxn>
                <a:cxn ang="0">
                  <a:pos x="346" y="524"/>
                </a:cxn>
                <a:cxn ang="0">
                  <a:pos x="294" y="538"/>
                </a:cxn>
                <a:cxn ang="0">
                  <a:pos x="246" y="548"/>
                </a:cxn>
                <a:cxn ang="0">
                  <a:pos x="188" y="544"/>
                </a:cxn>
                <a:cxn ang="0">
                  <a:pos x="154" y="560"/>
                </a:cxn>
                <a:cxn ang="0">
                  <a:pos x="110" y="580"/>
                </a:cxn>
                <a:cxn ang="0">
                  <a:pos x="130" y="550"/>
                </a:cxn>
                <a:cxn ang="0">
                  <a:pos x="160" y="510"/>
                </a:cxn>
                <a:cxn ang="0">
                  <a:pos x="158" y="474"/>
                </a:cxn>
                <a:cxn ang="0">
                  <a:pos x="118" y="464"/>
                </a:cxn>
                <a:cxn ang="0">
                  <a:pos x="174" y="434"/>
                </a:cxn>
                <a:cxn ang="0">
                  <a:pos x="144" y="400"/>
                </a:cxn>
                <a:cxn ang="0">
                  <a:pos x="198" y="374"/>
                </a:cxn>
                <a:cxn ang="0">
                  <a:pos x="188" y="308"/>
                </a:cxn>
                <a:cxn ang="0">
                  <a:pos x="174" y="278"/>
                </a:cxn>
                <a:cxn ang="0">
                  <a:pos x="142" y="284"/>
                </a:cxn>
                <a:cxn ang="0">
                  <a:pos x="140" y="238"/>
                </a:cxn>
                <a:cxn ang="0">
                  <a:pos x="126" y="210"/>
                </a:cxn>
                <a:cxn ang="0">
                  <a:pos x="104" y="220"/>
                </a:cxn>
                <a:cxn ang="0">
                  <a:pos x="92" y="208"/>
                </a:cxn>
                <a:cxn ang="0">
                  <a:pos x="122" y="144"/>
                </a:cxn>
                <a:cxn ang="0">
                  <a:pos x="92" y="122"/>
                </a:cxn>
                <a:cxn ang="0">
                  <a:pos x="88" y="64"/>
                </a:cxn>
                <a:cxn ang="0">
                  <a:pos x="116" y="30"/>
                </a:cxn>
                <a:cxn ang="0">
                  <a:pos x="148" y="2"/>
                </a:cxn>
                <a:cxn ang="0">
                  <a:pos x="194" y="20"/>
                </a:cxn>
                <a:cxn ang="0">
                  <a:pos x="170" y="58"/>
                </a:cxn>
                <a:cxn ang="0">
                  <a:pos x="36" y="252"/>
                </a:cxn>
                <a:cxn ang="0">
                  <a:pos x="4" y="288"/>
                </a:cxn>
                <a:cxn ang="0">
                  <a:pos x="28" y="316"/>
                </a:cxn>
                <a:cxn ang="0">
                  <a:pos x="68" y="318"/>
                </a:cxn>
                <a:cxn ang="0">
                  <a:pos x="94" y="286"/>
                </a:cxn>
                <a:cxn ang="0">
                  <a:pos x="78" y="250"/>
                </a:cxn>
              </a:cxnLst>
              <a:rect l="0" t="0" r="r" b="b"/>
              <a:pathLst>
                <a:path w="388" h="586">
                  <a:moveTo>
                    <a:pt x="158" y="86"/>
                  </a:moveTo>
                  <a:lnTo>
                    <a:pt x="198" y="74"/>
                  </a:lnTo>
                  <a:lnTo>
                    <a:pt x="224" y="80"/>
                  </a:lnTo>
                  <a:lnTo>
                    <a:pt x="242" y="76"/>
                  </a:lnTo>
                  <a:lnTo>
                    <a:pt x="252" y="86"/>
                  </a:lnTo>
                  <a:lnTo>
                    <a:pt x="244" y="110"/>
                  </a:lnTo>
                  <a:lnTo>
                    <a:pt x="224" y="132"/>
                  </a:lnTo>
                  <a:lnTo>
                    <a:pt x="218" y="148"/>
                  </a:lnTo>
                  <a:lnTo>
                    <a:pt x="204" y="166"/>
                  </a:lnTo>
                  <a:lnTo>
                    <a:pt x="214" y="176"/>
                  </a:lnTo>
                  <a:lnTo>
                    <a:pt x="208" y="192"/>
                  </a:lnTo>
                  <a:lnTo>
                    <a:pt x="224" y="198"/>
                  </a:lnTo>
                  <a:lnTo>
                    <a:pt x="240" y="208"/>
                  </a:lnTo>
                  <a:lnTo>
                    <a:pt x="256" y="232"/>
                  </a:lnTo>
                  <a:lnTo>
                    <a:pt x="260" y="266"/>
                  </a:lnTo>
                  <a:lnTo>
                    <a:pt x="276" y="280"/>
                  </a:lnTo>
                  <a:lnTo>
                    <a:pt x="280" y="294"/>
                  </a:lnTo>
                  <a:lnTo>
                    <a:pt x="294" y="300"/>
                  </a:lnTo>
                  <a:lnTo>
                    <a:pt x="310" y="324"/>
                  </a:lnTo>
                  <a:lnTo>
                    <a:pt x="322" y="346"/>
                  </a:lnTo>
                  <a:lnTo>
                    <a:pt x="324" y="358"/>
                  </a:lnTo>
                  <a:lnTo>
                    <a:pt x="328" y="372"/>
                  </a:lnTo>
                  <a:lnTo>
                    <a:pt x="324" y="390"/>
                  </a:lnTo>
                  <a:lnTo>
                    <a:pt x="320" y="402"/>
                  </a:lnTo>
                  <a:lnTo>
                    <a:pt x="328" y="414"/>
                  </a:lnTo>
                  <a:lnTo>
                    <a:pt x="340" y="400"/>
                  </a:lnTo>
                  <a:lnTo>
                    <a:pt x="356" y="400"/>
                  </a:lnTo>
                  <a:lnTo>
                    <a:pt x="374" y="400"/>
                  </a:lnTo>
                  <a:lnTo>
                    <a:pt x="384" y="414"/>
                  </a:lnTo>
                  <a:lnTo>
                    <a:pt x="388" y="434"/>
                  </a:lnTo>
                  <a:lnTo>
                    <a:pt x="382" y="452"/>
                  </a:lnTo>
                  <a:lnTo>
                    <a:pt x="366" y="456"/>
                  </a:lnTo>
                  <a:lnTo>
                    <a:pt x="356" y="470"/>
                  </a:lnTo>
                  <a:lnTo>
                    <a:pt x="342" y="486"/>
                  </a:lnTo>
                  <a:lnTo>
                    <a:pt x="360" y="492"/>
                  </a:lnTo>
                  <a:lnTo>
                    <a:pt x="374" y="490"/>
                  </a:lnTo>
                  <a:lnTo>
                    <a:pt x="374" y="502"/>
                  </a:lnTo>
                  <a:lnTo>
                    <a:pt x="362" y="520"/>
                  </a:lnTo>
                  <a:lnTo>
                    <a:pt x="346" y="524"/>
                  </a:lnTo>
                  <a:lnTo>
                    <a:pt x="332" y="538"/>
                  </a:lnTo>
                  <a:lnTo>
                    <a:pt x="318" y="532"/>
                  </a:lnTo>
                  <a:lnTo>
                    <a:pt x="294" y="538"/>
                  </a:lnTo>
                  <a:lnTo>
                    <a:pt x="266" y="530"/>
                  </a:lnTo>
                  <a:lnTo>
                    <a:pt x="268" y="554"/>
                  </a:lnTo>
                  <a:lnTo>
                    <a:pt x="246" y="548"/>
                  </a:lnTo>
                  <a:lnTo>
                    <a:pt x="228" y="556"/>
                  </a:lnTo>
                  <a:lnTo>
                    <a:pt x="212" y="542"/>
                  </a:lnTo>
                  <a:lnTo>
                    <a:pt x="188" y="544"/>
                  </a:lnTo>
                  <a:lnTo>
                    <a:pt x="188" y="562"/>
                  </a:lnTo>
                  <a:lnTo>
                    <a:pt x="178" y="570"/>
                  </a:lnTo>
                  <a:lnTo>
                    <a:pt x="154" y="560"/>
                  </a:lnTo>
                  <a:lnTo>
                    <a:pt x="130" y="574"/>
                  </a:lnTo>
                  <a:lnTo>
                    <a:pt x="120" y="586"/>
                  </a:lnTo>
                  <a:lnTo>
                    <a:pt x="110" y="580"/>
                  </a:lnTo>
                  <a:lnTo>
                    <a:pt x="96" y="576"/>
                  </a:lnTo>
                  <a:lnTo>
                    <a:pt x="108" y="564"/>
                  </a:lnTo>
                  <a:lnTo>
                    <a:pt x="130" y="550"/>
                  </a:lnTo>
                  <a:lnTo>
                    <a:pt x="144" y="538"/>
                  </a:lnTo>
                  <a:lnTo>
                    <a:pt x="144" y="524"/>
                  </a:lnTo>
                  <a:lnTo>
                    <a:pt x="160" y="510"/>
                  </a:lnTo>
                  <a:lnTo>
                    <a:pt x="186" y="504"/>
                  </a:lnTo>
                  <a:lnTo>
                    <a:pt x="174" y="490"/>
                  </a:lnTo>
                  <a:lnTo>
                    <a:pt x="158" y="474"/>
                  </a:lnTo>
                  <a:lnTo>
                    <a:pt x="142" y="472"/>
                  </a:lnTo>
                  <a:lnTo>
                    <a:pt x="122" y="484"/>
                  </a:lnTo>
                  <a:lnTo>
                    <a:pt x="118" y="464"/>
                  </a:lnTo>
                  <a:lnTo>
                    <a:pt x="136" y="458"/>
                  </a:lnTo>
                  <a:lnTo>
                    <a:pt x="150" y="444"/>
                  </a:lnTo>
                  <a:lnTo>
                    <a:pt x="174" y="434"/>
                  </a:lnTo>
                  <a:lnTo>
                    <a:pt x="168" y="412"/>
                  </a:lnTo>
                  <a:lnTo>
                    <a:pt x="172" y="396"/>
                  </a:lnTo>
                  <a:lnTo>
                    <a:pt x="144" y="400"/>
                  </a:lnTo>
                  <a:lnTo>
                    <a:pt x="160" y="378"/>
                  </a:lnTo>
                  <a:lnTo>
                    <a:pt x="180" y="372"/>
                  </a:lnTo>
                  <a:lnTo>
                    <a:pt x="198" y="374"/>
                  </a:lnTo>
                  <a:lnTo>
                    <a:pt x="206" y="340"/>
                  </a:lnTo>
                  <a:lnTo>
                    <a:pt x="204" y="320"/>
                  </a:lnTo>
                  <a:lnTo>
                    <a:pt x="188" y="308"/>
                  </a:lnTo>
                  <a:lnTo>
                    <a:pt x="186" y="290"/>
                  </a:lnTo>
                  <a:lnTo>
                    <a:pt x="196" y="268"/>
                  </a:lnTo>
                  <a:lnTo>
                    <a:pt x="174" y="278"/>
                  </a:lnTo>
                  <a:lnTo>
                    <a:pt x="164" y="278"/>
                  </a:lnTo>
                  <a:lnTo>
                    <a:pt x="156" y="286"/>
                  </a:lnTo>
                  <a:lnTo>
                    <a:pt x="142" y="284"/>
                  </a:lnTo>
                  <a:lnTo>
                    <a:pt x="132" y="296"/>
                  </a:lnTo>
                  <a:lnTo>
                    <a:pt x="126" y="274"/>
                  </a:lnTo>
                  <a:lnTo>
                    <a:pt x="140" y="238"/>
                  </a:lnTo>
                  <a:lnTo>
                    <a:pt x="134" y="218"/>
                  </a:lnTo>
                  <a:lnTo>
                    <a:pt x="134" y="202"/>
                  </a:lnTo>
                  <a:lnTo>
                    <a:pt x="126" y="210"/>
                  </a:lnTo>
                  <a:lnTo>
                    <a:pt x="118" y="220"/>
                  </a:lnTo>
                  <a:lnTo>
                    <a:pt x="110" y="230"/>
                  </a:lnTo>
                  <a:lnTo>
                    <a:pt x="104" y="220"/>
                  </a:lnTo>
                  <a:lnTo>
                    <a:pt x="100" y="236"/>
                  </a:lnTo>
                  <a:lnTo>
                    <a:pt x="90" y="236"/>
                  </a:lnTo>
                  <a:lnTo>
                    <a:pt x="92" y="208"/>
                  </a:lnTo>
                  <a:lnTo>
                    <a:pt x="90" y="192"/>
                  </a:lnTo>
                  <a:lnTo>
                    <a:pt x="112" y="162"/>
                  </a:lnTo>
                  <a:lnTo>
                    <a:pt x="122" y="144"/>
                  </a:lnTo>
                  <a:lnTo>
                    <a:pt x="94" y="148"/>
                  </a:lnTo>
                  <a:lnTo>
                    <a:pt x="82" y="140"/>
                  </a:lnTo>
                  <a:lnTo>
                    <a:pt x="92" y="122"/>
                  </a:lnTo>
                  <a:lnTo>
                    <a:pt x="88" y="104"/>
                  </a:lnTo>
                  <a:lnTo>
                    <a:pt x="96" y="92"/>
                  </a:lnTo>
                  <a:lnTo>
                    <a:pt x="88" y="64"/>
                  </a:lnTo>
                  <a:lnTo>
                    <a:pt x="94" y="52"/>
                  </a:lnTo>
                  <a:lnTo>
                    <a:pt x="108" y="52"/>
                  </a:lnTo>
                  <a:lnTo>
                    <a:pt x="116" y="30"/>
                  </a:lnTo>
                  <a:lnTo>
                    <a:pt x="122" y="24"/>
                  </a:lnTo>
                  <a:lnTo>
                    <a:pt x="126" y="2"/>
                  </a:lnTo>
                  <a:lnTo>
                    <a:pt x="148" y="2"/>
                  </a:lnTo>
                  <a:lnTo>
                    <a:pt x="158" y="6"/>
                  </a:lnTo>
                  <a:lnTo>
                    <a:pt x="192" y="0"/>
                  </a:lnTo>
                  <a:lnTo>
                    <a:pt x="194" y="20"/>
                  </a:lnTo>
                  <a:lnTo>
                    <a:pt x="176" y="38"/>
                  </a:lnTo>
                  <a:lnTo>
                    <a:pt x="158" y="50"/>
                  </a:lnTo>
                  <a:lnTo>
                    <a:pt x="170" y="58"/>
                  </a:lnTo>
                  <a:lnTo>
                    <a:pt x="162" y="72"/>
                  </a:lnTo>
                  <a:lnTo>
                    <a:pt x="158" y="86"/>
                  </a:lnTo>
                  <a:close/>
                  <a:moveTo>
                    <a:pt x="36" y="252"/>
                  </a:moveTo>
                  <a:lnTo>
                    <a:pt x="22" y="264"/>
                  </a:lnTo>
                  <a:lnTo>
                    <a:pt x="16" y="278"/>
                  </a:lnTo>
                  <a:lnTo>
                    <a:pt x="4" y="288"/>
                  </a:lnTo>
                  <a:lnTo>
                    <a:pt x="0" y="304"/>
                  </a:lnTo>
                  <a:lnTo>
                    <a:pt x="2" y="318"/>
                  </a:lnTo>
                  <a:lnTo>
                    <a:pt x="28" y="316"/>
                  </a:lnTo>
                  <a:lnTo>
                    <a:pt x="40" y="304"/>
                  </a:lnTo>
                  <a:lnTo>
                    <a:pt x="54" y="316"/>
                  </a:lnTo>
                  <a:lnTo>
                    <a:pt x="68" y="318"/>
                  </a:lnTo>
                  <a:lnTo>
                    <a:pt x="82" y="314"/>
                  </a:lnTo>
                  <a:lnTo>
                    <a:pt x="94" y="296"/>
                  </a:lnTo>
                  <a:lnTo>
                    <a:pt x="94" y="286"/>
                  </a:lnTo>
                  <a:lnTo>
                    <a:pt x="84" y="280"/>
                  </a:lnTo>
                  <a:lnTo>
                    <a:pt x="84" y="268"/>
                  </a:lnTo>
                  <a:lnTo>
                    <a:pt x="78" y="250"/>
                  </a:lnTo>
                  <a:lnTo>
                    <a:pt x="62" y="250"/>
                  </a:lnTo>
                  <a:lnTo>
                    <a:pt x="36" y="252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405" name="United States">
              <a:extLst>
                <a:ext uri="{FF2B5EF4-FFF2-40B4-BE49-F238E27FC236}">
                  <a16:creationId xmlns="" xmlns:a16="http://schemas.microsoft.com/office/drawing/2014/main" id="{20D3CDA3-3383-442D-84D4-3E258BDFDB5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62946" y="1327694"/>
              <a:ext cx="3188112" cy="2619458"/>
            </a:xfrm>
            <a:custGeom>
              <a:avLst/>
              <a:gdLst/>
              <a:ahLst/>
              <a:cxnLst>
                <a:cxn ang="0">
                  <a:pos x="1893" y="935"/>
                </a:cxn>
                <a:cxn ang="0">
                  <a:pos x="1784" y="1022"/>
                </a:cxn>
                <a:cxn ang="0">
                  <a:pos x="1657" y="1093"/>
                </a:cxn>
                <a:cxn ang="0">
                  <a:pos x="1630" y="1037"/>
                </a:cxn>
                <a:cxn ang="0">
                  <a:pos x="1600" y="981"/>
                </a:cxn>
                <a:cxn ang="0">
                  <a:pos x="1581" y="1080"/>
                </a:cxn>
                <a:cxn ang="0">
                  <a:pos x="1555" y="1010"/>
                </a:cxn>
                <a:cxn ang="0">
                  <a:pos x="1568" y="980"/>
                </a:cxn>
                <a:cxn ang="0">
                  <a:pos x="1598" y="952"/>
                </a:cxn>
                <a:cxn ang="0">
                  <a:pos x="1531" y="937"/>
                </a:cxn>
                <a:cxn ang="0">
                  <a:pos x="1492" y="930"/>
                </a:cxn>
                <a:cxn ang="0">
                  <a:pos x="1423" y="912"/>
                </a:cxn>
                <a:cxn ang="0">
                  <a:pos x="887" y="903"/>
                </a:cxn>
                <a:cxn ang="0">
                  <a:pos x="843" y="952"/>
                </a:cxn>
                <a:cxn ang="0">
                  <a:pos x="799" y="1077"/>
                </a:cxn>
                <a:cxn ang="0">
                  <a:pos x="800" y="1176"/>
                </a:cxn>
                <a:cxn ang="0">
                  <a:pos x="816" y="1240"/>
                </a:cxn>
                <a:cxn ang="0">
                  <a:pos x="872" y="1288"/>
                </a:cxn>
                <a:cxn ang="0">
                  <a:pos x="1167" y="1407"/>
                </a:cxn>
                <a:cxn ang="0">
                  <a:pos x="1267" y="1469"/>
                </a:cxn>
                <a:cxn ang="0">
                  <a:pos x="1317" y="1455"/>
                </a:cxn>
                <a:cxn ang="0">
                  <a:pos x="1423" y="1431"/>
                </a:cxn>
                <a:cxn ang="0">
                  <a:pos x="1522" y="1442"/>
                </a:cxn>
                <a:cxn ang="0">
                  <a:pos x="1531" y="1417"/>
                </a:cxn>
                <a:cxn ang="0">
                  <a:pos x="1570" y="1406"/>
                </a:cxn>
                <a:cxn ang="0">
                  <a:pos x="1639" y="1413"/>
                </a:cxn>
                <a:cxn ang="0">
                  <a:pos x="1711" y="1462"/>
                </a:cxn>
                <a:cxn ang="0">
                  <a:pos x="1780" y="1517"/>
                </a:cxn>
                <a:cxn ang="0">
                  <a:pos x="1745" y="1416"/>
                </a:cxn>
                <a:cxn ang="0">
                  <a:pos x="1760" y="1320"/>
                </a:cxn>
                <a:cxn ang="0">
                  <a:pos x="1823" y="1249"/>
                </a:cxn>
                <a:cxn ang="0">
                  <a:pos x="1829" y="1220"/>
                </a:cxn>
                <a:cxn ang="0">
                  <a:pos x="1809" y="1163"/>
                </a:cxn>
                <a:cxn ang="0">
                  <a:pos x="1833" y="1174"/>
                </a:cxn>
                <a:cxn ang="0">
                  <a:pos x="1848" y="1097"/>
                </a:cxn>
                <a:cxn ang="0">
                  <a:pos x="1896" y="1065"/>
                </a:cxn>
                <a:cxn ang="0">
                  <a:pos x="1902" y="1017"/>
                </a:cxn>
                <a:cxn ang="0">
                  <a:pos x="163" y="1543"/>
                </a:cxn>
                <a:cxn ang="0">
                  <a:pos x="223" y="1562"/>
                </a:cxn>
                <a:cxn ang="0">
                  <a:pos x="223" y="1564"/>
                </a:cxn>
                <a:cxn ang="0">
                  <a:pos x="259" y="1594"/>
                </a:cxn>
                <a:cxn ang="0">
                  <a:pos x="308" y="633"/>
                </a:cxn>
                <a:cxn ang="0">
                  <a:pos x="79" y="703"/>
                </a:cxn>
                <a:cxn ang="0">
                  <a:pos x="48" y="510"/>
                </a:cxn>
                <a:cxn ang="0">
                  <a:pos x="659" y="615"/>
                </a:cxn>
                <a:cxn ang="0">
                  <a:pos x="634" y="618"/>
                </a:cxn>
                <a:cxn ang="0">
                  <a:pos x="724" y="705"/>
                </a:cxn>
                <a:cxn ang="0">
                  <a:pos x="442" y="109"/>
                </a:cxn>
                <a:cxn ang="0">
                  <a:pos x="250" y="15"/>
                </a:cxn>
                <a:cxn ang="0">
                  <a:pos x="39" y="183"/>
                </a:cxn>
                <a:cxn ang="0">
                  <a:pos x="40" y="277"/>
                </a:cxn>
                <a:cxn ang="0">
                  <a:pos x="134" y="353"/>
                </a:cxn>
                <a:cxn ang="0">
                  <a:pos x="65" y="474"/>
                </a:cxn>
                <a:cxn ang="0">
                  <a:pos x="143" y="566"/>
                </a:cxn>
                <a:cxn ang="0">
                  <a:pos x="181" y="643"/>
                </a:cxn>
                <a:cxn ang="0">
                  <a:pos x="201" y="654"/>
                </a:cxn>
                <a:cxn ang="0">
                  <a:pos x="339" y="468"/>
                </a:cxn>
                <a:cxn ang="0">
                  <a:pos x="357" y="546"/>
                </a:cxn>
                <a:cxn ang="0">
                  <a:pos x="471" y="525"/>
                </a:cxn>
                <a:cxn ang="0">
                  <a:pos x="602" y="562"/>
                </a:cxn>
                <a:cxn ang="0">
                  <a:pos x="706" y="663"/>
                </a:cxn>
              </a:cxnLst>
              <a:rect l="0" t="0" r="r" b="b"/>
              <a:pathLst>
                <a:path w="1964" h="1601">
                  <a:moveTo>
                    <a:pt x="1960" y="952"/>
                  </a:moveTo>
                  <a:cubicBezTo>
                    <a:pt x="1962" y="948"/>
                    <a:pt x="1962" y="948"/>
                    <a:pt x="1962" y="948"/>
                  </a:cubicBezTo>
                  <a:cubicBezTo>
                    <a:pt x="1960" y="941"/>
                    <a:pt x="1960" y="941"/>
                    <a:pt x="1960" y="941"/>
                  </a:cubicBezTo>
                  <a:cubicBezTo>
                    <a:pt x="1955" y="943"/>
                    <a:pt x="1955" y="943"/>
                    <a:pt x="1955" y="943"/>
                  </a:cubicBezTo>
                  <a:cubicBezTo>
                    <a:pt x="1952" y="940"/>
                    <a:pt x="1952" y="940"/>
                    <a:pt x="1952" y="940"/>
                  </a:cubicBezTo>
                  <a:cubicBezTo>
                    <a:pt x="1950" y="932"/>
                    <a:pt x="1950" y="932"/>
                    <a:pt x="1950" y="932"/>
                  </a:cubicBezTo>
                  <a:cubicBezTo>
                    <a:pt x="1943" y="931"/>
                    <a:pt x="1943" y="931"/>
                    <a:pt x="1943" y="931"/>
                  </a:cubicBezTo>
                  <a:cubicBezTo>
                    <a:pt x="1933" y="894"/>
                    <a:pt x="1933" y="894"/>
                    <a:pt x="1933" y="894"/>
                  </a:cubicBezTo>
                  <a:cubicBezTo>
                    <a:pt x="1924" y="886"/>
                    <a:pt x="1924" y="886"/>
                    <a:pt x="1924" y="886"/>
                  </a:cubicBezTo>
                  <a:cubicBezTo>
                    <a:pt x="1919" y="887"/>
                    <a:pt x="1919" y="887"/>
                    <a:pt x="1919" y="887"/>
                  </a:cubicBezTo>
                  <a:cubicBezTo>
                    <a:pt x="1918" y="890"/>
                    <a:pt x="1918" y="890"/>
                    <a:pt x="1918" y="890"/>
                  </a:cubicBezTo>
                  <a:cubicBezTo>
                    <a:pt x="1908" y="894"/>
                    <a:pt x="1908" y="894"/>
                    <a:pt x="1908" y="894"/>
                  </a:cubicBezTo>
                  <a:cubicBezTo>
                    <a:pt x="1907" y="888"/>
                    <a:pt x="1907" y="888"/>
                    <a:pt x="1907" y="888"/>
                  </a:cubicBezTo>
                  <a:cubicBezTo>
                    <a:pt x="1900" y="888"/>
                    <a:pt x="1900" y="888"/>
                    <a:pt x="1900" y="888"/>
                  </a:cubicBezTo>
                  <a:cubicBezTo>
                    <a:pt x="1891" y="915"/>
                    <a:pt x="1891" y="915"/>
                    <a:pt x="1891" y="915"/>
                  </a:cubicBezTo>
                  <a:cubicBezTo>
                    <a:pt x="1893" y="917"/>
                    <a:pt x="1893" y="917"/>
                    <a:pt x="1893" y="917"/>
                  </a:cubicBezTo>
                  <a:cubicBezTo>
                    <a:pt x="1893" y="921"/>
                    <a:pt x="1893" y="921"/>
                    <a:pt x="1893" y="921"/>
                  </a:cubicBezTo>
                  <a:cubicBezTo>
                    <a:pt x="1890" y="923"/>
                    <a:pt x="1890" y="923"/>
                    <a:pt x="1890" y="923"/>
                  </a:cubicBezTo>
                  <a:cubicBezTo>
                    <a:pt x="1893" y="935"/>
                    <a:pt x="1893" y="935"/>
                    <a:pt x="1893" y="935"/>
                  </a:cubicBezTo>
                  <a:cubicBezTo>
                    <a:pt x="1891" y="937"/>
                    <a:pt x="1891" y="937"/>
                    <a:pt x="1891" y="937"/>
                  </a:cubicBezTo>
                  <a:cubicBezTo>
                    <a:pt x="1890" y="940"/>
                    <a:pt x="1890" y="940"/>
                    <a:pt x="1890" y="940"/>
                  </a:cubicBezTo>
                  <a:cubicBezTo>
                    <a:pt x="1886" y="946"/>
                    <a:pt x="1886" y="946"/>
                    <a:pt x="1886" y="946"/>
                  </a:cubicBezTo>
                  <a:cubicBezTo>
                    <a:pt x="1887" y="949"/>
                    <a:pt x="1887" y="949"/>
                    <a:pt x="1887" y="949"/>
                  </a:cubicBezTo>
                  <a:cubicBezTo>
                    <a:pt x="1885" y="953"/>
                    <a:pt x="1885" y="953"/>
                    <a:pt x="1885" y="953"/>
                  </a:cubicBezTo>
                  <a:cubicBezTo>
                    <a:pt x="1880" y="954"/>
                    <a:pt x="1880" y="954"/>
                    <a:pt x="1880" y="954"/>
                  </a:cubicBezTo>
                  <a:cubicBezTo>
                    <a:pt x="1873" y="957"/>
                    <a:pt x="1873" y="957"/>
                    <a:pt x="1873" y="957"/>
                  </a:cubicBezTo>
                  <a:cubicBezTo>
                    <a:pt x="1874" y="961"/>
                    <a:pt x="1874" y="961"/>
                    <a:pt x="1874" y="961"/>
                  </a:cubicBezTo>
                  <a:cubicBezTo>
                    <a:pt x="1872" y="965"/>
                    <a:pt x="1872" y="965"/>
                    <a:pt x="1872" y="965"/>
                  </a:cubicBezTo>
                  <a:cubicBezTo>
                    <a:pt x="1836" y="972"/>
                    <a:pt x="1836" y="972"/>
                    <a:pt x="1836" y="972"/>
                  </a:cubicBezTo>
                  <a:cubicBezTo>
                    <a:pt x="1807" y="977"/>
                    <a:pt x="1807" y="977"/>
                    <a:pt x="1807" y="977"/>
                  </a:cubicBezTo>
                  <a:cubicBezTo>
                    <a:pt x="1790" y="993"/>
                    <a:pt x="1790" y="993"/>
                    <a:pt x="1790" y="993"/>
                  </a:cubicBezTo>
                  <a:cubicBezTo>
                    <a:pt x="1790" y="997"/>
                    <a:pt x="1790" y="997"/>
                    <a:pt x="1790" y="997"/>
                  </a:cubicBezTo>
                  <a:cubicBezTo>
                    <a:pt x="1780" y="1006"/>
                    <a:pt x="1780" y="1006"/>
                    <a:pt x="1780" y="1006"/>
                  </a:cubicBezTo>
                  <a:cubicBezTo>
                    <a:pt x="1781" y="1009"/>
                    <a:pt x="1781" y="1009"/>
                    <a:pt x="1781" y="1009"/>
                  </a:cubicBezTo>
                  <a:cubicBezTo>
                    <a:pt x="1784" y="1011"/>
                    <a:pt x="1784" y="1011"/>
                    <a:pt x="1784" y="1011"/>
                  </a:cubicBezTo>
                  <a:cubicBezTo>
                    <a:pt x="1784" y="1014"/>
                    <a:pt x="1784" y="1014"/>
                    <a:pt x="1784" y="1014"/>
                  </a:cubicBezTo>
                  <a:cubicBezTo>
                    <a:pt x="1786" y="1017"/>
                    <a:pt x="1786" y="1017"/>
                    <a:pt x="1786" y="1017"/>
                  </a:cubicBezTo>
                  <a:cubicBezTo>
                    <a:pt x="1784" y="1022"/>
                    <a:pt x="1784" y="1022"/>
                    <a:pt x="1784" y="1022"/>
                  </a:cubicBezTo>
                  <a:cubicBezTo>
                    <a:pt x="1781" y="1024"/>
                    <a:pt x="1781" y="1024"/>
                    <a:pt x="1781" y="1024"/>
                  </a:cubicBezTo>
                  <a:cubicBezTo>
                    <a:pt x="1776" y="1028"/>
                    <a:pt x="1776" y="1028"/>
                    <a:pt x="1776" y="1028"/>
                  </a:cubicBezTo>
                  <a:cubicBezTo>
                    <a:pt x="1771" y="1030"/>
                    <a:pt x="1771" y="1030"/>
                    <a:pt x="1771" y="1030"/>
                  </a:cubicBezTo>
                  <a:cubicBezTo>
                    <a:pt x="1761" y="1033"/>
                    <a:pt x="1761" y="1033"/>
                    <a:pt x="1761" y="1033"/>
                  </a:cubicBezTo>
                  <a:cubicBezTo>
                    <a:pt x="1755" y="1032"/>
                    <a:pt x="1755" y="1032"/>
                    <a:pt x="1755" y="1032"/>
                  </a:cubicBezTo>
                  <a:cubicBezTo>
                    <a:pt x="1743" y="1032"/>
                    <a:pt x="1743" y="1032"/>
                    <a:pt x="1743" y="1032"/>
                  </a:cubicBezTo>
                  <a:cubicBezTo>
                    <a:pt x="1735" y="1034"/>
                    <a:pt x="1735" y="1034"/>
                    <a:pt x="1735" y="1034"/>
                  </a:cubicBezTo>
                  <a:cubicBezTo>
                    <a:pt x="1730" y="1039"/>
                    <a:pt x="1730" y="1039"/>
                    <a:pt x="1730" y="1039"/>
                  </a:cubicBezTo>
                  <a:cubicBezTo>
                    <a:pt x="1731" y="1042"/>
                    <a:pt x="1731" y="1042"/>
                    <a:pt x="1731" y="1042"/>
                  </a:cubicBezTo>
                  <a:cubicBezTo>
                    <a:pt x="1734" y="1046"/>
                    <a:pt x="1734" y="1046"/>
                    <a:pt x="1734" y="1046"/>
                  </a:cubicBezTo>
                  <a:cubicBezTo>
                    <a:pt x="1734" y="1052"/>
                    <a:pt x="1734" y="1052"/>
                    <a:pt x="1734" y="1052"/>
                  </a:cubicBezTo>
                  <a:cubicBezTo>
                    <a:pt x="1718" y="1067"/>
                    <a:pt x="1718" y="1067"/>
                    <a:pt x="1718" y="1067"/>
                  </a:cubicBezTo>
                  <a:cubicBezTo>
                    <a:pt x="1711" y="1072"/>
                    <a:pt x="1711" y="1072"/>
                    <a:pt x="1711" y="1072"/>
                  </a:cubicBezTo>
                  <a:cubicBezTo>
                    <a:pt x="1704" y="1077"/>
                    <a:pt x="1704" y="1077"/>
                    <a:pt x="1704" y="1077"/>
                  </a:cubicBezTo>
                  <a:cubicBezTo>
                    <a:pt x="1687" y="1085"/>
                    <a:pt x="1687" y="1085"/>
                    <a:pt x="1687" y="1085"/>
                  </a:cubicBezTo>
                  <a:cubicBezTo>
                    <a:pt x="1680" y="1092"/>
                    <a:pt x="1680" y="1092"/>
                    <a:pt x="1680" y="1092"/>
                  </a:cubicBezTo>
                  <a:cubicBezTo>
                    <a:pt x="1672" y="1091"/>
                    <a:pt x="1672" y="1091"/>
                    <a:pt x="1672" y="1091"/>
                  </a:cubicBezTo>
                  <a:cubicBezTo>
                    <a:pt x="1665" y="1097"/>
                    <a:pt x="1665" y="1097"/>
                    <a:pt x="1665" y="1097"/>
                  </a:cubicBezTo>
                  <a:cubicBezTo>
                    <a:pt x="1657" y="1093"/>
                    <a:pt x="1657" y="1093"/>
                    <a:pt x="1657" y="1093"/>
                  </a:cubicBezTo>
                  <a:cubicBezTo>
                    <a:pt x="1643" y="1090"/>
                    <a:pt x="1643" y="1090"/>
                    <a:pt x="1643" y="1090"/>
                  </a:cubicBezTo>
                  <a:cubicBezTo>
                    <a:pt x="1649" y="1079"/>
                    <a:pt x="1649" y="1079"/>
                    <a:pt x="1649" y="1079"/>
                  </a:cubicBezTo>
                  <a:cubicBezTo>
                    <a:pt x="1647" y="1076"/>
                    <a:pt x="1647" y="1076"/>
                    <a:pt x="1647" y="1076"/>
                  </a:cubicBezTo>
                  <a:cubicBezTo>
                    <a:pt x="1649" y="1072"/>
                    <a:pt x="1649" y="1072"/>
                    <a:pt x="1649" y="1072"/>
                  </a:cubicBezTo>
                  <a:cubicBezTo>
                    <a:pt x="1653" y="1070"/>
                    <a:pt x="1653" y="1070"/>
                    <a:pt x="1653" y="1070"/>
                  </a:cubicBezTo>
                  <a:cubicBezTo>
                    <a:pt x="1653" y="1064"/>
                    <a:pt x="1653" y="1064"/>
                    <a:pt x="1653" y="1064"/>
                  </a:cubicBezTo>
                  <a:cubicBezTo>
                    <a:pt x="1655" y="1061"/>
                    <a:pt x="1655" y="1061"/>
                    <a:pt x="1655" y="1061"/>
                  </a:cubicBezTo>
                  <a:cubicBezTo>
                    <a:pt x="1658" y="1062"/>
                    <a:pt x="1658" y="1062"/>
                    <a:pt x="1658" y="1062"/>
                  </a:cubicBezTo>
                  <a:cubicBezTo>
                    <a:pt x="1661" y="1060"/>
                    <a:pt x="1661" y="1060"/>
                    <a:pt x="1661" y="1060"/>
                  </a:cubicBezTo>
                  <a:cubicBezTo>
                    <a:pt x="1660" y="1058"/>
                    <a:pt x="1660" y="1058"/>
                    <a:pt x="1660" y="1058"/>
                  </a:cubicBezTo>
                  <a:cubicBezTo>
                    <a:pt x="1659" y="1046"/>
                    <a:pt x="1659" y="1046"/>
                    <a:pt x="1659" y="1046"/>
                  </a:cubicBezTo>
                  <a:cubicBezTo>
                    <a:pt x="1657" y="1038"/>
                    <a:pt x="1657" y="1038"/>
                    <a:pt x="1657" y="1038"/>
                  </a:cubicBezTo>
                  <a:cubicBezTo>
                    <a:pt x="1653" y="1030"/>
                    <a:pt x="1653" y="1030"/>
                    <a:pt x="1653" y="1030"/>
                  </a:cubicBezTo>
                  <a:cubicBezTo>
                    <a:pt x="1652" y="1025"/>
                    <a:pt x="1652" y="1025"/>
                    <a:pt x="1652" y="1025"/>
                  </a:cubicBezTo>
                  <a:cubicBezTo>
                    <a:pt x="1646" y="1023"/>
                    <a:pt x="1646" y="1023"/>
                    <a:pt x="1646" y="1023"/>
                  </a:cubicBezTo>
                  <a:cubicBezTo>
                    <a:pt x="1642" y="1026"/>
                    <a:pt x="1642" y="1026"/>
                    <a:pt x="1642" y="1026"/>
                  </a:cubicBezTo>
                  <a:cubicBezTo>
                    <a:pt x="1637" y="1032"/>
                    <a:pt x="1637" y="1032"/>
                    <a:pt x="1637" y="1032"/>
                  </a:cubicBezTo>
                  <a:cubicBezTo>
                    <a:pt x="1632" y="1038"/>
                    <a:pt x="1632" y="1038"/>
                    <a:pt x="1632" y="1038"/>
                  </a:cubicBezTo>
                  <a:cubicBezTo>
                    <a:pt x="1630" y="1037"/>
                    <a:pt x="1630" y="1037"/>
                    <a:pt x="1630" y="1037"/>
                  </a:cubicBezTo>
                  <a:cubicBezTo>
                    <a:pt x="1627" y="1035"/>
                    <a:pt x="1627" y="1035"/>
                    <a:pt x="1627" y="1035"/>
                  </a:cubicBezTo>
                  <a:cubicBezTo>
                    <a:pt x="1627" y="1031"/>
                    <a:pt x="1627" y="1031"/>
                    <a:pt x="1627" y="1031"/>
                  </a:cubicBezTo>
                  <a:cubicBezTo>
                    <a:pt x="1629" y="1027"/>
                    <a:pt x="1629" y="1027"/>
                    <a:pt x="1629" y="1027"/>
                  </a:cubicBezTo>
                  <a:cubicBezTo>
                    <a:pt x="1633" y="1024"/>
                    <a:pt x="1633" y="1024"/>
                    <a:pt x="1633" y="1024"/>
                  </a:cubicBezTo>
                  <a:cubicBezTo>
                    <a:pt x="1634" y="1021"/>
                    <a:pt x="1634" y="1021"/>
                    <a:pt x="1634" y="1021"/>
                  </a:cubicBezTo>
                  <a:cubicBezTo>
                    <a:pt x="1635" y="1018"/>
                    <a:pt x="1635" y="1018"/>
                    <a:pt x="1635" y="1018"/>
                  </a:cubicBezTo>
                  <a:cubicBezTo>
                    <a:pt x="1638" y="1015"/>
                    <a:pt x="1638" y="1015"/>
                    <a:pt x="1638" y="1015"/>
                  </a:cubicBezTo>
                  <a:cubicBezTo>
                    <a:pt x="1638" y="1007"/>
                    <a:pt x="1638" y="1007"/>
                    <a:pt x="1638" y="1007"/>
                  </a:cubicBezTo>
                  <a:cubicBezTo>
                    <a:pt x="1636" y="1003"/>
                    <a:pt x="1636" y="1003"/>
                    <a:pt x="1636" y="1003"/>
                  </a:cubicBezTo>
                  <a:cubicBezTo>
                    <a:pt x="1632" y="999"/>
                    <a:pt x="1632" y="999"/>
                    <a:pt x="1632" y="999"/>
                  </a:cubicBezTo>
                  <a:cubicBezTo>
                    <a:pt x="1633" y="997"/>
                    <a:pt x="1633" y="997"/>
                    <a:pt x="1633" y="997"/>
                  </a:cubicBezTo>
                  <a:cubicBezTo>
                    <a:pt x="1636" y="995"/>
                    <a:pt x="1636" y="995"/>
                    <a:pt x="1636" y="995"/>
                  </a:cubicBezTo>
                  <a:cubicBezTo>
                    <a:pt x="1634" y="990"/>
                    <a:pt x="1634" y="990"/>
                    <a:pt x="1634" y="990"/>
                  </a:cubicBezTo>
                  <a:cubicBezTo>
                    <a:pt x="1625" y="986"/>
                    <a:pt x="1625" y="986"/>
                    <a:pt x="1625" y="986"/>
                  </a:cubicBezTo>
                  <a:cubicBezTo>
                    <a:pt x="1618" y="984"/>
                    <a:pt x="1618" y="984"/>
                    <a:pt x="1618" y="984"/>
                  </a:cubicBezTo>
                  <a:cubicBezTo>
                    <a:pt x="1616" y="982"/>
                    <a:pt x="1616" y="982"/>
                    <a:pt x="1616" y="982"/>
                  </a:cubicBezTo>
                  <a:cubicBezTo>
                    <a:pt x="1610" y="981"/>
                    <a:pt x="1610" y="981"/>
                    <a:pt x="1610" y="981"/>
                  </a:cubicBezTo>
                  <a:cubicBezTo>
                    <a:pt x="1606" y="979"/>
                    <a:pt x="1606" y="979"/>
                    <a:pt x="1606" y="979"/>
                  </a:cubicBezTo>
                  <a:cubicBezTo>
                    <a:pt x="1600" y="981"/>
                    <a:pt x="1600" y="981"/>
                    <a:pt x="1600" y="981"/>
                  </a:cubicBezTo>
                  <a:cubicBezTo>
                    <a:pt x="1599" y="987"/>
                    <a:pt x="1599" y="987"/>
                    <a:pt x="1599" y="987"/>
                  </a:cubicBezTo>
                  <a:cubicBezTo>
                    <a:pt x="1600" y="990"/>
                    <a:pt x="1600" y="990"/>
                    <a:pt x="1600" y="990"/>
                  </a:cubicBezTo>
                  <a:cubicBezTo>
                    <a:pt x="1594" y="995"/>
                    <a:pt x="1594" y="995"/>
                    <a:pt x="1594" y="995"/>
                  </a:cubicBezTo>
                  <a:cubicBezTo>
                    <a:pt x="1594" y="1001"/>
                    <a:pt x="1594" y="1001"/>
                    <a:pt x="1594" y="1001"/>
                  </a:cubicBezTo>
                  <a:cubicBezTo>
                    <a:pt x="1592" y="1005"/>
                    <a:pt x="1592" y="1005"/>
                    <a:pt x="1592" y="1005"/>
                  </a:cubicBezTo>
                  <a:cubicBezTo>
                    <a:pt x="1590" y="1006"/>
                    <a:pt x="1590" y="1006"/>
                    <a:pt x="1590" y="1006"/>
                  </a:cubicBezTo>
                  <a:cubicBezTo>
                    <a:pt x="1590" y="1000"/>
                    <a:pt x="1590" y="1000"/>
                    <a:pt x="1590" y="1000"/>
                  </a:cubicBezTo>
                  <a:cubicBezTo>
                    <a:pt x="1589" y="996"/>
                    <a:pt x="1589" y="996"/>
                    <a:pt x="1589" y="996"/>
                  </a:cubicBezTo>
                  <a:cubicBezTo>
                    <a:pt x="1586" y="1002"/>
                    <a:pt x="1586" y="1002"/>
                    <a:pt x="1586" y="1002"/>
                  </a:cubicBezTo>
                  <a:cubicBezTo>
                    <a:pt x="1583" y="1003"/>
                    <a:pt x="1583" y="1003"/>
                    <a:pt x="1583" y="1003"/>
                  </a:cubicBezTo>
                  <a:cubicBezTo>
                    <a:pt x="1578" y="1011"/>
                    <a:pt x="1578" y="1011"/>
                    <a:pt x="1578" y="1011"/>
                  </a:cubicBezTo>
                  <a:cubicBezTo>
                    <a:pt x="1577" y="1023"/>
                    <a:pt x="1577" y="1023"/>
                    <a:pt x="1577" y="1023"/>
                  </a:cubicBezTo>
                  <a:cubicBezTo>
                    <a:pt x="1573" y="1030"/>
                    <a:pt x="1573" y="1030"/>
                    <a:pt x="1573" y="1030"/>
                  </a:cubicBezTo>
                  <a:cubicBezTo>
                    <a:pt x="1575" y="1036"/>
                    <a:pt x="1575" y="1036"/>
                    <a:pt x="1575" y="1036"/>
                  </a:cubicBezTo>
                  <a:cubicBezTo>
                    <a:pt x="1575" y="1042"/>
                    <a:pt x="1575" y="1042"/>
                    <a:pt x="1575" y="1042"/>
                  </a:cubicBezTo>
                  <a:cubicBezTo>
                    <a:pt x="1579" y="1051"/>
                    <a:pt x="1579" y="1051"/>
                    <a:pt x="1579" y="1051"/>
                  </a:cubicBezTo>
                  <a:cubicBezTo>
                    <a:pt x="1583" y="1060"/>
                    <a:pt x="1583" y="1060"/>
                    <a:pt x="1583" y="1060"/>
                  </a:cubicBezTo>
                  <a:cubicBezTo>
                    <a:pt x="1583" y="1068"/>
                    <a:pt x="1583" y="1068"/>
                    <a:pt x="1583" y="1068"/>
                  </a:cubicBezTo>
                  <a:cubicBezTo>
                    <a:pt x="1581" y="1080"/>
                    <a:pt x="1581" y="1080"/>
                    <a:pt x="1581" y="1080"/>
                  </a:cubicBezTo>
                  <a:cubicBezTo>
                    <a:pt x="1576" y="1089"/>
                    <a:pt x="1576" y="1089"/>
                    <a:pt x="1576" y="1089"/>
                  </a:cubicBezTo>
                  <a:cubicBezTo>
                    <a:pt x="1573" y="1094"/>
                    <a:pt x="1573" y="1094"/>
                    <a:pt x="1573" y="1094"/>
                  </a:cubicBezTo>
                  <a:cubicBezTo>
                    <a:pt x="1569" y="1096"/>
                    <a:pt x="1569" y="1096"/>
                    <a:pt x="1569" y="1096"/>
                  </a:cubicBezTo>
                  <a:cubicBezTo>
                    <a:pt x="1562" y="1097"/>
                    <a:pt x="1562" y="1097"/>
                    <a:pt x="1562" y="1097"/>
                  </a:cubicBezTo>
                  <a:cubicBezTo>
                    <a:pt x="1558" y="1095"/>
                    <a:pt x="1558" y="1095"/>
                    <a:pt x="1558" y="1095"/>
                  </a:cubicBezTo>
                  <a:cubicBezTo>
                    <a:pt x="1556" y="1094"/>
                    <a:pt x="1556" y="1094"/>
                    <a:pt x="1556" y="1094"/>
                  </a:cubicBezTo>
                  <a:cubicBezTo>
                    <a:pt x="1555" y="1087"/>
                    <a:pt x="1555" y="1087"/>
                    <a:pt x="1555" y="1087"/>
                  </a:cubicBezTo>
                  <a:cubicBezTo>
                    <a:pt x="1553" y="1084"/>
                    <a:pt x="1553" y="1084"/>
                    <a:pt x="1553" y="1084"/>
                  </a:cubicBezTo>
                  <a:cubicBezTo>
                    <a:pt x="1550" y="1081"/>
                    <a:pt x="1550" y="1081"/>
                    <a:pt x="1550" y="1081"/>
                  </a:cubicBezTo>
                  <a:cubicBezTo>
                    <a:pt x="1549" y="1074"/>
                    <a:pt x="1549" y="1074"/>
                    <a:pt x="1549" y="1074"/>
                  </a:cubicBezTo>
                  <a:cubicBezTo>
                    <a:pt x="1549" y="1066"/>
                    <a:pt x="1549" y="1066"/>
                    <a:pt x="1549" y="1066"/>
                  </a:cubicBezTo>
                  <a:cubicBezTo>
                    <a:pt x="1547" y="1058"/>
                    <a:pt x="1547" y="1058"/>
                    <a:pt x="1547" y="1058"/>
                  </a:cubicBezTo>
                  <a:cubicBezTo>
                    <a:pt x="1546" y="1050"/>
                    <a:pt x="1546" y="1050"/>
                    <a:pt x="1546" y="1050"/>
                  </a:cubicBezTo>
                  <a:cubicBezTo>
                    <a:pt x="1549" y="1042"/>
                    <a:pt x="1549" y="1042"/>
                    <a:pt x="1549" y="1042"/>
                  </a:cubicBezTo>
                  <a:cubicBezTo>
                    <a:pt x="1549" y="1030"/>
                    <a:pt x="1549" y="1030"/>
                    <a:pt x="1549" y="1030"/>
                  </a:cubicBezTo>
                  <a:cubicBezTo>
                    <a:pt x="1553" y="1027"/>
                    <a:pt x="1553" y="1027"/>
                    <a:pt x="1553" y="1027"/>
                  </a:cubicBezTo>
                  <a:cubicBezTo>
                    <a:pt x="1552" y="1018"/>
                    <a:pt x="1552" y="1018"/>
                    <a:pt x="1552" y="1018"/>
                  </a:cubicBezTo>
                  <a:cubicBezTo>
                    <a:pt x="1555" y="1014"/>
                    <a:pt x="1555" y="1014"/>
                    <a:pt x="1555" y="1014"/>
                  </a:cubicBezTo>
                  <a:cubicBezTo>
                    <a:pt x="1555" y="1010"/>
                    <a:pt x="1555" y="1010"/>
                    <a:pt x="1555" y="1010"/>
                  </a:cubicBezTo>
                  <a:cubicBezTo>
                    <a:pt x="1560" y="1001"/>
                    <a:pt x="1560" y="1001"/>
                    <a:pt x="1560" y="1001"/>
                  </a:cubicBezTo>
                  <a:cubicBezTo>
                    <a:pt x="1561" y="997"/>
                    <a:pt x="1561" y="997"/>
                    <a:pt x="1561" y="997"/>
                  </a:cubicBezTo>
                  <a:cubicBezTo>
                    <a:pt x="1560" y="994"/>
                    <a:pt x="1560" y="994"/>
                    <a:pt x="1560" y="994"/>
                  </a:cubicBezTo>
                  <a:cubicBezTo>
                    <a:pt x="1556" y="999"/>
                    <a:pt x="1556" y="999"/>
                    <a:pt x="1556" y="999"/>
                  </a:cubicBezTo>
                  <a:cubicBezTo>
                    <a:pt x="1555" y="1003"/>
                    <a:pt x="1555" y="1003"/>
                    <a:pt x="1555" y="1003"/>
                  </a:cubicBezTo>
                  <a:cubicBezTo>
                    <a:pt x="1553" y="1007"/>
                    <a:pt x="1553" y="1007"/>
                    <a:pt x="1553" y="1007"/>
                  </a:cubicBezTo>
                  <a:cubicBezTo>
                    <a:pt x="1548" y="1010"/>
                    <a:pt x="1548" y="1010"/>
                    <a:pt x="1548" y="1010"/>
                  </a:cubicBezTo>
                  <a:cubicBezTo>
                    <a:pt x="1544" y="1017"/>
                    <a:pt x="1544" y="1017"/>
                    <a:pt x="1544" y="1017"/>
                  </a:cubicBezTo>
                  <a:cubicBezTo>
                    <a:pt x="1541" y="1016"/>
                    <a:pt x="1541" y="1016"/>
                    <a:pt x="1541" y="1016"/>
                  </a:cubicBezTo>
                  <a:cubicBezTo>
                    <a:pt x="1542" y="1011"/>
                    <a:pt x="1542" y="1011"/>
                    <a:pt x="1542" y="1011"/>
                  </a:cubicBezTo>
                  <a:cubicBezTo>
                    <a:pt x="1545" y="1005"/>
                    <a:pt x="1545" y="1005"/>
                    <a:pt x="1545" y="1005"/>
                  </a:cubicBezTo>
                  <a:cubicBezTo>
                    <a:pt x="1547" y="1001"/>
                    <a:pt x="1547" y="1001"/>
                    <a:pt x="1547" y="1001"/>
                  </a:cubicBezTo>
                  <a:cubicBezTo>
                    <a:pt x="1550" y="1001"/>
                    <a:pt x="1550" y="1001"/>
                    <a:pt x="1550" y="1001"/>
                  </a:cubicBezTo>
                  <a:cubicBezTo>
                    <a:pt x="1550" y="997"/>
                    <a:pt x="1550" y="997"/>
                    <a:pt x="1550" y="997"/>
                  </a:cubicBezTo>
                  <a:cubicBezTo>
                    <a:pt x="1555" y="989"/>
                    <a:pt x="1555" y="989"/>
                    <a:pt x="1555" y="989"/>
                  </a:cubicBezTo>
                  <a:cubicBezTo>
                    <a:pt x="1559" y="982"/>
                    <a:pt x="1559" y="982"/>
                    <a:pt x="1559" y="982"/>
                  </a:cubicBezTo>
                  <a:cubicBezTo>
                    <a:pt x="1562" y="983"/>
                    <a:pt x="1562" y="983"/>
                    <a:pt x="1562" y="983"/>
                  </a:cubicBezTo>
                  <a:cubicBezTo>
                    <a:pt x="1564" y="979"/>
                    <a:pt x="1564" y="979"/>
                    <a:pt x="1564" y="979"/>
                  </a:cubicBezTo>
                  <a:cubicBezTo>
                    <a:pt x="1568" y="980"/>
                    <a:pt x="1568" y="980"/>
                    <a:pt x="1568" y="980"/>
                  </a:cubicBezTo>
                  <a:cubicBezTo>
                    <a:pt x="1565" y="984"/>
                    <a:pt x="1565" y="984"/>
                    <a:pt x="1565" y="984"/>
                  </a:cubicBezTo>
                  <a:cubicBezTo>
                    <a:pt x="1567" y="986"/>
                    <a:pt x="1567" y="986"/>
                    <a:pt x="1567" y="986"/>
                  </a:cubicBezTo>
                  <a:cubicBezTo>
                    <a:pt x="1574" y="979"/>
                    <a:pt x="1574" y="979"/>
                    <a:pt x="1574" y="979"/>
                  </a:cubicBezTo>
                  <a:cubicBezTo>
                    <a:pt x="1574" y="977"/>
                    <a:pt x="1574" y="977"/>
                    <a:pt x="1574" y="977"/>
                  </a:cubicBezTo>
                  <a:cubicBezTo>
                    <a:pt x="1580" y="977"/>
                    <a:pt x="1580" y="977"/>
                    <a:pt x="1580" y="977"/>
                  </a:cubicBezTo>
                  <a:cubicBezTo>
                    <a:pt x="1591" y="971"/>
                    <a:pt x="1591" y="971"/>
                    <a:pt x="1591" y="971"/>
                  </a:cubicBezTo>
                  <a:cubicBezTo>
                    <a:pt x="1600" y="973"/>
                    <a:pt x="1600" y="973"/>
                    <a:pt x="1600" y="973"/>
                  </a:cubicBezTo>
                  <a:cubicBezTo>
                    <a:pt x="1604" y="975"/>
                    <a:pt x="1604" y="975"/>
                    <a:pt x="1604" y="975"/>
                  </a:cubicBezTo>
                  <a:cubicBezTo>
                    <a:pt x="1607" y="972"/>
                    <a:pt x="1607" y="972"/>
                    <a:pt x="1607" y="972"/>
                  </a:cubicBezTo>
                  <a:cubicBezTo>
                    <a:pt x="1627" y="972"/>
                    <a:pt x="1627" y="972"/>
                    <a:pt x="1627" y="972"/>
                  </a:cubicBezTo>
                  <a:cubicBezTo>
                    <a:pt x="1629" y="970"/>
                    <a:pt x="1629" y="970"/>
                    <a:pt x="1629" y="970"/>
                  </a:cubicBezTo>
                  <a:cubicBezTo>
                    <a:pt x="1627" y="968"/>
                    <a:pt x="1627" y="968"/>
                    <a:pt x="1627" y="968"/>
                  </a:cubicBezTo>
                  <a:cubicBezTo>
                    <a:pt x="1620" y="968"/>
                    <a:pt x="1620" y="968"/>
                    <a:pt x="1620" y="968"/>
                  </a:cubicBezTo>
                  <a:cubicBezTo>
                    <a:pt x="1617" y="967"/>
                    <a:pt x="1617" y="967"/>
                    <a:pt x="1617" y="967"/>
                  </a:cubicBezTo>
                  <a:cubicBezTo>
                    <a:pt x="1613" y="960"/>
                    <a:pt x="1613" y="960"/>
                    <a:pt x="1613" y="960"/>
                  </a:cubicBezTo>
                  <a:cubicBezTo>
                    <a:pt x="1609" y="959"/>
                    <a:pt x="1609" y="959"/>
                    <a:pt x="1609" y="959"/>
                  </a:cubicBezTo>
                  <a:cubicBezTo>
                    <a:pt x="1599" y="960"/>
                    <a:pt x="1599" y="960"/>
                    <a:pt x="1599" y="960"/>
                  </a:cubicBezTo>
                  <a:cubicBezTo>
                    <a:pt x="1596" y="955"/>
                    <a:pt x="1596" y="955"/>
                    <a:pt x="1596" y="955"/>
                  </a:cubicBezTo>
                  <a:cubicBezTo>
                    <a:pt x="1598" y="952"/>
                    <a:pt x="1598" y="952"/>
                    <a:pt x="1598" y="952"/>
                  </a:cubicBezTo>
                  <a:cubicBezTo>
                    <a:pt x="1594" y="951"/>
                    <a:pt x="1594" y="951"/>
                    <a:pt x="1594" y="951"/>
                  </a:cubicBezTo>
                  <a:cubicBezTo>
                    <a:pt x="1589" y="954"/>
                    <a:pt x="1589" y="954"/>
                    <a:pt x="1589" y="954"/>
                  </a:cubicBezTo>
                  <a:cubicBezTo>
                    <a:pt x="1573" y="956"/>
                    <a:pt x="1573" y="956"/>
                    <a:pt x="1573" y="956"/>
                  </a:cubicBezTo>
                  <a:cubicBezTo>
                    <a:pt x="1568" y="959"/>
                    <a:pt x="1568" y="959"/>
                    <a:pt x="1568" y="959"/>
                  </a:cubicBezTo>
                  <a:cubicBezTo>
                    <a:pt x="1564" y="963"/>
                    <a:pt x="1564" y="963"/>
                    <a:pt x="1564" y="963"/>
                  </a:cubicBezTo>
                  <a:cubicBezTo>
                    <a:pt x="1556" y="960"/>
                    <a:pt x="1556" y="960"/>
                    <a:pt x="1556" y="960"/>
                  </a:cubicBezTo>
                  <a:cubicBezTo>
                    <a:pt x="1554" y="961"/>
                    <a:pt x="1554" y="961"/>
                    <a:pt x="1554" y="961"/>
                  </a:cubicBezTo>
                  <a:cubicBezTo>
                    <a:pt x="1549" y="961"/>
                    <a:pt x="1549" y="961"/>
                    <a:pt x="1549" y="961"/>
                  </a:cubicBezTo>
                  <a:cubicBezTo>
                    <a:pt x="1547" y="956"/>
                    <a:pt x="1547" y="956"/>
                    <a:pt x="1547" y="956"/>
                  </a:cubicBezTo>
                  <a:cubicBezTo>
                    <a:pt x="1543" y="954"/>
                    <a:pt x="1543" y="954"/>
                    <a:pt x="1543" y="954"/>
                  </a:cubicBezTo>
                  <a:cubicBezTo>
                    <a:pt x="1537" y="951"/>
                    <a:pt x="1537" y="951"/>
                    <a:pt x="1537" y="951"/>
                  </a:cubicBezTo>
                  <a:cubicBezTo>
                    <a:pt x="1532" y="952"/>
                    <a:pt x="1532" y="952"/>
                    <a:pt x="1532" y="952"/>
                  </a:cubicBezTo>
                  <a:cubicBezTo>
                    <a:pt x="1528" y="955"/>
                    <a:pt x="1528" y="955"/>
                    <a:pt x="1528" y="955"/>
                  </a:cubicBezTo>
                  <a:cubicBezTo>
                    <a:pt x="1529" y="948"/>
                    <a:pt x="1529" y="948"/>
                    <a:pt x="1529" y="948"/>
                  </a:cubicBezTo>
                  <a:cubicBezTo>
                    <a:pt x="1533" y="946"/>
                    <a:pt x="1533" y="946"/>
                    <a:pt x="1533" y="946"/>
                  </a:cubicBezTo>
                  <a:cubicBezTo>
                    <a:pt x="1537" y="939"/>
                    <a:pt x="1537" y="939"/>
                    <a:pt x="1537" y="939"/>
                  </a:cubicBezTo>
                  <a:cubicBezTo>
                    <a:pt x="1541" y="936"/>
                    <a:pt x="1541" y="936"/>
                    <a:pt x="1541" y="936"/>
                  </a:cubicBezTo>
                  <a:cubicBezTo>
                    <a:pt x="1539" y="935"/>
                    <a:pt x="1539" y="935"/>
                    <a:pt x="1539" y="935"/>
                  </a:cubicBezTo>
                  <a:cubicBezTo>
                    <a:pt x="1531" y="937"/>
                    <a:pt x="1531" y="937"/>
                    <a:pt x="1531" y="937"/>
                  </a:cubicBezTo>
                  <a:cubicBezTo>
                    <a:pt x="1525" y="943"/>
                    <a:pt x="1525" y="943"/>
                    <a:pt x="1525" y="943"/>
                  </a:cubicBezTo>
                  <a:cubicBezTo>
                    <a:pt x="1523" y="943"/>
                    <a:pt x="1523" y="943"/>
                    <a:pt x="1523" y="943"/>
                  </a:cubicBezTo>
                  <a:cubicBezTo>
                    <a:pt x="1516" y="951"/>
                    <a:pt x="1516" y="951"/>
                    <a:pt x="1516" y="951"/>
                  </a:cubicBezTo>
                  <a:cubicBezTo>
                    <a:pt x="1506" y="955"/>
                    <a:pt x="1506" y="955"/>
                    <a:pt x="1506" y="955"/>
                  </a:cubicBezTo>
                  <a:cubicBezTo>
                    <a:pt x="1503" y="956"/>
                    <a:pt x="1503" y="956"/>
                    <a:pt x="1503" y="956"/>
                  </a:cubicBezTo>
                  <a:cubicBezTo>
                    <a:pt x="1499" y="959"/>
                    <a:pt x="1499" y="959"/>
                    <a:pt x="1499" y="959"/>
                  </a:cubicBezTo>
                  <a:cubicBezTo>
                    <a:pt x="1491" y="963"/>
                    <a:pt x="1491" y="963"/>
                    <a:pt x="1491" y="963"/>
                  </a:cubicBezTo>
                  <a:cubicBezTo>
                    <a:pt x="1488" y="963"/>
                    <a:pt x="1488" y="963"/>
                    <a:pt x="1488" y="963"/>
                  </a:cubicBezTo>
                  <a:cubicBezTo>
                    <a:pt x="1485" y="961"/>
                    <a:pt x="1485" y="961"/>
                    <a:pt x="1485" y="961"/>
                  </a:cubicBezTo>
                  <a:cubicBezTo>
                    <a:pt x="1480" y="962"/>
                    <a:pt x="1480" y="962"/>
                    <a:pt x="1480" y="962"/>
                  </a:cubicBezTo>
                  <a:cubicBezTo>
                    <a:pt x="1482" y="955"/>
                    <a:pt x="1482" y="955"/>
                    <a:pt x="1482" y="955"/>
                  </a:cubicBezTo>
                  <a:cubicBezTo>
                    <a:pt x="1479" y="953"/>
                    <a:pt x="1479" y="953"/>
                    <a:pt x="1479" y="953"/>
                  </a:cubicBezTo>
                  <a:cubicBezTo>
                    <a:pt x="1469" y="959"/>
                    <a:pt x="1469" y="959"/>
                    <a:pt x="1469" y="959"/>
                  </a:cubicBezTo>
                  <a:cubicBezTo>
                    <a:pt x="1464" y="962"/>
                    <a:pt x="1464" y="962"/>
                    <a:pt x="1464" y="962"/>
                  </a:cubicBezTo>
                  <a:cubicBezTo>
                    <a:pt x="1456" y="961"/>
                    <a:pt x="1456" y="961"/>
                    <a:pt x="1456" y="961"/>
                  </a:cubicBezTo>
                  <a:cubicBezTo>
                    <a:pt x="1467" y="951"/>
                    <a:pt x="1467" y="951"/>
                    <a:pt x="1467" y="951"/>
                  </a:cubicBezTo>
                  <a:cubicBezTo>
                    <a:pt x="1480" y="937"/>
                    <a:pt x="1480" y="937"/>
                    <a:pt x="1480" y="937"/>
                  </a:cubicBezTo>
                  <a:cubicBezTo>
                    <a:pt x="1486" y="935"/>
                    <a:pt x="1486" y="935"/>
                    <a:pt x="1486" y="935"/>
                  </a:cubicBezTo>
                  <a:cubicBezTo>
                    <a:pt x="1492" y="930"/>
                    <a:pt x="1492" y="930"/>
                    <a:pt x="1492" y="930"/>
                  </a:cubicBezTo>
                  <a:cubicBezTo>
                    <a:pt x="1496" y="930"/>
                    <a:pt x="1496" y="930"/>
                    <a:pt x="1496" y="930"/>
                  </a:cubicBezTo>
                  <a:cubicBezTo>
                    <a:pt x="1505" y="923"/>
                    <a:pt x="1505" y="923"/>
                    <a:pt x="1505" y="923"/>
                  </a:cubicBezTo>
                  <a:cubicBezTo>
                    <a:pt x="1499" y="923"/>
                    <a:pt x="1499" y="923"/>
                    <a:pt x="1499" y="923"/>
                  </a:cubicBezTo>
                  <a:cubicBezTo>
                    <a:pt x="1495" y="920"/>
                    <a:pt x="1495" y="920"/>
                    <a:pt x="1495" y="920"/>
                  </a:cubicBezTo>
                  <a:cubicBezTo>
                    <a:pt x="1482" y="921"/>
                    <a:pt x="1482" y="921"/>
                    <a:pt x="1482" y="921"/>
                  </a:cubicBezTo>
                  <a:cubicBezTo>
                    <a:pt x="1478" y="918"/>
                    <a:pt x="1478" y="918"/>
                    <a:pt x="1478" y="918"/>
                  </a:cubicBezTo>
                  <a:cubicBezTo>
                    <a:pt x="1469" y="923"/>
                    <a:pt x="1469" y="923"/>
                    <a:pt x="1469" y="923"/>
                  </a:cubicBezTo>
                  <a:cubicBezTo>
                    <a:pt x="1465" y="923"/>
                    <a:pt x="1465" y="923"/>
                    <a:pt x="1465" y="923"/>
                  </a:cubicBezTo>
                  <a:cubicBezTo>
                    <a:pt x="1460" y="919"/>
                    <a:pt x="1460" y="919"/>
                    <a:pt x="1460" y="919"/>
                  </a:cubicBezTo>
                  <a:cubicBezTo>
                    <a:pt x="1458" y="918"/>
                    <a:pt x="1458" y="918"/>
                    <a:pt x="1458" y="918"/>
                  </a:cubicBezTo>
                  <a:cubicBezTo>
                    <a:pt x="1454" y="915"/>
                    <a:pt x="1454" y="915"/>
                    <a:pt x="1454" y="915"/>
                  </a:cubicBezTo>
                  <a:cubicBezTo>
                    <a:pt x="1451" y="918"/>
                    <a:pt x="1451" y="918"/>
                    <a:pt x="1451" y="918"/>
                  </a:cubicBezTo>
                  <a:cubicBezTo>
                    <a:pt x="1448" y="918"/>
                    <a:pt x="1448" y="918"/>
                    <a:pt x="1448" y="918"/>
                  </a:cubicBezTo>
                  <a:cubicBezTo>
                    <a:pt x="1448" y="915"/>
                    <a:pt x="1448" y="915"/>
                    <a:pt x="1448" y="915"/>
                  </a:cubicBezTo>
                  <a:cubicBezTo>
                    <a:pt x="1445" y="913"/>
                    <a:pt x="1445" y="913"/>
                    <a:pt x="1445" y="913"/>
                  </a:cubicBezTo>
                  <a:cubicBezTo>
                    <a:pt x="1441" y="910"/>
                    <a:pt x="1441" y="910"/>
                    <a:pt x="1441" y="910"/>
                  </a:cubicBezTo>
                  <a:cubicBezTo>
                    <a:pt x="1430" y="910"/>
                    <a:pt x="1430" y="910"/>
                    <a:pt x="1430" y="910"/>
                  </a:cubicBezTo>
                  <a:cubicBezTo>
                    <a:pt x="1428" y="911"/>
                    <a:pt x="1428" y="911"/>
                    <a:pt x="1428" y="911"/>
                  </a:cubicBezTo>
                  <a:cubicBezTo>
                    <a:pt x="1423" y="912"/>
                    <a:pt x="1423" y="912"/>
                    <a:pt x="1423" y="912"/>
                  </a:cubicBezTo>
                  <a:cubicBezTo>
                    <a:pt x="1421" y="910"/>
                    <a:pt x="1421" y="910"/>
                    <a:pt x="1421" y="910"/>
                  </a:cubicBezTo>
                  <a:cubicBezTo>
                    <a:pt x="1414" y="908"/>
                    <a:pt x="1414" y="908"/>
                    <a:pt x="1414" y="908"/>
                  </a:cubicBezTo>
                  <a:cubicBezTo>
                    <a:pt x="1408" y="907"/>
                    <a:pt x="1408" y="907"/>
                    <a:pt x="1408" y="907"/>
                  </a:cubicBezTo>
                  <a:cubicBezTo>
                    <a:pt x="1405" y="905"/>
                    <a:pt x="1405" y="905"/>
                    <a:pt x="1405" y="905"/>
                  </a:cubicBezTo>
                  <a:cubicBezTo>
                    <a:pt x="1406" y="902"/>
                    <a:pt x="1406" y="902"/>
                    <a:pt x="1406" y="902"/>
                  </a:cubicBezTo>
                  <a:cubicBezTo>
                    <a:pt x="1404" y="897"/>
                    <a:pt x="1404" y="897"/>
                    <a:pt x="1404" y="897"/>
                  </a:cubicBezTo>
                  <a:cubicBezTo>
                    <a:pt x="1404" y="892"/>
                    <a:pt x="1404" y="892"/>
                    <a:pt x="1404" y="892"/>
                  </a:cubicBezTo>
                  <a:cubicBezTo>
                    <a:pt x="1398" y="890"/>
                    <a:pt x="1398" y="890"/>
                    <a:pt x="1398" y="890"/>
                  </a:cubicBezTo>
                  <a:cubicBezTo>
                    <a:pt x="1396" y="899"/>
                    <a:pt x="1396" y="899"/>
                    <a:pt x="1396" y="899"/>
                  </a:cubicBezTo>
                  <a:cubicBezTo>
                    <a:pt x="1358" y="902"/>
                    <a:pt x="1358" y="902"/>
                    <a:pt x="1358" y="902"/>
                  </a:cubicBezTo>
                  <a:cubicBezTo>
                    <a:pt x="1228" y="902"/>
                    <a:pt x="1228" y="902"/>
                    <a:pt x="1228" y="902"/>
                  </a:cubicBezTo>
                  <a:cubicBezTo>
                    <a:pt x="1113" y="902"/>
                    <a:pt x="1113" y="902"/>
                    <a:pt x="1113" y="902"/>
                  </a:cubicBezTo>
                  <a:cubicBezTo>
                    <a:pt x="1077" y="900"/>
                    <a:pt x="1077" y="900"/>
                    <a:pt x="1077" y="900"/>
                  </a:cubicBezTo>
                  <a:cubicBezTo>
                    <a:pt x="1005" y="900"/>
                    <a:pt x="1005" y="900"/>
                    <a:pt x="1005" y="900"/>
                  </a:cubicBezTo>
                  <a:cubicBezTo>
                    <a:pt x="987" y="900"/>
                    <a:pt x="987" y="900"/>
                    <a:pt x="987" y="900"/>
                  </a:cubicBezTo>
                  <a:cubicBezTo>
                    <a:pt x="933" y="898"/>
                    <a:pt x="933" y="898"/>
                    <a:pt x="933" y="898"/>
                  </a:cubicBezTo>
                  <a:cubicBezTo>
                    <a:pt x="884" y="897"/>
                    <a:pt x="884" y="897"/>
                    <a:pt x="884" y="897"/>
                  </a:cubicBezTo>
                  <a:cubicBezTo>
                    <a:pt x="884" y="903"/>
                    <a:pt x="884" y="903"/>
                    <a:pt x="884" y="903"/>
                  </a:cubicBezTo>
                  <a:cubicBezTo>
                    <a:pt x="887" y="903"/>
                    <a:pt x="887" y="903"/>
                    <a:pt x="887" y="903"/>
                  </a:cubicBezTo>
                  <a:cubicBezTo>
                    <a:pt x="887" y="909"/>
                    <a:pt x="887" y="909"/>
                    <a:pt x="887" y="909"/>
                  </a:cubicBezTo>
                  <a:cubicBezTo>
                    <a:pt x="883" y="912"/>
                    <a:pt x="883" y="912"/>
                    <a:pt x="883" y="912"/>
                  </a:cubicBezTo>
                  <a:cubicBezTo>
                    <a:pt x="887" y="924"/>
                    <a:pt x="887" y="924"/>
                    <a:pt x="887" y="924"/>
                  </a:cubicBezTo>
                  <a:cubicBezTo>
                    <a:pt x="882" y="931"/>
                    <a:pt x="882" y="931"/>
                    <a:pt x="882" y="931"/>
                  </a:cubicBezTo>
                  <a:cubicBezTo>
                    <a:pt x="880" y="935"/>
                    <a:pt x="880" y="935"/>
                    <a:pt x="880" y="935"/>
                  </a:cubicBezTo>
                  <a:cubicBezTo>
                    <a:pt x="880" y="939"/>
                    <a:pt x="880" y="939"/>
                    <a:pt x="880" y="939"/>
                  </a:cubicBezTo>
                  <a:cubicBezTo>
                    <a:pt x="875" y="941"/>
                    <a:pt x="875" y="941"/>
                    <a:pt x="875" y="941"/>
                  </a:cubicBezTo>
                  <a:cubicBezTo>
                    <a:pt x="875" y="934"/>
                    <a:pt x="875" y="934"/>
                    <a:pt x="875" y="934"/>
                  </a:cubicBezTo>
                  <a:cubicBezTo>
                    <a:pt x="879" y="927"/>
                    <a:pt x="879" y="927"/>
                    <a:pt x="879" y="927"/>
                  </a:cubicBezTo>
                  <a:cubicBezTo>
                    <a:pt x="879" y="920"/>
                    <a:pt x="879" y="920"/>
                    <a:pt x="879" y="920"/>
                  </a:cubicBezTo>
                  <a:cubicBezTo>
                    <a:pt x="873" y="920"/>
                    <a:pt x="873" y="920"/>
                    <a:pt x="873" y="920"/>
                  </a:cubicBezTo>
                  <a:cubicBezTo>
                    <a:pt x="863" y="918"/>
                    <a:pt x="863" y="918"/>
                    <a:pt x="863" y="918"/>
                  </a:cubicBezTo>
                  <a:cubicBezTo>
                    <a:pt x="845" y="912"/>
                    <a:pt x="845" y="912"/>
                    <a:pt x="845" y="912"/>
                  </a:cubicBezTo>
                  <a:cubicBezTo>
                    <a:pt x="842" y="921"/>
                    <a:pt x="842" y="921"/>
                    <a:pt x="842" y="921"/>
                  </a:cubicBezTo>
                  <a:cubicBezTo>
                    <a:pt x="844" y="928"/>
                    <a:pt x="844" y="928"/>
                    <a:pt x="844" y="928"/>
                  </a:cubicBezTo>
                  <a:cubicBezTo>
                    <a:pt x="843" y="934"/>
                    <a:pt x="843" y="934"/>
                    <a:pt x="843" y="934"/>
                  </a:cubicBezTo>
                  <a:cubicBezTo>
                    <a:pt x="843" y="948"/>
                    <a:pt x="843" y="948"/>
                    <a:pt x="843" y="948"/>
                  </a:cubicBezTo>
                  <a:cubicBezTo>
                    <a:pt x="847" y="949"/>
                    <a:pt x="847" y="949"/>
                    <a:pt x="847" y="949"/>
                  </a:cubicBezTo>
                  <a:cubicBezTo>
                    <a:pt x="843" y="952"/>
                    <a:pt x="843" y="952"/>
                    <a:pt x="843" y="952"/>
                  </a:cubicBezTo>
                  <a:cubicBezTo>
                    <a:pt x="843" y="955"/>
                    <a:pt x="843" y="955"/>
                    <a:pt x="843" y="955"/>
                  </a:cubicBezTo>
                  <a:cubicBezTo>
                    <a:pt x="845" y="957"/>
                    <a:pt x="845" y="957"/>
                    <a:pt x="845" y="957"/>
                  </a:cubicBezTo>
                  <a:cubicBezTo>
                    <a:pt x="843" y="961"/>
                    <a:pt x="843" y="961"/>
                    <a:pt x="843" y="961"/>
                  </a:cubicBezTo>
                  <a:cubicBezTo>
                    <a:pt x="840" y="961"/>
                    <a:pt x="840" y="961"/>
                    <a:pt x="840" y="961"/>
                  </a:cubicBezTo>
                  <a:cubicBezTo>
                    <a:pt x="839" y="966"/>
                    <a:pt x="839" y="966"/>
                    <a:pt x="839" y="966"/>
                  </a:cubicBezTo>
                  <a:cubicBezTo>
                    <a:pt x="844" y="968"/>
                    <a:pt x="844" y="968"/>
                    <a:pt x="844" y="968"/>
                  </a:cubicBezTo>
                  <a:cubicBezTo>
                    <a:pt x="839" y="971"/>
                    <a:pt x="839" y="971"/>
                    <a:pt x="839" y="971"/>
                  </a:cubicBezTo>
                  <a:cubicBezTo>
                    <a:pt x="831" y="995"/>
                    <a:pt x="831" y="995"/>
                    <a:pt x="831" y="995"/>
                  </a:cubicBezTo>
                  <a:cubicBezTo>
                    <a:pt x="829" y="1000"/>
                    <a:pt x="829" y="1000"/>
                    <a:pt x="829" y="1000"/>
                  </a:cubicBezTo>
                  <a:cubicBezTo>
                    <a:pt x="824" y="1007"/>
                    <a:pt x="824" y="1007"/>
                    <a:pt x="824" y="1007"/>
                  </a:cubicBezTo>
                  <a:cubicBezTo>
                    <a:pt x="821" y="1018"/>
                    <a:pt x="821" y="1018"/>
                    <a:pt x="821" y="1018"/>
                  </a:cubicBezTo>
                  <a:cubicBezTo>
                    <a:pt x="813" y="1034"/>
                    <a:pt x="813" y="1034"/>
                    <a:pt x="813" y="1034"/>
                  </a:cubicBezTo>
                  <a:cubicBezTo>
                    <a:pt x="806" y="1043"/>
                    <a:pt x="806" y="1043"/>
                    <a:pt x="806" y="1043"/>
                  </a:cubicBezTo>
                  <a:cubicBezTo>
                    <a:pt x="806" y="1047"/>
                    <a:pt x="806" y="1047"/>
                    <a:pt x="806" y="1047"/>
                  </a:cubicBezTo>
                  <a:cubicBezTo>
                    <a:pt x="799" y="1054"/>
                    <a:pt x="799" y="1054"/>
                    <a:pt x="799" y="1054"/>
                  </a:cubicBezTo>
                  <a:cubicBezTo>
                    <a:pt x="800" y="1058"/>
                    <a:pt x="800" y="1058"/>
                    <a:pt x="800" y="1058"/>
                  </a:cubicBezTo>
                  <a:cubicBezTo>
                    <a:pt x="800" y="1064"/>
                    <a:pt x="800" y="1064"/>
                    <a:pt x="800" y="1064"/>
                  </a:cubicBezTo>
                  <a:cubicBezTo>
                    <a:pt x="797" y="1070"/>
                    <a:pt x="797" y="1070"/>
                    <a:pt x="797" y="1070"/>
                  </a:cubicBezTo>
                  <a:cubicBezTo>
                    <a:pt x="799" y="1077"/>
                    <a:pt x="799" y="1077"/>
                    <a:pt x="799" y="1077"/>
                  </a:cubicBezTo>
                  <a:cubicBezTo>
                    <a:pt x="797" y="1081"/>
                    <a:pt x="797" y="1081"/>
                    <a:pt x="797" y="1081"/>
                  </a:cubicBezTo>
                  <a:cubicBezTo>
                    <a:pt x="798" y="1086"/>
                    <a:pt x="798" y="1086"/>
                    <a:pt x="798" y="1086"/>
                  </a:cubicBezTo>
                  <a:cubicBezTo>
                    <a:pt x="798" y="1091"/>
                    <a:pt x="798" y="1091"/>
                    <a:pt x="798" y="1091"/>
                  </a:cubicBezTo>
                  <a:cubicBezTo>
                    <a:pt x="794" y="1096"/>
                    <a:pt x="794" y="1096"/>
                    <a:pt x="794" y="1096"/>
                  </a:cubicBezTo>
                  <a:cubicBezTo>
                    <a:pt x="794" y="1100"/>
                    <a:pt x="794" y="1100"/>
                    <a:pt x="794" y="1100"/>
                  </a:cubicBezTo>
                  <a:cubicBezTo>
                    <a:pt x="782" y="1113"/>
                    <a:pt x="782" y="1113"/>
                    <a:pt x="782" y="1113"/>
                  </a:cubicBezTo>
                  <a:cubicBezTo>
                    <a:pt x="782" y="1118"/>
                    <a:pt x="782" y="1118"/>
                    <a:pt x="782" y="1118"/>
                  </a:cubicBezTo>
                  <a:cubicBezTo>
                    <a:pt x="783" y="1122"/>
                    <a:pt x="783" y="1122"/>
                    <a:pt x="783" y="1122"/>
                  </a:cubicBezTo>
                  <a:cubicBezTo>
                    <a:pt x="788" y="1130"/>
                    <a:pt x="788" y="1130"/>
                    <a:pt x="788" y="1130"/>
                  </a:cubicBezTo>
                  <a:cubicBezTo>
                    <a:pt x="788" y="1136"/>
                    <a:pt x="788" y="1136"/>
                    <a:pt x="788" y="1136"/>
                  </a:cubicBezTo>
                  <a:cubicBezTo>
                    <a:pt x="784" y="1142"/>
                    <a:pt x="784" y="1142"/>
                    <a:pt x="784" y="1142"/>
                  </a:cubicBezTo>
                  <a:cubicBezTo>
                    <a:pt x="785" y="1146"/>
                    <a:pt x="785" y="1146"/>
                    <a:pt x="785" y="1146"/>
                  </a:cubicBezTo>
                  <a:cubicBezTo>
                    <a:pt x="783" y="1150"/>
                    <a:pt x="783" y="1150"/>
                    <a:pt x="783" y="1150"/>
                  </a:cubicBezTo>
                  <a:cubicBezTo>
                    <a:pt x="788" y="1159"/>
                    <a:pt x="788" y="1159"/>
                    <a:pt x="788" y="1159"/>
                  </a:cubicBezTo>
                  <a:cubicBezTo>
                    <a:pt x="793" y="1162"/>
                    <a:pt x="793" y="1162"/>
                    <a:pt x="793" y="1162"/>
                  </a:cubicBezTo>
                  <a:cubicBezTo>
                    <a:pt x="793" y="1170"/>
                    <a:pt x="793" y="1170"/>
                    <a:pt x="793" y="1170"/>
                  </a:cubicBezTo>
                  <a:cubicBezTo>
                    <a:pt x="791" y="1172"/>
                    <a:pt x="791" y="1172"/>
                    <a:pt x="791" y="1172"/>
                  </a:cubicBezTo>
                  <a:cubicBezTo>
                    <a:pt x="797" y="1176"/>
                    <a:pt x="797" y="1176"/>
                    <a:pt x="797" y="1176"/>
                  </a:cubicBezTo>
                  <a:cubicBezTo>
                    <a:pt x="800" y="1176"/>
                    <a:pt x="800" y="1176"/>
                    <a:pt x="800" y="1176"/>
                  </a:cubicBezTo>
                  <a:cubicBezTo>
                    <a:pt x="804" y="1173"/>
                    <a:pt x="804" y="1173"/>
                    <a:pt x="804" y="1173"/>
                  </a:cubicBezTo>
                  <a:cubicBezTo>
                    <a:pt x="805" y="1177"/>
                    <a:pt x="805" y="1177"/>
                    <a:pt x="805" y="1177"/>
                  </a:cubicBezTo>
                  <a:cubicBezTo>
                    <a:pt x="806" y="1182"/>
                    <a:pt x="806" y="1182"/>
                    <a:pt x="806" y="1182"/>
                  </a:cubicBezTo>
                  <a:cubicBezTo>
                    <a:pt x="805" y="1185"/>
                    <a:pt x="805" y="1185"/>
                    <a:pt x="805" y="1185"/>
                  </a:cubicBezTo>
                  <a:cubicBezTo>
                    <a:pt x="802" y="1183"/>
                    <a:pt x="802" y="1183"/>
                    <a:pt x="802" y="1183"/>
                  </a:cubicBezTo>
                  <a:cubicBezTo>
                    <a:pt x="800" y="1179"/>
                    <a:pt x="800" y="1179"/>
                    <a:pt x="800" y="1179"/>
                  </a:cubicBezTo>
                  <a:cubicBezTo>
                    <a:pt x="798" y="1183"/>
                    <a:pt x="798" y="1183"/>
                    <a:pt x="798" y="1183"/>
                  </a:cubicBezTo>
                  <a:cubicBezTo>
                    <a:pt x="797" y="1194"/>
                    <a:pt x="797" y="1194"/>
                    <a:pt x="797" y="1194"/>
                  </a:cubicBezTo>
                  <a:cubicBezTo>
                    <a:pt x="799" y="1198"/>
                    <a:pt x="799" y="1198"/>
                    <a:pt x="799" y="1198"/>
                  </a:cubicBezTo>
                  <a:cubicBezTo>
                    <a:pt x="806" y="1199"/>
                    <a:pt x="806" y="1199"/>
                    <a:pt x="806" y="1199"/>
                  </a:cubicBezTo>
                  <a:cubicBezTo>
                    <a:pt x="807" y="1200"/>
                    <a:pt x="807" y="1200"/>
                    <a:pt x="807" y="1200"/>
                  </a:cubicBezTo>
                  <a:cubicBezTo>
                    <a:pt x="807" y="1205"/>
                    <a:pt x="807" y="1205"/>
                    <a:pt x="807" y="1205"/>
                  </a:cubicBezTo>
                  <a:cubicBezTo>
                    <a:pt x="803" y="1208"/>
                    <a:pt x="803" y="1208"/>
                    <a:pt x="803" y="1208"/>
                  </a:cubicBezTo>
                  <a:cubicBezTo>
                    <a:pt x="802" y="1213"/>
                    <a:pt x="802" y="1213"/>
                    <a:pt x="802" y="1213"/>
                  </a:cubicBezTo>
                  <a:cubicBezTo>
                    <a:pt x="806" y="1219"/>
                    <a:pt x="806" y="1219"/>
                    <a:pt x="806" y="1219"/>
                  </a:cubicBezTo>
                  <a:cubicBezTo>
                    <a:pt x="807" y="1223"/>
                    <a:pt x="807" y="1223"/>
                    <a:pt x="807" y="1223"/>
                  </a:cubicBezTo>
                  <a:cubicBezTo>
                    <a:pt x="815" y="1235"/>
                    <a:pt x="815" y="1235"/>
                    <a:pt x="815" y="1235"/>
                  </a:cubicBezTo>
                  <a:cubicBezTo>
                    <a:pt x="818" y="1236"/>
                    <a:pt x="818" y="1236"/>
                    <a:pt x="818" y="1236"/>
                  </a:cubicBezTo>
                  <a:cubicBezTo>
                    <a:pt x="816" y="1240"/>
                    <a:pt x="816" y="1240"/>
                    <a:pt x="816" y="1240"/>
                  </a:cubicBezTo>
                  <a:cubicBezTo>
                    <a:pt x="817" y="1243"/>
                    <a:pt x="817" y="1243"/>
                    <a:pt x="817" y="1243"/>
                  </a:cubicBezTo>
                  <a:cubicBezTo>
                    <a:pt x="819" y="1243"/>
                    <a:pt x="819" y="1243"/>
                    <a:pt x="819" y="1243"/>
                  </a:cubicBezTo>
                  <a:cubicBezTo>
                    <a:pt x="820" y="1246"/>
                    <a:pt x="820" y="1246"/>
                    <a:pt x="820" y="1246"/>
                  </a:cubicBezTo>
                  <a:cubicBezTo>
                    <a:pt x="818" y="1252"/>
                    <a:pt x="818" y="1252"/>
                    <a:pt x="818" y="1252"/>
                  </a:cubicBezTo>
                  <a:cubicBezTo>
                    <a:pt x="816" y="1255"/>
                    <a:pt x="816" y="1255"/>
                    <a:pt x="816" y="1255"/>
                  </a:cubicBezTo>
                  <a:cubicBezTo>
                    <a:pt x="816" y="1258"/>
                    <a:pt x="816" y="1258"/>
                    <a:pt x="816" y="1258"/>
                  </a:cubicBezTo>
                  <a:cubicBezTo>
                    <a:pt x="820" y="1260"/>
                    <a:pt x="820" y="1260"/>
                    <a:pt x="820" y="1260"/>
                  </a:cubicBezTo>
                  <a:cubicBezTo>
                    <a:pt x="828" y="1261"/>
                    <a:pt x="828" y="1261"/>
                    <a:pt x="828" y="1261"/>
                  </a:cubicBezTo>
                  <a:cubicBezTo>
                    <a:pt x="834" y="1263"/>
                    <a:pt x="834" y="1263"/>
                    <a:pt x="834" y="1263"/>
                  </a:cubicBezTo>
                  <a:cubicBezTo>
                    <a:pt x="838" y="1263"/>
                    <a:pt x="838" y="1263"/>
                    <a:pt x="838" y="1263"/>
                  </a:cubicBezTo>
                  <a:cubicBezTo>
                    <a:pt x="843" y="1264"/>
                    <a:pt x="843" y="1264"/>
                    <a:pt x="843" y="1264"/>
                  </a:cubicBezTo>
                  <a:cubicBezTo>
                    <a:pt x="846" y="1269"/>
                    <a:pt x="846" y="1269"/>
                    <a:pt x="846" y="1269"/>
                  </a:cubicBezTo>
                  <a:cubicBezTo>
                    <a:pt x="851" y="1273"/>
                    <a:pt x="851" y="1273"/>
                    <a:pt x="851" y="1273"/>
                  </a:cubicBezTo>
                  <a:cubicBezTo>
                    <a:pt x="858" y="1273"/>
                    <a:pt x="858" y="1273"/>
                    <a:pt x="858" y="1273"/>
                  </a:cubicBezTo>
                  <a:cubicBezTo>
                    <a:pt x="860" y="1276"/>
                    <a:pt x="860" y="1276"/>
                    <a:pt x="860" y="1276"/>
                  </a:cubicBezTo>
                  <a:cubicBezTo>
                    <a:pt x="861" y="1281"/>
                    <a:pt x="861" y="1281"/>
                    <a:pt x="861" y="1281"/>
                  </a:cubicBezTo>
                  <a:cubicBezTo>
                    <a:pt x="862" y="1283"/>
                    <a:pt x="862" y="1283"/>
                    <a:pt x="862" y="1283"/>
                  </a:cubicBezTo>
                  <a:cubicBezTo>
                    <a:pt x="865" y="1282"/>
                    <a:pt x="865" y="1282"/>
                    <a:pt x="865" y="1282"/>
                  </a:cubicBezTo>
                  <a:cubicBezTo>
                    <a:pt x="872" y="1288"/>
                    <a:pt x="872" y="1288"/>
                    <a:pt x="872" y="1288"/>
                  </a:cubicBezTo>
                  <a:cubicBezTo>
                    <a:pt x="881" y="1299"/>
                    <a:pt x="881" y="1299"/>
                    <a:pt x="881" y="1299"/>
                  </a:cubicBezTo>
                  <a:cubicBezTo>
                    <a:pt x="881" y="1308"/>
                    <a:pt x="881" y="1308"/>
                    <a:pt x="881" y="1308"/>
                  </a:cubicBezTo>
                  <a:cubicBezTo>
                    <a:pt x="882" y="1310"/>
                    <a:pt x="882" y="1310"/>
                    <a:pt x="882" y="1310"/>
                  </a:cubicBezTo>
                  <a:cubicBezTo>
                    <a:pt x="881" y="1313"/>
                    <a:pt x="881" y="1313"/>
                    <a:pt x="881" y="1313"/>
                  </a:cubicBezTo>
                  <a:cubicBezTo>
                    <a:pt x="883" y="1315"/>
                    <a:pt x="883" y="1315"/>
                    <a:pt x="883" y="1315"/>
                  </a:cubicBezTo>
                  <a:cubicBezTo>
                    <a:pt x="937" y="1317"/>
                    <a:pt x="937" y="1317"/>
                    <a:pt x="937" y="1317"/>
                  </a:cubicBezTo>
                  <a:cubicBezTo>
                    <a:pt x="936" y="1321"/>
                    <a:pt x="936" y="1321"/>
                    <a:pt x="936" y="1321"/>
                  </a:cubicBezTo>
                  <a:cubicBezTo>
                    <a:pt x="1017" y="1362"/>
                    <a:pt x="1017" y="1362"/>
                    <a:pt x="1017" y="1362"/>
                  </a:cubicBezTo>
                  <a:cubicBezTo>
                    <a:pt x="1065" y="1368"/>
                    <a:pt x="1065" y="1368"/>
                    <a:pt x="1065" y="1368"/>
                  </a:cubicBezTo>
                  <a:cubicBezTo>
                    <a:pt x="1085" y="1369"/>
                    <a:pt x="1085" y="1369"/>
                    <a:pt x="1085" y="1369"/>
                  </a:cubicBezTo>
                  <a:cubicBezTo>
                    <a:pt x="1088" y="1358"/>
                    <a:pt x="1088" y="1358"/>
                    <a:pt x="1088" y="1358"/>
                  </a:cubicBezTo>
                  <a:cubicBezTo>
                    <a:pt x="1125" y="1362"/>
                    <a:pt x="1125" y="1362"/>
                    <a:pt x="1125" y="1362"/>
                  </a:cubicBezTo>
                  <a:cubicBezTo>
                    <a:pt x="1129" y="1363"/>
                    <a:pt x="1129" y="1363"/>
                    <a:pt x="1129" y="1363"/>
                  </a:cubicBezTo>
                  <a:cubicBezTo>
                    <a:pt x="1133" y="1370"/>
                    <a:pt x="1133" y="1370"/>
                    <a:pt x="1133" y="1370"/>
                  </a:cubicBezTo>
                  <a:cubicBezTo>
                    <a:pt x="1137" y="1373"/>
                    <a:pt x="1137" y="1373"/>
                    <a:pt x="1137" y="1373"/>
                  </a:cubicBezTo>
                  <a:cubicBezTo>
                    <a:pt x="1151" y="1388"/>
                    <a:pt x="1151" y="1388"/>
                    <a:pt x="1151" y="1388"/>
                  </a:cubicBezTo>
                  <a:cubicBezTo>
                    <a:pt x="1164" y="1398"/>
                    <a:pt x="1164" y="1398"/>
                    <a:pt x="1164" y="1398"/>
                  </a:cubicBezTo>
                  <a:cubicBezTo>
                    <a:pt x="1164" y="1403"/>
                    <a:pt x="1164" y="1403"/>
                    <a:pt x="1164" y="1403"/>
                  </a:cubicBezTo>
                  <a:cubicBezTo>
                    <a:pt x="1167" y="1407"/>
                    <a:pt x="1167" y="1407"/>
                    <a:pt x="1167" y="1407"/>
                  </a:cubicBezTo>
                  <a:cubicBezTo>
                    <a:pt x="1167" y="1417"/>
                    <a:pt x="1167" y="1417"/>
                    <a:pt x="1167" y="1417"/>
                  </a:cubicBezTo>
                  <a:cubicBezTo>
                    <a:pt x="1171" y="1424"/>
                    <a:pt x="1171" y="1424"/>
                    <a:pt x="1171" y="1424"/>
                  </a:cubicBezTo>
                  <a:cubicBezTo>
                    <a:pt x="1190" y="1430"/>
                    <a:pt x="1190" y="1430"/>
                    <a:pt x="1190" y="1430"/>
                  </a:cubicBezTo>
                  <a:cubicBezTo>
                    <a:pt x="1192" y="1429"/>
                    <a:pt x="1192" y="1429"/>
                    <a:pt x="1192" y="1429"/>
                  </a:cubicBezTo>
                  <a:cubicBezTo>
                    <a:pt x="1199" y="1415"/>
                    <a:pt x="1199" y="1415"/>
                    <a:pt x="1199" y="1415"/>
                  </a:cubicBezTo>
                  <a:cubicBezTo>
                    <a:pt x="1202" y="1414"/>
                    <a:pt x="1202" y="1414"/>
                    <a:pt x="1202" y="1414"/>
                  </a:cubicBezTo>
                  <a:cubicBezTo>
                    <a:pt x="1206" y="1416"/>
                    <a:pt x="1206" y="1416"/>
                    <a:pt x="1206" y="1416"/>
                  </a:cubicBezTo>
                  <a:cubicBezTo>
                    <a:pt x="1208" y="1412"/>
                    <a:pt x="1208" y="1412"/>
                    <a:pt x="1208" y="1412"/>
                  </a:cubicBezTo>
                  <a:cubicBezTo>
                    <a:pt x="1213" y="1414"/>
                    <a:pt x="1213" y="1414"/>
                    <a:pt x="1213" y="1414"/>
                  </a:cubicBezTo>
                  <a:cubicBezTo>
                    <a:pt x="1219" y="1415"/>
                    <a:pt x="1219" y="1415"/>
                    <a:pt x="1219" y="1415"/>
                  </a:cubicBezTo>
                  <a:cubicBezTo>
                    <a:pt x="1223" y="1417"/>
                    <a:pt x="1223" y="1417"/>
                    <a:pt x="1223" y="1417"/>
                  </a:cubicBezTo>
                  <a:cubicBezTo>
                    <a:pt x="1226" y="1416"/>
                    <a:pt x="1226" y="1416"/>
                    <a:pt x="1226" y="1416"/>
                  </a:cubicBezTo>
                  <a:cubicBezTo>
                    <a:pt x="1232" y="1419"/>
                    <a:pt x="1232" y="1419"/>
                    <a:pt x="1232" y="1419"/>
                  </a:cubicBezTo>
                  <a:cubicBezTo>
                    <a:pt x="1234" y="1423"/>
                    <a:pt x="1234" y="1423"/>
                    <a:pt x="1234" y="1423"/>
                  </a:cubicBezTo>
                  <a:cubicBezTo>
                    <a:pt x="1236" y="1424"/>
                    <a:pt x="1236" y="1424"/>
                    <a:pt x="1236" y="1424"/>
                  </a:cubicBezTo>
                  <a:cubicBezTo>
                    <a:pt x="1246" y="1433"/>
                    <a:pt x="1246" y="1433"/>
                    <a:pt x="1246" y="1433"/>
                  </a:cubicBezTo>
                  <a:cubicBezTo>
                    <a:pt x="1248" y="1450"/>
                    <a:pt x="1248" y="1450"/>
                    <a:pt x="1248" y="1450"/>
                  </a:cubicBezTo>
                  <a:cubicBezTo>
                    <a:pt x="1256" y="1460"/>
                    <a:pt x="1256" y="1460"/>
                    <a:pt x="1256" y="1460"/>
                  </a:cubicBezTo>
                  <a:cubicBezTo>
                    <a:pt x="1267" y="1469"/>
                    <a:pt x="1267" y="1469"/>
                    <a:pt x="1267" y="1469"/>
                  </a:cubicBezTo>
                  <a:cubicBezTo>
                    <a:pt x="1267" y="1477"/>
                    <a:pt x="1267" y="1477"/>
                    <a:pt x="1267" y="1477"/>
                  </a:cubicBezTo>
                  <a:cubicBezTo>
                    <a:pt x="1269" y="1485"/>
                    <a:pt x="1269" y="1485"/>
                    <a:pt x="1269" y="1485"/>
                  </a:cubicBezTo>
                  <a:cubicBezTo>
                    <a:pt x="1272" y="1492"/>
                    <a:pt x="1272" y="1492"/>
                    <a:pt x="1272" y="1492"/>
                  </a:cubicBezTo>
                  <a:cubicBezTo>
                    <a:pt x="1273" y="1496"/>
                    <a:pt x="1273" y="1496"/>
                    <a:pt x="1273" y="1496"/>
                  </a:cubicBezTo>
                  <a:cubicBezTo>
                    <a:pt x="1276" y="1497"/>
                    <a:pt x="1276" y="1497"/>
                    <a:pt x="1276" y="1497"/>
                  </a:cubicBezTo>
                  <a:cubicBezTo>
                    <a:pt x="1281" y="1500"/>
                    <a:pt x="1281" y="1500"/>
                    <a:pt x="1281" y="1500"/>
                  </a:cubicBezTo>
                  <a:cubicBezTo>
                    <a:pt x="1290" y="1506"/>
                    <a:pt x="1290" y="1506"/>
                    <a:pt x="1290" y="1506"/>
                  </a:cubicBezTo>
                  <a:cubicBezTo>
                    <a:pt x="1298" y="1507"/>
                    <a:pt x="1298" y="1507"/>
                    <a:pt x="1298" y="1507"/>
                  </a:cubicBezTo>
                  <a:cubicBezTo>
                    <a:pt x="1306" y="1512"/>
                    <a:pt x="1306" y="1512"/>
                    <a:pt x="1306" y="1512"/>
                  </a:cubicBezTo>
                  <a:cubicBezTo>
                    <a:pt x="1309" y="1509"/>
                    <a:pt x="1309" y="1509"/>
                    <a:pt x="1309" y="1509"/>
                  </a:cubicBezTo>
                  <a:cubicBezTo>
                    <a:pt x="1312" y="1509"/>
                    <a:pt x="1312" y="1509"/>
                    <a:pt x="1312" y="1509"/>
                  </a:cubicBezTo>
                  <a:cubicBezTo>
                    <a:pt x="1314" y="1507"/>
                    <a:pt x="1314" y="1507"/>
                    <a:pt x="1314" y="1507"/>
                  </a:cubicBezTo>
                  <a:cubicBezTo>
                    <a:pt x="1309" y="1502"/>
                    <a:pt x="1309" y="1502"/>
                    <a:pt x="1309" y="1502"/>
                  </a:cubicBezTo>
                  <a:cubicBezTo>
                    <a:pt x="1312" y="1481"/>
                    <a:pt x="1312" y="1481"/>
                    <a:pt x="1312" y="1481"/>
                  </a:cubicBezTo>
                  <a:cubicBezTo>
                    <a:pt x="1315" y="1474"/>
                    <a:pt x="1315" y="1474"/>
                    <a:pt x="1315" y="1474"/>
                  </a:cubicBezTo>
                  <a:cubicBezTo>
                    <a:pt x="1313" y="1469"/>
                    <a:pt x="1313" y="1469"/>
                    <a:pt x="1313" y="1469"/>
                  </a:cubicBezTo>
                  <a:cubicBezTo>
                    <a:pt x="1316" y="1467"/>
                    <a:pt x="1316" y="1467"/>
                    <a:pt x="1316" y="1467"/>
                  </a:cubicBezTo>
                  <a:cubicBezTo>
                    <a:pt x="1318" y="1461"/>
                    <a:pt x="1318" y="1461"/>
                    <a:pt x="1318" y="1461"/>
                  </a:cubicBezTo>
                  <a:cubicBezTo>
                    <a:pt x="1317" y="1455"/>
                    <a:pt x="1317" y="1455"/>
                    <a:pt x="1317" y="1455"/>
                  </a:cubicBezTo>
                  <a:cubicBezTo>
                    <a:pt x="1321" y="1455"/>
                    <a:pt x="1321" y="1455"/>
                    <a:pt x="1321" y="1455"/>
                  </a:cubicBezTo>
                  <a:cubicBezTo>
                    <a:pt x="1325" y="1451"/>
                    <a:pt x="1325" y="1451"/>
                    <a:pt x="1325" y="1451"/>
                  </a:cubicBezTo>
                  <a:cubicBezTo>
                    <a:pt x="1324" y="1445"/>
                    <a:pt x="1324" y="1445"/>
                    <a:pt x="1324" y="1445"/>
                  </a:cubicBezTo>
                  <a:cubicBezTo>
                    <a:pt x="1331" y="1446"/>
                    <a:pt x="1331" y="1446"/>
                    <a:pt x="1331" y="1446"/>
                  </a:cubicBezTo>
                  <a:cubicBezTo>
                    <a:pt x="1333" y="1441"/>
                    <a:pt x="1333" y="1441"/>
                    <a:pt x="1333" y="1441"/>
                  </a:cubicBezTo>
                  <a:cubicBezTo>
                    <a:pt x="1341" y="1440"/>
                    <a:pt x="1341" y="1440"/>
                    <a:pt x="1341" y="1440"/>
                  </a:cubicBezTo>
                  <a:cubicBezTo>
                    <a:pt x="1338" y="1437"/>
                    <a:pt x="1338" y="1437"/>
                    <a:pt x="1338" y="1437"/>
                  </a:cubicBezTo>
                  <a:cubicBezTo>
                    <a:pt x="1342" y="1434"/>
                    <a:pt x="1342" y="1434"/>
                    <a:pt x="1342" y="1434"/>
                  </a:cubicBezTo>
                  <a:cubicBezTo>
                    <a:pt x="1345" y="1433"/>
                    <a:pt x="1345" y="1433"/>
                    <a:pt x="1345" y="1433"/>
                  </a:cubicBezTo>
                  <a:cubicBezTo>
                    <a:pt x="1346" y="1435"/>
                    <a:pt x="1346" y="1435"/>
                    <a:pt x="1346" y="1435"/>
                  </a:cubicBezTo>
                  <a:cubicBezTo>
                    <a:pt x="1370" y="1424"/>
                    <a:pt x="1370" y="1424"/>
                    <a:pt x="1370" y="1424"/>
                  </a:cubicBezTo>
                  <a:cubicBezTo>
                    <a:pt x="1371" y="1420"/>
                    <a:pt x="1371" y="1420"/>
                    <a:pt x="1371" y="1420"/>
                  </a:cubicBezTo>
                  <a:cubicBezTo>
                    <a:pt x="1382" y="1422"/>
                    <a:pt x="1382" y="1422"/>
                    <a:pt x="1382" y="1422"/>
                  </a:cubicBezTo>
                  <a:cubicBezTo>
                    <a:pt x="1380" y="1418"/>
                    <a:pt x="1380" y="1418"/>
                    <a:pt x="1380" y="1418"/>
                  </a:cubicBezTo>
                  <a:cubicBezTo>
                    <a:pt x="1380" y="1416"/>
                    <a:pt x="1380" y="1416"/>
                    <a:pt x="1380" y="1416"/>
                  </a:cubicBezTo>
                  <a:cubicBezTo>
                    <a:pt x="1385" y="1414"/>
                    <a:pt x="1385" y="1414"/>
                    <a:pt x="1385" y="1414"/>
                  </a:cubicBezTo>
                  <a:cubicBezTo>
                    <a:pt x="1386" y="1416"/>
                    <a:pt x="1386" y="1416"/>
                    <a:pt x="1386" y="1416"/>
                  </a:cubicBezTo>
                  <a:cubicBezTo>
                    <a:pt x="1391" y="1418"/>
                    <a:pt x="1391" y="1418"/>
                    <a:pt x="1391" y="1418"/>
                  </a:cubicBezTo>
                  <a:cubicBezTo>
                    <a:pt x="1423" y="1431"/>
                    <a:pt x="1423" y="1431"/>
                    <a:pt x="1423" y="1431"/>
                  </a:cubicBezTo>
                  <a:cubicBezTo>
                    <a:pt x="1430" y="1429"/>
                    <a:pt x="1430" y="1429"/>
                    <a:pt x="1430" y="1429"/>
                  </a:cubicBezTo>
                  <a:cubicBezTo>
                    <a:pt x="1439" y="1428"/>
                    <a:pt x="1439" y="1428"/>
                    <a:pt x="1439" y="1428"/>
                  </a:cubicBezTo>
                  <a:cubicBezTo>
                    <a:pt x="1447" y="1427"/>
                    <a:pt x="1447" y="1427"/>
                    <a:pt x="1447" y="1427"/>
                  </a:cubicBezTo>
                  <a:cubicBezTo>
                    <a:pt x="1452" y="1428"/>
                    <a:pt x="1452" y="1428"/>
                    <a:pt x="1452" y="1428"/>
                  </a:cubicBezTo>
                  <a:cubicBezTo>
                    <a:pt x="1465" y="1431"/>
                    <a:pt x="1465" y="1431"/>
                    <a:pt x="1465" y="1431"/>
                  </a:cubicBezTo>
                  <a:cubicBezTo>
                    <a:pt x="1474" y="1431"/>
                    <a:pt x="1474" y="1431"/>
                    <a:pt x="1474" y="1431"/>
                  </a:cubicBezTo>
                  <a:cubicBezTo>
                    <a:pt x="1474" y="1428"/>
                    <a:pt x="1474" y="1428"/>
                    <a:pt x="1474" y="1428"/>
                  </a:cubicBezTo>
                  <a:cubicBezTo>
                    <a:pt x="1479" y="1424"/>
                    <a:pt x="1479" y="1424"/>
                    <a:pt x="1479" y="1424"/>
                  </a:cubicBezTo>
                  <a:cubicBezTo>
                    <a:pt x="1481" y="1426"/>
                    <a:pt x="1481" y="1426"/>
                    <a:pt x="1481" y="1426"/>
                  </a:cubicBezTo>
                  <a:cubicBezTo>
                    <a:pt x="1485" y="1426"/>
                    <a:pt x="1485" y="1426"/>
                    <a:pt x="1485" y="1426"/>
                  </a:cubicBezTo>
                  <a:cubicBezTo>
                    <a:pt x="1490" y="1431"/>
                    <a:pt x="1490" y="1431"/>
                    <a:pt x="1490" y="1431"/>
                  </a:cubicBezTo>
                  <a:cubicBezTo>
                    <a:pt x="1496" y="1433"/>
                    <a:pt x="1496" y="1433"/>
                    <a:pt x="1496" y="1433"/>
                  </a:cubicBezTo>
                  <a:cubicBezTo>
                    <a:pt x="1500" y="1439"/>
                    <a:pt x="1500" y="1439"/>
                    <a:pt x="1500" y="1439"/>
                  </a:cubicBezTo>
                  <a:cubicBezTo>
                    <a:pt x="1505" y="1440"/>
                    <a:pt x="1505" y="1440"/>
                    <a:pt x="1505" y="1440"/>
                  </a:cubicBezTo>
                  <a:cubicBezTo>
                    <a:pt x="1507" y="1443"/>
                    <a:pt x="1507" y="1443"/>
                    <a:pt x="1507" y="1443"/>
                  </a:cubicBezTo>
                  <a:cubicBezTo>
                    <a:pt x="1510" y="1441"/>
                    <a:pt x="1510" y="1441"/>
                    <a:pt x="1510" y="1441"/>
                  </a:cubicBezTo>
                  <a:cubicBezTo>
                    <a:pt x="1514" y="1438"/>
                    <a:pt x="1514" y="1438"/>
                    <a:pt x="1514" y="1438"/>
                  </a:cubicBezTo>
                  <a:cubicBezTo>
                    <a:pt x="1518" y="1438"/>
                    <a:pt x="1518" y="1438"/>
                    <a:pt x="1518" y="1438"/>
                  </a:cubicBezTo>
                  <a:cubicBezTo>
                    <a:pt x="1522" y="1442"/>
                    <a:pt x="1522" y="1442"/>
                    <a:pt x="1522" y="1442"/>
                  </a:cubicBezTo>
                  <a:cubicBezTo>
                    <a:pt x="1526" y="1439"/>
                    <a:pt x="1526" y="1439"/>
                    <a:pt x="1526" y="1439"/>
                  </a:cubicBezTo>
                  <a:cubicBezTo>
                    <a:pt x="1526" y="1436"/>
                    <a:pt x="1526" y="1436"/>
                    <a:pt x="1526" y="1436"/>
                  </a:cubicBezTo>
                  <a:cubicBezTo>
                    <a:pt x="1527" y="1433"/>
                    <a:pt x="1527" y="1433"/>
                    <a:pt x="1527" y="1433"/>
                  </a:cubicBezTo>
                  <a:cubicBezTo>
                    <a:pt x="1530" y="1432"/>
                    <a:pt x="1530" y="1432"/>
                    <a:pt x="1530" y="1432"/>
                  </a:cubicBezTo>
                  <a:cubicBezTo>
                    <a:pt x="1531" y="1435"/>
                    <a:pt x="1531" y="1435"/>
                    <a:pt x="1531" y="1435"/>
                  </a:cubicBezTo>
                  <a:cubicBezTo>
                    <a:pt x="1542" y="1440"/>
                    <a:pt x="1542" y="1440"/>
                    <a:pt x="1542" y="1440"/>
                  </a:cubicBezTo>
                  <a:cubicBezTo>
                    <a:pt x="1542" y="1444"/>
                    <a:pt x="1542" y="1444"/>
                    <a:pt x="1542" y="1444"/>
                  </a:cubicBezTo>
                  <a:cubicBezTo>
                    <a:pt x="1550" y="1441"/>
                    <a:pt x="1550" y="1441"/>
                    <a:pt x="1550" y="1441"/>
                  </a:cubicBezTo>
                  <a:cubicBezTo>
                    <a:pt x="1551" y="1438"/>
                    <a:pt x="1551" y="1438"/>
                    <a:pt x="1551" y="1438"/>
                  </a:cubicBezTo>
                  <a:cubicBezTo>
                    <a:pt x="1536" y="1432"/>
                    <a:pt x="1536" y="1432"/>
                    <a:pt x="1536" y="1432"/>
                  </a:cubicBezTo>
                  <a:cubicBezTo>
                    <a:pt x="1537" y="1427"/>
                    <a:pt x="1537" y="1427"/>
                    <a:pt x="1537" y="1427"/>
                  </a:cubicBezTo>
                  <a:cubicBezTo>
                    <a:pt x="1545" y="1420"/>
                    <a:pt x="1545" y="1420"/>
                    <a:pt x="1545" y="1420"/>
                  </a:cubicBezTo>
                  <a:cubicBezTo>
                    <a:pt x="1545" y="1414"/>
                    <a:pt x="1545" y="1414"/>
                    <a:pt x="1545" y="1414"/>
                  </a:cubicBezTo>
                  <a:cubicBezTo>
                    <a:pt x="1544" y="1413"/>
                    <a:pt x="1544" y="1413"/>
                    <a:pt x="1544" y="1413"/>
                  </a:cubicBezTo>
                  <a:cubicBezTo>
                    <a:pt x="1538" y="1416"/>
                    <a:pt x="1538" y="1416"/>
                    <a:pt x="1538" y="1416"/>
                  </a:cubicBezTo>
                  <a:cubicBezTo>
                    <a:pt x="1536" y="1417"/>
                    <a:pt x="1536" y="1417"/>
                    <a:pt x="1536" y="1417"/>
                  </a:cubicBezTo>
                  <a:cubicBezTo>
                    <a:pt x="1534" y="1420"/>
                    <a:pt x="1534" y="1420"/>
                    <a:pt x="1534" y="1420"/>
                  </a:cubicBezTo>
                  <a:cubicBezTo>
                    <a:pt x="1532" y="1419"/>
                    <a:pt x="1532" y="1419"/>
                    <a:pt x="1532" y="1419"/>
                  </a:cubicBezTo>
                  <a:cubicBezTo>
                    <a:pt x="1531" y="1417"/>
                    <a:pt x="1531" y="1417"/>
                    <a:pt x="1531" y="1417"/>
                  </a:cubicBezTo>
                  <a:cubicBezTo>
                    <a:pt x="1533" y="1414"/>
                    <a:pt x="1533" y="1414"/>
                    <a:pt x="1533" y="1414"/>
                  </a:cubicBezTo>
                  <a:cubicBezTo>
                    <a:pt x="1528" y="1414"/>
                    <a:pt x="1528" y="1414"/>
                    <a:pt x="1528" y="1414"/>
                  </a:cubicBezTo>
                  <a:cubicBezTo>
                    <a:pt x="1524" y="1416"/>
                    <a:pt x="1524" y="1416"/>
                    <a:pt x="1524" y="1416"/>
                  </a:cubicBezTo>
                  <a:cubicBezTo>
                    <a:pt x="1520" y="1417"/>
                    <a:pt x="1520" y="1417"/>
                    <a:pt x="1520" y="1417"/>
                  </a:cubicBezTo>
                  <a:cubicBezTo>
                    <a:pt x="1516" y="1415"/>
                    <a:pt x="1516" y="1415"/>
                    <a:pt x="1516" y="1415"/>
                  </a:cubicBezTo>
                  <a:cubicBezTo>
                    <a:pt x="1516" y="1413"/>
                    <a:pt x="1516" y="1413"/>
                    <a:pt x="1516" y="1413"/>
                  </a:cubicBezTo>
                  <a:cubicBezTo>
                    <a:pt x="1518" y="1409"/>
                    <a:pt x="1518" y="1409"/>
                    <a:pt x="1518" y="1409"/>
                  </a:cubicBezTo>
                  <a:cubicBezTo>
                    <a:pt x="1522" y="1408"/>
                    <a:pt x="1522" y="1408"/>
                    <a:pt x="1522" y="1408"/>
                  </a:cubicBezTo>
                  <a:cubicBezTo>
                    <a:pt x="1529" y="1411"/>
                    <a:pt x="1529" y="1411"/>
                    <a:pt x="1529" y="1411"/>
                  </a:cubicBezTo>
                  <a:cubicBezTo>
                    <a:pt x="1535" y="1411"/>
                    <a:pt x="1535" y="1411"/>
                    <a:pt x="1535" y="1411"/>
                  </a:cubicBezTo>
                  <a:cubicBezTo>
                    <a:pt x="1539" y="1411"/>
                    <a:pt x="1539" y="1411"/>
                    <a:pt x="1539" y="1411"/>
                  </a:cubicBezTo>
                  <a:cubicBezTo>
                    <a:pt x="1542" y="1408"/>
                    <a:pt x="1542" y="1408"/>
                    <a:pt x="1542" y="1408"/>
                  </a:cubicBezTo>
                  <a:cubicBezTo>
                    <a:pt x="1547" y="1407"/>
                    <a:pt x="1547" y="1407"/>
                    <a:pt x="1547" y="1407"/>
                  </a:cubicBezTo>
                  <a:cubicBezTo>
                    <a:pt x="1554" y="1406"/>
                    <a:pt x="1554" y="1406"/>
                    <a:pt x="1554" y="1406"/>
                  </a:cubicBezTo>
                  <a:cubicBezTo>
                    <a:pt x="1557" y="1407"/>
                    <a:pt x="1557" y="1407"/>
                    <a:pt x="1557" y="1407"/>
                  </a:cubicBezTo>
                  <a:cubicBezTo>
                    <a:pt x="1560" y="1406"/>
                    <a:pt x="1560" y="1406"/>
                    <a:pt x="1560" y="1406"/>
                  </a:cubicBezTo>
                  <a:cubicBezTo>
                    <a:pt x="1563" y="1407"/>
                    <a:pt x="1563" y="1407"/>
                    <a:pt x="1563" y="1407"/>
                  </a:cubicBezTo>
                  <a:cubicBezTo>
                    <a:pt x="1566" y="1405"/>
                    <a:pt x="1566" y="1405"/>
                    <a:pt x="1566" y="1405"/>
                  </a:cubicBezTo>
                  <a:cubicBezTo>
                    <a:pt x="1570" y="1406"/>
                    <a:pt x="1570" y="1406"/>
                    <a:pt x="1570" y="1406"/>
                  </a:cubicBezTo>
                  <a:cubicBezTo>
                    <a:pt x="1571" y="1401"/>
                    <a:pt x="1571" y="1401"/>
                    <a:pt x="1571" y="1401"/>
                  </a:cubicBezTo>
                  <a:cubicBezTo>
                    <a:pt x="1573" y="1396"/>
                    <a:pt x="1573" y="1396"/>
                    <a:pt x="1573" y="1396"/>
                  </a:cubicBezTo>
                  <a:cubicBezTo>
                    <a:pt x="1576" y="1398"/>
                    <a:pt x="1576" y="1398"/>
                    <a:pt x="1576" y="1398"/>
                  </a:cubicBezTo>
                  <a:cubicBezTo>
                    <a:pt x="1576" y="1403"/>
                    <a:pt x="1576" y="1403"/>
                    <a:pt x="1576" y="1403"/>
                  </a:cubicBezTo>
                  <a:cubicBezTo>
                    <a:pt x="1578" y="1407"/>
                    <a:pt x="1578" y="1407"/>
                    <a:pt x="1578" y="1407"/>
                  </a:cubicBezTo>
                  <a:cubicBezTo>
                    <a:pt x="1582" y="1407"/>
                    <a:pt x="1582" y="1407"/>
                    <a:pt x="1582" y="1407"/>
                  </a:cubicBezTo>
                  <a:cubicBezTo>
                    <a:pt x="1587" y="1404"/>
                    <a:pt x="1587" y="1404"/>
                    <a:pt x="1587" y="1404"/>
                  </a:cubicBezTo>
                  <a:cubicBezTo>
                    <a:pt x="1588" y="1406"/>
                    <a:pt x="1588" y="1406"/>
                    <a:pt x="1588" y="1406"/>
                  </a:cubicBezTo>
                  <a:cubicBezTo>
                    <a:pt x="1591" y="1404"/>
                    <a:pt x="1591" y="1404"/>
                    <a:pt x="1591" y="1404"/>
                  </a:cubicBezTo>
                  <a:cubicBezTo>
                    <a:pt x="1595" y="1400"/>
                    <a:pt x="1595" y="1400"/>
                    <a:pt x="1595" y="1400"/>
                  </a:cubicBezTo>
                  <a:cubicBezTo>
                    <a:pt x="1598" y="1400"/>
                    <a:pt x="1598" y="1400"/>
                    <a:pt x="1598" y="1400"/>
                  </a:cubicBezTo>
                  <a:cubicBezTo>
                    <a:pt x="1598" y="1403"/>
                    <a:pt x="1598" y="1403"/>
                    <a:pt x="1598" y="1403"/>
                  </a:cubicBezTo>
                  <a:cubicBezTo>
                    <a:pt x="1612" y="1399"/>
                    <a:pt x="1612" y="1399"/>
                    <a:pt x="1612" y="1399"/>
                  </a:cubicBezTo>
                  <a:cubicBezTo>
                    <a:pt x="1614" y="1402"/>
                    <a:pt x="1614" y="1402"/>
                    <a:pt x="1614" y="1402"/>
                  </a:cubicBezTo>
                  <a:cubicBezTo>
                    <a:pt x="1620" y="1403"/>
                    <a:pt x="1620" y="1403"/>
                    <a:pt x="1620" y="1403"/>
                  </a:cubicBezTo>
                  <a:cubicBezTo>
                    <a:pt x="1628" y="1407"/>
                    <a:pt x="1628" y="1407"/>
                    <a:pt x="1628" y="1407"/>
                  </a:cubicBezTo>
                  <a:cubicBezTo>
                    <a:pt x="1630" y="1405"/>
                    <a:pt x="1630" y="1405"/>
                    <a:pt x="1630" y="1405"/>
                  </a:cubicBezTo>
                  <a:cubicBezTo>
                    <a:pt x="1635" y="1409"/>
                    <a:pt x="1635" y="1409"/>
                    <a:pt x="1635" y="1409"/>
                  </a:cubicBezTo>
                  <a:cubicBezTo>
                    <a:pt x="1639" y="1413"/>
                    <a:pt x="1639" y="1413"/>
                    <a:pt x="1639" y="1413"/>
                  </a:cubicBezTo>
                  <a:cubicBezTo>
                    <a:pt x="1639" y="1418"/>
                    <a:pt x="1639" y="1418"/>
                    <a:pt x="1639" y="1418"/>
                  </a:cubicBezTo>
                  <a:cubicBezTo>
                    <a:pt x="1646" y="1417"/>
                    <a:pt x="1646" y="1417"/>
                    <a:pt x="1646" y="1417"/>
                  </a:cubicBezTo>
                  <a:cubicBezTo>
                    <a:pt x="1649" y="1415"/>
                    <a:pt x="1649" y="1415"/>
                    <a:pt x="1649" y="1415"/>
                  </a:cubicBezTo>
                  <a:cubicBezTo>
                    <a:pt x="1652" y="1415"/>
                    <a:pt x="1652" y="1415"/>
                    <a:pt x="1652" y="1415"/>
                  </a:cubicBezTo>
                  <a:cubicBezTo>
                    <a:pt x="1659" y="1410"/>
                    <a:pt x="1659" y="1410"/>
                    <a:pt x="1659" y="1410"/>
                  </a:cubicBezTo>
                  <a:cubicBezTo>
                    <a:pt x="1663" y="1410"/>
                    <a:pt x="1663" y="1410"/>
                    <a:pt x="1663" y="1410"/>
                  </a:cubicBezTo>
                  <a:cubicBezTo>
                    <a:pt x="1664" y="1406"/>
                    <a:pt x="1664" y="1406"/>
                    <a:pt x="1664" y="1406"/>
                  </a:cubicBezTo>
                  <a:cubicBezTo>
                    <a:pt x="1667" y="1404"/>
                    <a:pt x="1667" y="1404"/>
                    <a:pt x="1667" y="1404"/>
                  </a:cubicBezTo>
                  <a:cubicBezTo>
                    <a:pt x="1673" y="1405"/>
                    <a:pt x="1673" y="1405"/>
                    <a:pt x="1673" y="1405"/>
                  </a:cubicBezTo>
                  <a:cubicBezTo>
                    <a:pt x="1680" y="1408"/>
                    <a:pt x="1680" y="1408"/>
                    <a:pt x="1680" y="1408"/>
                  </a:cubicBezTo>
                  <a:cubicBezTo>
                    <a:pt x="1683" y="1410"/>
                    <a:pt x="1683" y="1410"/>
                    <a:pt x="1683" y="1410"/>
                  </a:cubicBezTo>
                  <a:cubicBezTo>
                    <a:pt x="1688" y="1417"/>
                    <a:pt x="1688" y="1417"/>
                    <a:pt x="1688" y="1417"/>
                  </a:cubicBezTo>
                  <a:cubicBezTo>
                    <a:pt x="1693" y="1420"/>
                    <a:pt x="1693" y="1420"/>
                    <a:pt x="1693" y="1420"/>
                  </a:cubicBezTo>
                  <a:cubicBezTo>
                    <a:pt x="1697" y="1425"/>
                    <a:pt x="1697" y="1425"/>
                    <a:pt x="1697" y="1425"/>
                  </a:cubicBezTo>
                  <a:cubicBezTo>
                    <a:pt x="1704" y="1425"/>
                    <a:pt x="1704" y="1425"/>
                    <a:pt x="1704" y="1425"/>
                  </a:cubicBezTo>
                  <a:cubicBezTo>
                    <a:pt x="1710" y="1436"/>
                    <a:pt x="1710" y="1436"/>
                    <a:pt x="1710" y="1436"/>
                  </a:cubicBezTo>
                  <a:cubicBezTo>
                    <a:pt x="1709" y="1447"/>
                    <a:pt x="1709" y="1447"/>
                    <a:pt x="1709" y="1447"/>
                  </a:cubicBezTo>
                  <a:cubicBezTo>
                    <a:pt x="1708" y="1457"/>
                    <a:pt x="1708" y="1457"/>
                    <a:pt x="1708" y="1457"/>
                  </a:cubicBezTo>
                  <a:cubicBezTo>
                    <a:pt x="1711" y="1462"/>
                    <a:pt x="1711" y="1462"/>
                    <a:pt x="1711" y="1462"/>
                  </a:cubicBezTo>
                  <a:cubicBezTo>
                    <a:pt x="1714" y="1460"/>
                    <a:pt x="1714" y="1460"/>
                    <a:pt x="1714" y="1460"/>
                  </a:cubicBezTo>
                  <a:cubicBezTo>
                    <a:pt x="1713" y="1456"/>
                    <a:pt x="1713" y="1456"/>
                    <a:pt x="1713" y="1456"/>
                  </a:cubicBezTo>
                  <a:cubicBezTo>
                    <a:pt x="1717" y="1457"/>
                    <a:pt x="1717" y="1457"/>
                    <a:pt x="1717" y="1457"/>
                  </a:cubicBezTo>
                  <a:cubicBezTo>
                    <a:pt x="1719" y="1460"/>
                    <a:pt x="1719" y="1460"/>
                    <a:pt x="1719" y="1460"/>
                  </a:cubicBezTo>
                  <a:cubicBezTo>
                    <a:pt x="1714" y="1468"/>
                    <a:pt x="1714" y="1468"/>
                    <a:pt x="1714" y="1468"/>
                  </a:cubicBezTo>
                  <a:cubicBezTo>
                    <a:pt x="1719" y="1473"/>
                    <a:pt x="1719" y="1473"/>
                    <a:pt x="1719" y="1473"/>
                  </a:cubicBezTo>
                  <a:cubicBezTo>
                    <a:pt x="1722" y="1481"/>
                    <a:pt x="1722" y="1481"/>
                    <a:pt x="1722" y="1481"/>
                  </a:cubicBezTo>
                  <a:cubicBezTo>
                    <a:pt x="1728" y="1483"/>
                    <a:pt x="1728" y="1483"/>
                    <a:pt x="1728" y="1483"/>
                  </a:cubicBezTo>
                  <a:cubicBezTo>
                    <a:pt x="1731" y="1481"/>
                    <a:pt x="1731" y="1481"/>
                    <a:pt x="1731" y="1481"/>
                  </a:cubicBezTo>
                  <a:cubicBezTo>
                    <a:pt x="1735" y="1491"/>
                    <a:pt x="1735" y="1491"/>
                    <a:pt x="1735" y="1491"/>
                  </a:cubicBezTo>
                  <a:cubicBezTo>
                    <a:pt x="1739" y="1492"/>
                    <a:pt x="1739" y="1492"/>
                    <a:pt x="1739" y="1492"/>
                  </a:cubicBezTo>
                  <a:cubicBezTo>
                    <a:pt x="1744" y="1505"/>
                    <a:pt x="1744" y="1505"/>
                    <a:pt x="1744" y="1505"/>
                  </a:cubicBezTo>
                  <a:cubicBezTo>
                    <a:pt x="1753" y="1507"/>
                    <a:pt x="1753" y="1507"/>
                    <a:pt x="1753" y="1507"/>
                  </a:cubicBezTo>
                  <a:cubicBezTo>
                    <a:pt x="1762" y="1516"/>
                    <a:pt x="1762" y="1516"/>
                    <a:pt x="1762" y="1516"/>
                  </a:cubicBezTo>
                  <a:cubicBezTo>
                    <a:pt x="1764" y="1518"/>
                    <a:pt x="1764" y="1518"/>
                    <a:pt x="1764" y="1518"/>
                  </a:cubicBezTo>
                  <a:cubicBezTo>
                    <a:pt x="1762" y="1520"/>
                    <a:pt x="1762" y="1520"/>
                    <a:pt x="1762" y="1520"/>
                  </a:cubicBezTo>
                  <a:cubicBezTo>
                    <a:pt x="1764" y="1522"/>
                    <a:pt x="1764" y="1522"/>
                    <a:pt x="1764" y="1522"/>
                  </a:cubicBezTo>
                  <a:cubicBezTo>
                    <a:pt x="1769" y="1521"/>
                    <a:pt x="1769" y="1521"/>
                    <a:pt x="1769" y="1521"/>
                  </a:cubicBezTo>
                  <a:cubicBezTo>
                    <a:pt x="1780" y="1517"/>
                    <a:pt x="1780" y="1517"/>
                    <a:pt x="1780" y="1517"/>
                  </a:cubicBezTo>
                  <a:cubicBezTo>
                    <a:pt x="1782" y="1514"/>
                    <a:pt x="1782" y="1514"/>
                    <a:pt x="1782" y="1514"/>
                  </a:cubicBezTo>
                  <a:cubicBezTo>
                    <a:pt x="1782" y="1508"/>
                    <a:pt x="1782" y="1508"/>
                    <a:pt x="1782" y="1508"/>
                  </a:cubicBezTo>
                  <a:cubicBezTo>
                    <a:pt x="1783" y="1502"/>
                    <a:pt x="1783" y="1502"/>
                    <a:pt x="1783" y="1502"/>
                  </a:cubicBezTo>
                  <a:cubicBezTo>
                    <a:pt x="1785" y="1502"/>
                    <a:pt x="1785" y="1502"/>
                    <a:pt x="1785" y="1502"/>
                  </a:cubicBezTo>
                  <a:cubicBezTo>
                    <a:pt x="1784" y="1498"/>
                    <a:pt x="1784" y="1498"/>
                    <a:pt x="1784" y="1498"/>
                  </a:cubicBezTo>
                  <a:cubicBezTo>
                    <a:pt x="1783" y="1492"/>
                    <a:pt x="1783" y="1492"/>
                    <a:pt x="1783" y="1492"/>
                  </a:cubicBezTo>
                  <a:cubicBezTo>
                    <a:pt x="1784" y="1489"/>
                    <a:pt x="1784" y="1489"/>
                    <a:pt x="1784" y="1489"/>
                  </a:cubicBezTo>
                  <a:cubicBezTo>
                    <a:pt x="1783" y="1478"/>
                    <a:pt x="1783" y="1478"/>
                    <a:pt x="1783" y="1478"/>
                  </a:cubicBezTo>
                  <a:cubicBezTo>
                    <a:pt x="1781" y="1473"/>
                    <a:pt x="1781" y="1473"/>
                    <a:pt x="1781" y="1473"/>
                  </a:cubicBezTo>
                  <a:cubicBezTo>
                    <a:pt x="1775" y="1466"/>
                    <a:pt x="1775" y="1466"/>
                    <a:pt x="1775" y="1466"/>
                  </a:cubicBezTo>
                  <a:cubicBezTo>
                    <a:pt x="1772" y="1461"/>
                    <a:pt x="1772" y="1461"/>
                    <a:pt x="1772" y="1461"/>
                  </a:cubicBezTo>
                  <a:cubicBezTo>
                    <a:pt x="1770" y="1455"/>
                    <a:pt x="1770" y="1455"/>
                    <a:pt x="1770" y="1455"/>
                  </a:cubicBezTo>
                  <a:cubicBezTo>
                    <a:pt x="1764" y="1448"/>
                    <a:pt x="1764" y="1448"/>
                    <a:pt x="1764" y="1448"/>
                  </a:cubicBezTo>
                  <a:cubicBezTo>
                    <a:pt x="1762" y="1444"/>
                    <a:pt x="1762" y="1444"/>
                    <a:pt x="1762" y="1444"/>
                  </a:cubicBezTo>
                  <a:cubicBezTo>
                    <a:pt x="1762" y="1439"/>
                    <a:pt x="1762" y="1439"/>
                    <a:pt x="1762" y="1439"/>
                  </a:cubicBezTo>
                  <a:cubicBezTo>
                    <a:pt x="1763" y="1437"/>
                    <a:pt x="1763" y="1437"/>
                    <a:pt x="1763" y="1437"/>
                  </a:cubicBezTo>
                  <a:cubicBezTo>
                    <a:pt x="1756" y="1426"/>
                    <a:pt x="1756" y="1426"/>
                    <a:pt x="1756" y="1426"/>
                  </a:cubicBezTo>
                  <a:cubicBezTo>
                    <a:pt x="1750" y="1423"/>
                    <a:pt x="1750" y="1423"/>
                    <a:pt x="1750" y="1423"/>
                  </a:cubicBezTo>
                  <a:cubicBezTo>
                    <a:pt x="1745" y="1416"/>
                    <a:pt x="1745" y="1416"/>
                    <a:pt x="1745" y="1416"/>
                  </a:cubicBezTo>
                  <a:cubicBezTo>
                    <a:pt x="1738" y="1405"/>
                    <a:pt x="1738" y="1405"/>
                    <a:pt x="1738" y="1405"/>
                  </a:cubicBezTo>
                  <a:cubicBezTo>
                    <a:pt x="1737" y="1400"/>
                    <a:pt x="1737" y="1400"/>
                    <a:pt x="1737" y="1400"/>
                  </a:cubicBezTo>
                  <a:cubicBezTo>
                    <a:pt x="1733" y="1391"/>
                    <a:pt x="1733" y="1391"/>
                    <a:pt x="1733" y="1391"/>
                  </a:cubicBezTo>
                  <a:cubicBezTo>
                    <a:pt x="1731" y="1388"/>
                    <a:pt x="1731" y="1388"/>
                    <a:pt x="1731" y="1388"/>
                  </a:cubicBezTo>
                  <a:cubicBezTo>
                    <a:pt x="1730" y="1381"/>
                    <a:pt x="1730" y="1381"/>
                    <a:pt x="1730" y="1381"/>
                  </a:cubicBezTo>
                  <a:cubicBezTo>
                    <a:pt x="1728" y="1373"/>
                    <a:pt x="1728" y="1373"/>
                    <a:pt x="1728" y="1373"/>
                  </a:cubicBezTo>
                  <a:cubicBezTo>
                    <a:pt x="1728" y="1368"/>
                    <a:pt x="1728" y="1368"/>
                    <a:pt x="1728" y="1368"/>
                  </a:cubicBezTo>
                  <a:cubicBezTo>
                    <a:pt x="1732" y="1360"/>
                    <a:pt x="1732" y="1360"/>
                    <a:pt x="1732" y="1360"/>
                  </a:cubicBezTo>
                  <a:cubicBezTo>
                    <a:pt x="1733" y="1356"/>
                    <a:pt x="1733" y="1356"/>
                    <a:pt x="1733" y="1356"/>
                  </a:cubicBezTo>
                  <a:cubicBezTo>
                    <a:pt x="1735" y="1351"/>
                    <a:pt x="1735" y="1351"/>
                    <a:pt x="1735" y="1351"/>
                  </a:cubicBezTo>
                  <a:cubicBezTo>
                    <a:pt x="1740" y="1346"/>
                    <a:pt x="1740" y="1346"/>
                    <a:pt x="1740" y="1346"/>
                  </a:cubicBezTo>
                  <a:cubicBezTo>
                    <a:pt x="1738" y="1344"/>
                    <a:pt x="1738" y="1344"/>
                    <a:pt x="1738" y="1344"/>
                  </a:cubicBezTo>
                  <a:cubicBezTo>
                    <a:pt x="1741" y="1340"/>
                    <a:pt x="1741" y="1340"/>
                    <a:pt x="1741" y="1340"/>
                  </a:cubicBezTo>
                  <a:cubicBezTo>
                    <a:pt x="1740" y="1336"/>
                    <a:pt x="1740" y="1336"/>
                    <a:pt x="1740" y="1336"/>
                  </a:cubicBezTo>
                  <a:cubicBezTo>
                    <a:pt x="1743" y="1336"/>
                    <a:pt x="1743" y="1336"/>
                    <a:pt x="1743" y="1336"/>
                  </a:cubicBezTo>
                  <a:cubicBezTo>
                    <a:pt x="1746" y="1331"/>
                    <a:pt x="1746" y="1331"/>
                    <a:pt x="1746" y="1331"/>
                  </a:cubicBezTo>
                  <a:cubicBezTo>
                    <a:pt x="1751" y="1329"/>
                    <a:pt x="1751" y="1329"/>
                    <a:pt x="1751" y="1329"/>
                  </a:cubicBezTo>
                  <a:cubicBezTo>
                    <a:pt x="1757" y="1325"/>
                    <a:pt x="1757" y="1325"/>
                    <a:pt x="1757" y="1325"/>
                  </a:cubicBezTo>
                  <a:cubicBezTo>
                    <a:pt x="1760" y="1320"/>
                    <a:pt x="1760" y="1320"/>
                    <a:pt x="1760" y="1320"/>
                  </a:cubicBezTo>
                  <a:cubicBezTo>
                    <a:pt x="1764" y="1319"/>
                    <a:pt x="1764" y="1319"/>
                    <a:pt x="1764" y="1319"/>
                  </a:cubicBezTo>
                  <a:cubicBezTo>
                    <a:pt x="1768" y="1312"/>
                    <a:pt x="1768" y="1312"/>
                    <a:pt x="1768" y="1312"/>
                  </a:cubicBezTo>
                  <a:cubicBezTo>
                    <a:pt x="1772" y="1311"/>
                    <a:pt x="1772" y="1311"/>
                    <a:pt x="1772" y="1311"/>
                  </a:cubicBezTo>
                  <a:cubicBezTo>
                    <a:pt x="1773" y="1304"/>
                    <a:pt x="1773" y="1304"/>
                    <a:pt x="1773" y="1304"/>
                  </a:cubicBezTo>
                  <a:cubicBezTo>
                    <a:pt x="1776" y="1296"/>
                    <a:pt x="1776" y="1296"/>
                    <a:pt x="1776" y="1296"/>
                  </a:cubicBezTo>
                  <a:cubicBezTo>
                    <a:pt x="1780" y="1292"/>
                    <a:pt x="1780" y="1292"/>
                    <a:pt x="1780" y="1292"/>
                  </a:cubicBezTo>
                  <a:cubicBezTo>
                    <a:pt x="1784" y="1289"/>
                    <a:pt x="1784" y="1289"/>
                    <a:pt x="1784" y="1289"/>
                  </a:cubicBezTo>
                  <a:cubicBezTo>
                    <a:pt x="1797" y="1287"/>
                    <a:pt x="1797" y="1287"/>
                    <a:pt x="1797" y="1287"/>
                  </a:cubicBezTo>
                  <a:cubicBezTo>
                    <a:pt x="1799" y="1283"/>
                    <a:pt x="1799" y="1283"/>
                    <a:pt x="1799" y="1283"/>
                  </a:cubicBezTo>
                  <a:cubicBezTo>
                    <a:pt x="1800" y="1276"/>
                    <a:pt x="1800" y="1276"/>
                    <a:pt x="1800" y="1276"/>
                  </a:cubicBezTo>
                  <a:cubicBezTo>
                    <a:pt x="1804" y="1271"/>
                    <a:pt x="1804" y="1271"/>
                    <a:pt x="1804" y="1271"/>
                  </a:cubicBezTo>
                  <a:cubicBezTo>
                    <a:pt x="1811" y="1266"/>
                    <a:pt x="1811" y="1266"/>
                    <a:pt x="1811" y="1266"/>
                  </a:cubicBezTo>
                  <a:cubicBezTo>
                    <a:pt x="1814" y="1260"/>
                    <a:pt x="1814" y="1260"/>
                    <a:pt x="1814" y="1260"/>
                  </a:cubicBezTo>
                  <a:cubicBezTo>
                    <a:pt x="1825" y="1259"/>
                    <a:pt x="1825" y="1259"/>
                    <a:pt x="1825" y="1259"/>
                  </a:cubicBezTo>
                  <a:cubicBezTo>
                    <a:pt x="1829" y="1253"/>
                    <a:pt x="1829" y="1253"/>
                    <a:pt x="1829" y="1253"/>
                  </a:cubicBezTo>
                  <a:cubicBezTo>
                    <a:pt x="1828" y="1251"/>
                    <a:pt x="1828" y="1251"/>
                    <a:pt x="1828" y="1251"/>
                  </a:cubicBezTo>
                  <a:cubicBezTo>
                    <a:pt x="1823" y="1254"/>
                    <a:pt x="1823" y="1254"/>
                    <a:pt x="1823" y="1254"/>
                  </a:cubicBezTo>
                  <a:cubicBezTo>
                    <a:pt x="1819" y="1252"/>
                    <a:pt x="1819" y="1252"/>
                    <a:pt x="1819" y="1252"/>
                  </a:cubicBezTo>
                  <a:cubicBezTo>
                    <a:pt x="1823" y="1249"/>
                    <a:pt x="1823" y="1249"/>
                    <a:pt x="1823" y="1249"/>
                  </a:cubicBezTo>
                  <a:cubicBezTo>
                    <a:pt x="1823" y="1245"/>
                    <a:pt x="1823" y="1245"/>
                    <a:pt x="1823" y="1245"/>
                  </a:cubicBezTo>
                  <a:cubicBezTo>
                    <a:pt x="1821" y="1243"/>
                    <a:pt x="1821" y="1243"/>
                    <a:pt x="1821" y="1243"/>
                  </a:cubicBezTo>
                  <a:cubicBezTo>
                    <a:pt x="1821" y="1239"/>
                    <a:pt x="1821" y="1239"/>
                    <a:pt x="1821" y="1239"/>
                  </a:cubicBezTo>
                  <a:cubicBezTo>
                    <a:pt x="1824" y="1242"/>
                    <a:pt x="1824" y="1242"/>
                    <a:pt x="1824" y="1242"/>
                  </a:cubicBezTo>
                  <a:cubicBezTo>
                    <a:pt x="1827" y="1242"/>
                    <a:pt x="1827" y="1242"/>
                    <a:pt x="1827" y="1242"/>
                  </a:cubicBezTo>
                  <a:cubicBezTo>
                    <a:pt x="1833" y="1241"/>
                    <a:pt x="1833" y="1241"/>
                    <a:pt x="1833" y="1241"/>
                  </a:cubicBezTo>
                  <a:cubicBezTo>
                    <a:pt x="1835" y="1237"/>
                    <a:pt x="1835" y="1237"/>
                    <a:pt x="1835" y="1237"/>
                  </a:cubicBezTo>
                  <a:cubicBezTo>
                    <a:pt x="1839" y="1235"/>
                    <a:pt x="1839" y="1235"/>
                    <a:pt x="1839" y="1235"/>
                  </a:cubicBezTo>
                  <a:cubicBezTo>
                    <a:pt x="1837" y="1226"/>
                    <a:pt x="1837" y="1226"/>
                    <a:pt x="1837" y="1226"/>
                  </a:cubicBezTo>
                  <a:cubicBezTo>
                    <a:pt x="1835" y="1227"/>
                    <a:pt x="1835" y="1227"/>
                    <a:pt x="1835" y="1227"/>
                  </a:cubicBezTo>
                  <a:cubicBezTo>
                    <a:pt x="1830" y="1230"/>
                    <a:pt x="1830" y="1230"/>
                    <a:pt x="1830" y="1230"/>
                  </a:cubicBezTo>
                  <a:cubicBezTo>
                    <a:pt x="1830" y="1226"/>
                    <a:pt x="1830" y="1226"/>
                    <a:pt x="1830" y="1226"/>
                  </a:cubicBezTo>
                  <a:cubicBezTo>
                    <a:pt x="1827" y="1225"/>
                    <a:pt x="1827" y="1225"/>
                    <a:pt x="1827" y="1225"/>
                  </a:cubicBezTo>
                  <a:cubicBezTo>
                    <a:pt x="1818" y="1228"/>
                    <a:pt x="1818" y="1228"/>
                    <a:pt x="1818" y="1228"/>
                  </a:cubicBezTo>
                  <a:cubicBezTo>
                    <a:pt x="1816" y="1229"/>
                    <a:pt x="1816" y="1229"/>
                    <a:pt x="1816" y="1229"/>
                  </a:cubicBezTo>
                  <a:cubicBezTo>
                    <a:pt x="1816" y="1226"/>
                    <a:pt x="1816" y="1226"/>
                    <a:pt x="1816" y="1226"/>
                  </a:cubicBezTo>
                  <a:cubicBezTo>
                    <a:pt x="1820" y="1224"/>
                    <a:pt x="1820" y="1224"/>
                    <a:pt x="1820" y="1224"/>
                  </a:cubicBezTo>
                  <a:cubicBezTo>
                    <a:pt x="1823" y="1222"/>
                    <a:pt x="1823" y="1222"/>
                    <a:pt x="1823" y="1222"/>
                  </a:cubicBezTo>
                  <a:cubicBezTo>
                    <a:pt x="1829" y="1220"/>
                    <a:pt x="1829" y="1220"/>
                    <a:pt x="1829" y="1220"/>
                  </a:cubicBezTo>
                  <a:cubicBezTo>
                    <a:pt x="1833" y="1219"/>
                    <a:pt x="1833" y="1219"/>
                    <a:pt x="1833" y="1219"/>
                  </a:cubicBezTo>
                  <a:cubicBezTo>
                    <a:pt x="1833" y="1215"/>
                    <a:pt x="1833" y="1215"/>
                    <a:pt x="1833" y="1215"/>
                  </a:cubicBezTo>
                  <a:cubicBezTo>
                    <a:pt x="1827" y="1211"/>
                    <a:pt x="1827" y="1211"/>
                    <a:pt x="1827" y="1211"/>
                  </a:cubicBezTo>
                  <a:cubicBezTo>
                    <a:pt x="1830" y="1207"/>
                    <a:pt x="1830" y="1207"/>
                    <a:pt x="1830" y="1207"/>
                  </a:cubicBezTo>
                  <a:cubicBezTo>
                    <a:pt x="1827" y="1200"/>
                    <a:pt x="1827" y="1200"/>
                    <a:pt x="1827" y="1200"/>
                  </a:cubicBezTo>
                  <a:cubicBezTo>
                    <a:pt x="1823" y="1200"/>
                    <a:pt x="1823" y="1200"/>
                    <a:pt x="1823" y="1200"/>
                  </a:cubicBezTo>
                  <a:cubicBezTo>
                    <a:pt x="1818" y="1202"/>
                    <a:pt x="1818" y="1202"/>
                    <a:pt x="1818" y="1202"/>
                  </a:cubicBezTo>
                  <a:cubicBezTo>
                    <a:pt x="1815" y="1199"/>
                    <a:pt x="1815" y="1199"/>
                    <a:pt x="1815" y="1199"/>
                  </a:cubicBezTo>
                  <a:cubicBezTo>
                    <a:pt x="1818" y="1196"/>
                    <a:pt x="1818" y="1196"/>
                    <a:pt x="1818" y="1196"/>
                  </a:cubicBezTo>
                  <a:cubicBezTo>
                    <a:pt x="1814" y="1192"/>
                    <a:pt x="1814" y="1192"/>
                    <a:pt x="1814" y="1192"/>
                  </a:cubicBezTo>
                  <a:cubicBezTo>
                    <a:pt x="1817" y="1189"/>
                    <a:pt x="1817" y="1189"/>
                    <a:pt x="1817" y="1189"/>
                  </a:cubicBezTo>
                  <a:cubicBezTo>
                    <a:pt x="1813" y="1183"/>
                    <a:pt x="1813" y="1183"/>
                    <a:pt x="1813" y="1183"/>
                  </a:cubicBezTo>
                  <a:cubicBezTo>
                    <a:pt x="1815" y="1176"/>
                    <a:pt x="1815" y="1176"/>
                    <a:pt x="1815" y="1176"/>
                  </a:cubicBezTo>
                  <a:cubicBezTo>
                    <a:pt x="1806" y="1171"/>
                    <a:pt x="1806" y="1171"/>
                    <a:pt x="1806" y="1171"/>
                  </a:cubicBezTo>
                  <a:cubicBezTo>
                    <a:pt x="1802" y="1171"/>
                    <a:pt x="1802" y="1171"/>
                    <a:pt x="1802" y="1171"/>
                  </a:cubicBezTo>
                  <a:cubicBezTo>
                    <a:pt x="1799" y="1168"/>
                    <a:pt x="1799" y="1168"/>
                    <a:pt x="1799" y="1168"/>
                  </a:cubicBezTo>
                  <a:cubicBezTo>
                    <a:pt x="1805" y="1167"/>
                    <a:pt x="1805" y="1167"/>
                    <a:pt x="1805" y="1167"/>
                  </a:cubicBezTo>
                  <a:cubicBezTo>
                    <a:pt x="1812" y="1170"/>
                    <a:pt x="1812" y="1170"/>
                    <a:pt x="1812" y="1170"/>
                  </a:cubicBezTo>
                  <a:cubicBezTo>
                    <a:pt x="1809" y="1163"/>
                    <a:pt x="1809" y="1163"/>
                    <a:pt x="1809" y="1163"/>
                  </a:cubicBezTo>
                  <a:cubicBezTo>
                    <a:pt x="1803" y="1153"/>
                    <a:pt x="1803" y="1153"/>
                    <a:pt x="1803" y="1153"/>
                  </a:cubicBezTo>
                  <a:cubicBezTo>
                    <a:pt x="1803" y="1141"/>
                    <a:pt x="1803" y="1141"/>
                    <a:pt x="1803" y="1141"/>
                  </a:cubicBezTo>
                  <a:cubicBezTo>
                    <a:pt x="1805" y="1136"/>
                    <a:pt x="1805" y="1136"/>
                    <a:pt x="1805" y="1136"/>
                  </a:cubicBezTo>
                  <a:cubicBezTo>
                    <a:pt x="1811" y="1131"/>
                    <a:pt x="1811" y="1131"/>
                    <a:pt x="1811" y="1131"/>
                  </a:cubicBezTo>
                  <a:cubicBezTo>
                    <a:pt x="1814" y="1132"/>
                    <a:pt x="1814" y="1132"/>
                    <a:pt x="1814" y="1132"/>
                  </a:cubicBezTo>
                  <a:cubicBezTo>
                    <a:pt x="1809" y="1140"/>
                    <a:pt x="1809" y="1140"/>
                    <a:pt x="1809" y="1140"/>
                  </a:cubicBezTo>
                  <a:cubicBezTo>
                    <a:pt x="1812" y="1148"/>
                    <a:pt x="1812" y="1148"/>
                    <a:pt x="1812" y="1148"/>
                  </a:cubicBezTo>
                  <a:cubicBezTo>
                    <a:pt x="1810" y="1151"/>
                    <a:pt x="1810" y="1151"/>
                    <a:pt x="1810" y="1151"/>
                  </a:cubicBezTo>
                  <a:cubicBezTo>
                    <a:pt x="1813" y="1155"/>
                    <a:pt x="1813" y="1155"/>
                    <a:pt x="1813" y="1155"/>
                  </a:cubicBezTo>
                  <a:cubicBezTo>
                    <a:pt x="1813" y="1162"/>
                    <a:pt x="1813" y="1162"/>
                    <a:pt x="1813" y="1162"/>
                  </a:cubicBezTo>
                  <a:cubicBezTo>
                    <a:pt x="1817" y="1165"/>
                    <a:pt x="1817" y="1165"/>
                    <a:pt x="1817" y="1165"/>
                  </a:cubicBezTo>
                  <a:cubicBezTo>
                    <a:pt x="1822" y="1165"/>
                    <a:pt x="1822" y="1165"/>
                    <a:pt x="1822" y="1165"/>
                  </a:cubicBezTo>
                  <a:cubicBezTo>
                    <a:pt x="1824" y="1170"/>
                    <a:pt x="1824" y="1170"/>
                    <a:pt x="1824" y="1170"/>
                  </a:cubicBezTo>
                  <a:cubicBezTo>
                    <a:pt x="1828" y="1171"/>
                    <a:pt x="1828" y="1171"/>
                    <a:pt x="1828" y="1171"/>
                  </a:cubicBezTo>
                  <a:cubicBezTo>
                    <a:pt x="1828" y="1176"/>
                    <a:pt x="1828" y="1176"/>
                    <a:pt x="1828" y="1176"/>
                  </a:cubicBezTo>
                  <a:cubicBezTo>
                    <a:pt x="1824" y="1182"/>
                    <a:pt x="1824" y="1182"/>
                    <a:pt x="1824" y="1182"/>
                  </a:cubicBezTo>
                  <a:cubicBezTo>
                    <a:pt x="1825" y="1192"/>
                    <a:pt x="1825" y="1192"/>
                    <a:pt x="1825" y="1192"/>
                  </a:cubicBezTo>
                  <a:cubicBezTo>
                    <a:pt x="1833" y="1177"/>
                    <a:pt x="1833" y="1177"/>
                    <a:pt x="1833" y="1177"/>
                  </a:cubicBezTo>
                  <a:cubicBezTo>
                    <a:pt x="1833" y="1174"/>
                    <a:pt x="1833" y="1174"/>
                    <a:pt x="1833" y="1174"/>
                  </a:cubicBezTo>
                  <a:cubicBezTo>
                    <a:pt x="1836" y="1169"/>
                    <a:pt x="1836" y="1169"/>
                    <a:pt x="1836" y="1169"/>
                  </a:cubicBezTo>
                  <a:cubicBezTo>
                    <a:pt x="1839" y="1156"/>
                    <a:pt x="1839" y="1156"/>
                    <a:pt x="1839" y="1156"/>
                  </a:cubicBezTo>
                  <a:cubicBezTo>
                    <a:pt x="1838" y="1150"/>
                    <a:pt x="1838" y="1150"/>
                    <a:pt x="1838" y="1150"/>
                  </a:cubicBezTo>
                  <a:cubicBezTo>
                    <a:pt x="1831" y="1145"/>
                    <a:pt x="1831" y="1145"/>
                    <a:pt x="1831" y="1145"/>
                  </a:cubicBezTo>
                  <a:cubicBezTo>
                    <a:pt x="1820" y="1129"/>
                    <a:pt x="1820" y="1129"/>
                    <a:pt x="1820" y="1129"/>
                  </a:cubicBezTo>
                  <a:cubicBezTo>
                    <a:pt x="1821" y="1126"/>
                    <a:pt x="1821" y="1126"/>
                    <a:pt x="1821" y="1126"/>
                  </a:cubicBezTo>
                  <a:cubicBezTo>
                    <a:pt x="1827" y="1133"/>
                    <a:pt x="1827" y="1133"/>
                    <a:pt x="1827" y="1133"/>
                  </a:cubicBezTo>
                  <a:cubicBezTo>
                    <a:pt x="1833" y="1136"/>
                    <a:pt x="1833" y="1136"/>
                    <a:pt x="1833" y="1136"/>
                  </a:cubicBezTo>
                  <a:cubicBezTo>
                    <a:pt x="1838" y="1137"/>
                    <a:pt x="1838" y="1137"/>
                    <a:pt x="1838" y="1137"/>
                  </a:cubicBezTo>
                  <a:cubicBezTo>
                    <a:pt x="1838" y="1141"/>
                    <a:pt x="1838" y="1141"/>
                    <a:pt x="1838" y="1141"/>
                  </a:cubicBezTo>
                  <a:cubicBezTo>
                    <a:pt x="1840" y="1143"/>
                    <a:pt x="1840" y="1143"/>
                    <a:pt x="1840" y="1143"/>
                  </a:cubicBezTo>
                  <a:cubicBezTo>
                    <a:pt x="1843" y="1135"/>
                    <a:pt x="1843" y="1135"/>
                    <a:pt x="1843" y="1135"/>
                  </a:cubicBezTo>
                  <a:cubicBezTo>
                    <a:pt x="1850" y="1123"/>
                    <a:pt x="1850" y="1123"/>
                    <a:pt x="1850" y="1123"/>
                  </a:cubicBezTo>
                  <a:cubicBezTo>
                    <a:pt x="1853" y="1116"/>
                    <a:pt x="1853" y="1116"/>
                    <a:pt x="1853" y="1116"/>
                  </a:cubicBezTo>
                  <a:cubicBezTo>
                    <a:pt x="1851" y="1102"/>
                    <a:pt x="1851" y="1102"/>
                    <a:pt x="1851" y="1102"/>
                  </a:cubicBezTo>
                  <a:cubicBezTo>
                    <a:pt x="1849" y="1099"/>
                    <a:pt x="1849" y="1099"/>
                    <a:pt x="1849" y="1099"/>
                  </a:cubicBezTo>
                  <a:cubicBezTo>
                    <a:pt x="1845" y="1101"/>
                    <a:pt x="1845" y="1101"/>
                    <a:pt x="1845" y="1101"/>
                  </a:cubicBezTo>
                  <a:cubicBezTo>
                    <a:pt x="1843" y="1099"/>
                    <a:pt x="1843" y="1099"/>
                    <a:pt x="1843" y="1099"/>
                  </a:cubicBezTo>
                  <a:cubicBezTo>
                    <a:pt x="1848" y="1097"/>
                    <a:pt x="1848" y="1097"/>
                    <a:pt x="1848" y="1097"/>
                  </a:cubicBezTo>
                  <a:cubicBezTo>
                    <a:pt x="1855" y="1096"/>
                    <a:pt x="1855" y="1096"/>
                    <a:pt x="1855" y="1096"/>
                  </a:cubicBezTo>
                  <a:cubicBezTo>
                    <a:pt x="1865" y="1093"/>
                    <a:pt x="1865" y="1093"/>
                    <a:pt x="1865" y="1093"/>
                  </a:cubicBezTo>
                  <a:cubicBezTo>
                    <a:pt x="1878" y="1083"/>
                    <a:pt x="1878" y="1083"/>
                    <a:pt x="1878" y="1083"/>
                  </a:cubicBezTo>
                  <a:cubicBezTo>
                    <a:pt x="1888" y="1079"/>
                    <a:pt x="1888" y="1079"/>
                    <a:pt x="1888" y="1079"/>
                  </a:cubicBezTo>
                  <a:cubicBezTo>
                    <a:pt x="1890" y="1075"/>
                    <a:pt x="1890" y="1075"/>
                    <a:pt x="1890" y="1075"/>
                  </a:cubicBezTo>
                  <a:cubicBezTo>
                    <a:pt x="1885" y="1075"/>
                    <a:pt x="1885" y="1075"/>
                    <a:pt x="1885" y="1075"/>
                  </a:cubicBezTo>
                  <a:cubicBezTo>
                    <a:pt x="1879" y="1074"/>
                    <a:pt x="1879" y="1074"/>
                    <a:pt x="1879" y="1074"/>
                  </a:cubicBezTo>
                  <a:cubicBezTo>
                    <a:pt x="1876" y="1078"/>
                    <a:pt x="1876" y="1078"/>
                    <a:pt x="1876" y="1078"/>
                  </a:cubicBezTo>
                  <a:cubicBezTo>
                    <a:pt x="1867" y="1081"/>
                    <a:pt x="1867" y="1081"/>
                    <a:pt x="1867" y="1081"/>
                  </a:cubicBezTo>
                  <a:cubicBezTo>
                    <a:pt x="1856" y="1086"/>
                    <a:pt x="1856" y="1086"/>
                    <a:pt x="1856" y="1086"/>
                  </a:cubicBezTo>
                  <a:cubicBezTo>
                    <a:pt x="1853" y="1090"/>
                    <a:pt x="1853" y="1090"/>
                    <a:pt x="1853" y="1090"/>
                  </a:cubicBezTo>
                  <a:cubicBezTo>
                    <a:pt x="1850" y="1087"/>
                    <a:pt x="1850" y="1087"/>
                    <a:pt x="1850" y="1087"/>
                  </a:cubicBezTo>
                  <a:cubicBezTo>
                    <a:pt x="1854" y="1083"/>
                    <a:pt x="1854" y="1083"/>
                    <a:pt x="1854" y="1083"/>
                  </a:cubicBezTo>
                  <a:cubicBezTo>
                    <a:pt x="1858" y="1081"/>
                    <a:pt x="1858" y="1081"/>
                    <a:pt x="1858" y="1081"/>
                  </a:cubicBezTo>
                  <a:cubicBezTo>
                    <a:pt x="1867" y="1073"/>
                    <a:pt x="1867" y="1073"/>
                    <a:pt x="1867" y="1073"/>
                  </a:cubicBezTo>
                  <a:cubicBezTo>
                    <a:pt x="1877" y="1071"/>
                    <a:pt x="1877" y="1071"/>
                    <a:pt x="1877" y="1071"/>
                  </a:cubicBezTo>
                  <a:cubicBezTo>
                    <a:pt x="1883" y="1068"/>
                    <a:pt x="1883" y="1068"/>
                    <a:pt x="1883" y="1068"/>
                  </a:cubicBezTo>
                  <a:cubicBezTo>
                    <a:pt x="1889" y="1068"/>
                    <a:pt x="1889" y="1068"/>
                    <a:pt x="1889" y="1068"/>
                  </a:cubicBezTo>
                  <a:cubicBezTo>
                    <a:pt x="1896" y="1065"/>
                    <a:pt x="1896" y="1065"/>
                    <a:pt x="1896" y="1065"/>
                  </a:cubicBezTo>
                  <a:cubicBezTo>
                    <a:pt x="1898" y="1060"/>
                    <a:pt x="1898" y="1060"/>
                    <a:pt x="1898" y="1060"/>
                  </a:cubicBezTo>
                  <a:cubicBezTo>
                    <a:pt x="1901" y="1062"/>
                    <a:pt x="1901" y="1062"/>
                    <a:pt x="1901" y="1062"/>
                  </a:cubicBezTo>
                  <a:cubicBezTo>
                    <a:pt x="1907" y="1058"/>
                    <a:pt x="1907" y="1058"/>
                    <a:pt x="1907" y="1058"/>
                  </a:cubicBezTo>
                  <a:cubicBezTo>
                    <a:pt x="1912" y="1053"/>
                    <a:pt x="1912" y="1053"/>
                    <a:pt x="1912" y="1053"/>
                  </a:cubicBezTo>
                  <a:cubicBezTo>
                    <a:pt x="1915" y="1057"/>
                    <a:pt x="1915" y="1057"/>
                    <a:pt x="1915" y="1057"/>
                  </a:cubicBezTo>
                  <a:cubicBezTo>
                    <a:pt x="1920" y="1054"/>
                    <a:pt x="1920" y="1054"/>
                    <a:pt x="1920" y="1054"/>
                  </a:cubicBezTo>
                  <a:cubicBezTo>
                    <a:pt x="1927" y="1053"/>
                    <a:pt x="1927" y="1053"/>
                    <a:pt x="1927" y="1053"/>
                  </a:cubicBezTo>
                  <a:cubicBezTo>
                    <a:pt x="1928" y="1050"/>
                    <a:pt x="1928" y="1050"/>
                    <a:pt x="1928" y="1050"/>
                  </a:cubicBezTo>
                  <a:cubicBezTo>
                    <a:pt x="1923" y="1041"/>
                    <a:pt x="1923" y="1041"/>
                    <a:pt x="1923" y="1041"/>
                  </a:cubicBezTo>
                  <a:cubicBezTo>
                    <a:pt x="1918" y="1041"/>
                    <a:pt x="1918" y="1041"/>
                    <a:pt x="1918" y="1041"/>
                  </a:cubicBezTo>
                  <a:cubicBezTo>
                    <a:pt x="1923" y="1046"/>
                    <a:pt x="1923" y="1046"/>
                    <a:pt x="1923" y="1046"/>
                  </a:cubicBezTo>
                  <a:cubicBezTo>
                    <a:pt x="1921" y="1049"/>
                    <a:pt x="1921" y="1049"/>
                    <a:pt x="1921" y="1049"/>
                  </a:cubicBezTo>
                  <a:cubicBezTo>
                    <a:pt x="1913" y="1049"/>
                    <a:pt x="1913" y="1049"/>
                    <a:pt x="1913" y="1049"/>
                  </a:cubicBezTo>
                  <a:cubicBezTo>
                    <a:pt x="1906" y="1038"/>
                    <a:pt x="1906" y="1038"/>
                    <a:pt x="1906" y="1038"/>
                  </a:cubicBezTo>
                  <a:cubicBezTo>
                    <a:pt x="1900" y="1037"/>
                    <a:pt x="1900" y="1037"/>
                    <a:pt x="1900" y="1037"/>
                  </a:cubicBezTo>
                  <a:cubicBezTo>
                    <a:pt x="1905" y="1029"/>
                    <a:pt x="1905" y="1029"/>
                    <a:pt x="1905" y="1029"/>
                  </a:cubicBezTo>
                  <a:cubicBezTo>
                    <a:pt x="1901" y="1024"/>
                    <a:pt x="1901" y="1024"/>
                    <a:pt x="1901" y="1024"/>
                  </a:cubicBezTo>
                  <a:cubicBezTo>
                    <a:pt x="1901" y="1021"/>
                    <a:pt x="1901" y="1021"/>
                    <a:pt x="1901" y="1021"/>
                  </a:cubicBezTo>
                  <a:cubicBezTo>
                    <a:pt x="1902" y="1017"/>
                    <a:pt x="1902" y="1017"/>
                    <a:pt x="1902" y="1017"/>
                  </a:cubicBezTo>
                  <a:cubicBezTo>
                    <a:pt x="1903" y="1012"/>
                    <a:pt x="1903" y="1012"/>
                    <a:pt x="1903" y="1012"/>
                  </a:cubicBezTo>
                  <a:cubicBezTo>
                    <a:pt x="1906" y="1003"/>
                    <a:pt x="1906" y="1003"/>
                    <a:pt x="1906" y="1003"/>
                  </a:cubicBezTo>
                  <a:cubicBezTo>
                    <a:pt x="1909" y="1001"/>
                    <a:pt x="1909" y="1001"/>
                    <a:pt x="1909" y="1001"/>
                  </a:cubicBezTo>
                  <a:cubicBezTo>
                    <a:pt x="1907" y="995"/>
                    <a:pt x="1907" y="995"/>
                    <a:pt x="1907" y="995"/>
                  </a:cubicBezTo>
                  <a:cubicBezTo>
                    <a:pt x="1911" y="992"/>
                    <a:pt x="1911" y="992"/>
                    <a:pt x="1911" y="992"/>
                  </a:cubicBezTo>
                  <a:cubicBezTo>
                    <a:pt x="1915" y="993"/>
                    <a:pt x="1915" y="993"/>
                    <a:pt x="1915" y="993"/>
                  </a:cubicBezTo>
                  <a:cubicBezTo>
                    <a:pt x="1917" y="989"/>
                    <a:pt x="1917" y="989"/>
                    <a:pt x="1917" y="989"/>
                  </a:cubicBezTo>
                  <a:cubicBezTo>
                    <a:pt x="1923" y="986"/>
                    <a:pt x="1923" y="986"/>
                    <a:pt x="1923" y="986"/>
                  </a:cubicBezTo>
                  <a:cubicBezTo>
                    <a:pt x="1927" y="984"/>
                    <a:pt x="1927" y="984"/>
                    <a:pt x="1927" y="984"/>
                  </a:cubicBezTo>
                  <a:cubicBezTo>
                    <a:pt x="1928" y="979"/>
                    <a:pt x="1928" y="979"/>
                    <a:pt x="1928" y="979"/>
                  </a:cubicBezTo>
                  <a:cubicBezTo>
                    <a:pt x="1931" y="972"/>
                    <a:pt x="1931" y="972"/>
                    <a:pt x="1931" y="972"/>
                  </a:cubicBezTo>
                  <a:cubicBezTo>
                    <a:pt x="1935" y="974"/>
                    <a:pt x="1935" y="974"/>
                    <a:pt x="1935" y="974"/>
                  </a:cubicBezTo>
                  <a:cubicBezTo>
                    <a:pt x="1942" y="966"/>
                    <a:pt x="1942" y="966"/>
                    <a:pt x="1942" y="966"/>
                  </a:cubicBezTo>
                  <a:cubicBezTo>
                    <a:pt x="1948" y="969"/>
                    <a:pt x="1948" y="969"/>
                    <a:pt x="1948" y="969"/>
                  </a:cubicBezTo>
                  <a:cubicBezTo>
                    <a:pt x="1952" y="963"/>
                    <a:pt x="1952" y="963"/>
                    <a:pt x="1952" y="963"/>
                  </a:cubicBezTo>
                  <a:cubicBezTo>
                    <a:pt x="1960" y="958"/>
                    <a:pt x="1960" y="958"/>
                    <a:pt x="1960" y="958"/>
                  </a:cubicBezTo>
                  <a:cubicBezTo>
                    <a:pt x="1964" y="954"/>
                    <a:pt x="1964" y="954"/>
                    <a:pt x="1964" y="954"/>
                  </a:cubicBezTo>
                  <a:lnTo>
                    <a:pt x="1960" y="952"/>
                  </a:lnTo>
                  <a:close/>
                  <a:moveTo>
                    <a:pt x="163" y="1543"/>
                  </a:moveTo>
                  <a:cubicBezTo>
                    <a:pt x="166" y="1540"/>
                    <a:pt x="166" y="1540"/>
                    <a:pt x="166" y="1540"/>
                  </a:cubicBezTo>
                  <a:cubicBezTo>
                    <a:pt x="171" y="1539"/>
                    <a:pt x="171" y="1539"/>
                    <a:pt x="171" y="1539"/>
                  </a:cubicBezTo>
                  <a:cubicBezTo>
                    <a:pt x="173" y="1540"/>
                    <a:pt x="173" y="1540"/>
                    <a:pt x="173" y="1540"/>
                  </a:cubicBezTo>
                  <a:cubicBezTo>
                    <a:pt x="173" y="1544"/>
                    <a:pt x="173" y="1544"/>
                    <a:pt x="173" y="1544"/>
                  </a:cubicBezTo>
                  <a:cubicBezTo>
                    <a:pt x="170" y="1546"/>
                    <a:pt x="170" y="1546"/>
                    <a:pt x="170" y="1546"/>
                  </a:cubicBezTo>
                  <a:cubicBezTo>
                    <a:pt x="167" y="1546"/>
                    <a:pt x="167" y="1546"/>
                    <a:pt x="167" y="1546"/>
                  </a:cubicBezTo>
                  <a:lnTo>
                    <a:pt x="163" y="1543"/>
                  </a:lnTo>
                  <a:close/>
                  <a:moveTo>
                    <a:pt x="198" y="1557"/>
                  </a:moveTo>
                  <a:cubicBezTo>
                    <a:pt x="203" y="1557"/>
                    <a:pt x="203" y="1557"/>
                    <a:pt x="203" y="1557"/>
                  </a:cubicBezTo>
                  <a:cubicBezTo>
                    <a:pt x="205" y="1557"/>
                    <a:pt x="205" y="1557"/>
                    <a:pt x="205" y="1557"/>
                  </a:cubicBezTo>
                  <a:cubicBezTo>
                    <a:pt x="207" y="1556"/>
                    <a:pt x="207" y="1556"/>
                    <a:pt x="207" y="1556"/>
                  </a:cubicBezTo>
                  <a:cubicBezTo>
                    <a:pt x="201" y="1549"/>
                    <a:pt x="201" y="1549"/>
                    <a:pt x="201" y="1549"/>
                  </a:cubicBezTo>
                  <a:cubicBezTo>
                    <a:pt x="198" y="1551"/>
                    <a:pt x="198" y="1551"/>
                    <a:pt x="198" y="1551"/>
                  </a:cubicBezTo>
                  <a:cubicBezTo>
                    <a:pt x="194" y="1551"/>
                    <a:pt x="194" y="1551"/>
                    <a:pt x="194" y="1551"/>
                  </a:cubicBezTo>
                  <a:lnTo>
                    <a:pt x="198" y="1557"/>
                  </a:lnTo>
                  <a:close/>
                  <a:moveTo>
                    <a:pt x="215" y="1562"/>
                  </a:moveTo>
                  <a:cubicBezTo>
                    <a:pt x="217" y="1561"/>
                    <a:pt x="217" y="1561"/>
                    <a:pt x="217" y="1561"/>
                  </a:cubicBezTo>
                  <a:cubicBezTo>
                    <a:pt x="222" y="1561"/>
                    <a:pt x="222" y="1561"/>
                    <a:pt x="222" y="1561"/>
                  </a:cubicBezTo>
                  <a:cubicBezTo>
                    <a:pt x="223" y="1562"/>
                    <a:pt x="223" y="1562"/>
                    <a:pt x="223" y="1562"/>
                  </a:cubicBezTo>
                  <a:cubicBezTo>
                    <a:pt x="227" y="1559"/>
                    <a:pt x="227" y="1559"/>
                    <a:pt x="227" y="1559"/>
                  </a:cubicBezTo>
                  <a:cubicBezTo>
                    <a:pt x="216" y="1557"/>
                    <a:pt x="216" y="1557"/>
                    <a:pt x="216" y="1557"/>
                  </a:cubicBezTo>
                  <a:cubicBezTo>
                    <a:pt x="214" y="1560"/>
                    <a:pt x="214" y="1560"/>
                    <a:pt x="214" y="1560"/>
                  </a:cubicBezTo>
                  <a:lnTo>
                    <a:pt x="215" y="1562"/>
                  </a:lnTo>
                  <a:close/>
                  <a:moveTo>
                    <a:pt x="227" y="1563"/>
                  </a:moveTo>
                  <a:cubicBezTo>
                    <a:pt x="228" y="1565"/>
                    <a:pt x="228" y="1565"/>
                    <a:pt x="228" y="1565"/>
                  </a:cubicBezTo>
                  <a:cubicBezTo>
                    <a:pt x="230" y="1565"/>
                    <a:pt x="230" y="1565"/>
                    <a:pt x="230" y="1565"/>
                  </a:cubicBezTo>
                  <a:cubicBezTo>
                    <a:pt x="232" y="1567"/>
                    <a:pt x="232" y="1567"/>
                    <a:pt x="232" y="1567"/>
                  </a:cubicBezTo>
                  <a:cubicBezTo>
                    <a:pt x="233" y="1570"/>
                    <a:pt x="233" y="1570"/>
                    <a:pt x="233" y="1570"/>
                  </a:cubicBezTo>
                  <a:cubicBezTo>
                    <a:pt x="236" y="1570"/>
                    <a:pt x="236" y="1570"/>
                    <a:pt x="236" y="1570"/>
                  </a:cubicBezTo>
                  <a:cubicBezTo>
                    <a:pt x="242" y="1566"/>
                    <a:pt x="242" y="1566"/>
                    <a:pt x="242" y="1566"/>
                  </a:cubicBezTo>
                  <a:cubicBezTo>
                    <a:pt x="236" y="1563"/>
                    <a:pt x="236" y="1563"/>
                    <a:pt x="236" y="1563"/>
                  </a:cubicBezTo>
                  <a:cubicBezTo>
                    <a:pt x="234" y="1564"/>
                    <a:pt x="234" y="1564"/>
                    <a:pt x="234" y="1564"/>
                  </a:cubicBezTo>
                  <a:cubicBezTo>
                    <a:pt x="231" y="1564"/>
                    <a:pt x="231" y="1564"/>
                    <a:pt x="231" y="1564"/>
                  </a:cubicBezTo>
                  <a:cubicBezTo>
                    <a:pt x="229" y="1561"/>
                    <a:pt x="229" y="1561"/>
                    <a:pt x="229" y="1561"/>
                  </a:cubicBezTo>
                  <a:lnTo>
                    <a:pt x="227" y="1563"/>
                  </a:lnTo>
                  <a:close/>
                  <a:moveTo>
                    <a:pt x="222" y="1568"/>
                  </a:moveTo>
                  <a:cubicBezTo>
                    <a:pt x="225" y="1566"/>
                    <a:pt x="225" y="1566"/>
                    <a:pt x="225" y="1566"/>
                  </a:cubicBezTo>
                  <a:cubicBezTo>
                    <a:pt x="223" y="1564"/>
                    <a:pt x="223" y="1564"/>
                    <a:pt x="223" y="1564"/>
                  </a:cubicBezTo>
                  <a:cubicBezTo>
                    <a:pt x="219" y="1564"/>
                    <a:pt x="219" y="1564"/>
                    <a:pt x="219" y="1564"/>
                  </a:cubicBezTo>
                  <a:lnTo>
                    <a:pt x="222" y="1568"/>
                  </a:lnTo>
                  <a:close/>
                  <a:moveTo>
                    <a:pt x="230" y="1571"/>
                  </a:moveTo>
                  <a:cubicBezTo>
                    <a:pt x="228" y="1569"/>
                    <a:pt x="228" y="1569"/>
                    <a:pt x="228" y="1569"/>
                  </a:cubicBezTo>
                  <a:cubicBezTo>
                    <a:pt x="228" y="1571"/>
                    <a:pt x="228" y="1571"/>
                    <a:pt x="228" y="1571"/>
                  </a:cubicBezTo>
                  <a:lnTo>
                    <a:pt x="230" y="1571"/>
                  </a:lnTo>
                  <a:close/>
                  <a:moveTo>
                    <a:pt x="155" y="1548"/>
                  </a:moveTo>
                  <a:cubicBezTo>
                    <a:pt x="158" y="1544"/>
                    <a:pt x="158" y="1544"/>
                    <a:pt x="158" y="1544"/>
                  </a:cubicBezTo>
                  <a:cubicBezTo>
                    <a:pt x="157" y="1543"/>
                    <a:pt x="157" y="1543"/>
                    <a:pt x="157" y="1543"/>
                  </a:cubicBezTo>
                  <a:cubicBezTo>
                    <a:pt x="153" y="1548"/>
                    <a:pt x="153" y="1548"/>
                    <a:pt x="153" y="1548"/>
                  </a:cubicBezTo>
                  <a:lnTo>
                    <a:pt x="155" y="1548"/>
                  </a:lnTo>
                  <a:close/>
                  <a:moveTo>
                    <a:pt x="244" y="1580"/>
                  </a:moveTo>
                  <a:cubicBezTo>
                    <a:pt x="245" y="1582"/>
                    <a:pt x="245" y="1582"/>
                    <a:pt x="245" y="1582"/>
                  </a:cubicBezTo>
                  <a:cubicBezTo>
                    <a:pt x="241" y="1585"/>
                    <a:pt x="241" y="1585"/>
                    <a:pt x="241" y="1585"/>
                  </a:cubicBezTo>
                  <a:cubicBezTo>
                    <a:pt x="244" y="1593"/>
                    <a:pt x="244" y="1593"/>
                    <a:pt x="244" y="1593"/>
                  </a:cubicBezTo>
                  <a:cubicBezTo>
                    <a:pt x="244" y="1600"/>
                    <a:pt x="244" y="1600"/>
                    <a:pt x="244" y="1600"/>
                  </a:cubicBezTo>
                  <a:cubicBezTo>
                    <a:pt x="250" y="1601"/>
                    <a:pt x="250" y="1601"/>
                    <a:pt x="250" y="1601"/>
                  </a:cubicBezTo>
                  <a:cubicBezTo>
                    <a:pt x="254" y="1596"/>
                    <a:pt x="254" y="1596"/>
                    <a:pt x="254" y="1596"/>
                  </a:cubicBezTo>
                  <a:cubicBezTo>
                    <a:pt x="259" y="1594"/>
                    <a:pt x="259" y="1594"/>
                    <a:pt x="259" y="1594"/>
                  </a:cubicBezTo>
                  <a:cubicBezTo>
                    <a:pt x="265" y="1592"/>
                    <a:pt x="265" y="1592"/>
                    <a:pt x="265" y="1592"/>
                  </a:cubicBezTo>
                  <a:cubicBezTo>
                    <a:pt x="266" y="1590"/>
                    <a:pt x="266" y="1590"/>
                    <a:pt x="266" y="1590"/>
                  </a:cubicBezTo>
                  <a:cubicBezTo>
                    <a:pt x="260" y="1586"/>
                    <a:pt x="260" y="1586"/>
                    <a:pt x="260" y="1586"/>
                  </a:cubicBezTo>
                  <a:cubicBezTo>
                    <a:pt x="260" y="1583"/>
                    <a:pt x="260" y="1583"/>
                    <a:pt x="260" y="1583"/>
                  </a:cubicBezTo>
                  <a:cubicBezTo>
                    <a:pt x="251" y="1578"/>
                    <a:pt x="251" y="1578"/>
                    <a:pt x="251" y="1578"/>
                  </a:cubicBezTo>
                  <a:cubicBezTo>
                    <a:pt x="244" y="1576"/>
                    <a:pt x="244" y="1576"/>
                    <a:pt x="244" y="1576"/>
                  </a:cubicBezTo>
                  <a:lnTo>
                    <a:pt x="244" y="1580"/>
                  </a:lnTo>
                  <a:close/>
                  <a:moveTo>
                    <a:pt x="288" y="622"/>
                  </a:moveTo>
                  <a:cubicBezTo>
                    <a:pt x="284" y="617"/>
                    <a:pt x="284" y="617"/>
                    <a:pt x="284" y="617"/>
                  </a:cubicBezTo>
                  <a:cubicBezTo>
                    <a:pt x="269" y="625"/>
                    <a:pt x="269" y="625"/>
                    <a:pt x="269" y="625"/>
                  </a:cubicBezTo>
                  <a:cubicBezTo>
                    <a:pt x="268" y="639"/>
                    <a:pt x="268" y="639"/>
                    <a:pt x="268" y="639"/>
                  </a:cubicBezTo>
                  <a:cubicBezTo>
                    <a:pt x="279" y="648"/>
                    <a:pt x="279" y="648"/>
                    <a:pt x="279" y="648"/>
                  </a:cubicBezTo>
                  <a:cubicBezTo>
                    <a:pt x="280" y="639"/>
                    <a:pt x="280" y="639"/>
                    <a:pt x="280" y="639"/>
                  </a:cubicBezTo>
                  <a:cubicBezTo>
                    <a:pt x="290" y="636"/>
                    <a:pt x="290" y="636"/>
                    <a:pt x="290" y="636"/>
                  </a:cubicBezTo>
                  <a:cubicBezTo>
                    <a:pt x="285" y="650"/>
                    <a:pt x="285" y="650"/>
                    <a:pt x="285" y="650"/>
                  </a:cubicBezTo>
                  <a:cubicBezTo>
                    <a:pt x="290" y="650"/>
                    <a:pt x="290" y="650"/>
                    <a:pt x="290" y="650"/>
                  </a:cubicBezTo>
                  <a:cubicBezTo>
                    <a:pt x="295" y="640"/>
                    <a:pt x="295" y="640"/>
                    <a:pt x="295" y="640"/>
                  </a:cubicBezTo>
                  <a:cubicBezTo>
                    <a:pt x="306" y="638"/>
                    <a:pt x="306" y="638"/>
                    <a:pt x="306" y="638"/>
                  </a:cubicBezTo>
                  <a:cubicBezTo>
                    <a:pt x="308" y="633"/>
                    <a:pt x="308" y="633"/>
                    <a:pt x="308" y="633"/>
                  </a:cubicBezTo>
                  <a:cubicBezTo>
                    <a:pt x="307" y="629"/>
                    <a:pt x="307" y="629"/>
                    <a:pt x="307" y="629"/>
                  </a:cubicBezTo>
                  <a:cubicBezTo>
                    <a:pt x="317" y="625"/>
                    <a:pt x="317" y="625"/>
                    <a:pt x="317" y="625"/>
                  </a:cubicBezTo>
                  <a:cubicBezTo>
                    <a:pt x="308" y="617"/>
                    <a:pt x="308" y="617"/>
                    <a:pt x="308" y="617"/>
                  </a:cubicBezTo>
                  <a:cubicBezTo>
                    <a:pt x="317" y="617"/>
                    <a:pt x="317" y="617"/>
                    <a:pt x="317" y="617"/>
                  </a:cubicBezTo>
                  <a:cubicBezTo>
                    <a:pt x="324" y="611"/>
                    <a:pt x="324" y="611"/>
                    <a:pt x="324" y="611"/>
                  </a:cubicBezTo>
                  <a:cubicBezTo>
                    <a:pt x="320" y="603"/>
                    <a:pt x="320" y="603"/>
                    <a:pt x="320" y="603"/>
                  </a:cubicBezTo>
                  <a:cubicBezTo>
                    <a:pt x="310" y="609"/>
                    <a:pt x="310" y="609"/>
                    <a:pt x="310" y="609"/>
                  </a:cubicBezTo>
                  <a:cubicBezTo>
                    <a:pt x="308" y="603"/>
                    <a:pt x="308" y="603"/>
                    <a:pt x="308" y="603"/>
                  </a:cubicBezTo>
                  <a:cubicBezTo>
                    <a:pt x="302" y="610"/>
                    <a:pt x="302" y="610"/>
                    <a:pt x="302" y="610"/>
                  </a:cubicBezTo>
                  <a:cubicBezTo>
                    <a:pt x="300" y="603"/>
                    <a:pt x="300" y="603"/>
                    <a:pt x="300" y="603"/>
                  </a:cubicBezTo>
                  <a:cubicBezTo>
                    <a:pt x="286" y="611"/>
                    <a:pt x="286" y="611"/>
                    <a:pt x="286" y="611"/>
                  </a:cubicBezTo>
                  <a:lnTo>
                    <a:pt x="288" y="622"/>
                  </a:lnTo>
                  <a:close/>
                  <a:moveTo>
                    <a:pt x="70" y="728"/>
                  </a:moveTo>
                  <a:cubicBezTo>
                    <a:pt x="83" y="726"/>
                    <a:pt x="83" y="726"/>
                    <a:pt x="83" y="726"/>
                  </a:cubicBezTo>
                  <a:cubicBezTo>
                    <a:pt x="83" y="721"/>
                    <a:pt x="83" y="721"/>
                    <a:pt x="83" y="721"/>
                  </a:cubicBezTo>
                  <a:cubicBezTo>
                    <a:pt x="99" y="717"/>
                    <a:pt x="99" y="717"/>
                    <a:pt x="99" y="717"/>
                  </a:cubicBezTo>
                  <a:cubicBezTo>
                    <a:pt x="99" y="711"/>
                    <a:pt x="99" y="711"/>
                    <a:pt x="99" y="711"/>
                  </a:cubicBezTo>
                  <a:cubicBezTo>
                    <a:pt x="96" y="704"/>
                    <a:pt x="96" y="704"/>
                    <a:pt x="96" y="704"/>
                  </a:cubicBezTo>
                  <a:cubicBezTo>
                    <a:pt x="79" y="703"/>
                    <a:pt x="79" y="703"/>
                    <a:pt x="79" y="703"/>
                  </a:cubicBezTo>
                  <a:cubicBezTo>
                    <a:pt x="72" y="719"/>
                    <a:pt x="72" y="719"/>
                    <a:pt x="72" y="719"/>
                  </a:cubicBezTo>
                  <a:cubicBezTo>
                    <a:pt x="67" y="720"/>
                    <a:pt x="67" y="720"/>
                    <a:pt x="67" y="720"/>
                  </a:cubicBezTo>
                  <a:lnTo>
                    <a:pt x="70" y="728"/>
                  </a:lnTo>
                  <a:close/>
                  <a:moveTo>
                    <a:pt x="11" y="762"/>
                  </a:moveTo>
                  <a:cubicBezTo>
                    <a:pt x="22" y="756"/>
                    <a:pt x="22" y="756"/>
                    <a:pt x="22" y="756"/>
                  </a:cubicBezTo>
                  <a:cubicBezTo>
                    <a:pt x="40" y="754"/>
                    <a:pt x="40" y="754"/>
                    <a:pt x="40" y="754"/>
                  </a:cubicBezTo>
                  <a:cubicBezTo>
                    <a:pt x="45" y="744"/>
                    <a:pt x="45" y="744"/>
                    <a:pt x="45" y="744"/>
                  </a:cubicBezTo>
                  <a:cubicBezTo>
                    <a:pt x="46" y="733"/>
                    <a:pt x="46" y="733"/>
                    <a:pt x="46" y="733"/>
                  </a:cubicBezTo>
                  <a:cubicBezTo>
                    <a:pt x="34" y="739"/>
                    <a:pt x="34" y="739"/>
                    <a:pt x="34" y="739"/>
                  </a:cubicBezTo>
                  <a:cubicBezTo>
                    <a:pt x="33" y="736"/>
                    <a:pt x="33" y="736"/>
                    <a:pt x="33" y="736"/>
                  </a:cubicBezTo>
                  <a:cubicBezTo>
                    <a:pt x="23" y="738"/>
                    <a:pt x="23" y="738"/>
                    <a:pt x="23" y="738"/>
                  </a:cubicBezTo>
                  <a:cubicBezTo>
                    <a:pt x="33" y="746"/>
                    <a:pt x="33" y="746"/>
                    <a:pt x="33" y="746"/>
                  </a:cubicBezTo>
                  <a:cubicBezTo>
                    <a:pt x="12" y="758"/>
                    <a:pt x="12" y="758"/>
                    <a:pt x="12" y="758"/>
                  </a:cubicBezTo>
                  <a:lnTo>
                    <a:pt x="11" y="762"/>
                  </a:lnTo>
                  <a:close/>
                  <a:moveTo>
                    <a:pt x="23" y="522"/>
                  </a:moveTo>
                  <a:cubicBezTo>
                    <a:pt x="29" y="522"/>
                    <a:pt x="29" y="522"/>
                    <a:pt x="29" y="522"/>
                  </a:cubicBezTo>
                  <a:cubicBezTo>
                    <a:pt x="36" y="529"/>
                    <a:pt x="36" y="529"/>
                    <a:pt x="36" y="529"/>
                  </a:cubicBezTo>
                  <a:cubicBezTo>
                    <a:pt x="45" y="529"/>
                    <a:pt x="45" y="529"/>
                    <a:pt x="45" y="529"/>
                  </a:cubicBezTo>
                  <a:cubicBezTo>
                    <a:pt x="48" y="510"/>
                    <a:pt x="48" y="510"/>
                    <a:pt x="48" y="510"/>
                  </a:cubicBezTo>
                  <a:cubicBezTo>
                    <a:pt x="37" y="504"/>
                    <a:pt x="37" y="504"/>
                    <a:pt x="37" y="504"/>
                  </a:cubicBezTo>
                  <a:cubicBezTo>
                    <a:pt x="30" y="511"/>
                    <a:pt x="30" y="511"/>
                    <a:pt x="30" y="511"/>
                  </a:cubicBezTo>
                  <a:cubicBezTo>
                    <a:pt x="17" y="512"/>
                    <a:pt x="17" y="512"/>
                    <a:pt x="17" y="512"/>
                  </a:cubicBezTo>
                  <a:lnTo>
                    <a:pt x="23" y="522"/>
                  </a:lnTo>
                  <a:close/>
                  <a:moveTo>
                    <a:pt x="610" y="601"/>
                  </a:moveTo>
                  <a:cubicBezTo>
                    <a:pt x="618" y="606"/>
                    <a:pt x="618" y="606"/>
                    <a:pt x="618" y="606"/>
                  </a:cubicBezTo>
                  <a:cubicBezTo>
                    <a:pt x="625" y="617"/>
                    <a:pt x="625" y="617"/>
                    <a:pt x="625" y="617"/>
                  </a:cubicBezTo>
                  <a:cubicBezTo>
                    <a:pt x="629" y="610"/>
                    <a:pt x="629" y="610"/>
                    <a:pt x="629" y="610"/>
                  </a:cubicBezTo>
                  <a:cubicBezTo>
                    <a:pt x="640" y="617"/>
                    <a:pt x="640" y="617"/>
                    <a:pt x="640" y="617"/>
                  </a:cubicBezTo>
                  <a:cubicBezTo>
                    <a:pt x="644" y="612"/>
                    <a:pt x="644" y="612"/>
                    <a:pt x="644" y="612"/>
                  </a:cubicBezTo>
                  <a:cubicBezTo>
                    <a:pt x="632" y="602"/>
                    <a:pt x="632" y="602"/>
                    <a:pt x="632" y="602"/>
                  </a:cubicBezTo>
                  <a:cubicBezTo>
                    <a:pt x="641" y="598"/>
                    <a:pt x="641" y="598"/>
                    <a:pt x="641" y="598"/>
                  </a:cubicBezTo>
                  <a:cubicBezTo>
                    <a:pt x="626" y="590"/>
                    <a:pt x="626" y="590"/>
                    <a:pt x="626" y="590"/>
                  </a:cubicBezTo>
                  <a:cubicBezTo>
                    <a:pt x="616" y="590"/>
                    <a:pt x="616" y="590"/>
                    <a:pt x="616" y="590"/>
                  </a:cubicBezTo>
                  <a:lnTo>
                    <a:pt x="610" y="601"/>
                  </a:lnTo>
                  <a:close/>
                  <a:moveTo>
                    <a:pt x="640" y="589"/>
                  </a:moveTo>
                  <a:cubicBezTo>
                    <a:pt x="649" y="600"/>
                    <a:pt x="649" y="600"/>
                    <a:pt x="649" y="600"/>
                  </a:cubicBezTo>
                  <a:cubicBezTo>
                    <a:pt x="649" y="626"/>
                    <a:pt x="649" y="626"/>
                    <a:pt x="649" y="626"/>
                  </a:cubicBezTo>
                  <a:cubicBezTo>
                    <a:pt x="659" y="615"/>
                    <a:pt x="659" y="615"/>
                    <a:pt x="659" y="615"/>
                  </a:cubicBezTo>
                  <a:cubicBezTo>
                    <a:pt x="660" y="608"/>
                    <a:pt x="660" y="608"/>
                    <a:pt x="660" y="608"/>
                  </a:cubicBezTo>
                  <a:cubicBezTo>
                    <a:pt x="656" y="595"/>
                    <a:pt x="656" y="595"/>
                    <a:pt x="656" y="595"/>
                  </a:cubicBezTo>
                  <a:cubicBezTo>
                    <a:pt x="642" y="588"/>
                    <a:pt x="642" y="588"/>
                    <a:pt x="642" y="588"/>
                  </a:cubicBezTo>
                  <a:lnTo>
                    <a:pt x="640" y="589"/>
                  </a:lnTo>
                  <a:close/>
                  <a:moveTo>
                    <a:pt x="662" y="637"/>
                  </a:moveTo>
                  <a:cubicBezTo>
                    <a:pt x="667" y="641"/>
                    <a:pt x="667" y="641"/>
                    <a:pt x="667" y="641"/>
                  </a:cubicBezTo>
                  <a:cubicBezTo>
                    <a:pt x="667" y="650"/>
                    <a:pt x="667" y="650"/>
                    <a:pt x="667" y="650"/>
                  </a:cubicBezTo>
                  <a:cubicBezTo>
                    <a:pt x="677" y="649"/>
                    <a:pt x="677" y="649"/>
                    <a:pt x="677" y="649"/>
                  </a:cubicBezTo>
                  <a:cubicBezTo>
                    <a:pt x="684" y="646"/>
                    <a:pt x="684" y="646"/>
                    <a:pt x="684" y="646"/>
                  </a:cubicBezTo>
                  <a:cubicBezTo>
                    <a:pt x="673" y="634"/>
                    <a:pt x="673" y="634"/>
                    <a:pt x="673" y="634"/>
                  </a:cubicBezTo>
                  <a:cubicBezTo>
                    <a:pt x="664" y="631"/>
                    <a:pt x="664" y="631"/>
                    <a:pt x="664" y="631"/>
                  </a:cubicBezTo>
                  <a:lnTo>
                    <a:pt x="662" y="637"/>
                  </a:lnTo>
                  <a:close/>
                  <a:moveTo>
                    <a:pt x="630" y="623"/>
                  </a:moveTo>
                  <a:cubicBezTo>
                    <a:pt x="635" y="632"/>
                    <a:pt x="635" y="632"/>
                    <a:pt x="635" y="632"/>
                  </a:cubicBezTo>
                  <a:cubicBezTo>
                    <a:pt x="635" y="642"/>
                    <a:pt x="635" y="642"/>
                    <a:pt x="635" y="642"/>
                  </a:cubicBezTo>
                  <a:cubicBezTo>
                    <a:pt x="646" y="657"/>
                    <a:pt x="646" y="657"/>
                    <a:pt x="646" y="657"/>
                  </a:cubicBezTo>
                  <a:cubicBezTo>
                    <a:pt x="646" y="631"/>
                    <a:pt x="646" y="631"/>
                    <a:pt x="646" y="631"/>
                  </a:cubicBezTo>
                  <a:cubicBezTo>
                    <a:pt x="638" y="624"/>
                    <a:pt x="638" y="624"/>
                    <a:pt x="638" y="624"/>
                  </a:cubicBezTo>
                  <a:cubicBezTo>
                    <a:pt x="634" y="618"/>
                    <a:pt x="634" y="618"/>
                    <a:pt x="634" y="618"/>
                  </a:cubicBezTo>
                  <a:lnTo>
                    <a:pt x="630" y="623"/>
                  </a:lnTo>
                  <a:close/>
                  <a:moveTo>
                    <a:pt x="656" y="647"/>
                  </a:moveTo>
                  <a:cubicBezTo>
                    <a:pt x="652" y="657"/>
                    <a:pt x="652" y="657"/>
                    <a:pt x="652" y="657"/>
                  </a:cubicBezTo>
                  <a:cubicBezTo>
                    <a:pt x="658" y="663"/>
                    <a:pt x="658" y="663"/>
                    <a:pt x="658" y="663"/>
                  </a:cubicBezTo>
                  <a:cubicBezTo>
                    <a:pt x="661" y="643"/>
                    <a:pt x="661" y="643"/>
                    <a:pt x="661" y="643"/>
                  </a:cubicBezTo>
                  <a:cubicBezTo>
                    <a:pt x="658" y="633"/>
                    <a:pt x="658" y="633"/>
                    <a:pt x="658" y="633"/>
                  </a:cubicBezTo>
                  <a:cubicBezTo>
                    <a:pt x="650" y="636"/>
                    <a:pt x="650" y="636"/>
                    <a:pt x="650" y="636"/>
                  </a:cubicBezTo>
                  <a:lnTo>
                    <a:pt x="656" y="647"/>
                  </a:lnTo>
                  <a:close/>
                  <a:moveTo>
                    <a:pt x="672" y="672"/>
                  </a:moveTo>
                  <a:cubicBezTo>
                    <a:pt x="673" y="683"/>
                    <a:pt x="673" y="683"/>
                    <a:pt x="673" y="683"/>
                  </a:cubicBezTo>
                  <a:cubicBezTo>
                    <a:pt x="681" y="701"/>
                    <a:pt x="681" y="701"/>
                    <a:pt x="681" y="701"/>
                  </a:cubicBezTo>
                  <a:cubicBezTo>
                    <a:pt x="690" y="686"/>
                    <a:pt x="690" y="686"/>
                    <a:pt x="690" y="686"/>
                  </a:cubicBezTo>
                  <a:cubicBezTo>
                    <a:pt x="682" y="671"/>
                    <a:pt x="682" y="671"/>
                    <a:pt x="682" y="671"/>
                  </a:cubicBezTo>
                  <a:cubicBezTo>
                    <a:pt x="676" y="669"/>
                    <a:pt x="676" y="669"/>
                    <a:pt x="676" y="669"/>
                  </a:cubicBezTo>
                  <a:cubicBezTo>
                    <a:pt x="676" y="662"/>
                    <a:pt x="676" y="662"/>
                    <a:pt x="676" y="662"/>
                  </a:cubicBezTo>
                  <a:cubicBezTo>
                    <a:pt x="668" y="656"/>
                    <a:pt x="668" y="656"/>
                    <a:pt x="668" y="656"/>
                  </a:cubicBezTo>
                  <a:cubicBezTo>
                    <a:pt x="663" y="668"/>
                    <a:pt x="663" y="668"/>
                    <a:pt x="663" y="668"/>
                  </a:cubicBezTo>
                  <a:lnTo>
                    <a:pt x="672" y="672"/>
                  </a:lnTo>
                  <a:close/>
                  <a:moveTo>
                    <a:pt x="724" y="705"/>
                  </a:moveTo>
                  <a:cubicBezTo>
                    <a:pt x="732" y="690"/>
                    <a:pt x="732" y="690"/>
                    <a:pt x="732" y="690"/>
                  </a:cubicBezTo>
                  <a:cubicBezTo>
                    <a:pt x="724" y="670"/>
                    <a:pt x="724" y="670"/>
                    <a:pt x="724" y="670"/>
                  </a:cubicBezTo>
                  <a:cubicBezTo>
                    <a:pt x="717" y="655"/>
                    <a:pt x="717" y="655"/>
                    <a:pt x="717" y="655"/>
                  </a:cubicBezTo>
                  <a:cubicBezTo>
                    <a:pt x="697" y="647"/>
                    <a:pt x="697" y="647"/>
                    <a:pt x="697" y="647"/>
                  </a:cubicBezTo>
                  <a:cubicBezTo>
                    <a:pt x="684" y="620"/>
                    <a:pt x="684" y="620"/>
                    <a:pt x="684" y="620"/>
                  </a:cubicBezTo>
                  <a:cubicBezTo>
                    <a:pt x="644" y="552"/>
                    <a:pt x="644" y="552"/>
                    <a:pt x="644" y="552"/>
                  </a:cubicBezTo>
                  <a:cubicBezTo>
                    <a:pt x="634" y="534"/>
                    <a:pt x="634" y="534"/>
                    <a:pt x="634" y="534"/>
                  </a:cubicBezTo>
                  <a:cubicBezTo>
                    <a:pt x="611" y="532"/>
                    <a:pt x="611" y="532"/>
                    <a:pt x="611" y="532"/>
                  </a:cubicBezTo>
                  <a:cubicBezTo>
                    <a:pt x="591" y="555"/>
                    <a:pt x="591" y="555"/>
                    <a:pt x="591" y="555"/>
                  </a:cubicBezTo>
                  <a:cubicBezTo>
                    <a:pt x="566" y="522"/>
                    <a:pt x="566" y="522"/>
                    <a:pt x="566" y="522"/>
                  </a:cubicBezTo>
                  <a:cubicBezTo>
                    <a:pt x="559" y="519"/>
                    <a:pt x="559" y="519"/>
                    <a:pt x="559" y="519"/>
                  </a:cubicBezTo>
                  <a:cubicBezTo>
                    <a:pt x="554" y="509"/>
                    <a:pt x="554" y="509"/>
                    <a:pt x="554" y="509"/>
                  </a:cubicBezTo>
                  <a:cubicBezTo>
                    <a:pt x="529" y="512"/>
                    <a:pt x="529" y="512"/>
                    <a:pt x="529" y="512"/>
                  </a:cubicBezTo>
                  <a:cubicBezTo>
                    <a:pt x="521" y="502"/>
                    <a:pt x="521" y="502"/>
                    <a:pt x="521" y="502"/>
                  </a:cubicBezTo>
                  <a:cubicBezTo>
                    <a:pt x="516" y="138"/>
                    <a:pt x="516" y="138"/>
                    <a:pt x="516" y="138"/>
                  </a:cubicBezTo>
                  <a:cubicBezTo>
                    <a:pt x="493" y="125"/>
                    <a:pt x="493" y="125"/>
                    <a:pt x="493" y="125"/>
                  </a:cubicBezTo>
                  <a:cubicBezTo>
                    <a:pt x="473" y="115"/>
                    <a:pt x="473" y="115"/>
                    <a:pt x="473" y="115"/>
                  </a:cubicBezTo>
                  <a:cubicBezTo>
                    <a:pt x="454" y="100"/>
                    <a:pt x="454" y="100"/>
                    <a:pt x="454" y="100"/>
                  </a:cubicBezTo>
                  <a:cubicBezTo>
                    <a:pt x="442" y="109"/>
                    <a:pt x="442" y="109"/>
                    <a:pt x="442" y="109"/>
                  </a:cubicBezTo>
                  <a:cubicBezTo>
                    <a:pt x="434" y="101"/>
                    <a:pt x="434" y="101"/>
                    <a:pt x="434" y="101"/>
                  </a:cubicBezTo>
                  <a:cubicBezTo>
                    <a:pt x="412" y="96"/>
                    <a:pt x="412" y="96"/>
                    <a:pt x="412" y="96"/>
                  </a:cubicBezTo>
                  <a:cubicBezTo>
                    <a:pt x="407" y="98"/>
                    <a:pt x="407" y="98"/>
                    <a:pt x="407" y="98"/>
                  </a:cubicBezTo>
                  <a:cubicBezTo>
                    <a:pt x="378" y="86"/>
                    <a:pt x="378" y="86"/>
                    <a:pt x="378" y="86"/>
                  </a:cubicBezTo>
                  <a:cubicBezTo>
                    <a:pt x="370" y="90"/>
                    <a:pt x="370" y="90"/>
                    <a:pt x="370" y="90"/>
                  </a:cubicBezTo>
                  <a:cubicBezTo>
                    <a:pt x="370" y="81"/>
                    <a:pt x="370" y="81"/>
                    <a:pt x="370" y="81"/>
                  </a:cubicBezTo>
                  <a:cubicBezTo>
                    <a:pt x="344" y="79"/>
                    <a:pt x="344" y="79"/>
                    <a:pt x="344" y="79"/>
                  </a:cubicBezTo>
                  <a:cubicBezTo>
                    <a:pt x="328" y="89"/>
                    <a:pt x="328" y="89"/>
                    <a:pt x="328" y="89"/>
                  </a:cubicBezTo>
                  <a:cubicBezTo>
                    <a:pt x="330" y="79"/>
                    <a:pt x="330" y="79"/>
                    <a:pt x="330" y="79"/>
                  </a:cubicBezTo>
                  <a:cubicBezTo>
                    <a:pt x="297" y="61"/>
                    <a:pt x="297" y="61"/>
                    <a:pt x="297" y="61"/>
                  </a:cubicBezTo>
                  <a:cubicBezTo>
                    <a:pt x="294" y="44"/>
                    <a:pt x="294" y="44"/>
                    <a:pt x="294" y="44"/>
                  </a:cubicBezTo>
                  <a:cubicBezTo>
                    <a:pt x="268" y="40"/>
                    <a:pt x="268" y="40"/>
                    <a:pt x="268" y="40"/>
                  </a:cubicBezTo>
                  <a:cubicBezTo>
                    <a:pt x="268" y="22"/>
                    <a:pt x="268" y="22"/>
                    <a:pt x="268" y="22"/>
                  </a:cubicBezTo>
                  <a:cubicBezTo>
                    <a:pt x="257" y="14"/>
                    <a:pt x="257" y="14"/>
                    <a:pt x="257" y="14"/>
                  </a:cubicBezTo>
                  <a:cubicBezTo>
                    <a:pt x="253" y="39"/>
                    <a:pt x="253" y="39"/>
                    <a:pt x="253" y="39"/>
                  </a:cubicBezTo>
                  <a:cubicBezTo>
                    <a:pt x="237" y="43"/>
                    <a:pt x="237" y="43"/>
                    <a:pt x="237" y="43"/>
                  </a:cubicBezTo>
                  <a:cubicBezTo>
                    <a:pt x="235" y="33"/>
                    <a:pt x="235" y="33"/>
                    <a:pt x="235" y="33"/>
                  </a:cubicBezTo>
                  <a:cubicBezTo>
                    <a:pt x="244" y="28"/>
                    <a:pt x="244" y="28"/>
                    <a:pt x="244" y="28"/>
                  </a:cubicBezTo>
                  <a:cubicBezTo>
                    <a:pt x="250" y="15"/>
                    <a:pt x="250" y="15"/>
                    <a:pt x="250" y="15"/>
                  </a:cubicBezTo>
                  <a:cubicBezTo>
                    <a:pt x="239" y="10"/>
                    <a:pt x="239" y="10"/>
                    <a:pt x="239" y="10"/>
                  </a:cubicBezTo>
                  <a:cubicBezTo>
                    <a:pt x="227" y="0"/>
                    <a:pt x="227" y="0"/>
                    <a:pt x="227" y="0"/>
                  </a:cubicBezTo>
                  <a:cubicBezTo>
                    <a:pt x="197" y="39"/>
                    <a:pt x="197" y="39"/>
                    <a:pt x="197" y="39"/>
                  </a:cubicBezTo>
                  <a:cubicBezTo>
                    <a:pt x="175" y="46"/>
                    <a:pt x="175" y="46"/>
                    <a:pt x="175" y="46"/>
                  </a:cubicBezTo>
                  <a:cubicBezTo>
                    <a:pt x="158" y="56"/>
                    <a:pt x="158" y="56"/>
                    <a:pt x="158" y="56"/>
                  </a:cubicBezTo>
                  <a:cubicBezTo>
                    <a:pt x="162" y="69"/>
                    <a:pt x="162" y="69"/>
                    <a:pt x="162" y="69"/>
                  </a:cubicBezTo>
                  <a:cubicBezTo>
                    <a:pt x="154" y="64"/>
                    <a:pt x="154" y="64"/>
                    <a:pt x="154" y="64"/>
                  </a:cubicBezTo>
                  <a:cubicBezTo>
                    <a:pt x="124" y="65"/>
                    <a:pt x="124" y="65"/>
                    <a:pt x="124" y="65"/>
                  </a:cubicBezTo>
                  <a:cubicBezTo>
                    <a:pt x="113" y="87"/>
                    <a:pt x="113" y="87"/>
                    <a:pt x="113" y="87"/>
                  </a:cubicBezTo>
                  <a:cubicBezTo>
                    <a:pt x="109" y="89"/>
                    <a:pt x="109" y="89"/>
                    <a:pt x="109" y="89"/>
                  </a:cubicBezTo>
                  <a:cubicBezTo>
                    <a:pt x="99" y="105"/>
                    <a:pt x="99" y="105"/>
                    <a:pt x="99" y="105"/>
                  </a:cubicBezTo>
                  <a:cubicBezTo>
                    <a:pt x="98" y="122"/>
                    <a:pt x="98" y="122"/>
                    <a:pt x="98" y="122"/>
                  </a:cubicBezTo>
                  <a:cubicBezTo>
                    <a:pt x="94" y="132"/>
                    <a:pt x="94" y="132"/>
                    <a:pt x="94" y="132"/>
                  </a:cubicBezTo>
                  <a:cubicBezTo>
                    <a:pt x="68" y="142"/>
                    <a:pt x="68" y="142"/>
                    <a:pt x="68" y="142"/>
                  </a:cubicBezTo>
                  <a:cubicBezTo>
                    <a:pt x="59" y="150"/>
                    <a:pt x="59" y="150"/>
                    <a:pt x="59" y="150"/>
                  </a:cubicBezTo>
                  <a:cubicBezTo>
                    <a:pt x="37" y="151"/>
                    <a:pt x="37" y="151"/>
                    <a:pt x="37" y="151"/>
                  </a:cubicBezTo>
                  <a:cubicBezTo>
                    <a:pt x="34" y="169"/>
                    <a:pt x="34" y="169"/>
                    <a:pt x="34" y="169"/>
                  </a:cubicBezTo>
                  <a:cubicBezTo>
                    <a:pt x="30" y="176"/>
                    <a:pt x="30" y="176"/>
                    <a:pt x="30" y="176"/>
                  </a:cubicBezTo>
                  <a:cubicBezTo>
                    <a:pt x="39" y="183"/>
                    <a:pt x="39" y="183"/>
                    <a:pt x="39" y="183"/>
                  </a:cubicBezTo>
                  <a:cubicBezTo>
                    <a:pt x="58" y="187"/>
                    <a:pt x="58" y="187"/>
                    <a:pt x="58" y="187"/>
                  </a:cubicBezTo>
                  <a:cubicBezTo>
                    <a:pt x="88" y="210"/>
                    <a:pt x="88" y="210"/>
                    <a:pt x="88" y="210"/>
                  </a:cubicBezTo>
                  <a:cubicBezTo>
                    <a:pt x="89" y="226"/>
                    <a:pt x="89" y="226"/>
                    <a:pt x="89" y="226"/>
                  </a:cubicBezTo>
                  <a:cubicBezTo>
                    <a:pt x="105" y="228"/>
                    <a:pt x="105" y="228"/>
                    <a:pt x="105" y="228"/>
                  </a:cubicBezTo>
                  <a:cubicBezTo>
                    <a:pt x="111" y="232"/>
                    <a:pt x="111" y="232"/>
                    <a:pt x="111" y="232"/>
                  </a:cubicBezTo>
                  <a:cubicBezTo>
                    <a:pt x="110" y="242"/>
                    <a:pt x="110" y="242"/>
                    <a:pt x="110" y="242"/>
                  </a:cubicBezTo>
                  <a:cubicBezTo>
                    <a:pt x="121" y="256"/>
                    <a:pt x="121" y="256"/>
                    <a:pt x="121" y="256"/>
                  </a:cubicBezTo>
                  <a:cubicBezTo>
                    <a:pt x="123" y="264"/>
                    <a:pt x="123" y="264"/>
                    <a:pt x="123" y="264"/>
                  </a:cubicBezTo>
                  <a:cubicBezTo>
                    <a:pt x="131" y="266"/>
                    <a:pt x="131" y="266"/>
                    <a:pt x="131" y="266"/>
                  </a:cubicBezTo>
                  <a:cubicBezTo>
                    <a:pt x="138" y="280"/>
                    <a:pt x="138" y="280"/>
                    <a:pt x="138" y="280"/>
                  </a:cubicBezTo>
                  <a:cubicBezTo>
                    <a:pt x="91" y="281"/>
                    <a:pt x="91" y="281"/>
                    <a:pt x="91" y="281"/>
                  </a:cubicBezTo>
                  <a:cubicBezTo>
                    <a:pt x="93" y="273"/>
                    <a:pt x="93" y="273"/>
                    <a:pt x="93" y="273"/>
                  </a:cubicBezTo>
                  <a:cubicBezTo>
                    <a:pt x="92" y="264"/>
                    <a:pt x="92" y="264"/>
                    <a:pt x="92" y="264"/>
                  </a:cubicBezTo>
                  <a:cubicBezTo>
                    <a:pt x="93" y="259"/>
                    <a:pt x="93" y="259"/>
                    <a:pt x="93" y="259"/>
                  </a:cubicBezTo>
                  <a:cubicBezTo>
                    <a:pt x="93" y="255"/>
                    <a:pt x="93" y="255"/>
                    <a:pt x="93" y="255"/>
                  </a:cubicBezTo>
                  <a:cubicBezTo>
                    <a:pt x="75" y="255"/>
                    <a:pt x="75" y="255"/>
                    <a:pt x="75" y="255"/>
                  </a:cubicBezTo>
                  <a:cubicBezTo>
                    <a:pt x="54" y="269"/>
                    <a:pt x="54" y="269"/>
                    <a:pt x="54" y="269"/>
                  </a:cubicBezTo>
                  <a:cubicBezTo>
                    <a:pt x="53" y="276"/>
                    <a:pt x="53" y="276"/>
                    <a:pt x="53" y="276"/>
                  </a:cubicBezTo>
                  <a:cubicBezTo>
                    <a:pt x="40" y="277"/>
                    <a:pt x="40" y="277"/>
                    <a:pt x="40" y="277"/>
                  </a:cubicBezTo>
                  <a:cubicBezTo>
                    <a:pt x="12" y="291"/>
                    <a:pt x="12" y="291"/>
                    <a:pt x="12" y="291"/>
                  </a:cubicBezTo>
                  <a:cubicBezTo>
                    <a:pt x="0" y="301"/>
                    <a:pt x="0" y="301"/>
                    <a:pt x="0" y="301"/>
                  </a:cubicBezTo>
                  <a:cubicBezTo>
                    <a:pt x="17" y="313"/>
                    <a:pt x="17" y="313"/>
                    <a:pt x="17" y="313"/>
                  </a:cubicBezTo>
                  <a:cubicBezTo>
                    <a:pt x="41" y="315"/>
                    <a:pt x="41" y="315"/>
                    <a:pt x="41" y="315"/>
                  </a:cubicBezTo>
                  <a:cubicBezTo>
                    <a:pt x="46" y="322"/>
                    <a:pt x="46" y="322"/>
                    <a:pt x="46" y="322"/>
                  </a:cubicBezTo>
                  <a:cubicBezTo>
                    <a:pt x="27" y="322"/>
                    <a:pt x="27" y="322"/>
                    <a:pt x="27" y="322"/>
                  </a:cubicBezTo>
                  <a:cubicBezTo>
                    <a:pt x="23" y="326"/>
                    <a:pt x="23" y="326"/>
                    <a:pt x="23" y="326"/>
                  </a:cubicBezTo>
                  <a:cubicBezTo>
                    <a:pt x="35" y="339"/>
                    <a:pt x="35" y="339"/>
                    <a:pt x="35" y="339"/>
                  </a:cubicBezTo>
                  <a:cubicBezTo>
                    <a:pt x="35" y="348"/>
                    <a:pt x="35" y="348"/>
                    <a:pt x="35" y="348"/>
                  </a:cubicBezTo>
                  <a:cubicBezTo>
                    <a:pt x="46" y="358"/>
                    <a:pt x="46" y="358"/>
                    <a:pt x="46" y="358"/>
                  </a:cubicBezTo>
                  <a:cubicBezTo>
                    <a:pt x="83" y="358"/>
                    <a:pt x="83" y="358"/>
                    <a:pt x="83" y="358"/>
                  </a:cubicBezTo>
                  <a:cubicBezTo>
                    <a:pt x="92" y="364"/>
                    <a:pt x="92" y="364"/>
                    <a:pt x="92" y="364"/>
                  </a:cubicBezTo>
                  <a:cubicBezTo>
                    <a:pt x="89" y="356"/>
                    <a:pt x="89" y="356"/>
                    <a:pt x="89" y="356"/>
                  </a:cubicBezTo>
                  <a:cubicBezTo>
                    <a:pt x="94" y="353"/>
                    <a:pt x="94" y="353"/>
                    <a:pt x="94" y="353"/>
                  </a:cubicBezTo>
                  <a:cubicBezTo>
                    <a:pt x="101" y="364"/>
                    <a:pt x="101" y="364"/>
                    <a:pt x="101" y="364"/>
                  </a:cubicBezTo>
                  <a:cubicBezTo>
                    <a:pt x="111" y="351"/>
                    <a:pt x="111" y="351"/>
                    <a:pt x="111" y="351"/>
                  </a:cubicBezTo>
                  <a:cubicBezTo>
                    <a:pt x="141" y="336"/>
                    <a:pt x="141" y="336"/>
                    <a:pt x="141" y="336"/>
                  </a:cubicBezTo>
                  <a:cubicBezTo>
                    <a:pt x="143" y="350"/>
                    <a:pt x="143" y="350"/>
                    <a:pt x="143" y="350"/>
                  </a:cubicBezTo>
                  <a:cubicBezTo>
                    <a:pt x="134" y="353"/>
                    <a:pt x="134" y="353"/>
                    <a:pt x="134" y="353"/>
                  </a:cubicBezTo>
                  <a:cubicBezTo>
                    <a:pt x="131" y="357"/>
                    <a:pt x="131" y="357"/>
                    <a:pt x="131" y="357"/>
                  </a:cubicBezTo>
                  <a:cubicBezTo>
                    <a:pt x="137" y="360"/>
                    <a:pt x="137" y="360"/>
                    <a:pt x="137" y="360"/>
                  </a:cubicBezTo>
                  <a:cubicBezTo>
                    <a:pt x="145" y="391"/>
                    <a:pt x="145" y="391"/>
                    <a:pt x="145" y="391"/>
                  </a:cubicBezTo>
                  <a:cubicBezTo>
                    <a:pt x="131" y="402"/>
                    <a:pt x="131" y="402"/>
                    <a:pt x="131" y="402"/>
                  </a:cubicBezTo>
                  <a:cubicBezTo>
                    <a:pt x="124" y="397"/>
                    <a:pt x="124" y="397"/>
                    <a:pt x="124" y="397"/>
                  </a:cubicBezTo>
                  <a:cubicBezTo>
                    <a:pt x="113" y="410"/>
                    <a:pt x="113" y="410"/>
                    <a:pt x="113" y="410"/>
                  </a:cubicBezTo>
                  <a:cubicBezTo>
                    <a:pt x="94" y="409"/>
                    <a:pt x="94" y="409"/>
                    <a:pt x="94" y="409"/>
                  </a:cubicBezTo>
                  <a:cubicBezTo>
                    <a:pt x="96" y="403"/>
                    <a:pt x="96" y="403"/>
                    <a:pt x="96" y="403"/>
                  </a:cubicBezTo>
                  <a:cubicBezTo>
                    <a:pt x="86" y="402"/>
                    <a:pt x="86" y="402"/>
                    <a:pt x="86" y="402"/>
                  </a:cubicBezTo>
                  <a:cubicBezTo>
                    <a:pt x="80" y="408"/>
                    <a:pt x="80" y="408"/>
                    <a:pt x="80" y="408"/>
                  </a:cubicBezTo>
                  <a:cubicBezTo>
                    <a:pt x="77" y="420"/>
                    <a:pt x="77" y="420"/>
                    <a:pt x="77" y="420"/>
                  </a:cubicBezTo>
                  <a:cubicBezTo>
                    <a:pt x="72" y="427"/>
                    <a:pt x="72" y="427"/>
                    <a:pt x="72" y="427"/>
                  </a:cubicBezTo>
                  <a:cubicBezTo>
                    <a:pt x="72" y="416"/>
                    <a:pt x="72" y="416"/>
                    <a:pt x="72" y="416"/>
                  </a:cubicBezTo>
                  <a:cubicBezTo>
                    <a:pt x="67" y="430"/>
                    <a:pt x="67" y="430"/>
                    <a:pt x="67" y="430"/>
                  </a:cubicBezTo>
                  <a:cubicBezTo>
                    <a:pt x="59" y="436"/>
                    <a:pt x="59" y="436"/>
                    <a:pt x="59" y="436"/>
                  </a:cubicBezTo>
                  <a:cubicBezTo>
                    <a:pt x="49" y="449"/>
                    <a:pt x="49" y="449"/>
                    <a:pt x="49" y="449"/>
                  </a:cubicBezTo>
                  <a:cubicBezTo>
                    <a:pt x="58" y="467"/>
                    <a:pt x="58" y="467"/>
                    <a:pt x="58" y="467"/>
                  </a:cubicBezTo>
                  <a:cubicBezTo>
                    <a:pt x="66" y="467"/>
                    <a:pt x="66" y="467"/>
                    <a:pt x="66" y="467"/>
                  </a:cubicBezTo>
                  <a:cubicBezTo>
                    <a:pt x="65" y="474"/>
                    <a:pt x="65" y="474"/>
                    <a:pt x="65" y="474"/>
                  </a:cubicBezTo>
                  <a:cubicBezTo>
                    <a:pt x="85" y="481"/>
                    <a:pt x="85" y="481"/>
                    <a:pt x="85" y="481"/>
                  </a:cubicBezTo>
                  <a:cubicBezTo>
                    <a:pt x="92" y="497"/>
                    <a:pt x="92" y="497"/>
                    <a:pt x="92" y="497"/>
                  </a:cubicBezTo>
                  <a:cubicBezTo>
                    <a:pt x="85" y="492"/>
                    <a:pt x="85" y="492"/>
                    <a:pt x="85" y="492"/>
                  </a:cubicBezTo>
                  <a:cubicBezTo>
                    <a:pt x="76" y="496"/>
                    <a:pt x="76" y="496"/>
                    <a:pt x="76" y="496"/>
                  </a:cubicBezTo>
                  <a:cubicBezTo>
                    <a:pt x="72" y="515"/>
                    <a:pt x="72" y="515"/>
                    <a:pt x="72" y="515"/>
                  </a:cubicBezTo>
                  <a:cubicBezTo>
                    <a:pt x="78" y="522"/>
                    <a:pt x="78" y="522"/>
                    <a:pt x="78" y="522"/>
                  </a:cubicBezTo>
                  <a:cubicBezTo>
                    <a:pt x="78" y="530"/>
                    <a:pt x="78" y="530"/>
                    <a:pt x="78" y="530"/>
                  </a:cubicBezTo>
                  <a:cubicBezTo>
                    <a:pt x="93" y="531"/>
                    <a:pt x="93" y="531"/>
                    <a:pt x="93" y="531"/>
                  </a:cubicBezTo>
                  <a:cubicBezTo>
                    <a:pt x="98" y="526"/>
                    <a:pt x="98" y="526"/>
                    <a:pt x="98" y="526"/>
                  </a:cubicBezTo>
                  <a:cubicBezTo>
                    <a:pt x="105" y="525"/>
                    <a:pt x="105" y="525"/>
                    <a:pt x="105" y="525"/>
                  </a:cubicBezTo>
                  <a:cubicBezTo>
                    <a:pt x="111" y="520"/>
                    <a:pt x="111" y="520"/>
                    <a:pt x="111" y="520"/>
                  </a:cubicBezTo>
                  <a:cubicBezTo>
                    <a:pt x="124" y="523"/>
                    <a:pt x="124" y="523"/>
                    <a:pt x="124" y="523"/>
                  </a:cubicBezTo>
                  <a:cubicBezTo>
                    <a:pt x="125" y="541"/>
                    <a:pt x="125" y="541"/>
                    <a:pt x="125" y="541"/>
                  </a:cubicBezTo>
                  <a:cubicBezTo>
                    <a:pt x="122" y="551"/>
                    <a:pt x="122" y="551"/>
                    <a:pt x="122" y="551"/>
                  </a:cubicBezTo>
                  <a:cubicBezTo>
                    <a:pt x="125" y="557"/>
                    <a:pt x="125" y="557"/>
                    <a:pt x="125" y="557"/>
                  </a:cubicBezTo>
                  <a:cubicBezTo>
                    <a:pt x="123" y="571"/>
                    <a:pt x="123" y="571"/>
                    <a:pt x="123" y="571"/>
                  </a:cubicBezTo>
                  <a:cubicBezTo>
                    <a:pt x="117" y="579"/>
                    <a:pt x="117" y="579"/>
                    <a:pt x="117" y="579"/>
                  </a:cubicBezTo>
                  <a:cubicBezTo>
                    <a:pt x="128" y="580"/>
                    <a:pt x="128" y="580"/>
                    <a:pt x="128" y="580"/>
                  </a:cubicBezTo>
                  <a:cubicBezTo>
                    <a:pt x="143" y="566"/>
                    <a:pt x="143" y="566"/>
                    <a:pt x="143" y="566"/>
                  </a:cubicBezTo>
                  <a:cubicBezTo>
                    <a:pt x="164" y="562"/>
                    <a:pt x="164" y="562"/>
                    <a:pt x="164" y="562"/>
                  </a:cubicBezTo>
                  <a:cubicBezTo>
                    <a:pt x="173" y="568"/>
                    <a:pt x="173" y="568"/>
                    <a:pt x="173" y="568"/>
                  </a:cubicBezTo>
                  <a:cubicBezTo>
                    <a:pt x="186" y="595"/>
                    <a:pt x="186" y="595"/>
                    <a:pt x="186" y="595"/>
                  </a:cubicBezTo>
                  <a:cubicBezTo>
                    <a:pt x="193" y="598"/>
                    <a:pt x="193" y="598"/>
                    <a:pt x="193" y="598"/>
                  </a:cubicBezTo>
                  <a:cubicBezTo>
                    <a:pt x="194" y="594"/>
                    <a:pt x="194" y="594"/>
                    <a:pt x="194" y="594"/>
                  </a:cubicBezTo>
                  <a:cubicBezTo>
                    <a:pt x="192" y="585"/>
                    <a:pt x="192" y="585"/>
                    <a:pt x="192" y="585"/>
                  </a:cubicBezTo>
                  <a:cubicBezTo>
                    <a:pt x="193" y="568"/>
                    <a:pt x="193" y="568"/>
                    <a:pt x="193" y="568"/>
                  </a:cubicBezTo>
                  <a:cubicBezTo>
                    <a:pt x="198" y="573"/>
                    <a:pt x="198" y="573"/>
                    <a:pt x="198" y="573"/>
                  </a:cubicBezTo>
                  <a:cubicBezTo>
                    <a:pt x="198" y="584"/>
                    <a:pt x="198" y="584"/>
                    <a:pt x="198" y="584"/>
                  </a:cubicBezTo>
                  <a:cubicBezTo>
                    <a:pt x="213" y="579"/>
                    <a:pt x="213" y="579"/>
                    <a:pt x="213" y="579"/>
                  </a:cubicBezTo>
                  <a:cubicBezTo>
                    <a:pt x="226" y="556"/>
                    <a:pt x="226" y="556"/>
                    <a:pt x="226" y="556"/>
                  </a:cubicBezTo>
                  <a:cubicBezTo>
                    <a:pt x="231" y="559"/>
                    <a:pt x="231" y="559"/>
                    <a:pt x="231" y="559"/>
                  </a:cubicBezTo>
                  <a:cubicBezTo>
                    <a:pt x="225" y="571"/>
                    <a:pt x="225" y="571"/>
                    <a:pt x="225" y="571"/>
                  </a:cubicBezTo>
                  <a:cubicBezTo>
                    <a:pt x="223" y="594"/>
                    <a:pt x="223" y="594"/>
                    <a:pt x="223" y="594"/>
                  </a:cubicBezTo>
                  <a:cubicBezTo>
                    <a:pt x="227" y="601"/>
                    <a:pt x="227" y="601"/>
                    <a:pt x="227" y="601"/>
                  </a:cubicBezTo>
                  <a:cubicBezTo>
                    <a:pt x="216" y="622"/>
                    <a:pt x="216" y="622"/>
                    <a:pt x="216" y="622"/>
                  </a:cubicBezTo>
                  <a:cubicBezTo>
                    <a:pt x="199" y="628"/>
                    <a:pt x="199" y="628"/>
                    <a:pt x="199" y="628"/>
                  </a:cubicBezTo>
                  <a:cubicBezTo>
                    <a:pt x="187" y="644"/>
                    <a:pt x="187" y="644"/>
                    <a:pt x="187" y="644"/>
                  </a:cubicBezTo>
                  <a:cubicBezTo>
                    <a:pt x="181" y="643"/>
                    <a:pt x="181" y="643"/>
                    <a:pt x="181" y="643"/>
                  </a:cubicBezTo>
                  <a:cubicBezTo>
                    <a:pt x="160" y="651"/>
                    <a:pt x="160" y="651"/>
                    <a:pt x="160" y="651"/>
                  </a:cubicBezTo>
                  <a:cubicBezTo>
                    <a:pt x="148" y="663"/>
                    <a:pt x="148" y="663"/>
                    <a:pt x="148" y="663"/>
                  </a:cubicBezTo>
                  <a:cubicBezTo>
                    <a:pt x="150" y="674"/>
                    <a:pt x="150" y="674"/>
                    <a:pt x="150" y="674"/>
                  </a:cubicBezTo>
                  <a:cubicBezTo>
                    <a:pt x="142" y="675"/>
                    <a:pt x="142" y="675"/>
                    <a:pt x="142" y="675"/>
                  </a:cubicBezTo>
                  <a:cubicBezTo>
                    <a:pt x="136" y="661"/>
                    <a:pt x="136" y="661"/>
                    <a:pt x="136" y="661"/>
                  </a:cubicBezTo>
                  <a:cubicBezTo>
                    <a:pt x="132" y="661"/>
                    <a:pt x="132" y="661"/>
                    <a:pt x="132" y="661"/>
                  </a:cubicBezTo>
                  <a:cubicBezTo>
                    <a:pt x="110" y="680"/>
                    <a:pt x="110" y="680"/>
                    <a:pt x="110" y="680"/>
                  </a:cubicBezTo>
                  <a:cubicBezTo>
                    <a:pt x="118" y="705"/>
                    <a:pt x="118" y="705"/>
                    <a:pt x="118" y="705"/>
                  </a:cubicBezTo>
                  <a:cubicBezTo>
                    <a:pt x="128" y="700"/>
                    <a:pt x="128" y="700"/>
                    <a:pt x="128" y="700"/>
                  </a:cubicBezTo>
                  <a:cubicBezTo>
                    <a:pt x="129" y="686"/>
                    <a:pt x="129" y="686"/>
                    <a:pt x="129" y="686"/>
                  </a:cubicBezTo>
                  <a:cubicBezTo>
                    <a:pt x="135" y="684"/>
                    <a:pt x="135" y="684"/>
                    <a:pt x="135" y="684"/>
                  </a:cubicBezTo>
                  <a:cubicBezTo>
                    <a:pt x="138" y="696"/>
                    <a:pt x="138" y="696"/>
                    <a:pt x="138" y="696"/>
                  </a:cubicBezTo>
                  <a:cubicBezTo>
                    <a:pt x="164" y="674"/>
                    <a:pt x="164" y="674"/>
                    <a:pt x="164" y="674"/>
                  </a:cubicBezTo>
                  <a:cubicBezTo>
                    <a:pt x="164" y="685"/>
                    <a:pt x="164" y="685"/>
                    <a:pt x="164" y="685"/>
                  </a:cubicBezTo>
                  <a:cubicBezTo>
                    <a:pt x="171" y="680"/>
                    <a:pt x="171" y="680"/>
                    <a:pt x="171" y="680"/>
                  </a:cubicBezTo>
                  <a:cubicBezTo>
                    <a:pt x="174" y="669"/>
                    <a:pt x="174" y="669"/>
                    <a:pt x="174" y="669"/>
                  </a:cubicBezTo>
                  <a:cubicBezTo>
                    <a:pt x="183" y="666"/>
                    <a:pt x="183" y="666"/>
                    <a:pt x="183" y="666"/>
                  </a:cubicBezTo>
                  <a:cubicBezTo>
                    <a:pt x="185" y="671"/>
                    <a:pt x="185" y="671"/>
                    <a:pt x="185" y="671"/>
                  </a:cubicBezTo>
                  <a:cubicBezTo>
                    <a:pt x="201" y="654"/>
                    <a:pt x="201" y="654"/>
                    <a:pt x="201" y="654"/>
                  </a:cubicBezTo>
                  <a:cubicBezTo>
                    <a:pt x="221" y="647"/>
                    <a:pt x="221" y="647"/>
                    <a:pt x="221" y="647"/>
                  </a:cubicBezTo>
                  <a:cubicBezTo>
                    <a:pt x="241" y="637"/>
                    <a:pt x="241" y="637"/>
                    <a:pt x="241" y="637"/>
                  </a:cubicBezTo>
                  <a:cubicBezTo>
                    <a:pt x="251" y="616"/>
                    <a:pt x="251" y="616"/>
                    <a:pt x="251" y="616"/>
                  </a:cubicBezTo>
                  <a:cubicBezTo>
                    <a:pt x="256" y="616"/>
                    <a:pt x="256" y="616"/>
                    <a:pt x="256" y="616"/>
                  </a:cubicBezTo>
                  <a:cubicBezTo>
                    <a:pt x="256" y="611"/>
                    <a:pt x="256" y="611"/>
                    <a:pt x="256" y="611"/>
                  </a:cubicBezTo>
                  <a:cubicBezTo>
                    <a:pt x="265" y="602"/>
                    <a:pt x="265" y="602"/>
                    <a:pt x="265" y="602"/>
                  </a:cubicBezTo>
                  <a:cubicBezTo>
                    <a:pt x="274" y="593"/>
                    <a:pt x="274" y="593"/>
                    <a:pt x="274" y="593"/>
                  </a:cubicBezTo>
                  <a:cubicBezTo>
                    <a:pt x="277" y="584"/>
                    <a:pt x="277" y="584"/>
                    <a:pt x="277" y="584"/>
                  </a:cubicBezTo>
                  <a:cubicBezTo>
                    <a:pt x="286" y="577"/>
                    <a:pt x="286" y="577"/>
                    <a:pt x="286" y="577"/>
                  </a:cubicBezTo>
                  <a:cubicBezTo>
                    <a:pt x="292" y="569"/>
                    <a:pt x="292" y="569"/>
                    <a:pt x="292" y="569"/>
                  </a:cubicBezTo>
                  <a:cubicBezTo>
                    <a:pt x="293" y="559"/>
                    <a:pt x="293" y="559"/>
                    <a:pt x="293" y="559"/>
                  </a:cubicBezTo>
                  <a:cubicBezTo>
                    <a:pt x="286" y="556"/>
                    <a:pt x="286" y="556"/>
                    <a:pt x="286" y="556"/>
                  </a:cubicBezTo>
                  <a:cubicBezTo>
                    <a:pt x="279" y="558"/>
                    <a:pt x="279" y="558"/>
                    <a:pt x="279" y="558"/>
                  </a:cubicBezTo>
                  <a:cubicBezTo>
                    <a:pt x="283" y="537"/>
                    <a:pt x="283" y="537"/>
                    <a:pt x="283" y="537"/>
                  </a:cubicBezTo>
                  <a:cubicBezTo>
                    <a:pt x="292" y="537"/>
                    <a:pt x="292" y="537"/>
                    <a:pt x="292" y="537"/>
                  </a:cubicBezTo>
                  <a:cubicBezTo>
                    <a:pt x="297" y="531"/>
                    <a:pt x="297" y="531"/>
                    <a:pt x="297" y="531"/>
                  </a:cubicBezTo>
                  <a:cubicBezTo>
                    <a:pt x="300" y="515"/>
                    <a:pt x="300" y="515"/>
                    <a:pt x="300" y="515"/>
                  </a:cubicBezTo>
                  <a:cubicBezTo>
                    <a:pt x="318" y="491"/>
                    <a:pt x="318" y="491"/>
                    <a:pt x="318" y="491"/>
                  </a:cubicBezTo>
                  <a:cubicBezTo>
                    <a:pt x="339" y="468"/>
                    <a:pt x="339" y="468"/>
                    <a:pt x="339" y="468"/>
                  </a:cubicBezTo>
                  <a:cubicBezTo>
                    <a:pt x="357" y="468"/>
                    <a:pt x="357" y="468"/>
                    <a:pt x="357" y="468"/>
                  </a:cubicBezTo>
                  <a:cubicBezTo>
                    <a:pt x="375" y="481"/>
                    <a:pt x="375" y="481"/>
                    <a:pt x="375" y="481"/>
                  </a:cubicBezTo>
                  <a:cubicBezTo>
                    <a:pt x="365" y="482"/>
                    <a:pt x="365" y="482"/>
                    <a:pt x="365" y="482"/>
                  </a:cubicBezTo>
                  <a:cubicBezTo>
                    <a:pt x="357" y="476"/>
                    <a:pt x="357" y="476"/>
                    <a:pt x="357" y="476"/>
                  </a:cubicBezTo>
                  <a:cubicBezTo>
                    <a:pt x="340" y="478"/>
                    <a:pt x="340" y="478"/>
                    <a:pt x="340" y="478"/>
                  </a:cubicBezTo>
                  <a:cubicBezTo>
                    <a:pt x="325" y="493"/>
                    <a:pt x="325" y="493"/>
                    <a:pt x="325" y="493"/>
                  </a:cubicBezTo>
                  <a:cubicBezTo>
                    <a:pt x="327" y="505"/>
                    <a:pt x="327" y="505"/>
                    <a:pt x="327" y="505"/>
                  </a:cubicBezTo>
                  <a:cubicBezTo>
                    <a:pt x="316" y="525"/>
                    <a:pt x="316" y="525"/>
                    <a:pt x="316" y="525"/>
                  </a:cubicBezTo>
                  <a:cubicBezTo>
                    <a:pt x="317" y="542"/>
                    <a:pt x="317" y="542"/>
                    <a:pt x="317" y="542"/>
                  </a:cubicBezTo>
                  <a:cubicBezTo>
                    <a:pt x="322" y="540"/>
                    <a:pt x="322" y="540"/>
                    <a:pt x="322" y="540"/>
                  </a:cubicBezTo>
                  <a:cubicBezTo>
                    <a:pt x="327" y="535"/>
                    <a:pt x="327" y="535"/>
                    <a:pt x="327" y="535"/>
                  </a:cubicBezTo>
                  <a:cubicBezTo>
                    <a:pt x="333" y="535"/>
                    <a:pt x="333" y="535"/>
                    <a:pt x="333" y="535"/>
                  </a:cubicBezTo>
                  <a:cubicBezTo>
                    <a:pt x="320" y="549"/>
                    <a:pt x="320" y="549"/>
                    <a:pt x="320" y="549"/>
                  </a:cubicBezTo>
                  <a:cubicBezTo>
                    <a:pt x="315" y="552"/>
                    <a:pt x="315" y="552"/>
                    <a:pt x="315" y="552"/>
                  </a:cubicBezTo>
                  <a:cubicBezTo>
                    <a:pt x="314" y="558"/>
                    <a:pt x="314" y="558"/>
                    <a:pt x="314" y="558"/>
                  </a:cubicBezTo>
                  <a:cubicBezTo>
                    <a:pt x="334" y="556"/>
                    <a:pt x="334" y="556"/>
                    <a:pt x="334" y="556"/>
                  </a:cubicBezTo>
                  <a:cubicBezTo>
                    <a:pt x="344" y="544"/>
                    <a:pt x="344" y="544"/>
                    <a:pt x="344" y="544"/>
                  </a:cubicBezTo>
                  <a:cubicBezTo>
                    <a:pt x="350" y="550"/>
                    <a:pt x="350" y="550"/>
                    <a:pt x="350" y="550"/>
                  </a:cubicBezTo>
                  <a:cubicBezTo>
                    <a:pt x="357" y="546"/>
                    <a:pt x="357" y="546"/>
                    <a:pt x="357" y="546"/>
                  </a:cubicBezTo>
                  <a:cubicBezTo>
                    <a:pt x="365" y="542"/>
                    <a:pt x="365" y="542"/>
                    <a:pt x="365" y="542"/>
                  </a:cubicBezTo>
                  <a:cubicBezTo>
                    <a:pt x="362" y="535"/>
                    <a:pt x="362" y="535"/>
                    <a:pt x="362" y="535"/>
                  </a:cubicBezTo>
                  <a:cubicBezTo>
                    <a:pt x="366" y="527"/>
                    <a:pt x="366" y="527"/>
                    <a:pt x="366" y="527"/>
                  </a:cubicBezTo>
                  <a:cubicBezTo>
                    <a:pt x="370" y="527"/>
                    <a:pt x="370" y="527"/>
                    <a:pt x="370" y="527"/>
                  </a:cubicBezTo>
                  <a:cubicBezTo>
                    <a:pt x="378" y="529"/>
                    <a:pt x="378" y="529"/>
                    <a:pt x="378" y="529"/>
                  </a:cubicBezTo>
                  <a:cubicBezTo>
                    <a:pt x="388" y="520"/>
                    <a:pt x="388" y="520"/>
                    <a:pt x="388" y="520"/>
                  </a:cubicBezTo>
                  <a:cubicBezTo>
                    <a:pt x="387" y="499"/>
                    <a:pt x="387" y="499"/>
                    <a:pt x="387" y="499"/>
                  </a:cubicBezTo>
                  <a:cubicBezTo>
                    <a:pt x="392" y="481"/>
                    <a:pt x="392" y="481"/>
                    <a:pt x="392" y="481"/>
                  </a:cubicBezTo>
                  <a:cubicBezTo>
                    <a:pt x="397" y="492"/>
                    <a:pt x="397" y="492"/>
                    <a:pt x="397" y="492"/>
                  </a:cubicBezTo>
                  <a:cubicBezTo>
                    <a:pt x="414" y="484"/>
                    <a:pt x="414" y="484"/>
                    <a:pt x="414" y="484"/>
                  </a:cubicBezTo>
                  <a:cubicBezTo>
                    <a:pt x="420" y="495"/>
                    <a:pt x="420" y="495"/>
                    <a:pt x="420" y="495"/>
                  </a:cubicBezTo>
                  <a:cubicBezTo>
                    <a:pt x="433" y="505"/>
                    <a:pt x="433" y="505"/>
                    <a:pt x="433" y="505"/>
                  </a:cubicBezTo>
                  <a:cubicBezTo>
                    <a:pt x="448" y="509"/>
                    <a:pt x="448" y="509"/>
                    <a:pt x="448" y="509"/>
                  </a:cubicBezTo>
                  <a:cubicBezTo>
                    <a:pt x="455" y="504"/>
                    <a:pt x="455" y="504"/>
                    <a:pt x="455" y="504"/>
                  </a:cubicBezTo>
                  <a:cubicBezTo>
                    <a:pt x="456" y="513"/>
                    <a:pt x="456" y="513"/>
                    <a:pt x="456" y="513"/>
                  </a:cubicBezTo>
                  <a:cubicBezTo>
                    <a:pt x="461" y="517"/>
                    <a:pt x="461" y="517"/>
                    <a:pt x="461" y="517"/>
                  </a:cubicBezTo>
                  <a:cubicBezTo>
                    <a:pt x="466" y="516"/>
                    <a:pt x="466" y="516"/>
                    <a:pt x="466" y="516"/>
                  </a:cubicBezTo>
                  <a:cubicBezTo>
                    <a:pt x="466" y="523"/>
                    <a:pt x="466" y="523"/>
                    <a:pt x="466" y="523"/>
                  </a:cubicBezTo>
                  <a:cubicBezTo>
                    <a:pt x="471" y="525"/>
                    <a:pt x="471" y="525"/>
                    <a:pt x="471" y="525"/>
                  </a:cubicBezTo>
                  <a:cubicBezTo>
                    <a:pt x="483" y="519"/>
                    <a:pt x="483" y="519"/>
                    <a:pt x="483" y="519"/>
                  </a:cubicBezTo>
                  <a:cubicBezTo>
                    <a:pt x="495" y="522"/>
                    <a:pt x="495" y="522"/>
                    <a:pt x="495" y="522"/>
                  </a:cubicBezTo>
                  <a:cubicBezTo>
                    <a:pt x="512" y="527"/>
                    <a:pt x="512" y="527"/>
                    <a:pt x="512" y="527"/>
                  </a:cubicBezTo>
                  <a:cubicBezTo>
                    <a:pt x="540" y="533"/>
                    <a:pt x="540" y="533"/>
                    <a:pt x="540" y="533"/>
                  </a:cubicBezTo>
                  <a:cubicBezTo>
                    <a:pt x="549" y="525"/>
                    <a:pt x="549" y="525"/>
                    <a:pt x="549" y="525"/>
                  </a:cubicBezTo>
                  <a:cubicBezTo>
                    <a:pt x="555" y="526"/>
                    <a:pt x="555" y="526"/>
                    <a:pt x="555" y="526"/>
                  </a:cubicBezTo>
                  <a:cubicBezTo>
                    <a:pt x="553" y="534"/>
                    <a:pt x="553" y="534"/>
                    <a:pt x="553" y="534"/>
                  </a:cubicBezTo>
                  <a:cubicBezTo>
                    <a:pt x="548" y="544"/>
                    <a:pt x="548" y="544"/>
                    <a:pt x="548" y="544"/>
                  </a:cubicBezTo>
                  <a:cubicBezTo>
                    <a:pt x="550" y="549"/>
                    <a:pt x="550" y="549"/>
                    <a:pt x="550" y="549"/>
                  </a:cubicBezTo>
                  <a:cubicBezTo>
                    <a:pt x="558" y="551"/>
                    <a:pt x="558" y="551"/>
                    <a:pt x="558" y="551"/>
                  </a:cubicBezTo>
                  <a:cubicBezTo>
                    <a:pt x="566" y="558"/>
                    <a:pt x="566" y="558"/>
                    <a:pt x="566" y="558"/>
                  </a:cubicBezTo>
                  <a:cubicBezTo>
                    <a:pt x="571" y="552"/>
                    <a:pt x="571" y="552"/>
                    <a:pt x="571" y="552"/>
                  </a:cubicBezTo>
                  <a:cubicBezTo>
                    <a:pt x="573" y="563"/>
                    <a:pt x="573" y="563"/>
                    <a:pt x="573" y="563"/>
                  </a:cubicBezTo>
                  <a:cubicBezTo>
                    <a:pt x="582" y="566"/>
                    <a:pt x="582" y="566"/>
                    <a:pt x="582" y="566"/>
                  </a:cubicBezTo>
                  <a:cubicBezTo>
                    <a:pt x="594" y="577"/>
                    <a:pt x="594" y="577"/>
                    <a:pt x="594" y="577"/>
                  </a:cubicBezTo>
                  <a:cubicBezTo>
                    <a:pt x="601" y="578"/>
                    <a:pt x="601" y="578"/>
                    <a:pt x="601" y="578"/>
                  </a:cubicBezTo>
                  <a:cubicBezTo>
                    <a:pt x="608" y="582"/>
                    <a:pt x="608" y="582"/>
                    <a:pt x="608" y="582"/>
                  </a:cubicBezTo>
                  <a:cubicBezTo>
                    <a:pt x="618" y="576"/>
                    <a:pt x="618" y="576"/>
                    <a:pt x="618" y="576"/>
                  </a:cubicBezTo>
                  <a:cubicBezTo>
                    <a:pt x="602" y="562"/>
                    <a:pt x="602" y="562"/>
                    <a:pt x="602" y="562"/>
                  </a:cubicBezTo>
                  <a:cubicBezTo>
                    <a:pt x="601" y="553"/>
                    <a:pt x="601" y="553"/>
                    <a:pt x="601" y="553"/>
                  </a:cubicBezTo>
                  <a:cubicBezTo>
                    <a:pt x="613" y="560"/>
                    <a:pt x="613" y="560"/>
                    <a:pt x="613" y="560"/>
                  </a:cubicBezTo>
                  <a:cubicBezTo>
                    <a:pt x="617" y="555"/>
                    <a:pt x="617" y="555"/>
                    <a:pt x="617" y="555"/>
                  </a:cubicBezTo>
                  <a:cubicBezTo>
                    <a:pt x="622" y="566"/>
                    <a:pt x="622" y="566"/>
                    <a:pt x="622" y="566"/>
                  </a:cubicBezTo>
                  <a:cubicBezTo>
                    <a:pt x="624" y="580"/>
                    <a:pt x="624" y="580"/>
                    <a:pt x="624" y="580"/>
                  </a:cubicBezTo>
                  <a:cubicBezTo>
                    <a:pt x="628" y="579"/>
                    <a:pt x="628" y="579"/>
                    <a:pt x="628" y="579"/>
                  </a:cubicBezTo>
                  <a:cubicBezTo>
                    <a:pt x="633" y="584"/>
                    <a:pt x="633" y="584"/>
                    <a:pt x="633" y="584"/>
                  </a:cubicBezTo>
                  <a:cubicBezTo>
                    <a:pt x="636" y="567"/>
                    <a:pt x="636" y="567"/>
                    <a:pt x="636" y="567"/>
                  </a:cubicBezTo>
                  <a:cubicBezTo>
                    <a:pt x="634" y="551"/>
                    <a:pt x="634" y="551"/>
                    <a:pt x="634" y="551"/>
                  </a:cubicBezTo>
                  <a:cubicBezTo>
                    <a:pt x="639" y="557"/>
                    <a:pt x="639" y="557"/>
                    <a:pt x="639" y="557"/>
                  </a:cubicBezTo>
                  <a:cubicBezTo>
                    <a:pt x="652" y="585"/>
                    <a:pt x="652" y="585"/>
                    <a:pt x="652" y="585"/>
                  </a:cubicBezTo>
                  <a:cubicBezTo>
                    <a:pt x="659" y="587"/>
                    <a:pt x="659" y="587"/>
                    <a:pt x="659" y="587"/>
                  </a:cubicBezTo>
                  <a:cubicBezTo>
                    <a:pt x="665" y="602"/>
                    <a:pt x="665" y="602"/>
                    <a:pt x="665" y="602"/>
                  </a:cubicBezTo>
                  <a:cubicBezTo>
                    <a:pt x="669" y="606"/>
                    <a:pt x="669" y="606"/>
                    <a:pt x="669" y="606"/>
                  </a:cubicBezTo>
                  <a:cubicBezTo>
                    <a:pt x="666" y="611"/>
                    <a:pt x="666" y="611"/>
                    <a:pt x="666" y="611"/>
                  </a:cubicBezTo>
                  <a:cubicBezTo>
                    <a:pt x="671" y="623"/>
                    <a:pt x="671" y="623"/>
                    <a:pt x="671" y="623"/>
                  </a:cubicBezTo>
                  <a:cubicBezTo>
                    <a:pt x="690" y="643"/>
                    <a:pt x="690" y="643"/>
                    <a:pt x="690" y="643"/>
                  </a:cubicBezTo>
                  <a:cubicBezTo>
                    <a:pt x="689" y="650"/>
                    <a:pt x="689" y="650"/>
                    <a:pt x="689" y="650"/>
                  </a:cubicBezTo>
                  <a:cubicBezTo>
                    <a:pt x="706" y="663"/>
                    <a:pt x="706" y="663"/>
                    <a:pt x="706" y="663"/>
                  </a:cubicBezTo>
                  <a:cubicBezTo>
                    <a:pt x="701" y="668"/>
                    <a:pt x="701" y="668"/>
                    <a:pt x="701" y="668"/>
                  </a:cubicBezTo>
                  <a:cubicBezTo>
                    <a:pt x="700" y="676"/>
                    <a:pt x="700" y="676"/>
                    <a:pt x="700" y="676"/>
                  </a:cubicBezTo>
                  <a:cubicBezTo>
                    <a:pt x="696" y="681"/>
                    <a:pt x="696" y="681"/>
                    <a:pt x="696" y="681"/>
                  </a:cubicBezTo>
                  <a:cubicBezTo>
                    <a:pt x="700" y="688"/>
                    <a:pt x="700" y="688"/>
                    <a:pt x="700" y="688"/>
                  </a:cubicBezTo>
                  <a:cubicBezTo>
                    <a:pt x="705" y="692"/>
                    <a:pt x="705" y="692"/>
                    <a:pt x="705" y="692"/>
                  </a:cubicBezTo>
                  <a:cubicBezTo>
                    <a:pt x="719" y="695"/>
                    <a:pt x="719" y="695"/>
                    <a:pt x="719" y="695"/>
                  </a:cubicBezTo>
                  <a:lnTo>
                    <a:pt x="724" y="705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406" name="Uruguay">
              <a:extLst>
                <a:ext uri="{FF2B5EF4-FFF2-40B4-BE49-F238E27FC236}">
                  <a16:creationId xmlns="" xmlns:a16="http://schemas.microsoft.com/office/drawing/2014/main" id="{02C7E6AC-DA45-41F0-8929-5C688C6A0A91}"/>
                </a:ext>
              </a:extLst>
            </p:cNvPr>
            <p:cNvSpPr>
              <a:spLocks/>
            </p:cNvSpPr>
            <p:nvPr/>
          </p:nvSpPr>
          <p:spPr bwMode="gray">
            <a:xfrm>
              <a:off x="3905291" y="5606927"/>
              <a:ext cx="152278" cy="204523"/>
            </a:xfrm>
            <a:custGeom>
              <a:avLst/>
              <a:gdLst/>
              <a:ahLst/>
              <a:cxnLst>
                <a:cxn ang="0">
                  <a:pos x="8" y="181"/>
                </a:cxn>
                <a:cxn ang="0">
                  <a:pos x="0" y="162"/>
                </a:cxn>
                <a:cxn ang="0">
                  <a:pos x="2" y="130"/>
                </a:cxn>
                <a:cxn ang="0">
                  <a:pos x="6" y="94"/>
                </a:cxn>
                <a:cxn ang="0">
                  <a:pos x="12" y="68"/>
                </a:cxn>
                <a:cxn ang="0">
                  <a:pos x="30" y="24"/>
                </a:cxn>
                <a:cxn ang="0">
                  <a:pos x="52" y="0"/>
                </a:cxn>
                <a:cxn ang="0">
                  <a:pos x="70" y="40"/>
                </a:cxn>
                <a:cxn ang="0">
                  <a:pos x="84" y="60"/>
                </a:cxn>
                <a:cxn ang="0">
                  <a:pos x="98" y="52"/>
                </a:cxn>
                <a:cxn ang="0">
                  <a:pos x="120" y="70"/>
                </a:cxn>
                <a:cxn ang="0">
                  <a:pos x="144" y="82"/>
                </a:cxn>
                <a:cxn ang="0">
                  <a:pos x="160" y="100"/>
                </a:cxn>
                <a:cxn ang="0">
                  <a:pos x="174" y="124"/>
                </a:cxn>
                <a:cxn ang="0">
                  <a:pos x="188" y="128"/>
                </a:cxn>
                <a:cxn ang="0">
                  <a:pos x="180" y="148"/>
                </a:cxn>
                <a:cxn ang="0">
                  <a:pos x="178" y="168"/>
                </a:cxn>
                <a:cxn ang="0">
                  <a:pos x="178" y="181"/>
                </a:cxn>
                <a:cxn ang="0">
                  <a:pos x="188" y="191"/>
                </a:cxn>
                <a:cxn ang="0">
                  <a:pos x="178" y="211"/>
                </a:cxn>
                <a:cxn ang="0">
                  <a:pos x="170" y="223"/>
                </a:cxn>
                <a:cxn ang="0">
                  <a:pos x="142" y="239"/>
                </a:cxn>
                <a:cxn ang="0">
                  <a:pos x="126" y="247"/>
                </a:cxn>
                <a:cxn ang="0">
                  <a:pos x="86" y="247"/>
                </a:cxn>
                <a:cxn ang="0">
                  <a:pos x="68" y="243"/>
                </a:cxn>
                <a:cxn ang="0">
                  <a:pos x="42" y="227"/>
                </a:cxn>
                <a:cxn ang="0">
                  <a:pos x="26" y="225"/>
                </a:cxn>
                <a:cxn ang="0">
                  <a:pos x="8" y="209"/>
                </a:cxn>
                <a:cxn ang="0">
                  <a:pos x="8" y="181"/>
                </a:cxn>
              </a:cxnLst>
              <a:rect l="0" t="0" r="r" b="b"/>
              <a:pathLst>
                <a:path w="188" h="247">
                  <a:moveTo>
                    <a:pt x="8" y="181"/>
                  </a:moveTo>
                  <a:lnTo>
                    <a:pt x="0" y="162"/>
                  </a:lnTo>
                  <a:lnTo>
                    <a:pt x="2" y="130"/>
                  </a:lnTo>
                  <a:lnTo>
                    <a:pt x="6" y="94"/>
                  </a:lnTo>
                  <a:lnTo>
                    <a:pt x="12" y="68"/>
                  </a:lnTo>
                  <a:lnTo>
                    <a:pt x="30" y="24"/>
                  </a:lnTo>
                  <a:lnTo>
                    <a:pt x="52" y="0"/>
                  </a:lnTo>
                  <a:lnTo>
                    <a:pt x="70" y="40"/>
                  </a:lnTo>
                  <a:lnTo>
                    <a:pt x="84" y="60"/>
                  </a:lnTo>
                  <a:lnTo>
                    <a:pt x="98" y="52"/>
                  </a:lnTo>
                  <a:lnTo>
                    <a:pt x="120" y="70"/>
                  </a:lnTo>
                  <a:lnTo>
                    <a:pt x="144" y="82"/>
                  </a:lnTo>
                  <a:lnTo>
                    <a:pt x="160" y="100"/>
                  </a:lnTo>
                  <a:lnTo>
                    <a:pt x="174" y="124"/>
                  </a:lnTo>
                  <a:lnTo>
                    <a:pt x="188" y="128"/>
                  </a:lnTo>
                  <a:lnTo>
                    <a:pt x="180" y="148"/>
                  </a:lnTo>
                  <a:lnTo>
                    <a:pt x="178" y="168"/>
                  </a:lnTo>
                  <a:lnTo>
                    <a:pt x="178" y="181"/>
                  </a:lnTo>
                  <a:lnTo>
                    <a:pt x="188" y="191"/>
                  </a:lnTo>
                  <a:lnTo>
                    <a:pt x="178" y="211"/>
                  </a:lnTo>
                  <a:lnTo>
                    <a:pt x="170" y="223"/>
                  </a:lnTo>
                  <a:lnTo>
                    <a:pt x="142" y="239"/>
                  </a:lnTo>
                  <a:lnTo>
                    <a:pt x="126" y="247"/>
                  </a:lnTo>
                  <a:lnTo>
                    <a:pt x="86" y="247"/>
                  </a:lnTo>
                  <a:lnTo>
                    <a:pt x="68" y="243"/>
                  </a:lnTo>
                  <a:lnTo>
                    <a:pt x="42" y="227"/>
                  </a:lnTo>
                  <a:lnTo>
                    <a:pt x="26" y="225"/>
                  </a:lnTo>
                  <a:lnTo>
                    <a:pt x="8" y="209"/>
                  </a:lnTo>
                  <a:lnTo>
                    <a:pt x="8" y="181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407" name="Uzbekistan">
              <a:extLst>
                <a:ext uri="{FF2B5EF4-FFF2-40B4-BE49-F238E27FC236}">
                  <a16:creationId xmlns="" xmlns:a16="http://schemas.microsoft.com/office/drawing/2014/main" id="{55C87C37-C565-45E8-8A09-ABC51EC0A3F9}"/>
                </a:ext>
              </a:extLst>
            </p:cNvPr>
            <p:cNvSpPr>
              <a:spLocks/>
            </p:cNvSpPr>
            <p:nvPr/>
          </p:nvSpPr>
          <p:spPr bwMode="gray">
            <a:xfrm>
              <a:off x="7530719" y="2924540"/>
              <a:ext cx="515408" cy="369714"/>
            </a:xfrm>
            <a:custGeom>
              <a:avLst/>
              <a:gdLst/>
              <a:ahLst/>
              <a:cxnLst>
                <a:cxn ang="0">
                  <a:pos x="564" y="188"/>
                </a:cxn>
                <a:cxn ang="0">
                  <a:pos x="470" y="226"/>
                </a:cxn>
                <a:cxn ang="0">
                  <a:pos x="460" y="246"/>
                </a:cxn>
                <a:cxn ang="0">
                  <a:pos x="392" y="230"/>
                </a:cxn>
                <a:cxn ang="0">
                  <a:pos x="368" y="200"/>
                </a:cxn>
                <a:cxn ang="0">
                  <a:pos x="378" y="176"/>
                </a:cxn>
                <a:cxn ang="0">
                  <a:pos x="356" y="148"/>
                </a:cxn>
                <a:cxn ang="0">
                  <a:pos x="312" y="96"/>
                </a:cxn>
                <a:cxn ang="0">
                  <a:pos x="222" y="108"/>
                </a:cxn>
                <a:cxn ang="0">
                  <a:pos x="198" y="58"/>
                </a:cxn>
                <a:cxn ang="0">
                  <a:pos x="0" y="24"/>
                </a:cxn>
                <a:cxn ang="0">
                  <a:pos x="36" y="234"/>
                </a:cxn>
                <a:cxn ang="0">
                  <a:pos x="36" y="214"/>
                </a:cxn>
                <a:cxn ang="0">
                  <a:pos x="74" y="176"/>
                </a:cxn>
                <a:cxn ang="0">
                  <a:pos x="84" y="168"/>
                </a:cxn>
                <a:cxn ang="0">
                  <a:pos x="148" y="202"/>
                </a:cxn>
                <a:cxn ang="0">
                  <a:pos x="148" y="230"/>
                </a:cxn>
                <a:cxn ang="0">
                  <a:pos x="206" y="242"/>
                </a:cxn>
                <a:cxn ang="0">
                  <a:pos x="234" y="284"/>
                </a:cxn>
                <a:cxn ang="0">
                  <a:pos x="338" y="374"/>
                </a:cxn>
                <a:cxn ang="0">
                  <a:pos x="356" y="404"/>
                </a:cxn>
                <a:cxn ang="0">
                  <a:pos x="426" y="454"/>
                </a:cxn>
                <a:cxn ang="0">
                  <a:pos x="454" y="382"/>
                </a:cxn>
                <a:cxn ang="0">
                  <a:pos x="434" y="334"/>
                </a:cxn>
                <a:cxn ang="0">
                  <a:pos x="466" y="314"/>
                </a:cxn>
                <a:cxn ang="0">
                  <a:pos x="496" y="258"/>
                </a:cxn>
                <a:cxn ang="0">
                  <a:pos x="536" y="254"/>
                </a:cxn>
                <a:cxn ang="0">
                  <a:pos x="528" y="284"/>
                </a:cxn>
                <a:cxn ang="0">
                  <a:pos x="558" y="304"/>
                </a:cxn>
                <a:cxn ang="0">
                  <a:pos x="602" y="296"/>
                </a:cxn>
                <a:cxn ang="0">
                  <a:pos x="626" y="282"/>
                </a:cxn>
                <a:cxn ang="0">
                  <a:pos x="634" y="254"/>
                </a:cxn>
                <a:cxn ang="0">
                  <a:pos x="588" y="236"/>
                </a:cxn>
                <a:cxn ang="0">
                  <a:pos x="558" y="242"/>
                </a:cxn>
                <a:cxn ang="0">
                  <a:pos x="530" y="212"/>
                </a:cxn>
              </a:cxnLst>
              <a:rect l="0" t="0" r="r" b="b"/>
              <a:pathLst>
                <a:path w="634" h="454">
                  <a:moveTo>
                    <a:pt x="568" y="204"/>
                  </a:moveTo>
                  <a:lnTo>
                    <a:pt x="564" y="188"/>
                  </a:lnTo>
                  <a:lnTo>
                    <a:pt x="512" y="202"/>
                  </a:lnTo>
                  <a:lnTo>
                    <a:pt x="470" y="226"/>
                  </a:lnTo>
                  <a:lnTo>
                    <a:pt x="470" y="240"/>
                  </a:lnTo>
                  <a:lnTo>
                    <a:pt x="460" y="246"/>
                  </a:lnTo>
                  <a:lnTo>
                    <a:pt x="442" y="232"/>
                  </a:lnTo>
                  <a:lnTo>
                    <a:pt x="392" y="230"/>
                  </a:lnTo>
                  <a:lnTo>
                    <a:pt x="388" y="206"/>
                  </a:lnTo>
                  <a:lnTo>
                    <a:pt x="368" y="200"/>
                  </a:lnTo>
                  <a:lnTo>
                    <a:pt x="368" y="182"/>
                  </a:lnTo>
                  <a:lnTo>
                    <a:pt x="378" y="176"/>
                  </a:lnTo>
                  <a:lnTo>
                    <a:pt x="374" y="148"/>
                  </a:lnTo>
                  <a:lnTo>
                    <a:pt x="356" y="148"/>
                  </a:lnTo>
                  <a:lnTo>
                    <a:pt x="324" y="84"/>
                  </a:lnTo>
                  <a:lnTo>
                    <a:pt x="312" y="96"/>
                  </a:lnTo>
                  <a:lnTo>
                    <a:pt x="242" y="96"/>
                  </a:lnTo>
                  <a:lnTo>
                    <a:pt x="222" y="108"/>
                  </a:lnTo>
                  <a:lnTo>
                    <a:pt x="210" y="92"/>
                  </a:lnTo>
                  <a:lnTo>
                    <a:pt x="198" y="58"/>
                  </a:lnTo>
                  <a:lnTo>
                    <a:pt x="94" y="0"/>
                  </a:lnTo>
                  <a:lnTo>
                    <a:pt x="0" y="24"/>
                  </a:lnTo>
                  <a:lnTo>
                    <a:pt x="0" y="232"/>
                  </a:lnTo>
                  <a:lnTo>
                    <a:pt x="36" y="234"/>
                  </a:lnTo>
                  <a:lnTo>
                    <a:pt x="48" y="226"/>
                  </a:lnTo>
                  <a:lnTo>
                    <a:pt x="36" y="214"/>
                  </a:lnTo>
                  <a:lnTo>
                    <a:pt x="40" y="192"/>
                  </a:lnTo>
                  <a:lnTo>
                    <a:pt x="74" y="176"/>
                  </a:lnTo>
                  <a:lnTo>
                    <a:pt x="94" y="180"/>
                  </a:lnTo>
                  <a:lnTo>
                    <a:pt x="84" y="168"/>
                  </a:lnTo>
                  <a:lnTo>
                    <a:pt x="92" y="160"/>
                  </a:lnTo>
                  <a:lnTo>
                    <a:pt x="148" y="202"/>
                  </a:lnTo>
                  <a:lnTo>
                    <a:pt x="152" y="212"/>
                  </a:lnTo>
                  <a:lnTo>
                    <a:pt x="148" y="230"/>
                  </a:lnTo>
                  <a:lnTo>
                    <a:pt x="172" y="242"/>
                  </a:lnTo>
                  <a:lnTo>
                    <a:pt x="206" y="242"/>
                  </a:lnTo>
                  <a:lnTo>
                    <a:pt x="232" y="268"/>
                  </a:lnTo>
                  <a:lnTo>
                    <a:pt x="234" y="284"/>
                  </a:lnTo>
                  <a:lnTo>
                    <a:pt x="322" y="374"/>
                  </a:lnTo>
                  <a:lnTo>
                    <a:pt x="338" y="374"/>
                  </a:lnTo>
                  <a:lnTo>
                    <a:pt x="362" y="388"/>
                  </a:lnTo>
                  <a:lnTo>
                    <a:pt x="356" y="404"/>
                  </a:lnTo>
                  <a:lnTo>
                    <a:pt x="358" y="432"/>
                  </a:lnTo>
                  <a:lnTo>
                    <a:pt x="426" y="454"/>
                  </a:lnTo>
                  <a:lnTo>
                    <a:pt x="438" y="400"/>
                  </a:lnTo>
                  <a:lnTo>
                    <a:pt x="454" y="382"/>
                  </a:lnTo>
                  <a:lnTo>
                    <a:pt x="446" y="346"/>
                  </a:lnTo>
                  <a:lnTo>
                    <a:pt x="434" y="334"/>
                  </a:lnTo>
                  <a:lnTo>
                    <a:pt x="440" y="318"/>
                  </a:lnTo>
                  <a:lnTo>
                    <a:pt x="466" y="314"/>
                  </a:lnTo>
                  <a:lnTo>
                    <a:pt x="494" y="280"/>
                  </a:lnTo>
                  <a:lnTo>
                    <a:pt x="496" y="258"/>
                  </a:lnTo>
                  <a:lnTo>
                    <a:pt x="516" y="264"/>
                  </a:lnTo>
                  <a:lnTo>
                    <a:pt x="536" y="254"/>
                  </a:lnTo>
                  <a:lnTo>
                    <a:pt x="546" y="264"/>
                  </a:lnTo>
                  <a:lnTo>
                    <a:pt x="528" y="284"/>
                  </a:lnTo>
                  <a:lnTo>
                    <a:pt x="544" y="294"/>
                  </a:lnTo>
                  <a:lnTo>
                    <a:pt x="558" y="304"/>
                  </a:lnTo>
                  <a:lnTo>
                    <a:pt x="586" y="286"/>
                  </a:lnTo>
                  <a:lnTo>
                    <a:pt x="602" y="296"/>
                  </a:lnTo>
                  <a:lnTo>
                    <a:pt x="612" y="280"/>
                  </a:lnTo>
                  <a:lnTo>
                    <a:pt x="626" y="282"/>
                  </a:lnTo>
                  <a:lnTo>
                    <a:pt x="634" y="276"/>
                  </a:lnTo>
                  <a:lnTo>
                    <a:pt x="634" y="254"/>
                  </a:lnTo>
                  <a:lnTo>
                    <a:pt x="610" y="252"/>
                  </a:lnTo>
                  <a:lnTo>
                    <a:pt x="588" y="236"/>
                  </a:lnTo>
                  <a:lnTo>
                    <a:pt x="580" y="218"/>
                  </a:lnTo>
                  <a:lnTo>
                    <a:pt x="558" y="242"/>
                  </a:lnTo>
                  <a:lnTo>
                    <a:pt x="532" y="224"/>
                  </a:lnTo>
                  <a:lnTo>
                    <a:pt x="530" y="212"/>
                  </a:lnTo>
                  <a:lnTo>
                    <a:pt x="568" y="204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408" name="Venezuela">
              <a:extLst>
                <a:ext uri="{FF2B5EF4-FFF2-40B4-BE49-F238E27FC236}">
                  <a16:creationId xmlns="" xmlns:a16="http://schemas.microsoft.com/office/drawing/2014/main" id="{D1403B8A-AAD2-4F4C-9846-5A3C889B8A06}"/>
                </a:ext>
              </a:extLst>
            </p:cNvPr>
            <p:cNvSpPr>
              <a:spLocks/>
            </p:cNvSpPr>
            <p:nvPr/>
          </p:nvSpPr>
          <p:spPr bwMode="gray">
            <a:xfrm>
              <a:off x="3444547" y="4234268"/>
              <a:ext cx="408031" cy="363814"/>
            </a:xfrm>
            <a:custGeom>
              <a:avLst/>
              <a:gdLst/>
              <a:ahLst/>
              <a:cxnLst>
                <a:cxn ang="0">
                  <a:pos x="222" y="409"/>
                </a:cxn>
                <a:cxn ang="0">
                  <a:pos x="226" y="385"/>
                </a:cxn>
                <a:cxn ang="0">
                  <a:pos x="194" y="365"/>
                </a:cxn>
                <a:cxn ang="0">
                  <a:pos x="216" y="345"/>
                </a:cxn>
                <a:cxn ang="0">
                  <a:pos x="204" y="275"/>
                </a:cxn>
                <a:cxn ang="0">
                  <a:pos x="206" y="235"/>
                </a:cxn>
                <a:cxn ang="0">
                  <a:pos x="106" y="205"/>
                </a:cxn>
                <a:cxn ang="0">
                  <a:pos x="28" y="193"/>
                </a:cxn>
                <a:cxn ang="0">
                  <a:pos x="12" y="124"/>
                </a:cxn>
                <a:cxn ang="0">
                  <a:pos x="2" y="76"/>
                </a:cxn>
                <a:cxn ang="0">
                  <a:pos x="38" y="24"/>
                </a:cxn>
                <a:cxn ang="0">
                  <a:pos x="82" y="8"/>
                </a:cxn>
                <a:cxn ang="0">
                  <a:pos x="54" y="26"/>
                </a:cxn>
                <a:cxn ang="0">
                  <a:pos x="58" y="84"/>
                </a:cxn>
                <a:cxn ang="0">
                  <a:pos x="58" y="116"/>
                </a:cxn>
                <a:cxn ang="0">
                  <a:pos x="82" y="122"/>
                </a:cxn>
                <a:cxn ang="0">
                  <a:pos x="70" y="74"/>
                </a:cxn>
                <a:cxn ang="0">
                  <a:pos x="84" y="54"/>
                </a:cxn>
                <a:cxn ang="0">
                  <a:pos x="118" y="38"/>
                </a:cxn>
                <a:cxn ang="0">
                  <a:pos x="122" y="12"/>
                </a:cxn>
                <a:cxn ang="0">
                  <a:pos x="162" y="38"/>
                </a:cxn>
                <a:cxn ang="0">
                  <a:pos x="184" y="70"/>
                </a:cxn>
                <a:cxn ang="0">
                  <a:pos x="244" y="68"/>
                </a:cxn>
                <a:cxn ang="0">
                  <a:pos x="282" y="86"/>
                </a:cxn>
                <a:cxn ang="0">
                  <a:pos x="336" y="68"/>
                </a:cxn>
                <a:cxn ang="0">
                  <a:pos x="426" y="64"/>
                </a:cxn>
                <a:cxn ang="0">
                  <a:pos x="396" y="72"/>
                </a:cxn>
                <a:cxn ang="0">
                  <a:pos x="450" y="106"/>
                </a:cxn>
                <a:cxn ang="0">
                  <a:pos x="476" y="145"/>
                </a:cxn>
                <a:cxn ang="0">
                  <a:pos x="504" y="149"/>
                </a:cxn>
                <a:cxn ang="0">
                  <a:pos x="482" y="201"/>
                </a:cxn>
                <a:cxn ang="0">
                  <a:pos x="454" y="235"/>
                </a:cxn>
                <a:cxn ang="0">
                  <a:pos x="476" y="275"/>
                </a:cxn>
                <a:cxn ang="0">
                  <a:pos x="442" y="303"/>
                </a:cxn>
                <a:cxn ang="0">
                  <a:pos x="406" y="309"/>
                </a:cxn>
                <a:cxn ang="0">
                  <a:pos x="364" y="323"/>
                </a:cxn>
                <a:cxn ang="0">
                  <a:pos x="312" y="307"/>
                </a:cxn>
                <a:cxn ang="0">
                  <a:pos x="336" y="333"/>
                </a:cxn>
                <a:cxn ang="0">
                  <a:pos x="346" y="381"/>
                </a:cxn>
                <a:cxn ang="0">
                  <a:pos x="374" y="387"/>
                </a:cxn>
                <a:cxn ang="0">
                  <a:pos x="326" y="409"/>
                </a:cxn>
                <a:cxn ang="0">
                  <a:pos x="234" y="419"/>
                </a:cxn>
              </a:cxnLst>
              <a:rect l="0" t="0" r="r" b="b"/>
              <a:pathLst>
                <a:path w="504" h="445">
                  <a:moveTo>
                    <a:pt x="226" y="425"/>
                  </a:moveTo>
                  <a:lnTo>
                    <a:pt x="222" y="409"/>
                  </a:lnTo>
                  <a:lnTo>
                    <a:pt x="230" y="405"/>
                  </a:lnTo>
                  <a:lnTo>
                    <a:pt x="226" y="385"/>
                  </a:lnTo>
                  <a:lnTo>
                    <a:pt x="212" y="365"/>
                  </a:lnTo>
                  <a:lnTo>
                    <a:pt x="194" y="365"/>
                  </a:lnTo>
                  <a:lnTo>
                    <a:pt x="198" y="353"/>
                  </a:lnTo>
                  <a:lnTo>
                    <a:pt x="216" y="345"/>
                  </a:lnTo>
                  <a:lnTo>
                    <a:pt x="206" y="317"/>
                  </a:lnTo>
                  <a:lnTo>
                    <a:pt x="204" y="275"/>
                  </a:lnTo>
                  <a:lnTo>
                    <a:pt x="218" y="245"/>
                  </a:lnTo>
                  <a:lnTo>
                    <a:pt x="206" y="235"/>
                  </a:lnTo>
                  <a:lnTo>
                    <a:pt x="144" y="239"/>
                  </a:lnTo>
                  <a:lnTo>
                    <a:pt x="106" y="205"/>
                  </a:lnTo>
                  <a:lnTo>
                    <a:pt x="56" y="205"/>
                  </a:lnTo>
                  <a:lnTo>
                    <a:pt x="28" y="193"/>
                  </a:lnTo>
                  <a:lnTo>
                    <a:pt x="16" y="163"/>
                  </a:lnTo>
                  <a:lnTo>
                    <a:pt x="12" y="124"/>
                  </a:lnTo>
                  <a:lnTo>
                    <a:pt x="0" y="108"/>
                  </a:lnTo>
                  <a:lnTo>
                    <a:pt x="2" y="76"/>
                  </a:lnTo>
                  <a:lnTo>
                    <a:pt x="32" y="44"/>
                  </a:lnTo>
                  <a:lnTo>
                    <a:pt x="38" y="24"/>
                  </a:lnTo>
                  <a:lnTo>
                    <a:pt x="64" y="0"/>
                  </a:lnTo>
                  <a:lnTo>
                    <a:pt x="82" y="8"/>
                  </a:lnTo>
                  <a:lnTo>
                    <a:pt x="74" y="24"/>
                  </a:lnTo>
                  <a:lnTo>
                    <a:pt x="54" y="26"/>
                  </a:lnTo>
                  <a:lnTo>
                    <a:pt x="62" y="52"/>
                  </a:lnTo>
                  <a:lnTo>
                    <a:pt x="58" y="84"/>
                  </a:lnTo>
                  <a:lnTo>
                    <a:pt x="48" y="106"/>
                  </a:lnTo>
                  <a:lnTo>
                    <a:pt x="58" y="116"/>
                  </a:lnTo>
                  <a:lnTo>
                    <a:pt x="62" y="126"/>
                  </a:lnTo>
                  <a:lnTo>
                    <a:pt x="82" y="122"/>
                  </a:lnTo>
                  <a:lnTo>
                    <a:pt x="86" y="104"/>
                  </a:lnTo>
                  <a:lnTo>
                    <a:pt x="70" y="74"/>
                  </a:lnTo>
                  <a:lnTo>
                    <a:pt x="70" y="54"/>
                  </a:lnTo>
                  <a:lnTo>
                    <a:pt x="84" y="54"/>
                  </a:lnTo>
                  <a:lnTo>
                    <a:pt x="98" y="46"/>
                  </a:lnTo>
                  <a:lnTo>
                    <a:pt x="118" y="38"/>
                  </a:lnTo>
                  <a:lnTo>
                    <a:pt x="108" y="26"/>
                  </a:lnTo>
                  <a:lnTo>
                    <a:pt x="122" y="12"/>
                  </a:lnTo>
                  <a:lnTo>
                    <a:pt x="138" y="36"/>
                  </a:lnTo>
                  <a:lnTo>
                    <a:pt x="162" y="38"/>
                  </a:lnTo>
                  <a:lnTo>
                    <a:pt x="186" y="54"/>
                  </a:lnTo>
                  <a:lnTo>
                    <a:pt x="184" y="70"/>
                  </a:lnTo>
                  <a:lnTo>
                    <a:pt x="200" y="76"/>
                  </a:lnTo>
                  <a:lnTo>
                    <a:pt x="244" y="68"/>
                  </a:lnTo>
                  <a:lnTo>
                    <a:pt x="268" y="68"/>
                  </a:lnTo>
                  <a:lnTo>
                    <a:pt x="282" y="86"/>
                  </a:lnTo>
                  <a:lnTo>
                    <a:pt x="324" y="86"/>
                  </a:lnTo>
                  <a:lnTo>
                    <a:pt x="336" y="68"/>
                  </a:lnTo>
                  <a:lnTo>
                    <a:pt x="390" y="62"/>
                  </a:lnTo>
                  <a:lnTo>
                    <a:pt x="426" y="64"/>
                  </a:lnTo>
                  <a:lnTo>
                    <a:pt x="426" y="70"/>
                  </a:lnTo>
                  <a:lnTo>
                    <a:pt x="396" y="72"/>
                  </a:lnTo>
                  <a:lnTo>
                    <a:pt x="410" y="92"/>
                  </a:lnTo>
                  <a:lnTo>
                    <a:pt x="450" y="106"/>
                  </a:lnTo>
                  <a:lnTo>
                    <a:pt x="472" y="114"/>
                  </a:lnTo>
                  <a:lnTo>
                    <a:pt x="476" y="145"/>
                  </a:lnTo>
                  <a:lnTo>
                    <a:pt x="496" y="140"/>
                  </a:lnTo>
                  <a:lnTo>
                    <a:pt x="504" y="149"/>
                  </a:lnTo>
                  <a:lnTo>
                    <a:pt x="484" y="173"/>
                  </a:lnTo>
                  <a:lnTo>
                    <a:pt x="482" y="201"/>
                  </a:lnTo>
                  <a:lnTo>
                    <a:pt x="456" y="209"/>
                  </a:lnTo>
                  <a:lnTo>
                    <a:pt x="454" y="235"/>
                  </a:lnTo>
                  <a:lnTo>
                    <a:pt x="448" y="251"/>
                  </a:lnTo>
                  <a:lnTo>
                    <a:pt x="476" y="275"/>
                  </a:lnTo>
                  <a:lnTo>
                    <a:pt x="458" y="303"/>
                  </a:lnTo>
                  <a:lnTo>
                    <a:pt x="442" y="303"/>
                  </a:lnTo>
                  <a:lnTo>
                    <a:pt x="418" y="317"/>
                  </a:lnTo>
                  <a:lnTo>
                    <a:pt x="406" y="309"/>
                  </a:lnTo>
                  <a:lnTo>
                    <a:pt x="390" y="329"/>
                  </a:lnTo>
                  <a:lnTo>
                    <a:pt x="364" y="323"/>
                  </a:lnTo>
                  <a:lnTo>
                    <a:pt x="348" y="323"/>
                  </a:lnTo>
                  <a:lnTo>
                    <a:pt x="312" y="307"/>
                  </a:lnTo>
                  <a:lnTo>
                    <a:pt x="312" y="325"/>
                  </a:lnTo>
                  <a:lnTo>
                    <a:pt x="336" y="333"/>
                  </a:lnTo>
                  <a:lnTo>
                    <a:pt x="332" y="365"/>
                  </a:lnTo>
                  <a:lnTo>
                    <a:pt x="346" y="381"/>
                  </a:lnTo>
                  <a:lnTo>
                    <a:pt x="372" y="375"/>
                  </a:lnTo>
                  <a:lnTo>
                    <a:pt x="374" y="387"/>
                  </a:lnTo>
                  <a:lnTo>
                    <a:pt x="336" y="419"/>
                  </a:lnTo>
                  <a:lnTo>
                    <a:pt x="326" y="409"/>
                  </a:lnTo>
                  <a:lnTo>
                    <a:pt x="266" y="445"/>
                  </a:lnTo>
                  <a:lnTo>
                    <a:pt x="234" y="419"/>
                  </a:lnTo>
                  <a:lnTo>
                    <a:pt x="226" y="425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409" name="Vietnam">
              <a:extLst>
                <a:ext uri="{FF2B5EF4-FFF2-40B4-BE49-F238E27FC236}">
                  <a16:creationId xmlns="" xmlns:a16="http://schemas.microsoft.com/office/drawing/2014/main" id="{CFA96512-AE9F-49E1-B766-4BAACBA58534}"/>
                </a:ext>
              </a:extLst>
            </p:cNvPr>
            <p:cNvSpPr>
              <a:spLocks/>
            </p:cNvSpPr>
            <p:nvPr/>
          </p:nvSpPr>
          <p:spPr bwMode="gray">
            <a:xfrm>
              <a:off x="8950045" y="3801626"/>
              <a:ext cx="230372" cy="475908"/>
            </a:xfrm>
            <a:custGeom>
              <a:avLst/>
              <a:gdLst/>
              <a:ahLst/>
              <a:cxnLst>
                <a:cxn ang="0">
                  <a:pos x="206" y="348"/>
                </a:cxn>
                <a:cxn ang="0">
                  <a:pos x="218" y="330"/>
                </a:cxn>
                <a:cxn ang="0">
                  <a:pos x="202" y="294"/>
                </a:cxn>
                <a:cxn ang="0">
                  <a:pos x="170" y="276"/>
                </a:cxn>
                <a:cxn ang="0">
                  <a:pos x="148" y="236"/>
                </a:cxn>
                <a:cxn ang="0">
                  <a:pos x="120" y="190"/>
                </a:cxn>
                <a:cxn ang="0">
                  <a:pos x="78" y="132"/>
                </a:cxn>
                <a:cxn ang="0">
                  <a:pos x="106" y="126"/>
                </a:cxn>
                <a:cxn ang="0">
                  <a:pos x="52" y="98"/>
                </a:cxn>
                <a:cxn ang="0">
                  <a:pos x="28" y="66"/>
                </a:cxn>
                <a:cxn ang="0">
                  <a:pos x="14" y="26"/>
                </a:cxn>
                <a:cxn ang="0">
                  <a:pos x="122" y="0"/>
                </a:cxn>
                <a:cxn ang="0">
                  <a:pos x="170" y="18"/>
                </a:cxn>
                <a:cxn ang="0">
                  <a:pos x="166" y="48"/>
                </a:cxn>
                <a:cxn ang="0">
                  <a:pos x="212" y="56"/>
                </a:cxn>
                <a:cxn ang="0">
                  <a:pos x="196" y="86"/>
                </a:cxn>
                <a:cxn ang="0">
                  <a:pos x="164" y="116"/>
                </a:cxn>
                <a:cxn ang="0">
                  <a:pos x="138" y="170"/>
                </a:cxn>
                <a:cxn ang="0">
                  <a:pos x="164" y="202"/>
                </a:cxn>
                <a:cxn ang="0">
                  <a:pos x="170" y="224"/>
                </a:cxn>
                <a:cxn ang="0">
                  <a:pos x="222" y="280"/>
                </a:cxn>
                <a:cxn ang="0">
                  <a:pos x="238" y="300"/>
                </a:cxn>
                <a:cxn ang="0">
                  <a:pos x="274" y="408"/>
                </a:cxn>
                <a:cxn ang="0">
                  <a:pos x="274" y="440"/>
                </a:cxn>
                <a:cxn ang="0">
                  <a:pos x="272" y="480"/>
                </a:cxn>
                <a:cxn ang="0">
                  <a:pos x="236" y="486"/>
                </a:cxn>
                <a:cxn ang="0">
                  <a:pos x="182" y="512"/>
                </a:cxn>
                <a:cxn ang="0">
                  <a:pos x="146" y="556"/>
                </a:cxn>
                <a:cxn ang="0">
                  <a:pos x="110" y="582"/>
                </a:cxn>
                <a:cxn ang="0">
                  <a:pos x="106" y="568"/>
                </a:cxn>
                <a:cxn ang="0">
                  <a:pos x="120" y="528"/>
                </a:cxn>
                <a:cxn ang="0">
                  <a:pos x="126" y="484"/>
                </a:cxn>
                <a:cxn ang="0">
                  <a:pos x="148" y="468"/>
                </a:cxn>
                <a:cxn ang="0">
                  <a:pos x="172" y="454"/>
                </a:cxn>
                <a:cxn ang="0">
                  <a:pos x="198" y="440"/>
                </a:cxn>
                <a:cxn ang="0">
                  <a:pos x="208" y="378"/>
                </a:cxn>
              </a:cxnLst>
              <a:rect l="0" t="0" r="r" b="b"/>
              <a:pathLst>
                <a:path w="284" h="582">
                  <a:moveTo>
                    <a:pt x="208" y="378"/>
                  </a:moveTo>
                  <a:lnTo>
                    <a:pt x="206" y="348"/>
                  </a:lnTo>
                  <a:lnTo>
                    <a:pt x="214" y="340"/>
                  </a:lnTo>
                  <a:lnTo>
                    <a:pt x="218" y="330"/>
                  </a:lnTo>
                  <a:lnTo>
                    <a:pt x="194" y="308"/>
                  </a:lnTo>
                  <a:lnTo>
                    <a:pt x="202" y="294"/>
                  </a:lnTo>
                  <a:lnTo>
                    <a:pt x="180" y="272"/>
                  </a:lnTo>
                  <a:lnTo>
                    <a:pt x="170" y="276"/>
                  </a:lnTo>
                  <a:lnTo>
                    <a:pt x="150" y="250"/>
                  </a:lnTo>
                  <a:lnTo>
                    <a:pt x="148" y="236"/>
                  </a:lnTo>
                  <a:lnTo>
                    <a:pt x="120" y="202"/>
                  </a:lnTo>
                  <a:lnTo>
                    <a:pt x="120" y="190"/>
                  </a:lnTo>
                  <a:lnTo>
                    <a:pt x="78" y="152"/>
                  </a:lnTo>
                  <a:lnTo>
                    <a:pt x="78" y="132"/>
                  </a:lnTo>
                  <a:lnTo>
                    <a:pt x="94" y="134"/>
                  </a:lnTo>
                  <a:lnTo>
                    <a:pt x="106" y="126"/>
                  </a:lnTo>
                  <a:lnTo>
                    <a:pt x="72" y="88"/>
                  </a:lnTo>
                  <a:lnTo>
                    <a:pt x="52" y="98"/>
                  </a:lnTo>
                  <a:lnTo>
                    <a:pt x="30" y="86"/>
                  </a:lnTo>
                  <a:lnTo>
                    <a:pt x="28" y="66"/>
                  </a:lnTo>
                  <a:lnTo>
                    <a:pt x="0" y="34"/>
                  </a:lnTo>
                  <a:lnTo>
                    <a:pt x="14" y="26"/>
                  </a:lnTo>
                  <a:lnTo>
                    <a:pt x="72" y="28"/>
                  </a:lnTo>
                  <a:lnTo>
                    <a:pt x="122" y="0"/>
                  </a:lnTo>
                  <a:lnTo>
                    <a:pt x="154" y="18"/>
                  </a:lnTo>
                  <a:lnTo>
                    <a:pt x="170" y="18"/>
                  </a:lnTo>
                  <a:lnTo>
                    <a:pt x="182" y="28"/>
                  </a:lnTo>
                  <a:lnTo>
                    <a:pt x="166" y="48"/>
                  </a:lnTo>
                  <a:lnTo>
                    <a:pt x="180" y="58"/>
                  </a:lnTo>
                  <a:lnTo>
                    <a:pt x="212" y="56"/>
                  </a:lnTo>
                  <a:lnTo>
                    <a:pt x="198" y="68"/>
                  </a:lnTo>
                  <a:lnTo>
                    <a:pt x="196" y="86"/>
                  </a:lnTo>
                  <a:lnTo>
                    <a:pt x="180" y="90"/>
                  </a:lnTo>
                  <a:lnTo>
                    <a:pt x="164" y="116"/>
                  </a:lnTo>
                  <a:lnTo>
                    <a:pt x="146" y="130"/>
                  </a:lnTo>
                  <a:lnTo>
                    <a:pt x="138" y="170"/>
                  </a:lnTo>
                  <a:lnTo>
                    <a:pt x="150" y="192"/>
                  </a:lnTo>
                  <a:lnTo>
                    <a:pt x="164" y="202"/>
                  </a:lnTo>
                  <a:lnTo>
                    <a:pt x="160" y="220"/>
                  </a:lnTo>
                  <a:lnTo>
                    <a:pt x="170" y="224"/>
                  </a:lnTo>
                  <a:lnTo>
                    <a:pt x="170" y="234"/>
                  </a:lnTo>
                  <a:lnTo>
                    <a:pt x="222" y="280"/>
                  </a:lnTo>
                  <a:lnTo>
                    <a:pt x="234" y="282"/>
                  </a:lnTo>
                  <a:lnTo>
                    <a:pt x="238" y="300"/>
                  </a:lnTo>
                  <a:lnTo>
                    <a:pt x="264" y="326"/>
                  </a:lnTo>
                  <a:lnTo>
                    <a:pt x="274" y="408"/>
                  </a:lnTo>
                  <a:lnTo>
                    <a:pt x="284" y="416"/>
                  </a:lnTo>
                  <a:lnTo>
                    <a:pt x="274" y="440"/>
                  </a:lnTo>
                  <a:lnTo>
                    <a:pt x="276" y="464"/>
                  </a:lnTo>
                  <a:lnTo>
                    <a:pt x="272" y="480"/>
                  </a:lnTo>
                  <a:lnTo>
                    <a:pt x="254" y="486"/>
                  </a:lnTo>
                  <a:lnTo>
                    <a:pt x="236" y="486"/>
                  </a:lnTo>
                  <a:lnTo>
                    <a:pt x="210" y="504"/>
                  </a:lnTo>
                  <a:lnTo>
                    <a:pt x="182" y="512"/>
                  </a:lnTo>
                  <a:lnTo>
                    <a:pt x="170" y="538"/>
                  </a:lnTo>
                  <a:lnTo>
                    <a:pt x="146" y="556"/>
                  </a:lnTo>
                  <a:lnTo>
                    <a:pt x="132" y="560"/>
                  </a:lnTo>
                  <a:lnTo>
                    <a:pt x="110" y="582"/>
                  </a:lnTo>
                  <a:lnTo>
                    <a:pt x="96" y="580"/>
                  </a:lnTo>
                  <a:lnTo>
                    <a:pt x="106" y="568"/>
                  </a:lnTo>
                  <a:lnTo>
                    <a:pt x="102" y="556"/>
                  </a:lnTo>
                  <a:lnTo>
                    <a:pt x="120" y="528"/>
                  </a:lnTo>
                  <a:lnTo>
                    <a:pt x="100" y="516"/>
                  </a:lnTo>
                  <a:lnTo>
                    <a:pt x="126" y="484"/>
                  </a:lnTo>
                  <a:lnTo>
                    <a:pt x="146" y="482"/>
                  </a:lnTo>
                  <a:lnTo>
                    <a:pt x="148" y="468"/>
                  </a:lnTo>
                  <a:lnTo>
                    <a:pt x="158" y="454"/>
                  </a:lnTo>
                  <a:lnTo>
                    <a:pt x="172" y="454"/>
                  </a:lnTo>
                  <a:lnTo>
                    <a:pt x="180" y="444"/>
                  </a:lnTo>
                  <a:lnTo>
                    <a:pt x="198" y="440"/>
                  </a:lnTo>
                  <a:lnTo>
                    <a:pt x="208" y="430"/>
                  </a:lnTo>
                  <a:lnTo>
                    <a:pt x="208" y="378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410" name="Western Sahara">
              <a:extLst>
                <a:ext uri="{FF2B5EF4-FFF2-40B4-BE49-F238E27FC236}">
                  <a16:creationId xmlns="" xmlns:a16="http://schemas.microsoft.com/office/drawing/2014/main" id="{C06820A5-C180-4F41-9A37-87C3460D4A02}"/>
                </a:ext>
              </a:extLst>
            </p:cNvPr>
            <p:cNvSpPr>
              <a:spLocks/>
            </p:cNvSpPr>
            <p:nvPr/>
          </p:nvSpPr>
          <p:spPr bwMode="gray">
            <a:xfrm>
              <a:off x="5279713" y="3642335"/>
              <a:ext cx="255751" cy="224188"/>
            </a:xfrm>
            <a:custGeom>
              <a:avLst/>
              <a:gdLst/>
              <a:ahLst/>
              <a:cxnLst>
                <a:cxn ang="0">
                  <a:pos x="126" y="46"/>
                </a:cxn>
                <a:cxn ang="0">
                  <a:pos x="150" y="2"/>
                </a:cxn>
                <a:cxn ang="0">
                  <a:pos x="319" y="0"/>
                </a:cxn>
                <a:cxn ang="0">
                  <a:pos x="319" y="26"/>
                </a:cxn>
                <a:cxn ang="0">
                  <a:pos x="319" y="76"/>
                </a:cxn>
                <a:cxn ang="0">
                  <a:pos x="185" y="78"/>
                </a:cxn>
                <a:cxn ang="0">
                  <a:pos x="185" y="194"/>
                </a:cxn>
                <a:cxn ang="0">
                  <a:pos x="156" y="190"/>
                </a:cxn>
                <a:cxn ang="0">
                  <a:pos x="144" y="208"/>
                </a:cxn>
                <a:cxn ang="0">
                  <a:pos x="142" y="276"/>
                </a:cxn>
                <a:cxn ang="0">
                  <a:pos x="0" y="274"/>
                </a:cxn>
                <a:cxn ang="0">
                  <a:pos x="4" y="244"/>
                </a:cxn>
                <a:cxn ang="0">
                  <a:pos x="30" y="214"/>
                </a:cxn>
                <a:cxn ang="0">
                  <a:pos x="38" y="164"/>
                </a:cxn>
                <a:cxn ang="0">
                  <a:pos x="70" y="136"/>
                </a:cxn>
                <a:cxn ang="0">
                  <a:pos x="92" y="100"/>
                </a:cxn>
                <a:cxn ang="0">
                  <a:pos x="98" y="70"/>
                </a:cxn>
                <a:cxn ang="0">
                  <a:pos x="108" y="66"/>
                </a:cxn>
                <a:cxn ang="0">
                  <a:pos x="126" y="46"/>
                </a:cxn>
              </a:cxnLst>
              <a:rect l="0" t="0" r="r" b="b"/>
              <a:pathLst>
                <a:path w="319" h="276">
                  <a:moveTo>
                    <a:pt x="126" y="46"/>
                  </a:moveTo>
                  <a:lnTo>
                    <a:pt x="150" y="2"/>
                  </a:lnTo>
                  <a:lnTo>
                    <a:pt x="319" y="0"/>
                  </a:lnTo>
                  <a:lnTo>
                    <a:pt x="319" y="26"/>
                  </a:lnTo>
                  <a:lnTo>
                    <a:pt x="319" y="76"/>
                  </a:lnTo>
                  <a:lnTo>
                    <a:pt x="185" y="78"/>
                  </a:lnTo>
                  <a:lnTo>
                    <a:pt x="185" y="194"/>
                  </a:lnTo>
                  <a:lnTo>
                    <a:pt x="156" y="190"/>
                  </a:lnTo>
                  <a:lnTo>
                    <a:pt x="144" y="208"/>
                  </a:lnTo>
                  <a:lnTo>
                    <a:pt x="142" y="276"/>
                  </a:lnTo>
                  <a:lnTo>
                    <a:pt x="0" y="274"/>
                  </a:lnTo>
                  <a:lnTo>
                    <a:pt x="4" y="244"/>
                  </a:lnTo>
                  <a:lnTo>
                    <a:pt x="30" y="214"/>
                  </a:lnTo>
                  <a:lnTo>
                    <a:pt x="38" y="164"/>
                  </a:lnTo>
                  <a:lnTo>
                    <a:pt x="70" y="136"/>
                  </a:lnTo>
                  <a:lnTo>
                    <a:pt x="92" y="100"/>
                  </a:lnTo>
                  <a:lnTo>
                    <a:pt x="98" y="70"/>
                  </a:lnTo>
                  <a:lnTo>
                    <a:pt x="108" y="66"/>
                  </a:lnTo>
                  <a:lnTo>
                    <a:pt x="126" y="46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411" name="Yemen">
              <a:extLst>
                <a:ext uri="{FF2B5EF4-FFF2-40B4-BE49-F238E27FC236}">
                  <a16:creationId xmlns="" xmlns:a16="http://schemas.microsoft.com/office/drawing/2014/main" id="{A1535D89-5606-4431-8947-F529F4449F19}"/>
                </a:ext>
              </a:extLst>
            </p:cNvPr>
            <p:cNvSpPr>
              <a:spLocks/>
            </p:cNvSpPr>
            <p:nvPr/>
          </p:nvSpPr>
          <p:spPr bwMode="gray">
            <a:xfrm>
              <a:off x="7126593" y="3951084"/>
              <a:ext cx="327987" cy="208456"/>
            </a:xfrm>
            <a:custGeom>
              <a:avLst/>
              <a:gdLst/>
              <a:ahLst/>
              <a:cxnLst>
                <a:cxn ang="0">
                  <a:pos x="406" y="88"/>
                </a:cxn>
                <a:cxn ang="0">
                  <a:pos x="372" y="0"/>
                </a:cxn>
                <a:cxn ang="0">
                  <a:pos x="246" y="44"/>
                </a:cxn>
                <a:cxn ang="0">
                  <a:pos x="122" y="120"/>
                </a:cxn>
                <a:cxn ang="0">
                  <a:pos x="108" y="96"/>
                </a:cxn>
                <a:cxn ang="0">
                  <a:pos x="64" y="72"/>
                </a:cxn>
                <a:cxn ang="0">
                  <a:pos x="48" y="74"/>
                </a:cxn>
                <a:cxn ang="0">
                  <a:pos x="26" y="62"/>
                </a:cxn>
                <a:cxn ang="0">
                  <a:pos x="16" y="66"/>
                </a:cxn>
                <a:cxn ang="0">
                  <a:pos x="12" y="90"/>
                </a:cxn>
                <a:cxn ang="0">
                  <a:pos x="2" y="100"/>
                </a:cxn>
                <a:cxn ang="0">
                  <a:pos x="8" y="116"/>
                </a:cxn>
                <a:cxn ang="0">
                  <a:pos x="8" y="136"/>
                </a:cxn>
                <a:cxn ang="0">
                  <a:pos x="0" y="142"/>
                </a:cxn>
                <a:cxn ang="0">
                  <a:pos x="12" y="174"/>
                </a:cxn>
                <a:cxn ang="0">
                  <a:pos x="12" y="190"/>
                </a:cxn>
                <a:cxn ang="0">
                  <a:pos x="26" y="200"/>
                </a:cxn>
                <a:cxn ang="0">
                  <a:pos x="28" y="220"/>
                </a:cxn>
                <a:cxn ang="0">
                  <a:pos x="36" y="238"/>
                </a:cxn>
                <a:cxn ang="0">
                  <a:pos x="40" y="256"/>
                </a:cxn>
                <a:cxn ang="0">
                  <a:pos x="82" y="256"/>
                </a:cxn>
                <a:cxn ang="0">
                  <a:pos x="132" y="220"/>
                </a:cxn>
                <a:cxn ang="0">
                  <a:pos x="174" y="214"/>
                </a:cxn>
                <a:cxn ang="0">
                  <a:pos x="206" y="196"/>
                </a:cxn>
                <a:cxn ang="0">
                  <a:pos x="232" y="192"/>
                </a:cxn>
                <a:cxn ang="0">
                  <a:pos x="250" y="176"/>
                </a:cxn>
                <a:cxn ang="0">
                  <a:pos x="284" y="168"/>
                </a:cxn>
                <a:cxn ang="0">
                  <a:pos x="302" y="154"/>
                </a:cxn>
                <a:cxn ang="0">
                  <a:pos x="350" y="146"/>
                </a:cxn>
                <a:cxn ang="0">
                  <a:pos x="356" y="136"/>
                </a:cxn>
                <a:cxn ang="0">
                  <a:pos x="370" y="132"/>
                </a:cxn>
                <a:cxn ang="0">
                  <a:pos x="368" y="118"/>
                </a:cxn>
                <a:cxn ang="0">
                  <a:pos x="382" y="100"/>
                </a:cxn>
                <a:cxn ang="0">
                  <a:pos x="406" y="88"/>
                </a:cxn>
              </a:cxnLst>
              <a:rect l="0" t="0" r="r" b="b"/>
              <a:pathLst>
                <a:path w="406" h="256">
                  <a:moveTo>
                    <a:pt x="406" y="88"/>
                  </a:moveTo>
                  <a:lnTo>
                    <a:pt x="372" y="0"/>
                  </a:lnTo>
                  <a:lnTo>
                    <a:pt x="246" y="44"/>
                  </a:lnTo>
                  <a:lnTo>
                    <a:pt x="122" y="120"/>
                  </a:lnTo>
                  <a:lnTo>
                    <a:pt x="108" y="96"/>
                  </a:lnTo>
                  <a:lnTo>
                    <a:pt x="64" y="72"/>
                  </a:lnTo>
                  <a:lnTo>
                    <a:pt x="48" y="74"/>
                  </a:lnTo>
                  <a:lnTo>
                    <a:pt x="26" y="62"/>
                  </a:lnTo>
                  <a:lnTo>
                    <a:pt x="16" y="66"/>
                  </a:lnTo>
                  <a:lnTo>
                    <a:pt x="12" y="90"/>
                  </a:lnTo>
                  <a:lnTo>
                    <a:pt x="2" y="100"/>
                  </a:lnTo>
                  <a:lnTo>
                    <a:pt x="8" y="116"/>
                  </a:lnTo>
                  <a:lnTo>
                    <a:pt x="8" y="136"/>
                  </a:lnTo>
                  <a:lnTo>
                    <a:pt x="0" y="142"/>
                  </a:lnTo>
                  <a:lnTo>
                    <a:pt x="12" y="174"/>
                  </a:lnTo>
                  <a:lnTo>
                    <a:pt x="12" y="190"/>
                  </a:lnTo>
                  <a:lnTo>
                    <a:pt x="26" y="200"/>
                  </a:lnTo>
                  <a:lnTo>
                    <a:pt x="28" y="220"/>
                  </a:lnTo>
                  <a:lnTo>
                    <a:pt x="36" y="238"/>
                  </a:lnTo>
                  <a:lnTo>
                    <a:pt x="40" y="256"/>
                  </a:lnTo>
                  <a:lnTo>
                    <a:pt x="82" y="256"/>
                  </a:lnTo>
                  <a:lnTo>
                    <a:pt x="132" y="220"/>
                  </a:lnTo>
                  <a:lnTo>
                    <a:pt x="174" y="214"/>
                  </a:lnTo>
                  <a:lnTo>
                    <a:pt x="206" y="196"/>
                  </a:lnTo>
                  <a:lnTo>
                    <a:pt x="232" y="192"/>
                  </a:lnTo>
                  <a:lnTo>
                    <a:pt x="250" y="176"/>
                  </a:lnTo>
                  <a:lnTo>
                    <a:pt x="284" y="168"/>
                  </a:lnTo>
                  <a:lnTo>
                    <a:pt x="302" y="154"/>
                  </a:lnTo>
                  <a:lnTo>
                    <a:pt x="350" y="146"/>
                  </a:lnTo>
                  <a:lnTo>
                    <a:pt x="356" y="136"/>
                  </a:lnTo>
                  <a:lnTo>
                    <a:pt x="370" y="132"/>
                  </a:lnTo>
                  <a:lnTo>
                    <a:pt x="368" y="118"/>
                  </a:lnTo>
                  <a:lnTo>
                    <a:pt x="382" y="100"/>
                  </a:lnTo>
                  <a:lnTo>
                    <a:pt x="406" y="88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412" name="Zambia">
              <a:extLst>
                <a:ext uri="{FF2B5EF4-FFF2-40B4-BE49-F238E27FC236}">
                  <a16:creationId xmlns="" xmlns:a16="http://schemas.microsoft.com/office/drawing/2014/main" id="{894AF6D7-C939-4076-9CBF-58E78C4B5860}"/>
                </a:ext>
              </a:extLst>
            </p:cNvPr>
            <p:cNvSpPr>
              <a:spLocks/>
            </p:cNvSpPr>
            <p:nvPr/>
          </p:nvSpPr>
          <p:spPr bwMode="gray">
            <a:xfrm>
              <a:off x="6494047" y="4832103"/>
              <a:ext cx="349462" cy="318583"/>
            </a:xfrm>
            <a:custGeom>
              <a:avLst/>
              <a:gdLst/>
              <a:ahLst/>
              <a:cxnLst>
                <a:cxn ang="0">
                  <a:pos x="76" y="357"/>
                </a:cxn>
                <a:cxn ang="0">
                  <a:pos x="42" y="363"/>
                </a:cxn>
                <a:cxn ang="0">
                  <a:pos x="22" y="333"/>
                </a:cxn>
                <a:cxn ang="0">
                  <a:pos x="0" y="311"/>
                </a:cxn>
                <a:cxn ang="0">
                  <a:pos x="0" y="195"/>
                </a:cxn>
                <a:cxn ang="0">
                  <a:pos x="74" y="195"/>
                </a:cxn>
                <a:cxn ang="0">
                  <a:pos x="74" y="178"/>
                </a:cxn>
                <a:cxn ang="0">
                  <a:pos x="78" y="164"/>
                </a:cxn>
                <a:cxn ang="0">
                  <a:pos x="74" y="96"/>
                </a:cxn>
                <a:cxn ang="0">
                  <a:pos x="92" y="94"/>
                </a:cxn>
                <a:cxn ang="0">
                  <a:pos x="92" y="114"/>
                </a:cxn>
                <a:cxn ang="0">
                  <a:pos x="118" y="116"/>
                </a:cxn>
                <a:cxn ang="0">
                  <a:pos x="134" y="132"/>
                </a:cxn>
                <a:cxn ang="0">
                  <a:pos x="176" y="136"/>
                </a:cxn>
                <a:cxn ang="0">
                  <a:pos x="184" y="120"/>
                </a:cxn>
                <a:cxn ang="0">
                  <a:pos x="198" y="150"/>
                </a:cxn>
                <a:cxn ang="0">
                  <a:pos x="218" y="146"/>
                </a:cxn>
                <a:cxn ang="0">
                  <a:pos x="250" y="184"/>
                </a:cxn>
                <a:cxn ang="0">
                  <a:pos x="272" y="180"/>
                </a:cxn>
                <a:cxn ang="0">
                  <a:pos x="288" y="191"/>
                </a:cxn>
                <a:cxn ang="0">
                  <a:pos x="288" y="136"/>
                </a:cxn>
                <a:cxn ang="0">
                  <a:pos x="272" y="154"/>
                </a:cxn>
                <a:cxn ang="0">
                  <a:pos x="260" y="154"/>
                </a:cxn>
                <a:cxn ang="0">
                  <a:pos x="238" y="118"/>
                </a:cxn>
                <a:cxn ang="0">
                  <a:pos x="240" y="96"/>
                </a:cxn>
                <a:cxn ang="0">
                  <a:pos x="244" y="86"/>
                </a:cxn>
                <a:cxn ang="0">
                  <a:pos x="242" y="52"/>
                </a:cxn>
                <a:cxn ang="0">
                  <a:pos x="232" y="44"/>
                </a:cxn>
                <a:cxn ang="0">
                  <a:pos x="252" y="10"/>
                </a:cxn>
                <a:cxn ang="0">
                  <a:pos x="330" y="0"/>
                </a:cxn>
                <a:cxn ang="0">
                  <a:pos x="368" y="24"/>
                </a:cxn>
                <a:cxn ang="0">
                  <a:pos x="384" y="24"/>
                </a:cxn>
                <a:cxn ang="0">
                  <a:pos x="408" y="44"/>
                </a:cxn>
                <a:cxn ang="0">
                  <a:pos x="426" y="58"/>
                </a:cxn>
                <a:cxn ang="0">
                  <a:pos x="432" y="92"/>
                </a:cxn>
                <a:cxn ang="0">
                  <a:pos x="418" y="110"/>
                </a:cxn>
                <a:cxn ang="0">
                  <a:pos x="422" y="136"/>
                </a:cxn>
                <a:cxn ang="0">
                  <a:pos x="414" y="162"/>
                </a:cxn>
                <a:cxn ang="0">
                  <a:pos x="400" y="182"/>
                </a:cxn>
                <a:cxn ang="0">
                  <a:pos x="394" y="213"/>
                </a:cxn>
                <a:cxn ang="0">
                  <a:pos x="404" y="227"/>
                </a:cxn>
                <a:cxn ang="0">
                  <a:pos x="350" y="251"/>
                </a:cxn>
                <a:cxn ang="0">
                  <a:pos x="318" y="257"/>
                </a:cxn>
                <a:cxn ang="0">
                  <a:pos x="304" y="273"/>
                </a:cxn>
                <a:cxn ang="0">
                  <a:pos x="308" y="293"/>
                </a:cxn>
                <a:cxn ang="0">
                  <a:pos x="262" y="305"/>
                </a:cxn>
                <a:cxn ang="0">
                  <a:pos x="256" y="321"/>
                </a:cxn>
                <a:cxn ang="0">
                  <a:pos x="222" y="337"/>
                </a:cxn>
                <a:cxn ang="0">
                  <a:pos x="190" y="379"/>
                </a:cxn>
                <a:cxn ang="0">
                  <a:pos x="176" y="389"/>
                </a:cxn>
                <a:cxn ang="0">
                  <a:pos x="144" y="381"/>
                </a:cxn>
                <a:cxn ang="0">
                  <a:pos x="106" y="373"/>
                </a:cxn>
                <a:cxn ang="0">
                  <a:pos x="76" y="357"/>
                </a:cxn>
              </a:cxnLst>
              <a:rect l="0" t="0" r="r" b="b"/>
              <a:pathLst>
                <a:path w="432" h="389">
                  <a:moveTo>
                    <a:pt x="76" y="357"/>
                  </a:moveTo>
                  <a:lnTo>
                    <a:pt x="42" y="363"/>
                  </a:lnTo>
                  <a:lnTo>
                    <a:pt x="22" y="333"/>
                  </a:lnTo>
                  <a:lnTo>
                    <a:pt x="0" y="311"/>
                  </a:lnTo>
                  <a:lnTo>
                    <a:pt x="0" y="195"/>
                  </a:lnTo>
                  <a:lnTo>
                    <a:pt x="74" y="195"/>
                  </a:lnTo>
                  <a:lnTo>
                    <a:pt x="74" y="178"/>
                  </a:lnTo>
                  <a:lnTo>
                    <a:pt x="78" y="164"/>
                  </a:lnTo>
                  <a:lnTo>
                    <a:pt x="74" y="96"/>
                  </a:lnTo>
                  <a:lnTo>
                    <a:pt x="92" y="94"/>
                  </a:lnTo>
                  <a:lnTo>
                    <a:pt x="92" y="114"/>
                  </a:lnTo>
                  <a:lnTo>
                    <a:pt x="118" y="116"/>
                  </a:lnTo>
                  <a:lnTo>
                    <a:pt x="134" y="132"/>
                  </a:lnTo>
                  <a:lnTo>
                    <a:pt x="176" y="136"/>
                  </a:lnTo>
                  <a:lnTo>
                    <a:pt x="184" y="120"/>
                  </a:lnTo>
                  <a:lnTo>
                    <a:pt x="198" y="150"/>
                  </a:lnTo>
                  <a:lnTo>
                    <a:pt x="218" y="146"/>
                  </a:lnTo>
                  <a:lnTo>
                    <a:pt x="250" y="184"/>
                  </a:lnTo>
                  <a:lnTo>
                    <a:pt x="272" y="180"/>
                  </a:lnTo>
                  <a:lnTo>
                    <a:pt x="288" y="191"/>
                  </a:lnTo>
                  <a:lnTo>
                    <a:pt x="288" y="136"/>
                  </a:lnTo>
                  <a:lnTo>
                    <a:pt x="272" y="154"/>
                  </a:lnTo>
                  <a:lnTo>
                    <a:pt x="260" y="154"/>
                  </a:lnTo>
                  <a:lnTo>
                    <a:pt x="238" y="118"/>
                  </a:lnTo>
                  <a:lnTo>
                    <a:pt x="240" y="96"/>
                  </a:lnTo>
                  <a:lnTo>
                    <a:pt x="244" y="86"/>
                  </a:lnTo>
                  <a:lnTo>
                    <a:pt x="242" y="52"/>
                  </a:lnTo>
                  <a:lnTo>
                    <a:pt x="232" y="44"/>
                  </a:lnTo>
                  <a:lnTo>
                    <a:pt x="252" y="10"/>
                  </a:lnTo>
                  <a:lnTo>
                    <a:pt x="330" y="0"/>
                  </a:lnTo>
                  <a:lnTo>
                    <a:pt x="368" y="24"/>
                  </a:lnTo>
                  <a:lnTo>
                    <a:pt x="384" y="24"/>
                  </a:lnTo>
                  <a:lnTo>
                    <a:pt x="408" y="44"/>
                  </a:lnTo>
                  <a:lnTo>
                    <a:pt x="426" y="58"/>
                  </a:lnTo>
                  <a:lnTo>
                    <a:pt x="432" y="92"/>
                  </a:lnTo>
                  <a:lnTo>
                    <a:pt x="418" y="110"/>
                  </a:lnTo>
                  <a:lnTo>
                    <a:pt x="422" y="136"/>
                  </a:lnTo>
                  <a:lnTo>
                    <a:pt x="414" y="162"/>
                  </a:lnTo>
                  <a:lnTo>
                    <a:pt x="400" y="182"/>
                  </a:lnTo>
                  <a:lnTo>
                    <a:pt x="394" y="213"/>
                  </a:lnTo>
                  <a:lnTo>
                    <a:pt x="404" y="227"/>
                  </a:lnTo>
                  <a:lnTo>
                    <a:pt x="350" y="251"/>
                  </a:lnTo>
                  <a:lnTo>
                    <a:pt x="318" y="257"/>
                  </a:lnTo>
                  <a:lnTo>
                    <a:pt x="304" y="273"/>
                  </a:lnTo>
                  <a:lnTo>
                    <a:pt x="308" y="293"/>
                  </a:lnTo>
                  <a:lnTo>
                    <a:pt x="262" y="305"/>
                  </a:lnTo>
                  <a:lnTo>
                    <a:pt x="256" y="321"/>
                  </a:lnTo>
                  <a:lnTo>
                    <a:pt x="222" y="337"/>
                  </a:lnTo>
                  <a:lnTo>
                    <a:pt x="190" y="379"/>
                  </a:lnTo>
                  <a:lnTo>
                    <a:pt x="176" y="389"/>
                  </a:lnTo>
                  <a:lnTo>
                    <a:pt x="144" y="381"/>
                  </a:lnTo>
                  <a:lnTo>
                    <a:pt x="106" y="373"/>
                  </a:lnTo>
                  <a:lnTo>
                    <a:pt x="76" y="357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413" name="Zimbabwe">
              <a:extLst>
                <a:ext uri="{FF2B5EF4-FFF2-40B4-BE49-F238E27FC236}">
                  <a16:creationId xmlns="" xmlns:a16="http://schemas.microsoft.com/office/drawing/2014/main" id="{C29EE2FF-86D4-4B79-A9DF-86B1D0FE4C5E}"/>
                </a:ext>
              </a:extLst>
            </p:cNvPr>
            <p:cNvSpPr>
              <a:spLocks/>
            </p:cNvSpPr>
            <p:nvPr/>
          </p:nvSpPr>
          <p:spPr bwMode="gray">
            <a:xfrm>
              <a:off x="6577995" y="5073990"/>
              <a:ext cx="249896" cy="226155"/>
            </a:xfrm>
            <a:custGeom>
              <a:avLst/>
              <a:gdLst/>
              <a:ahLst/>
              <a:cxnLst>
                <a:cxn ang="0">
                  <a:pos x="196" y="268"/>
                </a:cxn>
                <a:cxn ang="0">
                  <a:pos x="248" y="278"/>
                </a:cxn>
                <a:cxn ang="0">
                  <a:pos x="286" y="238"/>
                </a:cxn>
                <a:cxn ang="0">
                  <a:pos x="288" y="210"/>
                </a:cxn>
                <a:cxn ang="0">
                  <a:pos x="306" y="192"/>
                </a:cxn>
                <a:cxn ang="0">
                  <a:pos x="302" y="158"/>
                </a:cxn>
                <a:cxn ang="0">
                  <a:pos x="310" y="138"/>
                </a:cxn>
                <a:cxn ang="0">
                  <a:pos x="304" y="102"/>
                </a:cxn>
                <a:cxn ang="0">
                  <a:pos x="302" y="42"/>
                </a:cxn>
                <a:cxn ang="0">
                  <a:pos x="262" y="18"/>
                </a:cxn>
                <a:cxn ang="0">
                  <a:pos x="220" y="16"/>
                </a:cxn>
                <a:cxn ang="0">
                  <a:pos x="204" y="0"/>
                </a:cxn>
                <a:cxn ang="0">
                  <a:pos x="158" y="12"/>
                </a:cxn>
                <a:cxn ang="0">
                  <a:pos x="152" y="28"/>
                </a:cxn>
                <a:cxn ang="0">
                  <a:pos x="118" y="44"/>
                </a:cxn>
                <a:cxn ang="0">
                  <a:pos x="86" y="86"/>
                </a:cxn>
                <a:cxn ang="0">
                  <a:pos x="72" y="96"/>
                </a:cxn>
                <a:cxn ang="0">
                  <a:pos x="40" y="88"/>
                </a:cxn>
                <a:cxn ang="0">
                  <a:pos x="2" y="80"/>
                </a:cxn>
                <a:cxn ang="0">
                  <a:pos x="0" y="102"/>
                </a:cxn>
                <a:cxn ang="0">
                  <a:pos x="24" y="120"/>
                </a:cxn>
                <a:cxn ang="0">
                  <a:pos x="26" y="136"/>
                </a:cxn>
                <a:cxn ang="0">
                  <a:pos x="84" y="192"/>
                </a:cxn>
                <a:cxn ang="0">
                  <a:pos x="84" y="210"/>
                </a:cxn>
                <a:cxn ang="0">
                  <a:pos x="102" y="208"/>
                </a:cxn>
                <a:cxn ang="0">
                  <a:pos x="110" y="230"/>
                </a:cxn>
                <a:cxn ang="0">
                  <a:pos x="130" y="246"/>
                </a:cxn>
                <a:cxn ang="0">
                  <a:pos x="150" y="248"/>
                </a:cxn>
                <a:cxn ang="0">
                  <a:pos x="176" y="266"/>
                </a:cxn>
                <a:cxn ang="0">
                  <a:pos x="196" y="268"/>
                </a:cxn>
              </a:cxnLst>
              <a:rect l="0" t="0" r="r" b="b"/>
              <a:pathLst>
                <a:path w="310" h="278">
                  <a:moveTo>
                    <a:pt x="196" y="268"/>
                  </a:moveTo>
                  <a:lnTo>
                    <a:pt x="248" y="278"/>
                  </a:lnTo>
                  <a:lnTo>
                    <a:pt x="286" y="238"/>
                  </a:lnTo>
                  <a:lnTo>
                    <a:pt x="288" y="210"/>
                  </a:lnTo>
                  <a:lnTo>
                    <a:pt x="306" y="192"/>
                  </a:lnTo>
                  <a:lnTo>
                    <a:pt x="302" y="158"/>
                  </a:lnTo>
                  <a:lnTo>
                    <a:pt x="310" y="138"/>
                  </a:lnTo>
                  <a:lnTo>
                    <a:pt x="304" y="102"/>
                  </a:lnTo>
                  <a:lnTo>
                    <a:pt x="302" y="42"/>
                  </a:lnTo>
                  <a:lnTo>
                    <a:pt x="262" y="18"/>
                  </a:lnTo>
                  <a:lnTo>
                    <a:pt x="220" y="16"/>
                  </a:lnTo>
                  <a:lnTo>
                    <a:pt x="204" y="0"/>
                  </a:lnTo>
                  <a:lnTo>
                    <a:pt x="158" y="12"/>
                  </a:lnTo>
                  <a:lnTo>
                    <a:pt x="152" y="28"/>
                  </a:lnTo>
                  <a:lnTo>
                    <a:pt x="118" y="44"/>
                  </a:lnTo>
                  <a:lnTo>
                    <a:pt x="86" y="86"/>
                  </a:lnTo>
                  <a:lnTo>
                    <a:pt x="72" y="96"/>
                  </a:lnTo>
                  <a:lnTo>
                    <a:pt x="40" y="88"/>
                  </a:lnTo>
                  <a:lnTo>
                    <a:pt x="2" y="80"/>
                  </a:lnTo>
                  <a:lnTo>
                    <a:pt x="0" y="102"/>
                  </a:lnTo>
                  <a:lnTo>
                    <a:pt x="24" y="120"/>
                  </a:lnTo>
                  <a:lnTo>
                    <a:pt x="26" y="136"/>
                  </a:lnTo>
                  <a:lnTo>
                    <a:pt x="84" y="192"/>
                  </a:lnTo>
                  <a:lnTo>
                    <a:pt x="84" y="210"/>
                  </a:lnTo>
                  <a:lnTo>
                    <a:pt x="102" y="208"/>
                  </a:lnTo>
                  <a:lnTo>
                    <a:pt x="110" y="230"/>
                  </a:lnTo>
                  <a:lnTo>
                    <a:pt x="130" y="246"/>
                  </a:lnTo>
                  <a:lnTo>
                    <a:pt x="150" y="248"/>
                  </a:lnTo>
                  <a:lnTo>
                    <a:pt x="176" y="266"/>
                  </a:lnTo>
                  <a:lnTo>
                    <a:pt x="196" y="268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</p:grpSp>
      <p:sp>
        <p:nvSpPr>
          <p:cNvPr id="182" name="Rectángulo 19">
            <a:extLst>
              <a:ext uri="{FF2B5EF4-FFF2-40B4-BE49-F238E27FC236}">
                <a16:creationId xmlns="" xmlns:a16="http://schemas.microsoft.com/office/drawing/2014/main" id="{E1C5254D-96F4-41BA-A9F9-BA4CFA309A8A}"/>
              </a:ext>
            </a:extLst>
          </p:cNvPr>
          <p:cNvSpPr/>
          <p:nvPr/>
        </p:nvSpPr>
        <p:spPr>
          <a:xfrm>
            <a:off x="142192" y="123895"/>
            <a:ext cx="11859683" cy="848520"/>
          </a:xfrm>
          <a:prstGeom prst="rect">
            <a:avLst/>
          </a:prstGeom>
          <a:noFill/>
          <a:ln w="25400" cap="flat" cmpd="sng" algn="ctr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PE" sz="2800" dirty="0">
                <a:solidFill>
                  <a:prstClr val="white"/>
                </a:solidFill>
              </a:rPr>
              <a:t>Sin embargo en el Perú las cifras no pueden ser más alentadoras. En el año 2018 las exportaciones superarán los </a:t>
            </a:r>
            <a:r>
              <a:rPr lang="es-PE" sz="2800" b="1" dirty="0">
                <a:solidFill>
                  <a:prstClr val="white"/>
                </a:solidFill>
              </a:rPr>
              <a:t>US$ 50 mil millones, alcanzando un récord</a:t>
            </a:r>
          </a:p>
        </p:txBody>
      </p:sp>
      <p:graphicFrame>
        <p:nvGraphicFramePr>
          <p:cNvPr id="183" name="5 Gráfico">
            <a:extLst>
              <a:ext uri="{FF2B5EF4-FFF2-40B4-BE49-F238E27FC236}">
                <a16:creationId xmlns="" xmlns:a16="http://schemas.microsoft.com/office/drawing/2014/main" id="{EA153D5F-D150-4465-8120-AA2B8A7FCB5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30445417"/>
              </p:ext>
            </p:extLst>
          </p:nvPr>
        </p:nvGraphicFramePr>
        <p:xfrm>
          <a:off x="286412" y="1122050"/>
          <a:ext cx="11607156" cy="55478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84" name="CuadroTexto 183">
            <a:extLst>
              <a:ext uri="{FF2B5EF4-FFF2-40B4-BE49-F238E27FC236}">
                <a16:creationId xmlns="" xmlns:a16="http://schemas.microsoft.com/office/drawing/2014/main" id="{864D686A-468C-472D-A9F4-1284FBACFF27}"/>
              </a:ext>
            </a:extLst>
          </p:cNvPr>
          <p:cNvSpPr txBox="1"/>
          <p:nvPr/>
        </p:nvSpPr>
        <p:spPr>
          <a:xfrm>
            <a:off x="63731" y="6515521"/>
            <a:ext cx="227658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sz="1000" dirty="0">
                <a:solidFill>
                  <a:prstClr val="white"/>
                </a:solidFill>
              </a:rPr>
              <a:t>Fuente: SUNAT, Elaboración: MINCETUR</a:t>
            </a:r>
          </a:p>
        </p:txBody>
      </p:sp>
      <p:grpSp>
        <p:nvGrpSpPr>
          <p:cNvPr id="185" name="Grupo 184">
            <a:extLst>
              <a:ext uri="{FF2B5EF4-FFF2-40B4-BE49-F238E27FC236}">
                <a16:creationId xmlns="" xmlns:a16="http://schemas.microsoft.com/office/drawing/2014/main" id="{2B0ACD64-1583-458C-88AA-EC753A9D98C9}"/>
              </a:ext>
            </a:extLst>
          </p:cNvPr>
          <p:cNvGrpSpPr/>
          <p:nvPr/>
        </p:nvGrpSpPr>
        <p:grpSpPr>
          <a:xfrm>
            <a:off x="10662235" y="1487479"/>
            <a:ext cx="491990" cy="438819"/>
            <a:chOff x="10127919" y="1491129"/>
            <a:chExt cx="679569" cy="60348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86" name="Elipse 185">
              <a:extLst>
                <a:ext uri="{FF2B5EF4-FFF2-40B4-BE49-F238E27FC236}">
                  <a16:creationId xmlns="" xmlns:a16="http://schemas.microsoft.com/office/drawing/2014/main" id="{06AE5556-0974-4085-97D4-6FAA5F8D8DD3}"/>
                </a:ext>
              </a:extLst>
            </p:cNvPr>
            <p:cNvSpPr/>
            <p:nvPr/>
          </p:nvSpPr>
          <p:spPr>
            <a:xfrm>
              <a:off x="10127919" y="1491129"/>
              <a:ext cx="627321" cy="603485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E" sz="900" dirty="0">
                <a:solidFill>
                  <a:prstClr val="white"/>
                </a:solidFill>
              </a:endParaRPr>
            </a:p>
          </p:txBody>
        </p:sp>
        <p:sp>
          <p:nvSpPr>
            <p:cNvPr id="187" name="CuadroTexto 186">
              <a:extLst>
                <a:ext uri="{FF2B5EF4-FFF2-40B4-BE49-F238E27FC236}">
                  <a16:creationId xmlns="" xmlns:a16="http://schemas.microsoft.com/office/drawing/2014/main" id="{920699AA-50F9-43E1-B1B3-A756EE6F9E86}"/>
                </a:ext>
              </a:extLst>
            </p:cNvPr>
            <p:cNvSpPr txBox="1"/>
            <p:nvPr/>
          </p:nvSpPr>
          <p:spPr>
            <a:xfrm>
              <a:off x="10162209" y="1567733"/>
              <a:ext cx="645279" cy="4232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PE" sz="1400" b="1" dirty="0">
                  <a:solidFill>
                    <a:prstClr val="white"/>
                  </a:solidFill>
                  <a:latin typeface="Candara" panose="020E0502030303020204" pitchFamily="34" charset="0"/>
                </a:rPr>
                <a:t>22%</a:t>
              </a:r>
            </a:p>
          </p:txBody>
        </p:sp>
      </p:grpSp>
      <p:grpSp>
        <p:nvGrpSpPr>
          <p:cNvPr id="188" name="Grupo 49">
            <a:extLst>
              <a:ext uri="{FF2B5EF4-FFF2-40B4-BE49-F238E27FC236}">
                <a16:creationId xmlns="" xmlns:a16="http://schemas.microsoft.com/office/drawing/2014/main" id="{5335A56D-EE70-4391-B279-240DA9A6F02B}"/>
              </a:ext>
            </a:extLst>
          </p:cNvPr>
          <p:cNvGrpSpPr>
            <a:grpSpLocks/>
          </p:cNvGrpSpPr>
          <p:nvPr/>
        </p:nvGrpSpPr>
        <p:grpSpPr bwMode="auto">
          <a:xfrm>
            <a:off x="10116178" y="2181582"/>
            <a:ext cx="345166" cy="331788"/>
            <a:chOff x="8288660" y="1004287"/>
            <a:chExt cx="457615" cy="43920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89" name="Elipse 188">
              <a:extLst>
                <a:ext uri="{FF2B5EF4-FFF2-40B4-BE49-F238E27FC236}">
                  <a16:creationId xmlns="" xmlns:a16="http://schemas.microsoft.com/office/drawing/2014/main" id="{78D4AA61-5412-48C3-8EA8-5FC9951B83BA}"/>
                </a:ext>
              </a:extLst>
            </p:cNvPr>
            <p:cNvSpPr>
              <a:spLocks/>
            </p:cNvSpPr>
            <p:nvPr/>
          </p:nvSpPr>
          <p:spPr>
            <a:xfrm>
              <a:off x="8288660" y="1004287"/>
              <a:ext cx="439877" cy="4392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200">
                <a:defRPr/>
              </a:pPr>
              <a:endParaRPr lang="es-PE" sz="800" dirty="0">
                <a:solidFill>
                  <a:prstClr val="white"/>
                </a:solidFill>
              </a:endParaRPr>
            </a:p>
          </p:txBody>
        </p:sp>
        <p:sp>
          <p:nvSpPr>
            <p:cNvPr id="190" name="CuadroTexto 51">
              <a:extLst>
                <a:ext uri="{FF2B5EF4-FFF2-40B4-BE49-F238E27FC236}">
                  <a16:creationId xmlns="" xmlns:a16="http://schemas.microsoft.com/office/drawing/2014/main" id="{1D83E0D2-7730-417F-ACD8-5E2AA7550E9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308051" y="1052049"/>
              <a:ext cx="438224" cy="34630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defTabSz="457200"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45720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4572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4572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4572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>
                <a:spcBef>
                  <a:spcPct val="0"/>
                </a:spcBef>
                <a:buFontTx/>
                <a:buNone/>
              </a:pPr>
              <a:r>
                <a:rPr lang="es-PE" altLang="es-PE" sz="1100" b="1" dirty="0">
                  <a:solidFill>
                    <a:srgbClr val="FFFFFF"/>
                  </a:solidFill>
                  <a:latin typeface="Candara" panose="020E0502030303020204" pitchFamily="34" charset="0"/>
                </a:rPr>
                <a:t>8%</a:t>
              </a:r>
            </a:p>
          </p:txBody>
        </p:sp>
      </p:grpSp>
      <p:grpSp>
        <p:nvGrpSpPr>
          <p:cNvPr id="191" name="Grupo 46">
            <a:extLst>
              <a:ext uri="{FF2B5EF4-FFF2-40B4-BE49-F238E27FC236}">
                <a16:creationId xmlns="" xmlns:a16="http://schemas.microsoft.com/office/drawing/2014/main" id="{EEDBA138-6BAB-4C34-8456-64E8E5B279E4}"/>
              </a:ext>
            </a:extLst>
          </p:cNvPr>
          <p:cNvGrpSpPr>
            <a:grpSpLocks/>
          </p:cNvGrpSpPr>
          <p:nvPr/>
        </p:nvGrpSpPr>
        <p:grpSpPr bwMode="auto">
          <a:xfrm>
            <a:off x="9471050" y="2382998"/>
            <a:ext cx="423514" cy="383098"/>
            <a:chOff x="9489256" y="1696938"/>
            <a:chExt cx="562546" cy="468134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92" name="Elipse 191">
              <a:extLst>
                <a:ext uri="{FF2B5EF4-FFF2-40B4-BE49-F238E27FC236}">
                  <a16:creationId xmlns="" xmlns:a16="http://schemas.microsoft.com/office/drawing/2014/main" id="{0286512B-C018-4F8F-AC77-52B0F168475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502904" y="1696938"/>
              <a:ext cx="516965" cy="468134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200">
                <a:defRPr/>
              </a:pPr>
              <a:endParaRPr lang="es-PE" sz="800" dirty="0">
                <a:solidFill>
                  <a:prstClr val="white"/>
                </a:solidFill>
              </a:endParaRPr>
            </a:p>
          </p:txBody>
        </p:sp>
        <p:sp>
          <p:nvSpPr>
            <p:cNvPr id="193" name="CuadroTexto 48">
              <a:extLst>
                <a:ext uri="{FF2B5EF4-FFF2-40B4-BE49-F238E27FC236}">
                  <a16:creationId xmlns="" xmlns:a16="http://schemas.microsoft.com/office/drawing/2014/main" id="{B17332FA-0D2B-4212-BD1D-D72A07EACA6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9489256" y="1755117"/>
              <a:ext cx="562546" cy="3384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defTabSz="457200"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45720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4572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4572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4572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r>
                <a:rPr lang="es-PE" altLang="es-PE" sz="1200" b="1" dirty="0">
                  <a:solidFill>
                    <a:srgbClr val="FFFFFF"/>
                  </a:solidFill>
                  <a:latin typeface="Candara" panose="020E0502030303020204" pitchFamily="34" charset="0"/>
                </a:rPr>
                <a:t>-13%</a:t>
              </a:r>
            </a:p>
          </p:txBody>
        </p:sp>
      </p:grpSp>
      <p:grpSp>
        <p:nvGrpSpPr>
          <p:cNvPr id="194" name="Grupo 43">
            <a:extLst>
              <a:ext uri="{FF2B5EF4-FFF2-40B4-BE49-F238E27FC236}">
                <a16:creationId xmlns="" xmlns:a16="http://schemas.microsoft.com/office/drawing/2014/main" id="{B733A167-EDCA-4848-BBA3-466CDD281C74}"/>
              </a:ext>
            </a:extLst>
          </p:cNvPr>
          <p:cNvGrpSpPr>
            <a:grpSpLocks/>
          </p:cNvGrpSpPr>
          <p:nvPr/>
        </p:nvGrpSpPr>
        <p:grpSpPr bwMode="auto">
          <a:xfrm>
            <a:off x="8894946" y="2011603"/>
            <a:ext cx="381836" cy="330200"/>
            <a:chOff x="8905113" y="1333999"/>
            <a:chExt cx="506626" cy="43920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95" name="Elipse 194">
              <a:extLst>
                <a:ext uri="{FF2B5EF4-FFF2-40B4-BE49-F238E27FC236}">
                  <a16:creationId xmlns="" xmlns:a16="http://schemas.microsoft.com/office/drawing/2014/main" id="{D0B7BF0D-0DAF-40B4-9CEB-D7B302CB92D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936045" y="1333999"/>
              <a:ext cx="440221" cy="4392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200">
                <a:defRPr/>
              </a:pPr>
              <a:endParaRPr lang="es-PE" sz="800" dirty="0">
                <a:solidFill>
                  <a:prstClr val="white"/>
                </a:solidFill>
              </a:endParaRPr>
            </a:p>
          </p:txBody>
        </p:sp>
        <p:sp>
          <p:nvSpPr>
            <p:cNvPr id="196" name="CuadroTexto 45">
              <a:extLst>
                <a:ext uri="{FF2B5EF4-FFF2-40B4-BE49-F238E27FC236}">
                  <a16:creationId xmlns="" xmlns:a16="http://schemas.microsoft.com/office/drawing/2014/main" id="{9E0AB6C4-730D-4DF7-9292-0B184286C0D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905113" y="1351196"/>
              <a:ext cx="506626" cy="3684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defTabSz="457200">
                <a:spcBef>
                  <a:spcPct val="20000"/>
                </a:spcBef>
                <a:buFont typeface="Arial" panose="020B0604020202020204" pitchFamily="34" charset="0"/>
                <a:buChar char="•"/>
                <a:defRPr sz="32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 defTabSz="457200">
                <a:spcBef>
                  <a:spcPct val="20000"/>
                </a:spcBef>
                <a:buFont typeface="Arial" panose="020B0604020202020204" pitchFamily="34" charset="0"/>
                <a:buChar char="–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 defTabSz="4572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 defTabSz="4572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 defTabSz="457200">
                <a:spcBef>
                  <a:spcPct val="20000"/>
                </a:spcBef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»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>
                <a:spcBef>
                  <a:spcPct val="0"/>
                </a:spcBef>
                <a:buFontTx/>
                <a:buNone/>
              </a:pPr>
              <a:r>
                <a:rPr lang="es-PE" altLang="es-PE" sz="1200" b="1" dirty="0">
                  <a:solidFill>
                    <a:srgbClr val="FFFFFF"/>
                  </a:solidFill>
                  <a:latin typeface="Candara" panose="020E0502030303020204" pitchFamily="34" charset="0"/>
                </a:rPr>
                <a:t>-9%</a:t>
              </a:r>
            </a:p>
          </p:txBody>
        </p:sp>
      </p:grpSp>
      <p:sp>
        <p:nvSpPr>
          <p:cNvPr id="197" name="CuadroTexto 196">
            <a:extLst>
              <a:ext uri="{FF2B5EF4-FFF2-40B4-BE49-F238E27FC236}">
                <a16:creationId xmlns="" xmlns:a16="http://schemas.microsoft.com/office/drawing/2014/main" id="{565C334F-260B-4328-8DCC-5770DA5DDA43}"/>
              </a:ext>
            </a:extLst>
          </p:cNvPr>
          <p:cNvSpPr txBox="1"/>
          <p:nvPr/>
        </p:nvSpPr>
        <p:spPr>
          <a:xfrm>
            <a:off x="1143687" y="3605488"/>
            <a:ext cx="866775" cy="3683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pPr algn="ctr" defTabSz="342900">
              <a:defRPr/>
            </a:pPr>
            <a:r>
              <a:rPr lang="es-PE" sz="900" dirty="0">
                <a:solidFill>
                  <a:prstClr val="black"/>
                </a:solidFill>
              </a:rPr>
              <a:t>Creación </a:t>
            </a:r>
          </a:p>
          <a:p>
            <a:pPr algn="ctr" defTabSz="342900">
              <a:defRPr/>
            </a:pPr>
            <a:r>
              <a:rPr lang="es-PE" sz="900" dirty="0">
                <a:solidFill>
                  <a:prstClr val="black"/>
                </a:solidFill>
              </a:rPr>
              <a:t>del MINCETUR</a:t>
            </a:r>
          </a:p>
        </p:txBody>
      </p:sp>
      <p:cxnSp>
        <p:nvCxnSpPr>
          <p:cNvPr id="198" name="Conector recto 197">
            <a:extLst>
              <a:ext uri="{FF2B5EF4-FFF2-40B4-BE49-F238E27FC236}">
                <a16:creationId xmlns="" xmlns:a16="http://schemas.microsoft.com/office/drawing/2014/main" id="{ED19E1F4-668C-4BB4-A61C-DBCE3FACC0E5}"/>
              </a:ext>
            </a:extLst>
          </p:cNvPr>
          <p:cNvCxnSpPr/>
          <p:nvPr/>
        </p:nvCxnSpPr>
        <p:spPr>
          <a:xfrm flipH="1">
            <a:off x="1586880" y="3974684"/>
            <a:ext cx="9469" cy="818705"/>
          </a:xfrm>
          <a:prstGeom prst="line">
            <a:avLst/>
          </a:prstGeom>
          <a:ln w="19050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9" name="Rectángulo 198">
            <a:extLst>
              <a:ext uri="{FF2B5EF4-FFF2-40B4-BE49-F238E27FC236}">
                <a16:creationId xmlns="" xmlns:a16="http://schemas.microsoft.com/office/drawing/2014/main" id="{A0B55BA4-9B1F-48C5-B70E-B66217D32F60}"/>
              </a:ext>
            </a:extLst>
          </p:cNvPr>
          <p:cNvSpPr/>
          <p:nvPr/>
        </p:nvSpPr>
        <p:spPr>
          <a:xfrm>
            <a:off x="199895" y="1780258"/>
            <a:ext cx="5111228" cy="1292662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PE" sz="1300" spc="-60" dirty="0">
                <a:solidFill>
                  <a:srgbClr val="FFFF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A </a:t>
            </a:r>
            <a:r>
              <a:rPr lang="es-PE" sz="1300" b="1" spc="-60" dirty="0">
                <a:solidFill>
                  <a:srgbClr val="FFFF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abril de 2018</a:t>
            </a:r>
            <a:r>
              <a:rPr lang="es-PE" sz="1300" spc="-60" dirty="0">
                <a:solidFill>
                  <a:srgbClr val="FFFF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, las exportaciones peruanas acumularon </a:t>
            </a:r>
            <a:r>
              <a:rPr lang="es-PE" sz="1300" b="1" spc="-60" dirty="0">
                <a:solidFill>
                  <a:srgbClr val="FFFF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22 meses </a:t>
            </a:r>
            <a:r>
              <a:rPr lang="es-PE" sz="1300" spc="-60" dirty="0">
                <a:solidFill>
                  <a:srgbClr val="FFFF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de crecimiento sostenido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PE" sz="1300" dirty="0">
                <a:solidFill>
                  <a:srgbClr val="FFFF00"/>
                </a:solidFill>
              </a:rPr>
              <a:t>En 2017, las exportaciones no tradicionales (NT) alcanzaron un récord </a:t>
            </a:r>
            <a:r>
              <a:rPr lang="es-PE" sz="1300" b="1" dirty="0">
                <a:solidFill>
                  <a:srgbClr val="FFFF00"/>
                </a:solidFill>
              </a:rPr>
              <a:t>en 2017, creciendo 8,5%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PE" sz="1300" dirty="0">
                <a:solidFill>
                  <a:srgbClr val="FFFF00"/>
                </a:solidFill>
              </a:rPr>
              <a:t>En el año 2018, las exportaciones NT se alcanzaría un nuevo récord de más de </a:t>
            </a:r>
            <a:r>
              <a:rPr lang="es-PE" sz="1300" b="1" dirty="0">
                <a:solidFill>
                  <a:srgbClr val="FFFF00"/>
                </a:solidFill>
              </a:rPr>
              <a:t>US$ 13 mil millones.</a:t>
            </a:r>
            <a:endParaRPr lang="es-PE" sz="1300" spc="-60" dirty="0">
              <a:solidFill>
                <a:srgbClr val="FFFF00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200" name="Grupo 199">
            <a:extLst>
              <a:ext uri="{FF2B5EF4-FFF2-40B4-BE49-F238E27FC236}">
                <a16:creationId xmlns="" xmlns:a16="http://schemas.microsoft.com/office/drawing/2014/main" id="{558EA34C-BEFF-4CB9-BCC6-14C94DD370C3}"/>
              </a:ext>
            </a:extLst>
          </p:cNvPr>
          <p:cNvGrpSpPr/>
          <p:nvPr/>
        </p:nvGrpSpPr>
        <p:grpSpPr>
          <a:xfrm>
            <a:off x="11304799" y="1268069"/>
            <a:ext cx="491990" cy="438819"/>
            <a:chOff x="10127919" y="1491129"/>
            <a:chExt cx="679569" cy="60348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01" name="Elipse 200">
              <a:extLst>
                <a:ext uri="{FF2B5EF4-FFF2-40B4-BE49-F238E27FC236}">
                  <a16:creationId xmlns="" xmlns:a16="http://schemas.microsoft.com/office/drawing/2014/main" id="{8080F71F-A0BB-4FEF-B17F-C6BA893F8D13}"/>
                </a:ext>
              </a:extLst>
            </p:cNvPr>
            <p:cNvSpPr/>
            <p:nvPr/>
          </p:nvSpPr>
          <p:spPr>
            <a:xfrm>
              <a:off x="10127919" y="1491129"/>
              <a:ext cx="627321" cy="603485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E" sz="900" dirty="0">
                <a:solidFill>
                  <a:prstClr val="white"/>
                </a:solidFill>
              </a:endParaRPr>
            </a:p>
          </p:txBody>
        </p:sp>
        <p:sp>
          <p:nvSpPr>
            <p:cNvPr id="202" name="CuadroTexto 201">
              <a:extLst>
                <a:ext uri="{FF2B5EF4-FFF2-40B4-BE49-F238E27FC236}">
                  <a16:creationId xmlns="" xmlns:a16="http://schemas.microsoft.com/office/drawing/2014/main" id="{8A105BDD-187E-4CDE-AA3B-322C85CCA0F8}"/>
                </a:ext>
              </a:extLst>
            </p:cNvPr>
            <p:cNvSpPr txBox="1"/>
            <p:nvPr/>
          </p:nvSpPr>
          <p:spPr>
            <a:xfrm>
              <a:off x="10162209" y="1567733"/>
              <a:ext cx="645279" cy="4232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PE" sz="1400" b="1" dirty="0">
                  <a:solidFill>
                    <a:prstClr val="white"/>
                  </a:solidFill>
                  <a:latin typeface="Candara" panose="020E0502030303020204" pitchFamily="34" charset="0"/>
                </a:rPr>
                <a:t>13%</a:t>
              </a:r>
            </a:p>
          </p:txBody>
        </p:sp>
      </p:grpSp>
      <p:sp>
        <p:nvSpPr>
          <p:cNvPr id="203" name="CuadroTexto 202">
            <a:extLst>
              <a:ext uri="{FF2B5EF4-FFF2-40B4-BE49-F238E27FC236}">
                <a16:creationId xmlns="" xmlns:a16="http://schemas.microsoft.com/office/drawing/2014/main" id="{1D90851E-25F8-4E28-B5EE-044572DDCF96}"/>
              </a:ext>
            </a:extLst>
          </p:cNvPr>
          <p:cNvSpPr txBox="1"/>
          <p:nvPr/>
        </p:nvSpPr>
        <p:spPr>
          <a:xfrm>
            <a:off x="10748548" y="6526942"/>
            <a:ext cx="142699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s-PE" sz="1000" dirty="0">
                <a:solidFill>
                  <a:prstClr val="white"/>
                </a:solidFill>
              </a:rPr>
              <a:t>Elaboración: MINCETUR</a:t>
            </a:r>
          </a:p>
        </p:txBody>
      </p:sp>
      <p:sp>
        <p:nvSpPr>
          <p:cNvPr id="204" name="CuadroTexto 203">
            <a:extLst>
              <a:ext uri="{FF2B5EF4-FFF2-40B4-BE49-F238E27FC236}">
                <a16:creationId xmlns="" xmlns:a16="http://schemas.microsoft.com/office/drawing/2014/main" id="{FE4614F9-6874-42AE-801D-5CCE0DFD7E6E}"/>
              </a:ext>
            </a:extLst>
          </p:cNvPr>
          <p:cNvSpPr txBox="1"/>
          <p:nvPr/>
        </p:nvSpPr>
        <p:spPr>
          <a:xfrm>
            <a:off x="11142704" y="6177243"/>
            <a:ext cx="94769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s-PE" sz="1000" dirty="0">
                <a:solidFill>
                  <a:prstClr val="white"/>
                </a:solidFill>
              </a:rPr>
              <a:t>(*) Proyectado</a:t>
            </a:r>
          </a:p>
        </p:txBody>
      </p:sp>
      <p:sp>
        <p:nvSpPr>
          <p:cNvPr id="205" name="CuadroTexto 5">
            <a:extLst>
              <a:ext uri="{FF2B5EF4-FFF2-40B4-BE49-F238E27FC236}">
                <a16:creationId xmlns="" xmlns:a16="http://schemas.microsoft.com/office/drawing/2014/main" id="{6F34DF7F-B8D2-4802-96A1-A593F1713662}"/>
              </a:ext>
            </a:extLst>
          </p:cNvPr>
          <p:cNvSpPr txBox="1"/>
          <p:nvPr/>
        </p:nvSpPr>
        <p:spPr>
          <a:xfrm>
            <a:off x="10793202" y="828765"/>
            <a:ext cx="136107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PE" sz="24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ndara" panose="020E0502030303020204" pitchFamily="34" charset="0"/>
              </a:rPr>
              <a:t>50,000</a:t>
            </a:r>
          </a:p>
        </p:txBody>
      </p:sp>
      <p:sp>
        <p:nvSpPr>
          <p:cNvPr id="206" name="CuadroTexto 5">
            <a:extLst>
              <a:ext uri="{FF2B5EF4-FFF2-40B4-BE49-F238E27FC236}">
                <a16:creationId xmlns="" xmlns:a16="http://schemas.microsoft.com/office/drawing/2014/main" id="{6F34DF7F-B8D2-4802-96A1-A593F1713662}"/>
              </a:ext>
            </a:extLst>
          </p:cNvPr>
          <p:cNvSpPr txBox="1"/>
          <p:nvPr/>
        </p:nvSpPr>
        <p:spPr>
          <a:xfrm>
            <a:off x="10887729" y="2275240"/>
            <a:ext cx="136107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PE" sz="24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ndara" panose="020E0502030303020204" pitchFamily="34" charset="0"/>
              </a:rPr>
              <a:t>13,000</a:t>
            </a:r>
          </a:p>
        </p:txBody>
      </p:sp>
    </p:spTree>
    <p:extLst>
      <p:ext uri="{BB962C8B-B14F-4D97-AF65-F5344CB8AC3E}">
        <p14:creationId xmlns:p14="http://schemas.microsoft.com/office/powerpoint/2010/main" val="8251904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0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0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20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20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5" grpId="0"/>
      <p:bldP spid="206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ángulo 29">
            <a:extLst>
              <a:ext uri="{FF2B5EF4-FFF2-40B4-BE49-F238E27FC236}">
                <a16:creationId xmlns="" xmlns:a16="http://schemas.microsoft.com/office/drawing/2014/main" id="{5D56C70E-9323-4DA0-8BE6-B5B69FF1FDC6}"/>
              </a:ext>
            </a:extLst>
          </p:cNvPr>
          <p:cNvSpPr/>
          <p:nvPr/>
        </p:nvSpPr>
        <p:spPr>
          <a:xfrm>
            <a:off x="-2689" y="-1280"/>
            <a:ext cx="12194689" cy="6851906"/>
          </a:xfrm>
          <a:prstGeom prst="rect">
            <a:avLst/>
          </a:prstGeom>
          <a:gradFill flip="none" rotWithShape="1">
            <a:gsLst>
              <a:gs pos="0">
                <a:srgbClr val="A20000"/>
              </a:gs>
              <a:gs pos="50000">
                <a:srgbClr val="C00000">
                  <a:shade val="67500"/>
                  <a:satMod val="115000"/>
                </a:srgbClr>
              </a:gs>
              <a:gs pos="100000">
                <a:srgbClr val="C00000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sz="2000" dirty="0">
              <a:solidFill>
                <a:prstClr val="white"/>
              </a:solidFill>
            </a:endParaRPr>
          </a:p>
        </p:txBody>
      </p:sp>
      <p:grpSp>
        <p:nvGrpSpPr>
          <p:cNvPr id="240" name="Grupo 239">
            <a:extLst>
              <a:ext uri="{FF2B5EF4-FFF2-40B4-BE49-F238E27FC236}">
                <a16:creationId xmlns="" xmlns:a16="http://schemas.microsoft.com/office/drawing/2014/main" id="{7DDC9831-B49B-4568-9838-79498E2F006D}"/>
              </a:ext>
            </a:extLst>
          </p:cNvPr>
          <p:cNvGrpSpPr/>
          <p:nvPr/>
        </p:nvGrpSpPr>
        <p:grpSpPr>
          <a:xfrm>
            <a:off x="452716" y="1354913"/>
            <a:ext cx="10744199" cy="5437570"/>
            <a:chOff x="562946" y="716094"/>
            <a:chExt cx="11068795" cy="6047170"/>
          </a:xfrm>
        </p:grpSpPr>
        <p:sp>
          <p:nvSpPr>
            <p:cNvPr id="241" name="Russia">
              <a:extLst>
                <a:ext uri="{FF2B5EF4-FFF2-40B4-BE49-F238E27FC236}">
                  <a16:creationId xmlns="" xmlns:a16="http://schemas.microsoft.com/office/drawing/2014/main" id="{1FACC8F1-A362-46F1-8979-C4D01B6F5AB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397612" y="716094"/>
              <a:ext cx="5234129" cy="2401169"/>
            </a:xfrm>
            <a:custGeom>
              <a:avLst/>
              <a:gdLst/>
              <a:ahLst/>
              <a:cxnLst>
                <a:cxn ang="0">
                  <a:pos x="1356" y="83"/>
                </a:cxn>
                <a:cxn ang="0">
                  <a:pos x="1488" y="62"/>
                </a:cxn>
                <a:cxn ang="0">
                  <a:pos x="1592" y="104"/>
                </a:cxn>
                <a:cxn ang="0">
                  <a:pos x="1606" y="178"/>
                </a:cxn>
                <a:cxn ang="0">
                  <a:pos x="1743" y="178"/>
                </a:cxn>
                <a:cxn ang="0">
                  <a:pos x="1913" y="187"/>
                </a:cxn>
                <a:cxn ang="0">
                  <a:pos x="2112" y="317"/>
                </a:cxn>
                <a:cxn ang="0">
                  <a:pos x="2329" y="279"/>
                </a:cxn>
                <a:cxn ang="0">
                  <a:pos x="2520" y="428"/>
                </a:cxn>
                <a:cxn ang="0">
                  <a:pos x="2802" y="404"/>
                </a:cxn>
                <a:cxn ang="0">
                  <a:pos x="2854" y="714"/>
                </a:cxn>
                <a:cxn ang="0">
                  <a:pos x="2551" y="882"/>
                </a:cxn>
                <a:cxn ang="0">
                  <a:pos x="2513" y="1064"/>
                </a:cxn>
                <a:cxn ang="0">
                  <a:pos x="2468" y="898"/>
                </a:cxn>
                <a:cxn ang="0">
                  <a:pos x="2464" y="763"/>
                </a:cxn>
                <a:cxn ang="0">
                  <a:pos x="2261" y="867"/>
                </a:cxn>
                <a:cxn ang="0">
                  <a:pos x="2128" y="1033"/>
                </a:cxn>
                <a:cxn ang="0">
                  <a:pos x="1984" y="1338"/>
                </a:cxn>
                <a:cxn ang="0">
                  <a:pos x="1949" y="1168"/>
                </a:cxn>
                <a:cxn ang="0">
                  <a:pos x="1746" y="1160"/>
                </a:cxn>
                <a:cxn ang="0">
                  <a:pos x="1403" y="1144"/>
                </a:cxn>
                <a:cxn ang="0">
                  <a:pos x="1162" y="1142"/>
                </a:cxn>
                <a:cxn ang="0">
                  <a:pos x="964" y="1026"/>
                </a:cxn>
                <a:cxn ang="0">
                  <a:pos x="744" y="1082"/>
                </a:cxn>
                <a:cxn ang="0">
                  <a:pos x="633" y="1123"/>
                </a:cxn>
                <a:cxn ang="0">
                  <a:pos x="522" y="1156"/>
                </a:cxn>
                <a:cxn ang="0">
                  <a:pos x="496" y="1293"/>
                </a:cxn>
                <a:cxn ang="0">
                  <a:pos x="470" y="1352"/>
                </a:cxn>
                <a:cxn ang="0">
                  <a:pos x="328" y="1248"/>
                </a:cxn>
                <a:cxn ang="0">
                  <a:pos x="295" y="1144"/>
                </a:cxn>
                <a:cxn ang="0">
                  <a:pos x="224" y="1038"/>
                </a:cxn>
                <a:cxn ang="0">
                  <a:pos x="156" y="934"/>
                </a:cxn>
                <a:cxn ang="0">
                  <a:pos x="198" y="667"/>
                </a:cxn>
                <a:cxn ang="0">
                  <a:pos x="161" y="430"/>
                </a:cxn>
                <a:cxn ang="0">
                  <a:pos x="378" y="499"/>
                </a:cxn>
                <a:cxn ang="0">
                  <a:pos x="222" y="544"/>
                </a:cxn>
                <a:cxn ang="0">
                  <a:pos x="319" y="655"/>
                </a:cxn>
                <a:cxn ang="0">
                  <a:pos x="454" y="548"/>
                </a:cxn>
                <a:cxn ang="0">
                  <a:pos x="513" y="541"/>
                </a:cxn>
                <a:cxn ang="0">
                  <a:pos x="647" y="463"/>
                </a:cxn>
                <a:cxn ang="0">
                  <a:pos x="865" y="485"/>
                </a:cxn>
                <a:cxn ang="0">
                  <a:pos x="891" y="218"/>
                </a:cxn>
                <a:cxn ang="0">
                  <a:pos x="940" y="525"/>
                </a:cxn>
                <a:cxn ang="0">
                  <a:pos x="1013" y="456"/>
                </a:cxn>
                <a:cxn ang="0">
                  <a:pos x="985" y="263"/>
                </a:cxn>
                <a:cxn ang="0">
                  <a:pos x="1106" y="289"/>
                </a:cxn>
                <a:cxn ang="0">
                  <a:pos x="1127" y="277"/>
                </a:cxn>
                <a:cxn ang="0">
                  <a:pos x="2190" y="1215"/>
                </a:cxn>
                <a:cxn ang="0">
                  <a:pos x="2183" y="1056"/>
                </a:cxn>
                <a:cxn ang="0">
                  <a:pos x="2206" y="116"/>
                </a:cxn>
                <a:cxn ang="0">
                  <a:pos x="2291" y="152"/>
                </a:cxn>
                <a:cxn ang="0">
                  <a:pos x="2180" y="196"/>
                </a:cxn>
                <a:cxn ang="0">
                  <a:pos x="2917" y="324"/>
                </a:cxn>
                <a:cxn ang="0">
                  <a:pos x="522" y="445"/>
                </a:cxn>
                <a:cxn ang="0">
                  <a:pos x="865" y="71"/>
                </a:cxn>
                <a:cxn ang="0">
                  <a:pos x="676" y="170"/>
                </a:cxn>
                <a:cxn ang="0">
                  <a:pos x="931" y="104"/>
                </a:cxn>
                <a:cxn ang="0">
                  <a:pos x="628" y="274"/>
                </a:cxn>
                <a:cxn ang="0">
                  <a:pos x="687" y="239"/>
                </a:cxn>
                <a:cxn ang="0">
                  <a:pos x="895" y="211"/>
                </a:cxn>
                <a:cxn ang="0">
                  <a:pos x="0" y="1014"/>
                </a:cxn>
              </a:cxnLst>
              <a:rect l="0" t="0" r="r" b="b"/>
              <a:pathLst>
                <a:path w="3031" h="1383">
                  <a:moveTo>
                    <a:pt x="1186" y="156"/>
                  </a:moveTo>
                  <a:lnTo>
                    <a:pt x="1181" y="149"/>
                  </a:lnTo>
                  <a:lnTo>
                    <a:pt x="1181" y="142"/>
                  </a:lnTo>
                  <a:lnTo>
                    <a:pt x="1186" y="140"/>
                  </a:lnTo>
                  <a:lnTo>
                    <a:pt x="1193" y="142"/>
                  </a:lnTo>
                  <a:lnTo>
                    <a:pt x="1207" y="128"/>
                  </a:lnTo>
                  <a:lnTo>
                    <a:pt x="1233" y="114"/>
                  </a:lnTo>
                  <a:lnTo>
                    <a:pt x="1261" y="104"/>
                  </a:lnTo>
                  <a:lnTo>
                    <a:pt x="1266" y="100"/>
                  </a:lnTo>
                  <a:lnTo>
                    <a:pt x="1294" y="92"/>
                  </a:lnTo>
                  <a:lnTo>
                    <a:pt x="1285" y="88"/>
                  </a:lnTo>
                  <a:lnTo>
                    <a:pt x="1283" y="83"/>
                  </a:lnTo>
                  <a:lnTo>
                    <a:pt x="1297" y="76"/>
                  </a:lnTo>
                  <a:lnTo>
                    <a:pt x="1316" y="74"/>
                  </a:lnTo>
                  <a:lnTo>
                    <a:pt x="1337" y="76"/>
                  </a:lnTo>
                  <a:lnTo>
                    <a:pt x="1332" y="85"/>
                  </a:lnTo>
                  <a:lnTo>
                    <a:pt x="1342" y="85"/>
                  </a:lnTo>
                  <a:lnTo>
                    <a:pt x="1356" y="83"/>
                  </a:lnTo>
                  <a:lnTo>
                    <a:pt x="1372" y="69"/>
                  </a:lnTo>
                  <a:lnTo>
                    <a:pt x="1370" y="57"/>
                  </a:lnTo>
                  <a:lnTo>
                    <a:pt x="1413" y="57"/>
                  </a:lnTo>
                  <a:lnTo>
                    <a:pt x="1406" y="50"/>
                  </a:lnTo>
                  <a:lnTo>
                    <a:pt x="1420" y="19"/>
                  </a:lnTo>
                  <a:lnTo>
                    <a:pt x="1439" y="10"/>
                  </a:lnTo>
                  <a:lnTo>
                    <a:pt x="1443" y="10"/>
                  </a:lnTo>
                  <a:lnTo>
                    <a:pt x="1453" y="3"/>
                  </a:lnTo>
                  <a:lnTo>
                    <a:pt x="1465" y="0"/>
                  </a:lnTo>
                  <a:lnTo>
                    <a:pt x="1472" y="7"/>
                  </a:lnTo>
                  <a:lnTo>
                    <a:pt x="1476" y="7"/>
                  </a:lnTo>
                  <a:lnTo>
                    <a:pt x="1486" y="17"/>
                  </a:lnTo>
                  <a:lnTo>
                    <a:pt x="1469" y="29"/>
                  </a:lnTo>
                  <a:lnTo>
                    <a:pt x="1493" y="36"/>
                  </a:lnTo>
                  <a:lnTo>
                    <a:pt x="1495" y="33"/>
                  </a:lnTo>
                  <a:lnTo>
                    <a:pt x="1500" y="38"/>
                  </a:lnTo>
                  <a:lnTo>
                    <a:pt x="1491" y="48"/>
                  </a:lnTo>
                  <a:lnTo>
                    <a:pt x="1488" y="62"/>
                  </a:lnTo>
                  <a:lnTo>
                    <a:pt x="1502" y="59"/>
                  </a:lnTo>
                  <a:lnTo>
                    <a:pt x="1514" y="48"/>
                  </a:lnTo>
                  <a:lnTo>
                    <a:pt x="1526" y="48"/>
                  </a:lnTo>
                  <a:lnTo>
                    <a:pt x="1535" y="43"/>
                  </a:lnTo>
                  <a:lnTo>
                    <a:pt x="1568" y="41"/>
                  </a:lnTo>
                  <a:lnTo>
                    <a:pt x="1566" y="45"/>
                  </a:lnTo>
                  <a:lnTo>
                    <a:pt x="1587" y="66"/>
                  </a:lnTo>
                  <a:lnTo>
                    <a:pt x="1592" y="66"/>
                  </a:lnTo>
                  <a:lnTo>
                    <a:pt x="1599" y="74"/>
                  </a:lnTo>
                  <a:lnTo>
                    <a:pt x="1594" y="76"/>
                  </a:lnTo>
                  <a:lnTo>
                    <a:pt x="1599" y="81"/>
                  </a:lnTo>
                  <a:lnTo>
                    <a:pt x="1594" y="97"/>
                  </a:lnTo>
                  <a:lnTo>
                    <a:pt x="1587" y="95"/>
                  </a:lnTo>
                  <a:lnTo>
                    <a:pt x="1585" y="95"/>
                  </a:lnTo>
                  <a:lnTo>
                    <a:pt x="1585" y="92"/>
                  </a:lnTo>
                  <a:lnTo>
                    <a:pt x="1583" y="92"/>
                  </a:lnTo>
                  <a:lnTo>
                    <a:pt x="1585" y="104"/>
                  </a:lnTo>
                  <a:lnTo>
                    <a:pt x="1592" y="104"/>
                  </a:lnTo>
                  <a:lnTo>
                    <a:pt x="1592" y="111"/>
                  </a:lnTo>
                  <a:lnTo>
                    <a:pt x="1580" y="133"/>
                  </a:lnTo>
                  <a:lnTo>
                    <a:pt x="1568" y="135"/>
                  </a:lnTo>
                  <a:lnTo>
                    <a:pt x="1557" y="159"/>
                  </a:lnTo>
                  <a:lnTo>
                    <a:pt x="1554" y="163"/>
                  </a:lnTo>
                  <a:lnTo>
                    <a:pt x="1547" y="166"/>
                  </a:lnTo>
                  <a:lnTo>
                    <a:pt x="1540" y="182"/>
                  </a:lnTo>
                  <a:lnTo>
                    <a:pt x="1531" y="189"/>
                  </a:lnTo>
                  <a:lnTo>
                    <a:pt x="1526" y="189"/>
                  </a:lnTo>
                  <a:lnTo>
                    <a:pt x="1524" y="194"/>
                  </a:lnTo>
                  <a:lnTo>
                    <a:pt x="1526" y="213"/>
                  </a:lnTo>
                  <a:lnTo>
                    <a:pt x="1540" y="218"/>
                  </a:lnTo>
                  <a:lnTo>
                    <a:pt x="1547" y="206"/>
                  </a:lnTo>
                  <a:lnTo>
                    <a:pt x="1583" y="201"/>
                  </a:lnTo>
                  <a:lnTo>
                    <a:pt x="1599" y="182"/>
                  </a:lnTo>
                  <a:lnTo>
                    <a:pt x="1609" y="187"/>
                  </a:lnTo>
                  <a:lnTo>
                    <a:pt x="1628" y="173"/>
                  </a:lnTo>
                  <a:lnTo>
                    <a:pt x="1606" y="178"/>
                  </a:lnTo>
                  <a:lnTo>
                    <a:pt x="1616" y="156"/>
                  </a:lnTo>
                  <a:lnTo>
                    <a:pt x="1625" y="159"/>
                  </a:lnTo>
                  <a:lnTo>
                    <a:pt x="1635" y="152"/>
                  </a:lnTo>
                  <a:lnTo>
                    <a:pt x="1632" y="163"/>
                  </a:lnTo>
                  <a:lnTo>
                    <a:pt x="1658" y="173"/>
                  </a:lnTo>
                  <a:lnTo>
                    <a:pt x="1663" y="156"/>
                  </a:lnTo>
                  <a:lnTo>
                    <a:pt x="1670" y="178"/>
                  </a:lnTo>
                  <a:lnTo>
                    <a:pt x="1668" y="194"/>
                  </a:lnTo>
                  <a:lnTo>
                    <a:pt x="1663" y="206"/>
                  </a:lnTo>
                  <a:lnTo>
                    <a:pt x="1670" y="222"/>
                  </a:lnTo>
                  <a:lnTo>
                    <a:pt x="1684" y="206"/>
                  </a:lnTo>
                  <a:lnTo>
                    <a:pt x="1672" y="194"/>
                  </a:lnTo>
                  <a:lnTo>
                    <a:pt x="1684" y="182"/>
                  </a:lnTo>
                  <a:lnTo>
                    <a:pt x="1701" y="175"/>
                  </a:lnTo>
                  <a:lnTo>
                    <a:pt x="1710" y="168"/>
                  </a:lnTo>
                  <a:lnTo>
                    <a:pt x="1720" y="173"/>
                  </a:lnTo>
                  <a:lnTo>
                    <a:pt x="1736" y="173"/>
                  </a:lnTo>
                  <a:lnTo>
                    <a:pt x="1743" y="178"/>
                  </a:lnTo>
                  <a:lnTo>
                    <a:pt x="1762" y="175"/>
                  </a:lnTo>
                  <a:lnTo>
                    <a:pt x="1769" y="182"/>
                  </a:lnTo>
                  <a:lnTo>
                    <a:pt x="1762" y="185"/>
                  </a:lnTo>
                  <a:lnTo>
                    <a:pt x="1762" y="201"/>
                  </a:lnTo>
                  <a:lnTo>
                    <a:pt x="1788" y="213"/>
                  </a:lnTo>
                  <a:lnTo>
                    <a:pt x="1802" y="215"/>
                  </a:lnTo>
                  <a:lnTo>
                    <a:pt x="1821" y="211"/>
                  </a:lnTo>
                  <a:lnTo>
                    <a:pt x="1838" y="220"/>
                  </a:lnTo>
                  <a:lnTo>
                    <a:pt x="1857" y="201"/>
                  </a:lnTo>
                  <a:lnTo>
                    <a:pt x="1840" y="189"/>
                  </a:lnTo>
                  <a:lnTo>
                    <a:pt x="1843" y="168"/>
                  </a:lnTo>
                  <a:lnTo>
                    <a:pt x="1850" y="168"/>
                  </a:lnTo>
                  <a:lnTo>
                    <a:pt x="1857" y="159"/>
                  </a:lnTo>
                  <a:lnTo>
                    <a:pt x="1880" y="166"/>
                  </a:lnTo>
                  <a:lnTo>
                    <a:pt x="1887" y="175"/>
                  </a:lnTo>
                  <a:lnTo>
                    <a:pt x="1904" y="182"/>
                  </a:lnTo>
                  <a:lnTo>
                    <a:pt x="1902" y="189"/>
                  </a:lnTo>
                  <a:lnTo>
                    <a:pt x="1913" y="187"/>
                  </a:lnTo>
                  <a:lnTo>
                    <a:pt x="1958" y="211"/>
                  </a:lnTo>
                  <a:lnTo>
                    <a:pt x="1954" y="237"/>
                  </a:lnTo>
                  <a:lnTo>
                    <a:pt x="1944" y="239"/>
                  </a:lnTo>
                  <a:lnTo>
                    <a:pt x="1951" y="246"/>
                  </a:lnTo>
                  <a:lnTo>
                    <a:pt x="1946" y="265"/>
                  </a:lnTo>
                  <a:lnTo>
                    <a:pt x="1935" y="260"/>
                  </a:lnTo>
                  <a:lnTo>
                    <a:pt x="1944" y="284"/>
                  </a:lnTo>
                  <a:lnTo>
                    <a:pt x="1954" y="284"/>
                  </a:lnTo>
                  <a:lnTo>
                    <a:pt x="1951" y="296"/>
                  </a:lnTo>
                  <a:lnTo>
                    <a:pt x="1998" y="357"/>
                  </a:lnTo>
                  <a:lnTo>
                    <a:pt x="2010" y="322"/>
                  </a:lnTo>
                  <a:lnTo>
                    <a:pt x="2017" y="274"/>
                  </a:lnTo>
                  <a:lnTo>
                    <a:pt x="2036" y="305"/>
                  </a:lnTo>
                  <a:lnTo>
                    <a:pt x="2062" y="303"/>
                  </a:lnTo>
                  <a:lnTo>
                    <a:pt x="2069" y="293"/>
                  </a:lnTo>
                  <a:lnTo>
                    <a:pt x="2079" y="300"/>
                  </a:lnTo>
                  <a:lnTo>
                    <a:pt x="2095" y="298"/>
                  </a:lnTo>
                  <a:lnTo>
                    <a:pt x="2112" y="317"/>
                  </a:lnTo>
                  <a:lnTo>
                    <a:pt x="2121" y="317"/>
                  </a:lnTo>
                  <a:lnTo>
                    <a:pt x="2121" y="298"/>
                  </a:lnTo>
                  <a:lnTo>
                    <a:pt x="2128" y="293"/>
                  </a:lnTo>
                  <a:lnTo>
                    <a:pt x="2138" y="303"/>
                  </a:lnTo>
                  <a:lnTo>
                    <a:pt x="2154" y="300"/>
                  </a:lnTo>
                  <a:lnTo>
                    <a:pt x="2140" y="272"/>
                  </a:lnTo>
                  <a:lnTo>
                    <a:pt x="2147" y="263"/>
                  </a:lnTo>
                  <a:lnTo>
                    <a:pt x="2138" y="258"/>
                  </a:lnTo>
                  <a:lnTo>
                    <a:pt x="2147" y="244"/>
                  </a:lnTo>
                  <a:lnTo>
                    <a:pt x="2157" y="244"/>
                  </a:lnTo>
                  <a:lnTo>
                    <a:pt x="2168" y="234"/>
                  </a:lnTo>
                  <a:lnTo>
                    <a:pt x="2161" y="225"/>
                  </a:lnTo>
                  <a:lnTo>
                    <a:pt x="2249" y="241"/>
                  </a:lnTo>
                  <a:lnTo>
                    <a:pt x="2275" y="248"/>
                  </a:lnTo>
                  <a:lnTo>
                    <a:pt x="2298" y="251"/>
                  </a:lnTo>
                  <a:lnTo>
                    <a:pt x="2317" y="256"/>
                  </a:lnTo>
                  <a:lnTo>
                    <a:pt x="2329" y="265"/>
                  </a:lnTo>
                  <a:lnTo>
                    <a:pt x="2329" y="279"/>
                  </a:lnTo>
                  <a:lnTo>
                    <a:pt x="2322" y="281"/>
                  </a:lnTo>
                  <a:lnTo>
                    <a:pt x="2317" y="277"/>
                  </a:lnTo>
                  <a:lnTo>
                    <a:pt x="2310" y="289"/>
                  </a:lnTo>
                  <a:lnTo>
                    <a:pt x="2324" y="293"/>
                  </a:lnTo>
                  <a:lnTo>
                    <a:pt x="2331" y="298"/>
                  </a:lnTo>
                  <a:lnTo>
                    <a:pt x="2339" y="310"/>
                  </a:lnTo>
                  <a:lnTo>
                    <a:pt x="2350" y="307"/>
                  </a:lnTo>
                  <a:lnTo>
                    <a:pt x="2362" y="324"/>
                  </a:lnTo>
                  <a:lnTo>
                    <a:pt x="2360" y="333"/>
                  </a:lnTo>
                  <a:lnTo>
                    <a:pt x="2381" y="345"/>
                  </a:lnTo>
                  <a:lnTo>
                    <a:pt x="2440" y="336"/>
                  </a:lnTo>
                  <a:lnTo>
                    <a:pt x="2468" y="329"/>
                  </a:lnTo>
                  <a:lnTo>
                    <a:pt x="2492" y="341"/>
                  </a:lnTo>
                  <a:lnTo>
                    <a:pt x="2506" y="352"/>
                  </a:lnTo>
                  <a:lnTo>
                    <a:pt x="2509" y="374"/>
                  </a:lnTo>
                  <a:lnTo>
                    <a:pt x="2502" y="383"/>
                  </a:lnTo>
                  <a:lnTo>
                    <a:pt x="2506" y="404"/>
                  </a:lnTo>
                  <a:lnTo>
                    <a:pt x="2520" y="428"/>
                  </a:lnTo>
                  <a:lnTo>
                    <a:pt x="2542" y="414"/>
                  </a:lnTo>
                  <a:lnTo>
                    <a:pt x="2579" y="414"/>
                  </a:lnTo>
                  <a:lnTo>
                    <a:pt x="2587" y="404"/>
                  </a:lnTo>
                  <a:lnTo>
                    <a:pt x="2594" y="414"/>
                  </a:lnTo>
                  <a:lnTo>
                    <a:pt x="2634" y="416"/>
                  </a:lnTo>
                  <a:lnTo>
                    <a:pt x="2650" y="404"/>
                  </a:lnTo>
                  <a:lnTo>
                    <a:pt x="2657" y="419"/>
                  </a:lnTo>
                  <a:lnTo>
                    <a:pt x="2657" y="430"/>
                  </a:lnTo>
                  <a:lnTo>
                    <a:pt x="2669" y="445"/>
                  </a:lnTo>
                  <a:lnTo>
                    <a:pt x="2669" y="456"/>
                  </a:lnTo>
                  <a:lnTo>
                    <a:pt x="2691" y="459"/>
                  </a:lnTo>
                  <a:lnTo>
                    <a:pt x="2709" y="445"/>
                  </a:lnTo>
                  <a:lnTo>
                    <a:pt x="2698" y="409"/>
                  </a:lnTo>
                  <a:lnTo>
                    <a:pt x="2691" y="407"/>
                  </a:lnTo>
                  <a:lnTo>
                    <a:pt x="2698" y="397"/>
                  </a:lnTo>
                  <a:lnTo>
                    <a:pt x="2695" y="385"/>
                  </a:lnTo>
                  <a:lnTo>
                    <a:pt x="2740" y="400"/>
                  </a:lnTo>
                  <a:lnTo>
                    <a:pt x="2802" y="404"/>
                  </a:lnTo>
                  <a:lnTo>
                    <a:pt x="2809" y="414"/>
                  </a:lnTo>
                  <a:lnTo>
                    <a:pt x="2828" y="423"/>
                  </a:lnTo>
                  <a:lnTo>
                    <a:pt x="2846" y="423"/>
                  </a:lnTo>
                  <a:lnTo>
                    <a:pt x="2910" y="482"/>
                  </a:lnTo>
                  <a:lnTo>
                    <a:pt x="2991" y="501"/>
                  </a:lnTo>
                  <a:lnTo>
                    <a:pt x="3031" y="553"/>
                  </a:lnTo>
                  <a:lnTo>
                    <a:pt x="2979" y="634"/>
                  </a:lnTo>
                  <a:lnTo>
                    <a:pt x="2920" y="612"/>
                  </a:lnTo>
                  <a:lnTo>
                    <a:pt x="2887" y="605"/>
                  </a:lnTo>
                  <a:lnTo>
                    <a:pt x="2851" y="652"/>
                  </a:lnTo>
                  <a:lnTo>
                    <a:pt x="2816" y="645"/>
                  </a:lnTo>
                  <a:lnTo>
                    <a:pt x="2823" y="664"/>
                  </a:lnTo>
                  <a:lnTo>
                    <a:pt x="2839" y="664"/>
                  </a:lnTo>
                  <a:lnTo>
                    <a:pt x="2839" y="693"/>
                  </a:lnTo>
                  <a:lnTo>
                    <a:pt x="2846" y="704"/>
                  </a:lnTo>
                  <a:lnTo>
                    <a:pt x="2849" y="704"/>
                  </a:lnTo>
                  <a:lnTo>
                    <a:pt x="2854" y="712"/>
                  </a:lnTo>
                  <a:lnTo>
                    <a:pt x="2854" y="714"/>
                  </a:lnTo>
                  <a:lnTo>
                    <a:pt x="2861" y="723"/>
                  </a:lnTo>
                  <a:lnTo>
                    <a:pt x="2854" y="730"/>
                  </a:lnTo>
                  <a:lnTo>
                    <a:pt x="2851" y="737"/>
                  </a:lnTo>
                  <a:lnTo>
                    <a:pt x="2832" y="730"/>
                  </a:lnTo>
                  <a:lnTo>
                    <a:pt x="2813" y="730"/>
                  </a:lnTo>
                  <a:lnTo>
                    <a:pt x="2724" y="789"/>
                  </a:lnTo>
                  <a:lnTo>
                    <a:pt x="2717" y="811"/>
                  </a:lnTo>
                  <a:lnTo>
                    <a:pt x="2709" y="815"/>
                  </a:lnTo>
                  <a:lnTo>
                    <a:pt x="2698" y="837"/>
                  </a:lnTo>
                  <a:lnTo>
                    <a:pt x="2691" y="834"/>
                  </a:lnTo>
                  <a:lnTo>
                    <a:pt x="2691" y="827"/>
                  </a:lnTo>
                  <a:lnTo>
                    <a:pt x="2683" y="811"/>
                  </a:lnTo>
                  <a:lnTo>
                    <a:pt x="2657" y="808"/>
                  </a:lnTo>
                  <a:lnTo>
                    <a:pt x="2620" y="841"/>
                  </a:lnTo>
                  <a:lnTo>
                    <a:pt x="2617" y="823"/>
                  </a:lnTo>
                  <a:lnTo>
                    <a:pt x="2598" y="841"/>
                  </a:lnTo>
                  <a:lnTo>
                    <a:pt x="2579" y="834"/>
                  </a:lnTo>
                  <a:lnTo>
                    <a:pt x="2551" y="882"/>
                  </a:lnTo>
                  <a:lnTo>
                    <a:pt x="2542" y="908"/>
                  </a:lnTo>
                  <a:lnTo>
                    <a:pt x="2558" y="908"/>
                  </a:lnTo>
                  <a:lnTo>
                    <a:pt x="2565" y="915"/>
                  </a:lnTo>
                  <a:lnTo>
                    <a:pt x="2558" y="922"/>
                  </a:lnTo>
                  <a:lnTo>
                    <a:pt x="2558" y="945"/>
                  </a:lnTo>
                  <a:lnTo>
                    <a:pt x="2565" y="945"/>
                  </a:lnTo>
                  <a:lnTo>
                    <a:pt x="2565" y="964"/>
                  </a:lnTo>
                  <a:lnTo>
                    <a:pt x="2558" y="974"/>
                  </a:lnTo>
                  <a:lnTo>
                    <a:pt x="2546" y="960"/>
                  </a:lnTo>
                  <a:lnTo>
                    <a:pt x="2539" y="978"/>
                  </a:lnTo>
                  <a:lnTo>
                    <a:pt x="2539" y="997"/>
                  </a:lnTo>
                  <a:lnTo>
                    <a:pt x="2546" y="1012"/>
                  </a:lnTo>
                  <a:lnTo>
                    <a:pt x="2532" y="1023"/>
                  </a:lnTo>
                  <a:lnTo>
                    <a:pt x="2532" y="1016"/>
                  </a:lnTo>
                  <a:lnTo>
                    <a:pt x="2516" y="1023"/>
                  </a:lnTo>
                  <a:lnTo>
                    <a:pt x="2506" y="1042"/>
                  </a:lnTo>
                  <a:lnTo>
                    <a:pt x="2513" y="1052"/>
                  </a:lnTo>
                  <a:lnTo>
                    <a:pt x="2513" y="1064"/>
                  </a:lnTo>
                  <a:lnTo>
                    <a:pt x="2499" y="1056"/>
                  </a:lnTo>
                  <a:lnTo>
                    <a:pt x="2480" y="1075"/>
                  </a:lnTo>
                  <a:lnTo>
                    <a:pt x="2483" y="1085"/>
                  </a:lnTo>
                  <a:lnTo>
                    <a:pt x="2454" y="1130"/>
                  </a:lnTo>
                  <a:lnTo>
                    <a:pt x="2447" y="1111"/>
                  </a:lnTo>
                  <a:lnTo>
                    <a:pt x="2447" y="1097"/>
                  </a:lnTo>
                  <a:lnTo>
                    <a:pt x="2440" y="1075"/>
                  </a:lnTo>
                  <a:lnTo>
                    <a:pt x="2438" y="1052"/>
                  </a:lnTo>
                  <a:lnTo>
                    <a:pt x="2428" y="997"/>
                  </a:lnTo>
                  <a:lnTo>
                    <a:pt x="2428" y="967"/>
                  </a:lnTo>
                  <a:lnTo>
                    <a:pt x="2435" y="948"/>
                  </a:lnTo>
                  <a:lnTo>
                    <a:pt x="2435" y="938"/>
                  </a:lnTo>
                  <a:lnTo>
                    <a:pt x="2442" y="938"/>
                  </a:lnTo>
                  <a:lnTo>
                    <a:pt x="2454" y="915"/>
                  </a:lnTo>
                  <a:lnTo>
                    <a:pt x="2450" y="908"/>
                  </a:lnTo>
                  <a:lnTo>
                    <a:pt x="2454" y="903"/>
                  </a:lnTo>
                  <a:lnTo>
                    <a:pt x="2468" y="908"/>
                  </a:lnTo>
                  <a:lnTo>
                    <a:pt x="2468" y="898"/>
                  </a:lnTo>
                  <a:lnTo>
                    <a:pt x="2476" y="898"/>
                  </a:lnTo>
                  <a:lnTo>
                    <a:pt x="2506" y="870"/>
                  </a:lnTo>
                  <a:lnTo>
                    <a:pt x="2509" y="860"/>
                  </a:lnTo>
                  <a:lnTo>
                    <a:pt x="2572" y="797"/>
                  </a:lnTo>
                  <a:lnTo>
                    <a:pt x="2579" y="745"/>
                  </a:lnTo>
                  <a:lnTo>
                    <a:pt x="2594" y="737"/>
                  </a:lnTo>
                  <a:lnTo>
                    <a:pt x="2587" y="723"/>
                  </a:lnTo>
                  <a:lnTo>
                    <a:pt x="2565" y="730"/>
                  </a:lnTo>
                  <a:lnTo>
                    <a:pt x="2565" y="766"/>
                  </a:lnTo>
                  <a:lnTo>
                    <a:pt x="2549" y="768"/>
                  </a:lnTo>
                  <a:lnTo>
                    <a:pt x="2523" y="808"/>
                  </a:lnTo>
                  <a:lnTo>
                    <a:pt x="2513" y="815"/>
                  </a:lnTo>
                  <a:lnTo>
                    <a:pt x="2516" y="797"/>
                  </a:lnTo>
                  <a:lnTo>
                    <a:pt x="2506" y="792"/>
                  </a:lnTo>
                  <a:lnTo>
                    <a:pt x="2520" y="759"/>
                  </a:lnTo>
                  <a:lnTo>
                    <a:pt x="2506" y="768"/>
                  </a:lnTo>
                  <a:lnTo>
                    <a:pt x="2499" y="759"/>
                  </a:lnTo>
                  <a:lnTo>
                    <a:pt x="2464" y="763"/>
                  </a:lnTo>
                  <a:lnTo>
                    <a:pt x="2447" y="778"/>
                  </a:lnTo>
                  <a:lnTo>
                    <a:pt x="2447" y="789"/>
                  </a:lnTo>
                  <a:lnTo>
                    <a:pt x="2409" y="830"/>
                  </a:lnTo>
                  <a:lnTo>
                    <a:pt x="2402" y="849"/>
                  </a:lnTo>
                  <a:lnTo>
                    <a:pt x="2424" y="856"/>
                  </a:lnTo>
                  <a:lnTo>
                    <a:pt x="2424" y="867"/>
                  </a:lnTo>
                  <a:lnTo>
                    <a:pt x="2350" y="879"/>
                  </a:lnTo>
                  <a:lnTo>
                    <a:pt x="2350" y="870"/>
                  </a:lnTo>
                  <a:lnTo>
                    <a:pt x="2365" y="863"/>
                  </a:lnTo>
                  <a:lnTo>
                    <a:pt x="2357" y="853"/>
                  </a:lnTo>
                  <a:lnTo>
                    <a:pt x="2343" y="856"/>
                  </a:lnTo>
                  <a:lnTo>
                    <a:pt x="2313" y="846"/>
                  </a:lnTo>
                  <a:lnTo>
                    <a:pt x="2310" y="863"/>
                  </a:lnTo>
                  <a:lnTo>
                    <a:pt x="2301" y="863"/>
                  </a:lnTo>
                  <a:lnTo>
                    <a:pt x="2298" y="856"/>
                  </a:lnTo>
                  <a:lnTo>
                    <a:pt x="2280" y="863"/>
                  </a:lnTo>
                  <a:lnTo>
                    <a:pt x="2265" y="856"/>
                  </a:lnTo>
                  <a:lnTo>
                    <a:pt x="2261" y="867"/>
                  </a:lnTo>
                  <a:lnTo>
                    <a:pt x="2239" y="860"/>
                  </a:lnTo>
                  <a:lnTo>
                    <a:pt x="2199" y="860"/>
                  </a:lnTo>
                  <a:lnTo>
                    <a:pt x="2173" y="886"/>
                  </a:lnTo>
                  <a:lnTo>
                    <a:pt x="2098" y="978"/>
                  </a:lnTo>
                  <a:lnTo>
                    <a:pt x="2098" y="986"/>
                  </a:lnTo>
                  <a:lnTo>
                    <a:pt x="2091" y="986"/>
                  </a:lnTo>
                  <a:lnTo>
                    <a:pt x="2086" y="997"/>
                  </a:lnTo>
                  <a:lnTo>
                    <a:pt x="2069" y="1004"/>
                  </a:lnTo>
                  <a:lnTo>
                    <a:pt x="2069" y="1012"/>
                  </a:lnTo>
                  <a:lnTo>
                    <a:pt x="2083" y="1016"/>
                  </a:lnTo>
                  <a:lnTo>
                    <a:pt x="2095" y="1016"/>
                  </a:lnTo>
                  <a:lnTo>
                    <a:pt x="2095" y="1030"/>
                  </a:lnTo>
                  <a:lnTo>
                    <a:pt x="2102" y="1030"/>
                  </a:lnTo>
                  <a:lnTo>
                    <a:pt x="2109" y="1033"/>
                  </a:lnTo>
                  <a:lnTo>
                    <a:pt x="2098" y="1045"/>
                  </a:lnTo>
                  <a:lnTo>
                    <a:pt x="2109" y="1045"/>
                  </a:lnTo>
                  <a:lnTo>
                    <a:pt x="2121" y="1045"/>
                  </a:lnTo>
                  <a:lnTo>
                    <a:pt x="2128" y="1033"/>
                  </a:lnTo>
                  <a:lnTo>
                    <a:pt x="2133" y="1023"/>
                  </a:lnTo>
                  <a:lnTo>
                    <a:pt x="2147" y="1030"/>
                  </a:lnTo>
                  <a:lnTo>
                    <a:pt x="2173" y="1052"/>
                  </a:lnTo>
                  <a:lnTo>
                    <a:pt x="2168" y="1071"/>
                  </a:lnTo>
                  <a:lnTo>
                    <a:pt x="2173" y="1097"/>
                  </a:lnTo>
                  <a:lnTo>
                    <a:pt x="2168" y="1120"/>
                  </a:lnTo>
                  <a:lnTo>
                    <a:pt x="2168" y="1156"/>
                  </a:lnTo>
                  <a:lnTo>
                    <a:pt x="2161" y="1168"/>
                  </a:lnTo>
                  <a:lnTo>
                    <a:pt x="2161" y="1196"/>
                  </a:lnTo>
                  <a:lnTo>
                    <a:pt x="2140" y="1234"/>
                  </a:lnTo>
                  <a:lnTo>
                    <a:pt x="2069" y="1326"/>
                  </a:lnTo>
                  <a:lnTo>
                    <a:pt x="2046" y="1338"/>
                  </a:lnTo>
                  <a:lnTo>
                    <a:pt x="2036" y="1342"/>
                  </a:lnTo>
                  <a:lnTo>
                    <a:pt x="2031" y="1345"/>
                  </a:lnTo>
                  <a:lnTo>
                    <a:pt x="2010" y="1335"/>
                  </a:lnTo>
                  <a:lnTo>
                    <a:pt x="1994" y="1349"/>
                  </a:lnTo>
                  <a:lnTo>
                    <a:pt x="1984" y="1345"/>
                  </a:lnTo>
                  <a:lnTo>
                    <a:pt x="1984" y="1338"/>
                  </a:lnTo>
                  <a:lnTo>
                    <a:pt x="1991" y="1335"/>
                  </a:lnTo>
                  <a:lnTo>
                    <a:pt x="1998" y="1323"/>
                  </a:lnTo>
                  <a:lnTo>
                    <a:pt x="1994" y="1293"/>
                  </a:lnTo>
                  <a:lnTo>
                    <a:pt x="2010" y="1286"/>
                  </a:lnTo>
                  <a:lnTo>
                    <a:pt x="2022" y="1286"/>
                  </a:lnTo>
                  <a:lnTo>
                    <a:pt x="2046" y="1257"/>
                  </a:lnTo>
                  <a:lnTo>
                    <a:pt x="2062" y="1222"/>
                  </a:lnTo>
                  <a:lnTo>
                    <a:pt x="2057" y="1201"/>
                  </a:lnTo>
                  <a:lnTo>
                    <a:pt x="2050" y="1201"/>
                  </a:lnTo>
                  <a:lnTo>
                    <a:pt x="2036" y="1208"/>
                  </a:lnTo>
                  <a:lnTo>
                    <a:pt x="2024" y="1219"/>
                  </a:lnTo>
                  <a:lnTo>
                    <a:pt x="2001" y="1219"/>
                  </a:lnTo>
                  <a:lnTo>
                    <a:pt x="1991" y="1212"/>
                  </a:lnTo>
                  <a:lnTo>
                    <a:pt x="1984" y="1186"/>
                  </a:lnTo>
                  <a:lnTo>
                    <a:pt x="1972" y="1182"/>
                  </a:lnTo>
                  <a:lnTo>
                    <a:pt x="1965" y="1170"/>
                  </a:lnTo>
                  <a:lnTo>
                    <a:pt x="1958" y="1175"/>
                  </a:lnTo>
                  <a:lnTo>
                    <a:pt x="1949" y="1168"/>
                  </a:lnTo>
                  <a:lnTo>
                    <a:pt x="1932" y="1168"/>
                  </a:lnTo>
                  <a:lnTo>
                    <a:pt x="1909" y="1097"/>
                  </a:lnTo>
                  <a:lnTo>
                    <a:pt x="1904" y="1082"/>
                  </a:lnTo>
                  <a:lnTo>
                    <a:pt x="1894" y="1064"/>
                  </a:lnTo>
                  <a:lnTo>
                    <a:pt x="1880" y="1059"/>
                  </a:lnTo>
                  <a:lnTo>
                    <a:pt x="1868" y="1052"/>
                  </a:lnTo>
                  <a:lnTo>
                    <a:pt x="1845" y="1045"/>
                  </a:lnTo>
                  <a:lnTo>
                    <a:pt x="1821" y="1052"/>
                  </a:lnTo>
                  <a:lnTo>
                    <a:pt x="1809" y="1052"/>
                  </a:lnTo>
                  <a:lnTo>
                    <a:pt x="1795" y="1068"/>
                  </a:lnTo>
                  <a:lnTo>
                    <a:pt x="1805" y="1075"/>
                  </a:lnTo>
                  <a:lnTo>
                    <a:pt x="1802" y="1097"/>
                  </a:lnTo>
                  <a:lnTo>
                    <a:pt x="1776" y="1137"/>
                  </a:lnTo>
                  <a:lnTo>
                    <a:pt x="1783" y="1149"/>
                  </a:lnTo>
                  <a:lnTo>
                    <a:pt x="1779" y="1156"/>
                  </a:lnTo>
                  <a:lnTo>
                    <a:pt x="1769" y="1156"/>
                  </a:lnTo>
                  <a:lnTo>
                    <a:pt x="1755" y="1168"/>
                  </a:lnTo>
                  <a:lnTo>
                    <a:pt x="1746" y="1160"/>
                  </a:lnTo>
                  <a:lnTo>
                    <a:pt x="1736" y="1160"/>
                  </a:lnTo>
                  <a:lnTo>
                    <a:pt x="1731" y="1156"/>
                  </a:lnTo>
                  <a:lnTo>
                    <a:pt x="1715" y="1156"/>
                  </a:lnTo>
                  <a:lnTo>
                    <a:pt x="1701" y="1144"/>
                  </a:lnTo>
                  <a:lnTo>
                    <a:pt x="1672" y="1163"/>
                  </a:lnTo>
                  <a:lnTo>
                    <a:pt x="1651" y="1170"/>
                  </a:lnTo>
                  <a:lnTo>
                    <a:pt x="1611" y="1175"/>
                  </a:lnTo>
                  <a:lnTo>
                    <a:pt x="1590" y="1168"/>
                  </a:lnTo>
                  <a:lnTo>
                    <a:pt x="1573" y="1160"/>
                  </a:lnTo>
                  <a:lnTo>
                    <a:pt x="1564" y="1144"/>
                  </a:lnTo>
                  <a:lnTo>
                    <a:pt x="1550" y="1142"/>
                  </a:lnTo>
                  <a:lnTo>
                    <a:pt x="1491" y="1149"/>
                  </a:lnTo>
                  <a:lnTo>
                    <a:pt x="1476" y="1130"/>
                  </a:lnTo>
                  <a:lnTo>
                    <a:pt x="1472" y="1108"/>
                  </a:lnTo>
                  <a:lnTo>
                    <a:pt x="1434" y="1097"/>
                  </a:lnTo>
                  <a:lnTo>
                    <a:pt x="1410" y="1116"/>
                  </a:lnTo>
                  <a:lnTo>
                    <a:pt x="1410" y="1134"/>
                  </a:lnTo>
                  <a:lnTo>
                    <a:pt x="1403" y="1144"/>
                  </a:lnTo>
                  <a:lnTo>
                    <a:pt x="1403" y="1156"/>
                  </a:lnTo>
                  <a:lnTo>
                    <a:pt x="1387" y="1163"/>
                  </a:lnTo>
                  <a:lnTo>
                    <a:pt x="1370" y="1156"/>
                  </a:lnTo>
                  <a:lnTo>
                    <a:pt x="1354" y="1160"/>
                  </a:lnTo>
                  <a:lnTo>
                    <a:pt x="1335" y="1149"/>
                  </a:lnTo>
                  <a:lnTo>
                    <a:pt x="1320" y="1149"/>
                  </a:lnTo>
                  <a:lnTo>
                    <a:pt x="1304" y="1134"/>
                  </a:lnTo>
                  <a:lnTo>
                    <a:pt x="1292" y="1134"/>
                  </a:lnTo>
                  <a:lnTo>
                    <a:pt x="1254" y="1153"/>
                  </a:lnTo>
                  <a:lnTo>
                    <a:pt x="1254" y="1163"/>
                  </a:lnTo>
                  <a:lnTo>
                    <a:pt x="1228" y="1170"/>
                  </a:lnTo>
                  <a:lnTo>
                    <a:pt x="1224" y="1182"/>
                  </a:lnTo>
                  <a:lnTo>
                    <a:pt x="1217" y="1182"/>
                  </a:lnTo>
                  <a:lnTo>
                    <a:pt x="1214" y="1168"/>
                  </a:lnTo>
                  <a:lnTo>
                    <a:pt x="1198" y="1156"/>
                  </a:lnTo>
                  <a:lnTo>
                    <a:pt x="1179" y="1156"/>
                  </a:lnTo>
                  <a:lnTo>
                    <a:pt x="1169" y="1142"/>
                  </a:lnTo>
                  <a:lnTo>
                    <a:pt x="1162" y="1142"/>
                  </a:lnTo>
                  <a:lnTo>
                    <a:pt x="1157" y="1134"/>
                  </a:lnTo>
                  <a:lnTo>
                    <a:pt x="1141" y="1116"/>
                  </a:lnTo>
                  <a:lnTo>
                    <a:pt x="1132" y="1116"/>
                  </a:lnTo>
                  <a:lnTo>
                    <a:pt x="1122" y="1127"/>
                  </a:lnTo>
                  <a:lnTo>
                    <a:pt x="1106" y="1127"/>
                  </a:lnTo>
                  <a:lnTo>
                    <a:pt x="1094" y="1116"/>
                  </a:lnTo>
                  <a:lnTo>
                    <a:pt x="1077" y="1127"/>
                  </a:lnTo>
                  <a:lnTo>
                    <a:pt x="1068" y="1111"/>
                  </a:lnTo>
                  <a:lnTo>
                    <a:pt x="1061" y="1094"/>
                  </a:lnTo>
                  <a:lnTo>
                    <a:pt x="1046" y="1075"/>
                  </a:lnTo>
                  <a:lnTo>
                    <a:pt x="1032" y="1049"/>
                  </a:lnTo>
                  <a:lnTo>
                    <a:pt x="1011" y="1033"/>
                  </a:lnTo>
                  <a:lnTo>
                    <a:pt x="1002" y="1023"/>
                  </a:lnTo>
                  <a:lnTo>
                    <a:pt x="1006" y="1012"/>
                  </a:lnTo>
                  <a:lnTo>
                    <a:pt x="997" y="1012"/>
                  </a:lnTo>
                  <a:lnTo>
                    <a:pt x="973" y="1038"/>
                  </a:lnTo>
                  <a:lnTo>
                    <a:pt x="961" y="1038"/>
                  </a:lnTo>
                  <a:lnTo>
                    <a:pt x="964" y="1026"/>
                  </a:lnTo>
                  <a:lnTo>
                    <a:pt x="943" y="1023"/>
                  </a:lnTo>
                  <a:lnTo>
                    <a:pt x="940" y="1012"/>
                  </a:lnTo>
                  <a:lnTo>
                    <a:pt x="924" y="1023"/>
                  </a:lnTo>
                  <a:lnTo>
                    <a:pt x="914" y="1016"/>
                  </a:lnTo>
                  <a:lnTo>
                    <a:pt x="924" y="1012"/>
                  </a:lnTo>
                  <a:lnTo>
                    <a:pt x="914" y="1004"/>
                  </a:lnTo>
                  <a:lnTo>
                    <a:pt x="917" y="986"/>
                  </a:lnTo>
                  <a:lnTo>
                    <a:pt x="898" y="997"/>
                  </a:lnTo>
                  <a:lnTo>
                    <a:pt x="881" y="993"/>
                  </a:lnTo>
                  <a:lnTo>
                    <a:pt x="869" y="997"/>
                  </a:lnTo>
                  <a:lnTo>
                    <a:pt x="841" y="1004"/>
                  </a:lnTo>
                  <a:lnTo>
                    <a:pt x="813" y="1023"/>
                  </a:lnTo>
                  <a:lnTo>
                    <a:pt x="780" y="1023"/>
                  </a:lnTo>
                  <a:lnTo>
                    <a:pt x="754" y="1023"/>
                  </a:lnTo>
                  <a:lnTo>
                    <a:pt x="746" y="1049"/>
                  </a:lnTo>
                  <a:lnTo>
                    <a:pt x="749" y="1056"/>
                  </a:lnTo>
                  <a:lnTo>
                    <a:pt x="739" y="1068"/>
                  </a:lnTo>
                  <a:lnTo>
                    <a:pt x="744" y="1082"/>
                  </a:lnTo>
                  <a:lnTo>
                    <a:pt x="735" y="1082"/>
                  </a:lnTo>
                  <a:lnTo>
                    <a:pt x="718" y="1097"/>
                  </a:lnTo>
                  <a:lnTo>
                    <a:pt x="718" y="1104"/>
                  </a:lnTo>
                  <a:lnTo>
                    <a:pt x="739" y="1108"/>
                  </a:lnTo>
                  <a:lnTo>
                    <a:pt x="756" y="1108"/>
                  </a:lnTo>
                  <a:lnTo>
                    <a:pt x="756" y="1123"/>
                  </a:lnTo>
                  <a:lnTo>
                    <a:pt x="749" y="1127"/>
                  </a:lnTo>
                  <a:lnTo>
                    <a:pt x="730" y="1123"/>
                  </a:lnTo>
                  <a:lnTo>
                    <a:pt x="706" y="1130"/>
                  </a:lnTo>
                  <a:lnTo>
                    <a:pt x="704" y="1123"/>
                  </a:lnTo>
                  <a:lnTo>
                    <a:pt x="692" y="1116"/>
                  </a:lnTo>
                  <a:lnTo>
                    <a:pt x="683" y="1127"/>
                  </a:lnTo>
                  <a:lnTo>
                    <a:pt x="673" y="1123"/>
                  </a:lnTo>
                  <a:lnTo>
                    <a:pt x="664" y="1123"/>
                  </a:lnTo>
                  <a:lnTo>
                    <a:pt x="657" y="1134"/>
                  </a:lnTo>
                  <a:lnTo>
                    <a:pt x="643" y="1134"/>
                  </a:lnTo>
                  <a:lnTo>
                    <a:pt x="635" y="1120"/>
                  </a:lnTo>
                  <a:lnTo>
                    <a:pt x="633" y="1123"/>
                  </a:lnTo>
                  <a:lnTo>
                    <a:pt x="633" y="1134"/>
                  </a:lnTo>
                  <a:lnTo>
                    <a:pt x="628" y="1142"/>
                  </a:lnTo>
                  <a:lnTo>
                    <a:pt x="624" y="1134"/>
                  </a:lnTo>
                  <a:lnTo>
                    <a:pt x="624" y="1123"/>
                  </a:lnTo>
                  <a:lnTo>
                    <a:pt x="612" y="1108"/>
                  </a:lnTo>
                  <a:lnTo>
                    <a:pt x="598" y="1116"/>
                  </a:lnTo>
                  <a:lnTo>
                    <a:pt x="595" y="1097"/>
                  </a:lnTo>
                  <a:lnTo>
                    <a:pt x="583" y="1097"/>
                  </a:lnTo>
                  <a:lnTo>
                    <a:pt x="576" y="1111"/>
                  </a:lnTo>
                  <a:lnTo>
                    <a:pt x="572" y="1104"/>
                  </a:lnTo>
                  <a:lnTo>
                    <a:pt x="562" y="1097"/>
                  </a:lnTo>
                  <a:lnTo>
                    <a:pt x="550" y="1123"/>
                  </a:lnTo>
                  <a:lnTo>
                    <a:pt x="539" y="1123"/>
                  </a:lnTo>
                  <a:lnTo>
                    <a:pt x="541" y="1130"/>
                  </a:lnTo>
                  <a:lnTo>
                    <a:pt x="524" y="1137"/>
                  </a:lnTo>
                  <a:lnTo>
                    <a:pt x="532" y="1153"/>
                  </a:lnTo>
                  <a:lnTo>
                    <a:pt x="527" y="1160"/>
                  </a:lnTo>
                  <a:lnTo>
                    <a:pt x="522" y="1156"/>
                  </a:lnTo>
                  <a:lnTo>
                    <a:pt x="517" y="1149"/>
                  </a:lnTo>
                  <a:lnTo>
                    <a:pt x="508" y="1142"/>
                  </a:lnTo>
                  <a:lnTo>
                    <a:pt x="503" y="1149"/>
                  </a:lnTo>
                  <a:lnTo>
                    <a:pt x="496" y="1156"/>
                  </a:lnTo>
                  <a:lnTo>
                    <a:pt x="491" y="1168"/>
                  </a:lnTo>
                  <a:lnTo>
                    <a:pt x="491" y="1175"/>
                  </a:lnTo>
                  <a:lnTo>
                    <a:pt x="496" y="1182"/>
                  </a:lnTo>
                  <a:lnTo>
                    <a:pt x="489" y="1201"/>
                  </a:lnTo>
                  <a:lnTo>
                    <a:pt x="498" y="1201"/>
                  </a:lnTo>
                  <a:lnTo>
                    <a:pt x="503" y="1212"/>
                  </a:lnTo>
                  <a:lnTo>
                    <a:pt x="517" y="1215"/>
                  </a:lnTo>
                  <a:lnTo>
                    <a:pt x="532" y="1238"/>
                  </a:lnTo>
                  <a:lnTo>
                    <a:pt x="529" y="1245"/>
                  </a:lnTo>
                  <a:lnTo>
                    <a:pt x="524" y="1264"/>
                  </a:lnTo>
                  <a:lnTo>
                    <a:pt x="522" y="1271"/>
                  </a:lnTo>
                  <a:lnTo>
                    <a:pt x="513" y="1274"/>
                  </a:lnTo>
                  <a:lnTo>
                    <a:pt x="506" y="1271"/>
                  </a:lnTo>
                  <a:lnTo>
                    <a:pt x="496" y="1293"/>
                  </a:lnTo>
                  <a:lnTo>
                    <a:pt x="496" y="1305"/>
                  </a:lnTo>
                  <a:lnTo>
                    <a:pt x="496" y="1312"/>
                  </a:lnTo>
                  <a:lnTo>
                    <a:pt x="503" y="1312"/>
                  </a:lnTo>
                  <a:lnTo>
                    <a:pt x="506" y="1326"/>
                  </a:lnTo>
                  <a:lnTo>
                    <a:pt x="503" y="1342"/>
                  </a:lnTo>
                  <a:lnTo>
                    <a:pt x="510" y="1352"/>
                  </a:lnTo>
                  <a:lnTo>
                    <a:pt x="527" y="1371"/>
                  </a:lnTo>
                  <a:lnTo>
                    <a:pt x="522" y="1378"/>
                  </a:lnTo>
                  <a:lnTo>
                    <a:pt x="517" y="1383"/>
                  </a:lnTo>
                  <a:lnTo>
                    <a:pt x="513" y="1383"/>
                  </a:lnTo>
                  <a:lnTo>
                    <a:pt x="503" y="1378"/>
                  </a:lnTo>
                  <a:lnTo>
                    <a:pt x="503" y="1371"/>
                  </a:lnTo>
                  <a:lnTo>
                    <a:pt x="496" y="1371"/>
                  </a:lnTo>
                  <a:lnTo>
                    <a:pt x="489" y="1364"/>
                  </a:lnTo>
                  <a:lnTo>
                    <a:pt x="482" y="1368"/>
                  </a:lnTo>
                  <a:lnTo>
                    <a:pt x="465" y="1364"/>
                  </a:lnTo>
                  <a:lnTo>
                    <a:pt x="470" y="1357"/>
                  </a:lnTo>
                  <a:lnTo>
                    <a:pt x="470" y="1352"/>
                  </a:lnTo>
                  <a:lnTo>
                    <a:pt x="463" y="1345"/>
                  </a:lnTo>
                  <a:lnTo>
                    <a:pt x="458" y="1345"/>
                  </a:lnTo>
                  <a:lnTo>
                    <a:pt x="451" y="1342"/>
                  </a:lnTo>
                  <a:lnTo>
                    <a:pt x="446" y="1345"/>
                  </a:lnTo>
                  <a:lnTo>
                    <a:pt x="444" y="1338"/>
                  </a:lnTo>
                  <a:lnTo>
                    <a:pt x="430" y="1335"/>
                  </a:lnTo>
                  <a:lnTo>
                    <a:pt x="425" y="1326"/>
                  </a:lnTo>
                  <a:lnTo>
                    <a:pt x="418" y="1331"/>
                  </a:lnTo>
                  <a:lnTo>
                    <a:pt x="390" y="1326"/>
                  </a:lnTo>
                  <a:lnTo>
                    <a:pt x="376" y="1326"/>
                  </a:lnTo>
                  <a:lnTo>
                    <a:pt x="373" y="1333"/>
                  </a:lnTo>
                  <a:lnTo>
                    <a:pt x="366" y="1331"/>
                  </a:lnTo>
                  <a:lnTo>
                    <a:pt x="359" y="1316"/>
                  </a:lnTo>
                  <a:lnTo>
                    <a:pt x="314" y="1286"/>
                  </a:lnTo>
                  <a:lnTo>
                    <a:pt x="314" y="1279"/>
                  </a:lnTo>
                  <a:lnTo>
                    <a:pt x="333" y="1279"/>
                  </a:lnTo>
                  <a:lnTo>
                    <a:pt x="335" y="1260"/>
                  </a:lnTo>
                  <a:lnTo>
                    <a:pt x="328" y="1248"/>
                  </a:lnTo>
                  <a:lnTo>
                    <a:pt x="343" y="1245"/>
                  </a:lnTo>
                  <a:lnTo>
                    <a:pt x="354" y="1234"/>
                  </a:lnTo>
                  <a:lnTo>
                    <a:pt x="343" y="1227"/>
                  </a:lnTo>
                  <a:lnTo>
                    <a:pt x="343" y="1219"/>
                  </a:lnTo>
                  <a:lnTo>
                    <a:pt x="357" y="1212"/>
                  </a:lnTo>
                  <a:lnTo>
                    <a:pt x="369" y="1208"/>
                  </a:lnTo>
                  <a:lnTo>
                    <a:pt x="373" y="1196"/>
                  </a:lnTo>
                  <a:lnTo>
                    <a:pt x="364" y="1186"/>
                  </a:lnTo>
                  <a:lnTo>
                    <a:pt x="364" y="1182"/>
                  </a:lnTo>
                  <a:lnTo>
                    <a:pt x="378" y="1175"/>
                  </a:lnTo>
                  <a:lnTo>
                    <a:pt x="378" y="1163"/>
                  </a:lnTo>
                  <a:lnTo>
                    <a:pt x="369" y="1163"/>
                  </a:lnTo>
                  <a:lnTo>
                    <a:pt x="345" y="1149"/>
                  </a:lnTo>
                  <a:lnTo>
                    <a:pt x="333" y="1149"/>
                  </a:lnTo>
                  <a:lnTo>
                    <a:pt x="333" y="1137"/>
                  </a:lnTo>
                  <a:lnTo>
                    <a:pt x="314" y="1149"/>
                  </a:lnTo>
                  <a:lnTo>
                    <a:pt x="302" y="1142"/>
                  </a:lnTo>
                  <a:lnTo>
                    <a:pt x="295" y="1144"/>
                  </a:lnTo>
                  <a:lnTo>
                    <a:pt x="291" y="1134"/>
                  </a:lnTo>
                  <a:lnTo>
                    <a:pt x="293" y="1134"/>
                  </a:lnTo>
                  <a:lnTo>
                    <a:pt x="295" y="1123"/>
                  </a:lnTo>
                  <a:lnTo>
                    <a:pt x="288" y="1116"/>
                  </a:lnTo>
                  <a:lnTo>
                    <a:pt x="274" y="1116"/>
                  </a:lnTo>
                  <a:lnTo>
                    <a:pt x="269" y="1104"/>
                  </a:lnTo>
                  <a:lnTo>
                    <a:pt x="274" y="1101"/>
                  </a:lnTo>
                  <a:lnTo>
                    <a:pt x="267" y="1078"/>
                  </a:lnTo>
                  <a:lnTo>
                    <a:pt x="258" y="1075"/>
                  </a:lnTo>
                  <a:lnTo>
                    <a:pt x="246" y="1082"/>
                  </a:lnTo>
                  <a:lnTo>
                    <a:pt x="224" y="1082"/>
                  </a:lnTo>
                  <a:lnTo>
                    <a:pt x="227" y="1068"/>
                  </a:lnTo>
                  <a:lnTo>
                    <a:pt x="220" y="1056"/>
                  </a:lnTo>
                  <a:lnTo>
                    <a:pt x="222" y="1052"/>
                  </a:lnTo>
                  <a:lnTo>
                    <a:pt x="234" y="1052"/>
                  </a:lnTo>
                  <a:lnTo>
                    <a:pt x="239" y="1045"/>
                  </a:lnTo>
                  <a:lnTo>
                    <a:pt x="234" y="1038"/>
                  </a:lnTo>
                  <a:lnTo>
                    <a:pt x="224" y="1038"/>
                  </a:lnTo>
                  <a:lnTo>
                    <a:pt x="227" y="1030"/>
                  </a:lnTo>
                  <a:lnTo>
                    <a:pt x="217" y="1019"/>
                  </a:lnTo>
                  <a:lnTo>
                    <a:pt x="213" y="1016"/>
                  </a:lnTo>
                  <a:lnTo>
                    <a:pt x="215" y="1012"/>
                  </a:lnTo>
                  <a:lnTo>
                    <a:pt x="210" y="1000"/>
                  </a:lnTo>
                  <a:lnTo>
                    <a:pt x="213" y="997"/>
                  </a:lnTo>
                  <a:lnTo>
                    <a:pt x="208" y="986"/>
                  </a:lnTo>
                  <a:lnTo>
                    <a:pt x="210" y="978"/>
                  </a:lnTo>
                  <a:lnTo>
                    <a:pt x="196" y="964"/>
                  </a:lnTo>
                  <a:lnTo>
                    <a:pt x="182" y="971"/>
                  </a:lnTo>
                  <a:lnTo>
                    <a:pt x="184" y="960"/>
                  </a:lnTo>
                  <a:lnTo>
                    <a:pt x="175" y="957"/>
                  </a:lnTo>
                  <a:lnTo>
                    <a:pt x="170" y="964"/>
                  </a:lnTo>
                  <a:lnTo>
                    <a:pt x="165" y="957"/>
                  </a:lnTo>
                  <a:lnTo>
                    <a:pt x="158" y="957"/>
                  </a:lnTo>
                  <a:lnTo>
                    <a:pt x="161" y="945"/>
                  </a:lnTo>
                  <a:lnTo>
                    <a:pt x="154" y="945"/>
                  </a:lnTo>
                  <a:lnTo>
                    <a:pt x="156" y="934"/>
                  </a:lnTo>
                  <a:lnTo>
                    <a:pt x="151" y="922"/>
                  </a:lnTo>
                  <a:lnTo>
                    <a:pt x="146" y="875"/>
                  </a:lnTo>
                  <a:lnTo>
                    <a:pt x="158" y="849"/>
                  </a:lnTo>
                  <a:lnTo>
                    <a:pt x="175" y="834"/>
                  </a:lnTo>
                  <a:lnTo>
                    <a:pt x="187" y="841"/>
                  </a:lnTo>
                  <a:lnTo>
                    <a:pt x="194" y="834"/>
                  </a:lnTo>
                  <a:lnTo>
                    <a:pt x="187" y="827"/>
                  </a:lnTo>
                  <a:lnTo>
                    <a:pt x="172" y="827"/>
                  </a:lnTo>
                  <a:lnTo>
                    <a:pt x="168" y="811"/>
                  </a:lnTo>
                  <a:lnTo>
                    <a:pt x="156" y="815"/>
                  </a:lnTo>
                  <a:lnTo>
                    <a:pt x="156" y="804"/>
                  </a:lnTo>
                  <a:lnTo>
                    <a:pt x="168" y="804"/>
                  </a:lnTo>
                  <a:lnTo>
                    <a:pt x="220" y="730"/>
                  </a:lnTo>
                  <a:lnTo>
                    <a:pt x="217" y="719"/>
                  </a:lnTo>
                  <a:lnTo>
                    <a:pt x="210" y="712"/>
                  </a:lnTo>
                  <a:lnTo>
                    <a:pt x="210" y="704"/>
                  </a:lnTo>
                  <a:lnTo>
                    <a:pt x="189" y="688"/>
                  </a:lnTo>
                  <a:lnTo>
                    <a:pt x="198" y="667"/>
                  </a:lnTo>
                  <a:lnTo>
                    <a:pt x="194" y="652"/>
                  </a:lnTo>
                  <a:lnTo>
                    <a:pt x="198" y="652"/>
                  </a:lnTo>
                  <a:lnTo>
                    <a:pt x="194" y="645"/>
                  </a:lnTo>
                  <a:lnTo>
                    <a:pt x="189" y="645"/>
                  </a:lnTo>
                  <a:lnTo>
                    <a:pt x="184" y="626"/>
                  </a:lnTo>
                  <a:lnTo>
                    <a:pt x="189" y="619"/>
                  </a:lnTo>
                  <a:lnTo>
                    <a:pt x="187" y="612"/>
                  </a:lnTo>
                  <a:lnTo>
                    <a:pt x="189" y="600"/>
                  </a:lnTo>
                  <a:lnTo>
                    <a:pt x="189" y="586"/>
                  </a:lnTo>
                  <a:lnTo>
                    <a:pt x="198" y="582"/>
                  </a:lnTo>
                  <a:lnTo>
                    <a:pt x="187" y="567"/>
                  </a:lnTo>
                  <a:lnTo>
                    <a:pt x="180" y="541"/>
                  </a:lnTo>
                  <a:lnTo>
                    <a:pt x="170" y="530"/>
                  </a:lnTo>
                  <a:lnTo>
                    <a:pt x="189" y="482"/>
                  </a:lnTo>
                  <a:lnTo>
                    <a:pt x="172" y="468"/>
                  </a:lnTo>
                  <a:lnTo>
                    <a:pt x="165" y="445"/>
                  </a:lnTo>
                  <a:lnTo>
                    <a:pt x="170" y="433"/>
                  </a:lnTo>
                  <a:lnTo>
                    <a:pt x="161" y="430"/>
                  </a:lnTo>
                  <a:lnTo>
                    <a:pt x="168" y="423"/>
                  </a:lnTo>
                  <a:lnTo>
                    <a:pt x="175" y="423"/>
                  </a:lnTo>
                  <a:lnTo>
                    <a:pt x="194" y="397"/>
                  </a:lnTo>
                  <a:lnTo>
                    <a:pt x="213" y="404"/>
                  </a:lnTo>
                  <a:lnTo>
                    <a:pt x="222" y="390"/>
                  </a:lnTo>
                  <a:lnTo>
                    <a:pt x="243" y="400"/>
                  </a:lnTo>
                  <a:lnTo>
                    <a:pt x="239" y="407"/>
                  </a:lnTo>
                  <a:lnTo>
                    <a:pt x="224" y="409"/>
                  </a:lnTo>
                  <a:lnTo>
                    <a:pt x="241" y="423"/>
                  </a:lnTo>
                  <a:lnTo>
                    <a:pt x="253" y="419"/>
                  </a:lnTo>
                  <a:lnTo>
                    <a:pt x="250" y="430"/>
                  </a:lnTo>
                  <a:lnTo>
                    <a:pt x="283" y="428"/>
                  </a:lnTo>
                  <a:lnTo>
                    <a:pt x="312" y="442"/>
                  </a:lnTo>
                  <a:lnTo>
                    <a:pt x="340" y="468"/>
                  </a:lnTo>
                  <a:lnTo>
                    <a:pt x="347" y="468"/>
                  </a:lnTo>
                  <a:lnTo>
                    <a:pt x="366" y="485"/>
                  </a:lnTo>
                  <a:lnTo>
                    <a:pt x="378" y="489"/>
                  </a:lnTo>
                  <a:lnTo>
                    <a:pt x="378" y="499"/>
                  </a:lnTo>
                  <a:lnTo>
                    <a:pt x="385" y="501"/>
                  </a:lnTo>
                  <a:lnTo>
                    <a:pt x="390" y="508"/>
                  </a:lnTo>
                  <a:lnTo>
                    <a:pt x="390" y="530"/>
                  </a:lnTo>
                  <a:lnTo>
                    <a:pt x="390" y="539"/>
                  </a:lnTo>
                  <a:lnTo>
                    <a:pt x="378" y="567"/>
                  </a:lnTo>
                  <a:lnTo>
                    <a:pt x="373" y="574"/>
                  </a:lnTo>
                  <a:lnTo>
                    <a:pt x="347" y="586"/>
                  </a:lnTo>
                  <a:lnTo>
                    <a:pt x="309" y="574"/>
                  </a:lnTo>
                  <a:lnTo>
                    <a:pt x="279" y="560"/>
                  </a:lnTo>
                  <a:lnTo>
                    <a:pt x="274" y="567"/>
                  </a:lnTo>
                  <a:lnTo>
                    <a:pt x="269" y="556"/>
                  </a:lnTo>
                  <a:lnTo>
                    <a:pt x="253" y="553"/>
                  </a:lnTo>
                  <a:lnTo>
                    <a:pt x="241" y="537"/>
                  </a:lnTo>
                  <a:lnTo>
                    <a:pt x="232" y="534"/>
                  </a:lnTo>
                  <a:lnTo>
                    <a:pt x="229" y="539"/>
                  </a:lnTo>
                  <a:lnTo>
                    <a:pt x="239" y="546"/>
                  </a:lnTo>
                  <a:lnTo>
                    <a:pt x="229" y="548"/>
                  </a:lnTo>
                  <a:lnTo>
                    <a:pt x="222" y="544"/>
                  </a:lnTo>
                  <a:lnTo>
                    <a:pt x="215" y="548"/>
                  </a:lnTo>
                  <a:lnTo>
                    <a:pt x="229" y="560"/>
                  </a:lnTo>
                  <a:lnTo>
                    <a:pt x="241" y="560"/>
                  </a:lnTo>
                  <a:lnTo>
                    <a:pt x="248" y="567"/>
                  </a:lnTo>
                  <a:lnTo>
                    <a:pt x="258" y="574"/>
                  </a:lnTo>
                  <a:lnTo>
                    <a:pt x="276" y="582"/>
                  </a:lnTo>
                  <a:lnTo>
                    <a:pt x="281" y="598"/>
                  </a:lnTo>
                  <a:lnTo>
                    <a:pt x="274" y="619"/>
                  </a:lnTo>
                  <a:lnTo>
                    <a:pt x="281" y="638"/>
                  </a:lnTo>
                  <a:lnTo>
                    <a:pt x="276" y="652"/>
                  </a:lnTo>
                  <a:lnTo>
                    <a:pt x="281" y="657"/>
                  </a:lnTo>
                  <a:lnTo>
                    <a:pt x="291" y="657"/>
                  </a:lnTo>
                  <a:lnTo>
                    <a:pt x="307" y="671"/>
                  </a:lnTo>
                  <a:lnTo>
                    <a:pt x="324" y="678"/>
                  </a:lnTo>
                  <a:lnTo>
                    <a:pt x="333" y="674"/>
                  </a:lnTo>
                  <a:lnTo>
                    <a:pt x="335" y="664"/>
                  </a:lnTo>
                  <a:lnTo>
                    <a:pt x="333" y="655"/>
                  </a:lnTo>
                  <a:lnTo>
                    <a:pt x="319" y="655"/>
                  </a:lnTo>
                  <a:lnTo>
                    <a:pt x="309" y="638"/>
                  </a:lnTo>
                  <a:lnTo>
                    <a:pt x="317" y="634"/>
                  </a:lnTo>
                  <a:lnTo>
                    <a:pt x="317" y="626"/>
                  </a:lnTo>
                  <a:lnTo>
                    <a:pt x="338" y="638"/>
                  </a:lnTo>
                  <a:lnTo>
                    <a:pt x="338" y="652"/>
                  </a:lnTo>
                  <a:lnTo>
                    <a:pt x="345" y="645"/>
                  </a:lnTo>
                  <a:lnTo>
                    <a:pt x="364" y="648"/>
                  </a:lnTo>
                  <a:lnTo>
                    <a:pt x="378" y="645"/>
                  </a:lnTo>
                  <a:lnTo>
                    <a:pt x="376" y="634"/>
                  </a:lnTo>
                  <a:lnTo>
                    <a:pt x="366" y="626"/>
                  </a:lnTo>
                  <a:lnTo>
                    <a:pt x="366" y="612"/>
                  </a:lnTo>
                  <a:lnTo>
                    <a:pt x="385" y="589"/>
                  </a:lnTo>
                  <a:lnTo>
                    <a:pt x="395" y="589"/>
                  </a:lnTo>
                  <a:lnTo>
                    <a:pt x="411" y="567"/>
                  </a:lnTo>
                  <a:lnTo>
                    <a:pt x="430" y="570"/>
                  </a:lnTo>
                  <a:lnTo>
                    <a:pt x="444" y="586"/>
                  </a:lnTo>
                  <a:lnTo>
                    <a:pt x="449" y="563"/>
                  </a:lnTo>
                  <a:lnTo>
                    <a:pt x="454" y="548"/>
                  </a:lnTo>
                  <a:lnTo>
                    <a:pt x="451" y="527"/>
                  </a:lnTo>
                  <a:lnTo>
                    <a:pt x="437" y="525"/>
                  </a:lnTo>
                  <a:lnTo>
                    <a:pt x="437" y="496"/>
                  </a:lnTo>
                  <a:lnTo>
                    <a:pt x="444" y="485"/>
                  </a:lnTo>
                  <a:lnTo>
                    <a:pt x="437" y="466"/>
                  </a:lnTo>
                  <a:lnTo>
                    <a:pt x="428" y="459"/>
                  </a:lnTo>
                  <a:lnTo>
                    <a:pt x="430" y="456"/>
                  </a:lnTo>
                  <a:lnTo>
                    <a:pt x="446" y="463"/>
                  </a:lnTo>
                  <a:lnTo>
                    <a:pt x="461" y="463"/>
                  </a:lnTo>
                  <a:lnTo>
                    <a:pt x="489" y="482"/>
                  </a:lnTo>
                  <a:lnTo>
                    <a:pt x="491" y="492"/>
                  </a:lnTo>
                  <a:lnTo>
                    <a:pt x="477" y="499"/>
                  </a:lnTo>
                  <a:lnTo>
                    <a:pt x="470" y="499"/>
                  </a:lnTo>
                  <a:lnTo>
                    <a:pt x="463" y="522"/>
                  </a:lnTo>
                  <a:lnTo>
                    <a:pt x="472" y="525"/>
                  </a:lnTo>
                  <a:lnTo>
                    <a:pt x="480" y="546"/>
                  </a:lnTo>
                  <a:lnTo>
                    <a:pt x="496" y="546"/>
                  </a:lnTo>
                  <a:lnTo>
                    <a:pt x="513" y="541"/>
                  </a:lnTo>
                  <a:lnTo>
                    <a:pt x="515" y="504"/>
                  </a:lnTo>
                  <a:lnTo>
                    <a:pt x="536" y="494"/>
                  </a:lnTo>
                  <a:lnTo>
                    <a:pt x="546" y="482"/>
                  </a:lnTo>
                  <a:lnTo>
                    <a:pt x="553" y="475"/>
                  </a:lnTo>
                  <a:lnTo>
                    <a:pt x="557" y="473"/>
                  </a:lnTo>
                  <a:lnTo>
                    <a:pt x="572" y="473"/>
                  </a:lnTo>
                  <a:lnTo>
                    <a:pt x="586" y="463"/>
                  </a:lnTo>
                  <a:lnTo>
                    <a:pt x="595" y="478"/>
                  </a:lnTo>
                  <a:lnTo>
                    <a:pt x="593" y="463"/>
                  </a:lnTo>
                  <a:lnTo>
                    <a:pt x="609" y="442"/>
                  </a:lnTo>
                  <a:lnTo>
                    <a:pt x="619" y="449"/>
                  </a:lnTo>
                  <a:lnTo>
                    <a:pt x="614" y="456"/>
                  </a:lnTo>
                  <a:lnTo>
                    <a:pt x="619" y="468"/>
                  </a:lnTo>
                  <a:lnTo>
                    <a:pt x="607" y="478"/>
                  </a:lnTo>
                  <a:lnTo>
                    <a:pt x="621" y="482"/>
                  </a:lnTo>
                  <a:lnTo>
                    <a:pt x="635" y="471"/>
                  </a:lnTo>
                  <a:lnTo>
                    <a:pt x="643" y="466"/>
                  </a:lnTo>
                  <a:lnTo>
                    <a:pt x="647" y="463"/>
                  </a:lnTo>
                  <a:lnTo>
                    <a:pt x="647" y="463"/>
                  </a:lnTo>
                  <a:lnTo>
                    <a:pt x="673" y="463"/>
                  </a:lnTo>
                  <a:lnTo>
                    <a:pt x="695" y="445"/>
                  </a:lnTo>
                  <a:lnTo>
                    <a:pt x="706" y="445"/>
                  </a:lnTo>
                  <a:lnTo>
                    <a:pt x="704" y="466"/>
                  </a:lnTo>
                  <a:lnTo>
                    <a:pt x="718" y="471"/>
                  </a:lnTo>
                  <a:lnTo>
                    <a:pt x="720" y="459"/>
                  </a:lnTo>
                  <a:lnTo>
                    <a:pt x="730" y="459"/>
                  </a:lnTo>
                  <a:lnTo>
                    <a:pt x="739" y="449"/>
                  </a:lnTo>
                  <a:lnTo>
                    <a:pt x="728" y="423"/>
                  </a:lnTo>
                  <a:lnTo>
                    <a:pt x="735" y="411"/>
                  </a:lnTo>
                  <a:lnTo>
                    <a:pt x="737" y="404"/>
                  </a:lnTo>
                  <a:lnTo>
                    <a:pt x="761" y="407"/>
                  </a:lnTo>
                  <a:lnTo>
                    <a:pt x="768" y="404"/>
                  </a:lnTo>
                  <a:lnTo>
                    <a:pt x="817" y="435"/>
                  </a:lnTo>
                  <a:lnTo>
                    <a:pt x="855" y="463"/>
                  </a:lnTo>
                  <a:lnTo>
                    <a:pt x="855" y="468"/>
                  </a:lnTo>
                  <a:lnTo>
                    <a:pt x="865" y="485"/>
                  </a:lnTo>
                  <a:lnTo>
                    <a:pt x="874" y="459"/>
                  </a:lnTo>
                  <a:lnTo>
                    <a:pt x="881" y="452"/>
                  </a:lnTo>
                  <a:lnTo>
                    <a:pt x="869" y="452"/>
                  </a:lnTo>
                  <a:lnTo>
                    <a:pt x="857" y="430"/>
                  </a:lnTo>
                  <a:lnTo>
                    <a:pt x="862" y="423"/>
                  </a:lnTo>
                  <a:lnTo>
                    <a:pt x="857" y="414"/>
                  </a:lnTo>
                  <a:lnTo>
                    <a:pt x="855" y="416"/>
                  </a:lnTo>
                  <a:lnTo>
                    <a:pt x="841" y="411"/>
                  </a:lnTo>
                  <a:lnTo>
                    <a:pt x="841" y="385"/>
                  </a:lnTo>
                  <a:lnTo>
                    <a:pt x="848" y="369"/>
                  </a:lnTo>
                  <a:lnTo>
                    <a:pt x="846" y="352"/>
                  </a:lnTo>
                  <a:lnTo>
                    <a:pt x="841" y="352"/>
                  </a:lnTo>
                  <a:lnTo>
                    <a:pt x="841" y="331"/>
                  </a:lnTo>
                  <a:lnTo>
                    <a:pt x="848" y="317"/>
                  </a:lnTo>
                  <a:lnTo>
                    <a:pt x="862" y="312"/>
                  </a:lnTo>
                  <a:lnTo>
                    <a:pt x="869" y="279"/>
                  </a:lnTo>
                  <a:lnTo>
                    <a:pt x="874" y="237"/>
                  </a:lnTo>
                  <a:lnTo>
                    <a:pt x="891" y="218"/>
                  </a:lnTo>
                  <a:lnTo>
                    <a:pt x="898" y="222"/>
                  </a:lnTo>
                  <a:lnTo>
                    <a:pt x="907" y="218"/>
                  </a:lnTo>
                  <a:lnTo>
                    <a:pt x="917" y="222"/>
                  </a:lnTo>
                  <a:lnTo>
                    <a:pt x="926" y="222"/>
                  </a:lnTo>
                  <a:lnTo>
                    <a:pt x="938" y="227"/>
                  </a:lnTo>
                  <a:lnTo>
                    <a:pt x="938" y="267"/>
                  </a:lnTo>
                  <a:lnTo>
                    <a:pt x="935" y="293"/>
                  </a:lnTo>
                  <a:lnTo>
                    <a:pt x="924" y="296"/>
                  </a:lnTo>
                  <a:lnTo>
                    <a:pt x="933" y="310"/>
                  </a:lnTo>
                  <a:lnTo>
                    <a:pt x="933" y="319"/>
                  </a:lnTo>
                  <a:lnTo>
                    <a:pt x="947" y="331"/>
                  </a:lnTo>
                  <a:lnTo>
                    <a:pt x="947" y="348"/>
                  </a:lnTo>
                  <a:lnTo>
                    <a:pt x="943" y="381"/>
                  </a:lnTo>
                  <a:lnTo>
                    <a:pt x="938" y="435"/>
                  </a:lnTo>
                  <a:lnTo>
                    <a:pt x="959" y="468"/>
                  </a:lnTo>
                  <a:lnTo>
                    <a:pt x="952" y="475"/>
                  </a:lnTo>
                  <a:lnTo>
                    <a:pt x="950" y="508"/>
                  </a:lnTo>
                  <a:lnTo>
                    <a:pt x="940" y="525"/>
                  </a:lnTo>
                  <a:lnTo>
                    <a:pt x="931" y="539"/>
                  </a:lnTo>
                  <a:lnTo>
                    <a:pt x="921" y="539"/>
                  </a:lnTo>
                  <a:lnTo>
                    <a:pt x="907" y="546"/>
                  </a:lnTo>
                  <a:lnTo>
                    <a:pt x="891" y="544"/>
                  </a:lnTo>
                  <a:lnTo>
                    <a:pt x="876" y="548"/>
                  </a:lnTo>
                  <a:lnTo>
                    <a:pt x="888" y="567"/>
                  </a:lnTo>
                  <a:lnTo>
                    <a:pt x="902" y="574"/>
                  </a:lnTo>
                  <a:lnTo>
                    <a:pt x="933" y="574"/>
                  </a:lnTo>
                  <a:lnTo>
                    <a:pt x="950" y="600"/>
                  </a:lnTo>
                  <a:lnTo>
                    <a:pt x="959" y="598"/>
                  </a:lnTo>
                  <a:lnTo>
                    <a:pt x="945" y="560"/>
                  </a:lnTo>
                  <a:lnTo>
                    <a:pt x="964" y="541"/>
                  </a:lnTo>
                  <a:lnTo>
                    <a:pt x="973" y="511"/>
                  </a:lnTo>
                  <a:lnTo>
                    <a:pt x="983" y="494"/>
                  </a:lnTo>
                  <a:lnTo>
                    <a:pt x="976" y="485"/>
                  </a:lnTo>
                  <a:lnTo>
                    <a:pt x="980" y="463"/>
                  </a:lnTo>
                  <a:lnTo>
                    <a:pt x="999" y="452"/>
                  </a:lnTo>
                  <a:lnTo>
                    <a:pt x="1013" y="456"/>
                  </a:lnTo>
                  <a:lnTo>
                    <a:pt x="1020" y="475"/>
                  </a:lnTo>
                  <a:lnTo>
                    <a:pt x="1023" y="501"/>
                  </a:lnTo>
                  <a:lnTo>
                    <a:pt x="1032" y="515"/>
                  </a:lnTo>
                  <a:lnTo>
                    <a:pt x="1044" y="515"/>
                  </a:lnTo>
                  <a:lnTo>
                    <a:pt x="1061" y="522"/>
                  </a:lnTo>
                  <a:lnTo>
                    <a:pt x="1063" y="508"/>
                  </a:lnTo>
                  <a:lnTo>
                    <a:pt x="1039" y="499"/>
                  </a:lnTo>
                  <a:lnTo>
                    <a:pt x="1037" y="482"/>
                  </a:lnTo>
                  <a:lnTo>
                    <a:pt x="1037" y="459"/>
                  </a:lnTo>
                  <a:lnTo>
                    <a:pt x="1009" y="435"/>
                  </a:lnTo>
                  <a:lnTo>
                    <a:pt x="961" y="442"/>
                  </a:lnTo>
                  <a:lnTo>
                    <a:pt x="964" y="404"/>
                  </a:lnTo>
                  <a:lnTo>
                    <a:pt x="959" y="385"/>
                  </a:lnTo>
                  <a:lnTo>
                    <a:pt x="969" y="355"/>
                  </a:lnTo>
                  <a:lnTo>
                    <a:pt x="961" y="341"/>
                  </a:lnTo>
                  <a:lnTo>
                    <a:pt x="952" y="307"/>
                  </a:lnTo>
                  <a:lnTo>
                    <a:pt x="961" y="284"/>
                  </a:lnTo>
                  <a:lnTo>
                    <a:pt x="985" y="263"/>
                  </a:lnTo>
                  <a:lnTo>
                    <a:pt x="985" y="227"/>
                  </a:lnTo>
                  <a:lnTo>
                    <a:pt x="994" y="239"/>
                  </a:lnTo>
                  <a:lnTo>
                    <a:pt x="999" y="260"/>
                  </a:lnTo>
                  <a:lnTo>
                    <a:pt x="994" y="277"/>
                  </a:lnTo>
                  <a:lnTo>
                    <a:pt x="992" y="317"/>
                  </a:lnTo>
                  <a:lnTo>
                    <a:pt x="1032" y="322"/>
                  </a:lnTo>
                  <a:lnTo>
                    <a:pt x="1035" y="312"/>
                  </a:lnTo>
                  <a:lnTo>
                    <a:pt x="1011" y="300"/>
                  </a:lnTo>
                  <a:lnTo>
                    <a:pt x="1004" y="284"/>
                  </a:lnTo>
                  <a:lnTo>
                    <a:pt x="1016" y="277"/>
                  </a:lnTo>
                  <a:lnTo>
                    <a:pt x="1037" y="284"/>
                  </a:lnTo>
                  <a:lnTo>
                    <a:pt x="1046" y="267"/>
                  </a:lnTo>
                  <a:lnTo>
                    <a:pt x="1030" y="267"/>
                  </a:lnTo>
                  <a:lnTo>
                    <a:pt x="1030" y="260"/>
                  </a:lnTo>
                  <a:lnTo>
                    <a:pt x="1046" y="246"/>
                  </a:lnTo>
                  <a:lnTo>
                    <a:pt x="1061" y="251"/>
                  </a:lnTo>
                  <a:lnTo>
                    <a:pt x="1089" y="265"/>
                  </a:lnTo>
                  <a:lnTo>
                    <a:pt x="1106" y="289"/>
                  </a:lnTo>
                  <a:lnTo>
                    <a:pt x="1124" y="284"/>
                  </a:lnTo>
                  <a:lnTo>
                    <a:pt x="1132" y="289"/>
                  </a:lnTo>
                  <a:lnTo>
                    <a:pt x="1127" y="305"/>
                  </a:lnTo>
                  <a:lnTo>
                    <a:pt x="1115" y="315"/>
                  </a:lnTo>
                  <a:lnTo>
                    <a:pt x="1108" y="371"/>
                  </a:lnTo>
                  <a:lnTo>
                    <a:pt x="1113" y="369"/>
                  </a:lnTo>
                  <a:lnTo>
                    <a:pt x="1122" y="348"/>
                  </a:lnTo>
                  <a:lnTo>
                    <a:pt x="1127" y="348"/>
                  </a:lnTo>
                  <a:lnTo>
                    <a:pt x="1129" y="367"/>
                  </a:lnTo>
                  <a:lnTo>
                    <a:pt x="1122" y="376"/>
                  </a:lnTo>
                  <a:lnTo>
                    <a:pt x="1127" y="393"/>
                  </a:lnTo>
                  <a:lnTo>
                    <a:pt x="1136" y="390"/>
                  </a:lnTo>
                  <a:lnTo>
                    <a:pt x="1141" y="364"/>
                  </a:lnTo>
                  <a:lnTo>
                    <a:pt x="1132" y="329"/>
                  </a:lnTo>
                  <a:lnTo>
                    <a:pt x="1129" y="319"/>
                  </a:lnTo>
                  <a:lnTo>
                    <a:pt x="1141" y="293"/>
                  </a:lnTo>
                  <a:lnTo>
                    <a:pt x="1136" y="279"/>
                  </a:lnTo>
                  <a:lnTo>
                    <a:pt x="1127" y="277"/>
                  </a:lnTo>
                  <a:lnTo>
                    <a:pt x="1120" y="263"/>
                  </a:lnTo>
                  <a:lnTo>
                    <a:pt x="1122" y="258"/>
                  </a:lnTo>
                  <a:lnTo>
                    <a:pt x="1103" y="248"/>
                  </a:lnTo>
                  <a:lnTo>
                    <a:pt x="1089" y="230"/>
                  </a:lnTo>
                  <a:lnTo>
                    <a:pt x="1094" y="215"/>
                  </a:lnTo>
                  <a:lnTo>
                    <a:pt x="1087" y="196"/>
                  </a:lnTo>
                  <a:lnTo>
                    <a:pt x="1094" y="170"/>
                  </a:lnTo>
                  <a:lnTo>
                    <a:pt x="1157" y="163"/>
                  </a:lnTo>
                  <a:lnTo>
                    <a:pt x="1174" y="168"/>
                  </a:lnTo>
                  <a:lnTo>
                    <a:pt x="1183" y="163"/>
                  </a:lnTo>
                  <a:lnTo>
                    <a:pt x="1186" y="156"/>
                  </a:lnTo>
                  <a:lnTo>
                    <a:pt x="1186" y="156"/>
                  </a:lnTo>
                  <a:close/>
                  <a:moveTo>
                    <a:pt x="2183" y="1056"/>
                  </a:moveTo>
                  <a:lnTo>
                    <a:pt x="2180" y="1097"/>
                  </a:lnTo>
                  <a:lnTo>
                    <a:pt x="2190" y="1123"/>
                  </a:lnTo>
                  <a:lnTo>
                    <a:pt x="2187" y="1149"/>
                  </a:lnTo>
                  <a:lnTo>
                    <a:pt x="2183" y="1189"/>
                  </a:lnTo>
                  <a:lnTo>
                    <a:pt x="2190" y="1215"/>
                  </a:lnTo>
                  <a:lnTo>
                    <a:pt x="2187" y="1245"/>
                  </a:lnTo>
                  <a:lnTo>
                    <a:pt x="2187" y="1260"/>
                  </a:lnTo>
                  <a:lnTo>
                    <a:pt x="2199" y="1245"/>
                  </a:lnTo>
                  <a:lnTo>
                    <a:pt x="2209" y="1245"/>
                  </a:lnTo>
                  <a:lnTo>
                    <a:pt x="2213" y="1260"/>
                  </a:lnTo>
                  <a:lnTo>
                    <a:pt x="2216" y="1245"/>
                  </a:lnTo>
                  <a:lnTo>
                    <a:pt x="2213" y="1238"/>
                  </a:lnTo>
                  <a:lnTo>
                    <a:pt x="2206" y="1234"/>
                  </a:lnTo>
                  <a:lnTo>
                    <a:pt x="2197" y="1212"/>
                  </a:lnTo>
                  <a:lnTo>
                    <a:pt x="2197" y="1189"/>
                  </a:lnTo>
                  <a:lnTo>
                    <a:pt x="2213" y="1168"/>
                  </a:lnTo>
                  <a:lnTo>
                    <a:pt x="2232" y="1179"/>
                  </a:lnTo>
                  <a:lnTo>
                    <a:pt x="2209" y="1104"/>
                  </a:lnTo>
                  <a:lnTo>
                    <a:pt x="2213" y="1071"/>
                  </a:lnTo>
                  <a:lnTo>
                    <a:pt x="2199" y="1023"/>
                  </a:lnTo>
                  <a:lnTo>
                    <a:pt x="2194" y="1023"/>
                  </a:lnTo>
                  <a:lnTo>
                    <a:pt x="2192" y="1045"/>
                  </a:lnTo>
                  <a:lnTo>
                    <a:pt x="2183" y="1056"/>
                  </a:lnTo>
                  <a:lnTo>
                    <a:pt x="2183" y="1056"/>
                  </a:lnTo>
                  <a:close/>
                  <a:moveTo>
                    <a:pt x="2128" y="78"/>
                  </a:moveTo>
                  <a:lnTo>
                    <a:pt x="2114" y="85"/>
                  </a:lnTo>
                  <a:lnTo>
                    <a:pt x="2114" y="92"/>
                  </a:lnTo>
                  <a:lnTo>
                    <a:pt x="2105" y="104"/>
                  </a:lnTo>
                  <a:lnTo>
                    <a:pt x="2105" y="109"/>
                  </a:lnTo>
                  <a:lnTo>
                    <a:pt x="2102" y="109"/>
                  </a:lnTo>
                  <a:lnTo>
                    <a:pt x="2102" y="126"/>
                  </a:lnTo>
                  <a:lnTo>
                    <a:pt x="2114" y="144"/>
                  </a:lnTo>
                  <a:lnTo>
                    <a:pt x="2117" y="152"/>
                  </a:lnTo>
                  <a:lnTo>
                    <a:pt x="2138" y="163"/>
                  </a:lnTo>
                  <a:lnTo>
                    <a:pt x="2147" y="149"/>
                  </a:lnTo>
                  <a:lnTo>
                    <a:pt x="2150" y="156"/>
                  </a:lnTo>
                  <a:lnTo>
                    <a:pt x="2173" y="144"/>
                  </a:lnTo>
                  <a:lnTo>
                    <a:pt x="2173" y="149"/>
                  </a:lnTo>
                  <a:lnTo>
                    <a:pt x="2194" y="140"/>
                  </a:lnTo>
                  <a:lnTo>
                    <a:pt x="2209" y="126"/>
                  </a:lnTo>
                  <a:lnTo>
                    <a:pt x="2206" y="116"/>
                  </a:lnTo>
                  <a:lnTo>
                    <a:pt x="2213" y="107"/>
                  </a:lnTo>
                  <a:lnTo>
                    <a:pt x="2194" y="90"/>
                  </a:lnTo>
                  <a:lnTo>
                    <a:pt x="2187" y="90"/>
                  </a:lnTo>
                  <a:lnTo>
                    <a:pt x="2173" y="74"/>
                  </a:lnTo>
                  <a:lnTo>
                    <a:pt x="2161" y="76"/>
                  </a:lnTo>
                  <a:lnTo>
                    <a:pt x="2161" y="100"/>
                  </a:lnTo>
                  <a:lnTo>
                    <a:pt x="2154" y="97"/>
                  </a:lnTo>
                  <a:lnTo>
                    <a:pt x="2147" y="88"/>
                  </a:lnTo>
                  <a:lnTo>
                    <a:pt x="2138" y="71"/>
                  </a:lnTo>
                  <a:lnTo>
                    <a:pt x="2128" y="78"/>
                  </a:lnTo>
                  <a:lnTo>
                    <a:pt x="2128" y="78"/>
                  </a:lnTo>
                  <a:close/>
                  <a:moveTo>
                    <a:pt x="2232" y="116"/>
                  </a:moveTo>
                  <a:lnTo>
                    <a:pt x="2232" y="130"/>
                  </a:lnTo>
                  <a:lnTo>
                    <a:pt x="2235" y="135"/>
                  </a:lnTo>
                  <a:lnTo>
                    <a:pt x="2251" y="149"/>
                  </a:lnTo>
                  <a:lnTo>
                    <a:pt x="2272" y="163"/>
                  </a:lnTo>
                  <a:lnTo>
                    <a:pt x="2284" y="156"/>
                  </a:lnTo>
                  <a:lnTo>
                    <a:pt x="2291" y="152"/>
                  </a:lnTo>
                  <a:lnTo>
                    <a:pt x="2291" y="144"/>
                  </a:lnTo>
                  <a:lnTo>
                    <a:pt x="2294" y="135"/>
                  </a:lnTo>
                  <a:lnTo>
                    <a:pt x="2287" y="135"/>
                  </a:lnTo>
                  <a:lnTo>
                    <a:pt x="2280" y="126"/>
                  </a:lnTo>
                  <a:lnTo>
                    <a:pt x="2268" y="126"/>
                  </a:lnTo>
                  <a:lnTo>
                    <a:pt x="2261" y="121"/>
                  </a:lnTo>
                  <a:lnTo>
                    <a:pt x="2258" y="121"/>
                  </a:lnTo>
                  <a:lnTo>
                    <a:pt x="2258" y="118"/>
                  </a:lnTo>
                  <a:lnTo>
                    <a:pt x="2251" y="116"/>
                  </a:lnTo>
                  <a:lnTo>
                    <a:pt x="2251" y="114"/>
                  </a:lnTo>
                  <a:lnTo>
                    <a:pt x="2246" y="114"/>
                  </a:lnTo>
                  <a:lnTo>
                    <a:pt x="2242" y="116"/>
                  </a:lnTo>
                  <a:lnTo>
                    <a:pt x="2232" y="107"/>
                  </a:lnTo>
                  <a:lnTo>
                    <a:pt x="2232" y="116"/>
                  </a:lnTo>
                  <a:lnTo>
                    <a:pt x="2232" y="116"/>
                  </a:lnTo>
                  <a:close/>
                  <a:moveTo>
                    <a:pt x="2154" y="194"/>
                  </a:moveTo>
                  <a:lnTo>
                    <a:pt x="2161" y="192"/>
                  </a:lnTo>
                  <a:lnTo>
                    <a:pt x="2180" y="196"/>
                  </a:lnTo>
                  <a:lnTo>
                    <a:pt x="2190" y="196"/>
                  </a:lnTo>
                  <a:lnTo>
                    <a:pt x="2199" y="199"/>
                  </a:lnTo>
                  <a:lnTo>
                    <a:pt x="2199" y="182"/>
                  </a:lnTo>
                  <a:lnTo>
                    <a:pt x="2180" y="168"/>
                  </a:lnTo>
                  <a:lnTo>
                    <a:pt x="2168" y="170"/>
                  </a:lnTo>
                  <a:lnTo>
                    <a:pt x="2161" y="182"/>
                  </a:lnTo>
                  <a:lnTo>
                    <a:pt x="2147" y="192"/>
                  </a:lnTo>
                  <a:lnTo>
                    <a:pt x="2154" y="194"/>
                  </a:lnTo>
                  <a:lnTo>
                    <a:pt x="2154" y="194"/>
                  </a:lnTo>
                  <a:close/>
                  <a:moveTo>
                    <a:pt x="2839" y="329"/>
                  </a:moveTo>
                  <a:lnTo>
                    <a:pt x="2846" y="331"/>
                  </a:lnTo>
                  <a:lnTo>
                    <a:pt x="2842" y="333"/>
                  </a:lnTo>
                  <a:lnTo>
                    <a:pt x="2846" y="341"/>
                  </a:lnTo>
                  <a:lnTo>
                    <a:pt x="2858" y="336"/>
                  </a:lnTo>
                  <a:lnTo>
                    <a:pt x="2872" y="331"/>
                  </a:lnTo>
                  <a:lnTo>
                    <a:pt x="2891" y="333"/>
                  </a:lnTo>
                  <a:lnTo>
                    <a:pt x="2905" y="329"/>
                  </a:lnTo>
                  <a:lnTo>
                    <a:pt x="2917" y="324"/>
                  </a:lnTo>
                  <a:lnTo>
                    <a:pt x="2917" y="319"/>
                  </a:lnTo>
                  <a:lnTo>
                    <a:pt x="2917" y="317"/>
                  </a:lnTo>
                  <a:lnTo>
                    <a:pt x="2910" y="310"/>
                  </a:lnTo>
                  <a:lnTo>
                    <a:pt x="2905" y="303"/>
                  </a:lnTo>
                  <a:lnTo>
                    <a:pt x="2894" y="300"/>
                  </a:lnTo>
                  <a:lnTo>
                    <a:pt x="2865" y="298"/>
                  </a:lnTo>
                  <a:lnTo>
                    <a:pt x="2858" y="305"/>
                  </a:lnTo>
                  <a:lnTo>
                    <a:pt x="2839" y="324"/>
                  </a:lnTo>
                  <a:lnTo>
                    <a:pt x="2839" y="329"/>
                  </a:lnTo>
                  <a:lnTo>
                    <a:pt x="2839" y="329"/>
                  </a:lnTo>
                  <a:close/>
                  <a:moveTo>
                    <a:pt x="522" y="445"/>
                  </a:moveTo>
                  <a:lnTo>
                    <a:pt x="524" y="452"/>
                  </a:lnTo>
                  <a:lnTo>
                    <a:pt x="534" y="452"/>
                  </a:lnTo>
                  <a:lnTo>
                    <a:pt x="541" y="445"/>
                  </a:lnTo>
                  <a:lnTo>
                    <a:pt x="548" y="428"/>
                  </a:lnTo>
                  <a:lnTo>
                    <a:pt x="536" y="423"/>
                  </a:lnTo>
                  <a:lnTo>
                    <a:pt x="527" y="423"/>
                  </a:lnTo>
                  <a:lnTo>
                    <a:pt x="522" y="445"/>
                  </a:lnTo>
                  <a:lnTo>
                    <a:pt x="522" y="445"/>
                  </a:lnTo>
                  <a:close/>
                  <a:moveTo>
                    <a:pt x="695" y="385"/>
                  </a:moveTo>
                  <a:lnTo>
                    <a:pt x="709" y="404"/>
                  </a:lnTo>
                  <a:lnTo>
                    <a:pt x="709" y="397"/>
                  </a:lnTo>
                  <a:lnTo>
                    <a:pt x="718" y="397"/>
                  </a:lnTo>
                  <a:lnTo>
                    <a:pt x="718" y="409"/>
                  </a:lnTo>
                  <a:lnTo>
                    <a:pt x="725" y="409"/>
                  </a:lnTo>
                  <a:lnTo>
                    <a:pt x="735" y="404"/>
                  </a:lnTo>
                  <a:lnTo>
                    <a:pt x="728" y="385"/>
                  </a:lnTo>
                  <a:lnTo>
                    <a:pt x="720" y="381"/>
                  </a:lnTo>
                  <a:lnTo>
                    <a:pt x="706" y="357"/>
                  </a:lnTo>
                  <a:lnTo>
                    <a:pt x="702" y="364"/>
                  </a:lnTo>
                  <a:lnTo>
                    <a:pt x="692" y="364"/>
                  </a:lnTo>
                  <a:lnTo>
                    <a:pt x="695" y="385"/>
                  </a:lnTo>
                  <a:lnTo>
                    <a:pt x="695" y="385"/>
                  </a:lnTo>
                  <a:close/>
                  <a:moveTo>
                    <a:pt x="900" y="64"/>
                  </a:moveTo>
                  <a:lnTo>
                    <a:pt x="872" y="76"/>
                  </a:lnTo>
                  <a:lnTo>
                    <a:pt x="865" y="71"/>
                  </a:lnTo>
                  <a:lnTo>
                    <a:pt x="855" y="71"/>
                  </a:lnTo>
                  <a:lnTo>
                    <a:pt x="848" y="78"/>
                  </a:lnTo>
                  <a:lnTo>
                    <a:pt x="841" y="76"/>
                  </a:lnTo>
                  <a:lnTo>
                    <a:pt x="824" y="74"/>
                  </a:lnTo>
                  <a:lnTo>
                    <a:pt x="822" y="81"/>
                  </a:lnTo>
                  <a:lnTo>
                    <a:pt x="810" y="83"/>
                  </a:lnTo>
                  <a:lnTo>
                    <a:pt x="775" y="97"/>
                  </a:lnTo>
                  <a:lnTo>
                    <a:pt x="761" y="111"/>
                  </a:lnTo>
                  <a:lnTo>
                    <a:pt x="746" y="114"/>
                  </a:lnTo>
                  <a:lnTo>
                    <a:pt x="737" y="116"/>
                  </a:lnTo>
                  <a:lnTo>
                    <a:pt x="730" y="111"/>
                  </a:lnTo>
                  <a:lnTo>
                    <a:pt x="718" y="123"/>
                  </a:lnTo>
                  <a:lnTo>
                    <a:pt x="732" y="128"/>
                  </a:lnTo>
                  <a:lnTo>
                    <a:pt x="720" y="137"/>
                  </a:lnTo>
                  <a:lnTo>
                    <a:pt x="713" y="156"/>
                  </a:lnTo>
                  <a:lnTo>
                    <a:pt x="697" y="163"/>
                  </a:lnTo>
                  <a:lnTo>
                    <a:pt x="695" y="166"/>
                  </a:lnTo>
                  <a:lnTo>
                    <a:pt x="676" y="170"/>
                  </a:lnTo>
                  <a:lnTo>
                    <a:pt x="685" y="182"/>
                  </a:lnTo>
                  <a:lnTo>
                    <a:pt x="695" y="185"/>
                  </a:lnTo>
                  <a:lnTo>
                    <a:pt x="683" y="194"/>
                  </a:lnTo>
                  <a:lnTo>
                    <a:pt x="697" y="199"/>
                  </a:lnTo>
                  <a:lnTo>
                    <a:pt x="711" y="211"/>
                  </a:lnTo>
                  <a:lnTo>
                    <a:pt x="725" y="196"/>
                  </a:lnTo>
                  <a:lnTo>
                    <a:pt x="716" y="187"/>
                  </a:lnTo>
                  <a:lnTo>
                    <a:pt x="730" y="192"/>
                  </a:lnTo>
                  <a:lnTo>
                    <a:pt x="737" y="185"/>
                  </a:lnTo>
                  <a:lnTo>
                    <a:pt x="754" y="173"/>
                  </a:lnTo>
                  <a:lnTo>
                    <a:pt x="758" y="163"/>
                  </a:lnTo>
                  <a:lnTo>
                    <a:pt x="763" y="159"/>
                  </a:lnTo>
                  <a:lnTo>
                    <a:pt x="765" y="152"/>
                  </a:lnTo>
                  <a:lnTo>
                    <a:pt x="777" y="159"/>
                  </a:lnTo>
                  <a:lnTo>
                    <a:pt x="791" y="149"/>
                  </a:lnTo>
                  <a:lnTo>
                    <a:pt x="791" y="144"/>
                  </a:lnTo>
                  <a:lnTo>
                    <a:pt x="924" y="100"/>
                  </a:lnTo>
                  <a:lnTo>
                    <a:pt x="931" y="104"/>
                  </a:lnTo>
                  <a:lnTo>
                    <a:pt x="933" y="97"/>
                  </a:lnTo>
                  <a:lnTo>
                    <a:pt x="945" y="88"/>
                  </a:lnTo>
                  <a:lnTo>
                    <a:pt x="940" y="83"/>
                  </a:lnTo>
                  <a:lnTo>
                    <a:pt x="947" y="78"/>
                  </a:lnTo>
                  <a:lnTo>
                    <a:pt x="945" y="64"/>
                  </a:lnTo>
                  <a:lnTo>
                    <a:pt x="947" y="59"/>
                  </a:lnTo>
                  <a:lnTo>
                    <a:pt x="933" y="57"/>
                  </a:lnTo>
                  <a:lnTo>
                    <a:pt x="909" y="55"/>
                  </a:lnTo>
                  <a:lnTo>
                    <a:pt x="900" y="64"/>
                  </a:lnTo>
                  <a:lnTo>
                    <a:pt x="900" y="64"/>
                  </a:lnTo>
                  <a:close/>
                  <a:moveTo>
                    <a:pt x="657" y="204"/>
                  </a:moveTo>
                  <a:lnTo>
                    <a:pt x="659" y="211"/>
                  </a:lnTo>
                  <a:lnTo>
                    <a:pt x="647" y="211"/>
                  </a:lnTo>
                  <a:lnTo>
                    <a:pt x="640" y="218"/>
                  </a:lnTo>
                  <a:lnTo>
                    <a:pt x="638" y="227"/>
                  </a:lnTo>
                  <a:lnTo>
                    <a:pt x="628" y="241"/>
                  </a:lnTo>
                  <a:lnTo>
                    <a:pt x="619" y="260"/>
                  </a:lnTo>
                  <a:lnTo>
                    <a:pt x="628" y="274"/>
                  </a:lnTo>
                  <a:lnTo>
                    <a:pt x="633" y="272"/>
                  </a:lnTo>
                  <a:lnTo>
                    <a:pt x="638" y="281"/>
                  </a:lnTo>
                  <a:lnTo>
                    <a:pt x="645" y="279"/>
                  </a:lnTo>
                  <a:lnTo>
                    <a:pt x="643" y="298"/>
                  </a:lnTo>
                  <a:lnTo>
                    <a:pt x="647" y="310"/>
                  </a:lnTo>
                  <a:lnTo>
                    <a:pt x="640" y="310"/>
                  </a:lnTo>
                  <a:lnTo>
                    <a:pt x="635" y="317"/>
                  </a:lnTo>
                  <a:lnTo>
                    <a:pt x="657" y="338"/>
                  </a:lnTo>
                  <a:lnTo>
                    <a:pt x="659" y="331"/>
                  </a:lnTo>
                  <a:lnTo>
                    <a:pt x="673" y="341"/>
                  </a:lnTo>
                  <a:lnTo>
                    <a:pt x="673" y="326"/>
                  </a:lnTo>
                  <a:lnTo>
                    <a:pt x="683" y="338"/>
                  </a:lnTo>
                  <a:lnTo>
                    <a:pt x="692" y="331"/>
                  </a:lnTo>
                  <a:lnTo>
                    <a:pt x="683" y="322"/>
                  </a:lnTo>
                  <a:lnTo>
                    <a:pt x="678" y="293"/>
                  </a:lnTo>
                  <a:lnTo>
                    <a:pt x="683" y="270"/>
                  </a:lnTo>
                  <a:lnTo>
                    <a:pt x="676" y="265"/>
                  </a:lnTo>
                  <a:lnTo>
                    <a:pt x="687" y="239"/>
                  </a:lnTo>
                  <a:lnTo>
                    <a:pt x="697" y="227"/>
                  </a:lnTo>
                  <a:lnTo>
                    <a:pt x="704" y="218"/>
                  </a:lnTo>
                  <a:lnTo>
                    <a:pt x="704" y="215"/>
                  </a:lnTo>
                  <a:lnTo>
                    <a:pt x="704" y="213"/>
                  </a:lnTo>
                  <a:lnTo>
                    <a:pt x="699" y="208"/>
                  </a:lnTo>
                  <a:lnTo>
                    <a:pt x="692" y="201"/>
                  </a:lnTo>
                  <a:lnTo>
                    <a:pt x="676" y="204"/>
                  </a:lnTo>
                  <a:lnTo>
                    <a:pt x="664" y="199"/>
                  </a:lnTo>
                  <a:lnTo>
                    <a:pt x="657" y="204"/>
                  </a:lnTo>
                  <a:lnTo>
                    <a:pt x="657" y="204"/>
                  </a:lnTo>
                  <a:close/>
                  <a:moveTo>
                    <a:pt x="902" y="211"/>
                  </a:moveTo>
                  <a:lnTo>
                    <a:pt x="914" y="206"/>
                  </a:lnTo>
                  <a:lnTo>
                    <a:pt x="921" y="206"/>
                  </a:lnTo>
                  <a:lnTo>
                    <a:pt x="928" y="199"/>
                  </a:lnTo>
                  <a:lnTo>
                    <a:pt x="919" y="187"/>
                  </a:lnTo>
                  <a:lnTo>
                    <a:pt x="907" y="187"/>
                  </a:lnTo>
                  <a:lnTo>
                    <a:pt x="898" y="187"/>
                  </a:lnTo>
                  <a:lnTo>
                    <a:pt x="895" y="211"/>
                  </a:lnTo>
                  <a:lnTo>
                    <a:pt x="902" y="211"/>
                  </a:lnTo>
                  <a:lnTo>
                    <a:pt x="902" y="211"/>
                  </a:lnTo>
                  <a:close/>
                  <a:moveTo>
                    <a:pt x="0" y="1014"/>
                  </a:moveTo>
                  <a:lnTo>
                    <a:pt x="12" y="1016"/>
                  </a:lnTo>
                  <a:lnTo>
                    <a:pt x="28" y="1019"/>
                  </a:lnTo>
                  <a:lnTo>
                    <a:pt x="52" y="1016"/>
                  </a:lnTo>
                  <a:lnTo>
                    <a:pt x="64" y="1016"/>
                  </a:lnTo>
                  <a:lnTo>
                    <a:pt x="64" y="1009"/>
                  </a:lnTo>
                  <a:lnTo>
                    <a:pt x="71" y="1002"/>
                  </a:lnTo>
                  <a:lnTo>
                    <a:pt x="54" y="1000"/>
                  </a:lnTo>
                  <a:lnTo>
                    <a:pt x="31" y="988"/>
                  </a:lnTo>
                  <a:lnTo>
                    <a:pt x="31" y="1004"/>
                  </a:lnTo>
                  <a:lnTo>
                    <a:pt x="24" y="1004"/>
                  </a:lnTo>
                  <a:lnTo>
                    <a:pt x="19" y="1000"/>
                  </a:lnTo>
                  <a:lnTo>
                    <a:pt x="9" y="1004"/>
                  </a:lnTo>
                  <a:lnTo>
                    <a:pt x="7" y="1012"/>
                  </a:lnTo>
                  <a:lnTo>
                    <a:pt x="0" y="1014"/>
                  </a:lnTo>
                  <a:lnTo>
                    <a:pt x="0" y="1014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srgbClr val="FF0000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42" name="Afghanistan">
              <a:extLst>
                <a:ext uri="{FF2B5EF4-FFF2-40B4-BE49-F238E27FC236}">
                  <a16:creationId xmlns="" xmlns:a16="http://schemas.microsoft.com/office/drawing/2014/main" id="{C17805C7-C9B1-4DB0-A5A9-BAE7BA5F8121}"/>
                </a:ext>
              </a:extLst>
            </p:cNvPr>
            <p:cNvSpPr>
              <a:spLocks/>
            </p:cNvSpPr>
            <p:nvPr/>
          </p:nvSpPr>
          <p:spPr bwMode="gray">
            <a:xfrm>
              <a:off x="7669334" y="3241156"/>
              <a:ext cx="437316" cy="353980"/>
            </a:xfrm>
            <a:custGeom>
              <a:avLst/>
              <a:gdLst/>
              <a:ahLst/>
              <a:cxnLst>
                <a:cxn ang="0">
                  <a:pos x="532" y="48"/>
                </a:cxn>
                <a:cxn ang="0">
                  <a:pos x="482" y="52"/>
                </a:cxn>
                <a:cxn ang="0">
                  <a:pos x="436" y="74"/>
                </a:cxn>
                <a:cxn ang="0">
                  <a:pos x="406" y="84"/>
                </a:cxn>
                <a:cxn ang="0">
                  <a:pos x="412" y="32"/>
                </a:cxn>
                <a:cxn ang="0">
                  <a:pos x="410" y="10"/>
                </a:cxn>
                <a:cxn ang="0">
                  <a:pos x="384" y="2"/>
                </a:cxn>
                <a:cxn ang="0">
                  <a:pos x="354" y="38"/>
                </a:cxn>
                <a:cxn ang="0">
                  <a:pos x="326" y="40"/>
                </a:cxn>
                <a:cxn ang="0">
                  <a:pos x="288" y="62"/>
                </a:cxn>
                <a:cxn ang="0">
                  <a:pos x="256" y="66"/>
                </a:cxn>
                <a:cxn ang="0">
                  <a:pos x="168" y="58"/>
                </a:cxn>
                <a:cxn ang="0">
                  <a:pos x="152" y="86"/>
                </a:cxn>
                <a:cxn ang="0">
                  <a:pos x="116" y="128"/>
                </a:cxn>
                <a:cxn ang="0">
                  <a:pos x="68" y="156"/>
                </a:cxn>
                <a:cxn ang="0">
                  <a:pos x="22" y="126"/>
                </a:cxn>
                <a:cxn ang="0">
                  <a:pos x="6" y="192"/>
                </a:cxn>
                <a:cxn ang="0">
                  <a:pos x="0" y="232"/>
                </a:cxn>
                <a:cxn ang="0">
                  <a:pos x="6" y="254"/>
                </a:cxn>
                <a:cxn ang="0">
                  <a:pos x="32" y="330"/>
                </a:cxn>
                <a:cxn ang="0">
                  <a:pos x="44" y="352"/>
                </a:cxn>
                <a:cxn ang="0">
                  <a:pos x="40" y="424"/>
                </a:cxn>
                <a:cxn ang="0">
                  <a:pos x="80" y="432"/>
                </a:cxn>
                <a:cxn ang="0">
                  <a:pos x="124" y="424"/>
                </a:cxn>
                <a:cxn ang="0">
                  <a:pos x="188" y="422"/>
                </a:cxn>
                <a:cxn ang="0">
                  <a:pos x="206" y="388"/>
                </a:cxn>
                <a:cxn ang="0">
                  <a:pos x="212" y="358"/>
                </a:cxn>
                <a:cxn ang="0">
                  <a:pos x="232" y="344"/>
                </a:cxn>
                <a:cxn ang="0">
                  <a:pos x="254" y="336"/>
                </a:cxn>
                <a:cxn ang="0">
                  <a:pos x="286" y="318"/>
                </a:cxn>
                <a:cxn ang="0">
                  <a:pos x="332" y="306"/>
                </a:cxn>
                <a:cxn ang="0">
                  <a:pos x="340" y="252"/>
                </a:cxn>
                <a:cxn ang="0">
                  <a:pos x="342" y="212"/>
                </a:cxn>
                <a:cxn ang="0">
                  <a:pos x="378" y="208"/>
                </a:cxn>
                <a:cxn ang="0">
                  <a:pos x="400" y="170"/>
                </a:cxn>
                <a:cxn ang="0">
                  <a:pos x="412" y="138"/>
                </a:cxn>
                <a:cxn ang="0">
                  <a:pos x="414" y="102"/>
                </a:cxn>
                <a:cxn ang="0">
                  <a:pos x="456" y="76"/>
                </a:cxn>
                <a:cxn ang="0">
                  <a:pos x="506" y="76"/>
                </a:cxn>
                <a:cxn ang="0">
                  <a:pos x="532" y="68"/>
                </a:cxn>
              </a:cxnLst>
              <a:rect l="0" t="0" r="r" b="b"/>
              <a:pathLst>
                <a:path w="540" h="432">
                  <a:moveTo>
                    <a:pt x="540" y="58"/>
                  </a:moveTo>
                  <a:lnTo>
                    <a:pt x="532" y="48"/>
                  </a:lnTo>
                  <a:lnTo>
                    <a:pt x="506" y="60"/>
                  </a:lnTo>
                  <a:lnTo>
                    <a:pt x="482" y="52"/>
                  </a:lnTo>
                  <a:lnTo>
                    <a:pt x="460" y="56"/>
                  </a:lnTo>
                  <a:lnTo>
                    <a:pt x="436" y="74"/>
                  </a:lnTo>
                  <a:lnTo>
                    <a:pt x="416" y="88"/>
                  </a:lnTo>
                  <a:lnTo>
                    <a:pt x="406" y="84"/>
                  </a:lnTo>
                  <a:lnTo>
                    <a:pt x="404" y="74"/>
                  </a:lnTo>
                  <a:lnTo>
                    <a:pt x="412" y="32"/>
                  </a:lnTo>
                  <a:lnTo>
                    <a:pt x="404" y="26"/>
                  </a:lnTo>
                  <a:lnTo>
                    <a:pt x="410" y="10"/>
                  </a:lnTo>
                  <a:lnTo>
                    <a:pt x="396" y="0"/>
                  </a:lnTo>
                  <a:lnTo>
                    <a:pt x="384" y="2"/>
                  </a:lnTo>
                  <a:lnTo>
                    <a:pt x="358" y="22"/>
                  </a:lnTo>
                  <a:lnTo>
                    <a:pt x="354" y="38"/>
                  </a:lnTo>
                  <a:lnTo>
                    <a:pt x="340" y="34"/>
                  </a:lnTo>
                  <a:lnTo>
                    <a:pt x="326" y="40"/>
                  </a:lnTo>
                  <a:lnTo>
                    <a:pt x="316" y="60"/>
                  </a:lnTo>
                  <a:lnTo>
                    <a:pt x="288" y="62"/>
                  </a:lnTo>
                  <a:lnTo>
                    <a:pt x="276" y="70"/>
                  </a:lnTo>
                  <a:lnTo>
                    <a:pt x="256" y="66"/>
                  </a:lnTo>
                  <a:lnTo>
                    <a:pt x="188" y="44"/>
                  </a:lnTo>
                  <a:lnTo>
                    <a:pt x="168" y="58"/>
                  </a:lnTo>
                  <a:lnTo>
                    <a:pt x="164" y="72"/>
                  </a:lnTo>
                  <a:lnTo>
                    <a:pt x="152" y="86"/>
                  </a:lnTo>
                  <a:lnTo>
                    <a:pt x="150" y="102"/>
                  </a:lnTo>
                  <a:lnTo>
                    <a:pt x="116" y="128"/>
                  </a:lnTo>
                  <a:lnTo>
                    <a:pt x="100" y="128"/>
                  </a:lnTo>
                  <a:lnTo>
                    <a:pt x="68" y="156"/>
                  </a:lnTo>
                  <a:lnTo>
                    <a:pt x="62" y="138"/>
                  </a:lnTo>
                  <a:lnTo>
                    <a:pt x="22" y="126"/>
                  </a:lnTo>
                  <a:lnTo>
                    <a:pt x="22" y="156"/>
                  </a:lnTo>
                  <a:lnTo>
                    <a:pt x="6" y="192"/>
                  </a:lnTo>
                  <a:lnTo>
                    <a:pt x="0" y="194"/>
                  </a:lnTo>
                  <a:lnTo>
                    <a:pt x="0" y="232"/>
                  </a:lnTo>
                  <a:lnTo>
                    <a:pt x="16" y="238"/>
                  </a:lnTo>
                  <a:lnTo>
                    <a:pt x="6" y="254"/>
                  </a:lnTo>
                  <a:lnTo>
                    <a:pt x="12" y="326"/>
                  </a:lnTo>
                  <a:lnTo>
                    <a:pt x="32" y="330"/>
                  </a:lnTo>
                  <a:lnTo>
                    <a:pt x="44" y="334"/>
                  </a:lnTo>
                  <a:lnTo>
                    <a:pt x="44" y="352"/>
                  </a:lnTo>
                  <a:lnTo>
                    <a:pt x="12" y="406"/>
                  </a:lnTo>
                  <a:lnTo>
                    <a:pt x="40" y="424"/>
                  </a:lnTo>
                  <a:lnTo>
                    <a:pt x="58" y="428"/>
                  </a:lnTo>
                  <a:lnTo>
                    <a:pt x="80" y="432"/>
                  </a:lnTo>
                  <a:lnTo>
                    <a:pt x="100" y="422"/>
                  </a:lnTo>
                  <a:lnTo>
                    <a:pt x="124" y="424"/>
                  </a:lnTo>
                  <a:lnTo>
                    <a:pt x="146" y="420"/>
                  </a:lnTo>
                  <a:lnTo>
                    <a:pt x="188" y="422"/>
                  </a:lnTo>
                  <a:lnTo>
                    <a:pt x="214" y="406"/>
                  </a:lnTo>
                  <a:lnTo>
                    <a:pt x="206" y="388"/>
                  </a:lnTo>
                  <a:lnTo>
                    <a:pt x="212" y="372"/>
                  </a:lnTo>
                  <a:lnTo>
                    <a:pt x="212" y="358"/>
                  </a:lnTo>
                  <a:lnTo>
                    <a:pt x="218" y="344"/>
                  </a:lnTo>
                  <a:lnTo>
                    <a:pt x="232" y="344"/>
                  </a:lnTo>
                  <a:lnTo>
                    <a:pt x="246" y="328"/>
                  </a:lnTo>
                  <a:lnTo>
                    <a:pt x="254" y="336"/>
                  </a:lnTo>
                  <a:lnTo>
                    <a:pt x="270" y="326"/>
                  </a:lnTo>
                  <a:lnTo>
                    <a:pt x="286" y="318"/>
                  </a:lnTo>
                  <a:lnTo>
                    <a:pt x="316" y="318"/>
                  </a:lnTo>
                  <a:lnTo>
                    <a:pt x="332" y="306"/>
                  </a:lnTo>
                  <a:lnTo>
                    <a:pt x="330" y="282"/>
                  </a:lnTo>
                  <a:lnTo>
                    <a:pt x="340" y="252"/>
                  </a:lnTo>
                  <a:lnTo>
                    <a:pt x="368" y="238"/>
                  </a:lnTo>
                  <a:lnTo>
                    <a:pt x="342" y="212"/>
                  </a:lnTo>
                  <a:lnTo>
                    <a:pt x="348" y="204"/>
                  </a:lnTo>
                  <a:lnTo>
                    <a:pt x="378" y="208"/>
                  </a:lnTo>
                  <a:lnTo>
                    <a:pt x="398" y="188"/>
                  </a:lnTo>
                  <a:lnTo>
                    <a:pt x="400" y="170"/>
                  </a:lnTo>
                  <a:lnTo>
                    <a:pt x="414" y="156"/>
                  </a:lnTo>
                  <a:lnTo>
                    <a:pt x="412" y="138"/>
                  </a:lnTo>
                  <a:lnTo>
                    <a:pt x="398" y="124"/>
                  </a:lnTo>
                  <a:lnTo>
                    <a:pt x="414" y="102"/>
                  </a:lnTo>
                  <a:lnTo>
                    <a:pt x="426" y="106"/>
                  </a:lnTo>
                  <a:lnTo>
                    <a:pt x="456" y="76"/>
                  </a:lnTo>
                  <a:lnTo>
                    <a:pt x="494" y="74"/>
                  </a:lnTo>
                  <a:lnTo>
                    <a:pt x="506" y="76"/>
                  </a:lnTo>
                  <a:lnTo>
                    <a:pt x="518" y="68"/>
                  </a:lnTo>
                  <a:lnTo>
                    <a:pt x="532" y="68"/>
                  </a:lnTo>
                  <a:lnTo>
                    <a:pt x="540" y="58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43" name="Albania">
              <a:extLst>
                <a:ext uri="{FF2B5EF4-FFF2-40B4-BE49-F238E27FC236}">
                  <a16:creationId xmlns="" xmlns:a16="http://schemas.microsoft.com/office/drawing/2014/main" id="{4C949392-7521-4741-99B2-388F7334C0E0}"/>
                </a:ext>
              </a:extLst>
            </p:cNvPr>
            <p:cNvSpPr>
              <a:spLocks/>
            </p:cNvSpPr>
            <p:nvPr/>
          </p:nvSpPr>
          <p:spPr bwMode="gray">
            <a:xfrm>
              <a:off x="6400336" y="3060232"/>
              <a:ext cx="54664" cy="127826"/>
            </a:xfrm>
            <a:custGeom>
              <a:avLst/>
              <a:gdLst/>
              <a:ahLst/>
              <a:cxnLst>
                <a:cxn ang="0">
                  <a:pos x="52" y="64"/>
                </a:cxn>
                <a:cxn ang="0">
                  <a:pos x="54" y="78"/>
                </a:cxn>
                <a:cxn ang="0">
                  <a:pos x="62" y="84"/>
                </a:cxn>
                <a:cxn ang="0">
                  <a:pos x="68" y="92"/>
                </a:cxn>
                <a:cxn ang="0">
                  <a:pos x="68" y="110"/>
                </a:cxn>
                <a:cxn ang="0">
                  <a:pos x="54" y="118"/>
                </a:cxn>
                <a:cxn ang="0">
                  <a:pos x="42" y="134"/>
                </a:cxn>
                <a:cxn ang="0">
                  <a:pos x="42" y="144"/>
                </a:cxn>
                <a:cxn ang="0">
                  <a:pos x="30" y="156"/>
                </a:cxn>
                <a:cxn ang="0">
                  <a:pos x="18" y="142"/>
                </a:cxn>
                <a:cxn ang="0">
                  <a:pos x="2" y="120"/>
                </a:cxn>
                <a:cxn ang="0">
                  <a:pos x="2" y="108"/>
                </a:cxn>
                <a:cxn ang="0">
                  <a:pos x="6" y="100"/>
                </a:cxn>
                <a:cxn ang="0">
                  <a:pos x="4" y="74"/>
                </a:cxn>
                <a:cxn ang="0">
                  <a:pos x="6" y="58"/>
                </a:cxn>
                <a:cxn ang="0">
                  <a:pos x="6" y="36"/>
                </a:cxn>
                <a:cxn ang="0">
                  <a:pos x="0" y="32"/>
                </a:cxn>
                <a:cxn ang="0">
                  <a:pos x="2" y="14"/>
                </a:cxn>
                <a:cxn ang="0">
                  <a:pos x="14" y="0"/>
                </a:cxn>
                <a:cxn ang="0">
                  <a:pos x="26" y="8"/>
                </a:cxn>
                <a:cxn ang="0">
                  <a:pos x="38" y="10"/>
                </a:cxn>
                <a:cxn ang="0">
                  <a:pos x="44" y="44"/>
                </a:cxn>
                <a:cxn ang="0">
                  <a:pos x="52" y="64"/>
                </a:cxn>
              </a:cxnLst>
              <a:rect l="0" t="0" r="r" b="b"/>
              <a:pathLst>
                <a:path w="68" h="156">
                  <a:moveTo>
                    <a:pt x="52" y="64"/>
                  </a:moveTo>
                  <a:lnTo>
                    <a:pt x="54" y="78"/>
                  </a:lnTo>
                  <a:lnTo>
                    <a:pt x="62" y="84"/>
                  </a:lnTo>
                  <a:lnTo>
                    <a:pt x="68" y="92"/>
                  </a:lnTo>
                  <a:lnTo>
                    <a:pt x="68" y="110"/>
                  </a:lnTo>
                  <a:lnTo>
                    <a:pt x="54" y="118"/>
                  </a:lnTo>
                  <a:lnTo>
                    <a:pt x="42" y="134"/>
                  </a:lnTo>
                  <a:lnTo>
                    <a:pt x="42" y="144"/>
                  </a:lnTo>
                  <a:lnTo>
                    <a:pt x="30" y="156"/>
                  </a:lnTo>
                  <a:lnTo>
                    <a:pt x="18" y="142"/>
                  </a:lnTo>
                  <a:lnTo>
                    <a:pt x="2" y="120"/>
                  </a:lnTo>
                  <a:lnTo>
                    <a:pt x="2" y="108"/>
                  </a:lnTo>
                  <a:lnTo>
                    <a:pt x="6" y="100"/>
                  </a:lnTo>
                  <a:lnTo>
                    <a:pt x="4" y="74"/>
                  </a:lnTo>
                  <a:lnTo>
                    <a:pt x="6" y="58"/>
                  </a:lnTo>
                  <a:lnTo>
                    <a:pt x="6" y="36"/>
                  </a:lnTo>
                  <a:lnTo>
                    <a:pt x="0" y="32"/>
                  </a:lnTo>
                  <a:lnTo>
                    <a:pt x="2" y="14"/>
                  </a:lnTo>
                  <a:lnTo>
                    <a:pt x="14" y="0"/>
                  </a:lnTo>
                  <a:lnTo>
                    <a:pt x="26" y="8"/>
                  </a:lnTo>
                  <a:lnTo>
                    <a:pt x="38" y="10"/>
                  </a:lnTo>
                  <a:lnTo>
                    <a:pt x="44" y="44"/>
                  </a:lnTo>
                  <a:lnTo>
                    <a:pt x="52" y="64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44" name="Algeria">
              <a:extLst>
                <a:ext uri="{FF2B5EF4-FFF2-40B4-BE49-F238E27FC236}">
                  <a16:creationId xmlns="" xmlns:a16="http://schemas.microsoft.com/office/drawing/2014/main" id="{01E11216-BF4D-4E0B-B504-B3EBCDF775B0}"/>
                </a:ext>
              </a:extLst>
            </p:cNvPr>
            <p:cNvSpPr>
              <a:spLocks/>
            </p:cNvSpPr>
            <p:nvPr/>
          </p:nvSpPr>
          <p:spPr bwMode="gray">
            <a:xfrm>
              <a:off x="5535464" y="3282453"/>
              <a:ext cx="652070" cy="662731"/>
            </a:xfrm>
            <a:custGeom>
              <a:avLst/>
              <a:gdLst/>
              <a:ahLst/>
              <a:cxnLst>
                <a:cxn ang="0">
                  <a:pos x="362" y="723"/>
                </a:cxn>
                <a:cxn ang="0">
                  <a:pos x="374" y="743"/>
                </a:cxn>
                <a:cxn ang="0">
                  <a:pos x="388" y="743"/>
                </a:cxn>
                <a:cxn ang="0">
                  <a:pos x="412" y="763"/>
                </a:cxn>
                <a:cxn ang="0">
                  <a:pos x="426" y="755"/>
                </a:cxn>
                <a:cxn ang="0">
                  <a:pos x="452" y="769"/>
                </a:cxn>
                <a:cxn ang="0">
                  <a:pos x="454" y="803"/>
                </a:cxn>
                <a:cxn ang="0">
                  <a:pos x="466" y="809"/>
                </a:cxn>
                <a:cxn ang="0">
                  <a:pos x="492" y="803"/>
                </a:cxn>
                <a:cxn ang="0">
                  <a:pos x="580" y="769"/>
                </a:cxn>
                <a:cxn ang="0">
                  <a:pos x="800" y="627"/>
                </a:cxn>
                <a:cxn ang="0">
                  <a:pos x="772" y="587"/>
                </a:cxn>
                <a:cxn ang="0">
                  <a:pos x="748" y="569"/>
                </a:cxn>
                <a:cxn ang="0">
                  <a:pos x="728" y="569"/>
                </a:cxn>
                <a:cxn ang="0">
                  <a:pos x="712" y="555"/>
                </a:cxn>
                <a:cxn ang="0">
                  <a:pos x="718" y="547"/>
                </a:cxn>
                <a:cxn ang="0">
                  <a:pos x="696" y="509"/>
                </a:cxn>
                <a:cxn ang="0">
                  <a:pos x="714" y="487"/>
                </a:cxn>
                <a:cxn ang="0">
                  <a:pos x="706" y="467"/>
                </a:cxn>
                <a:cxn ang="0">
                  <a:pos x="712" y="439"/>
                </a:cxn>
                <a:cxn ang="0">
                  <a:pos x="704" y="346"/>
                </a:cxn>
                <a:cxn ang="0">
                  <a:pos x="684" y="252"/>
                </a:cxn>
                <a:cxn ang="0">
                  <a:pos x="656" y="234"/>
                </a:cxn>
                <a:cxn ang="0">
                  <a:pos x="654" y="218"/>
                </a:cxn>
                <a:cxn ang="0">
                  <a:pos x="628" y="198"/>
                </a:cxn>
                <a:cxn ang="0">
                  <a:pos x="614" y="158"/>
                </a:cxn>
                <a:cxn ang="0">
                  <a:pos x="620" y="144"/>
                </a:cxn>
                <a:cxn ang="0">
                  <a:pos x="648" y="106"/>
                </a:cxn>
                <a:cxn ang="0">
                  <a:pos x="648" y="30"/>
                </a:cxn>
                <a:cxn ang="0">
                  <a:pos x="654" y="10"/>
                </a:cxn>
                <a:cxn ang="0">
                  <a:pos x="624" y="12"/>
                </a:cxn>
                <a:cxn ang="0">
                  <a:pos x="606" y="0"/>
                </a:cxn>
                <a:cxn ang="0">
                  <a:pos x="598" y="10"/>
                </a:cxn>
                <a:cxn ang="0">
                  <a:pos x="572" y="10"/>
                </a:cxn>
                <a:cxn ang="0">
                  <a:pos x="560" y="18"/>
                </a:cxn>
                <a:cxn ang="0">
                  <a:pos x="544" y="20"/>
                </a:cxn>
                <a:cxn ang="0">
                  <a:pos x="534" y="28"/>
                </a:cxn>
                <a:cxn ang="0">
                  <a:pos x="516" y="18"/>
                </a:cxn>
                <a:cxn ang="0">
                  <a:pos x="492" y="14"/>
                </a:cxn>
                <a:cxn ang="0">
                  <a:pos x="438" y="32"/>
                </a:cxn>
                <a:cxn ang="0">
                  <a:pos x="368" y="42"/>
                </a:cxn>
                <a:cxn ang="0">
                  <a:pos x="320" y="78"/>
                </a:cxn>
                <a:cxn ang="0">
                  <a:pos x="288" y="86"/>
                </a:cxn>
                <a:cxn ang="0">
                  <a:pos x="260" y="102"/>
                </a:cxn>
                <a:cxn ang="0">
                  <a:pos x="244" y="104"/>
                </a:cxn>
                <a:cxn ang="0">
                  <a:pos x="254" y="138"/>
                </a:cxn>
                <a:cxn ang="0">
                  <a:pos x="254" y="174"/>
                </a:cxn>
                <a:cxn ang="0">
                  <a:pos x="264" y="204"/>
                </a:cxn>
                <a:cxn ang="0">
                  <a:pos x="282" y="220"/>
                </a:cxn>
                <a:cxn ang="0">
                  <a:pos x="274" y="246"/>
                </a:cxn>
                <a:cxn ang="0">
                  <a:pos x="230" y="240"/>
                </a:cxn>
                <a:cxn ang="0">
                  <a:pos x="214" y="256"/>
                </a:cxn>
                <a:cxn ang="0">
                  <a:pos x="214" y="276"/>
                </a:cxn>
                <a:cxn ang="0">
                  <a:pos x="106" y="356"/>
                </a:cxn>
                <a:cxn ang="0">
                  <a:pos x="94" y="373"/>
                </a:cxn>
                <a:cxn ang="0">
                  <a:pos x="64" y="377"/>
                </a:cxn>
                <a:cxn ang="0">
                  <a:pos x="20" y="397"/>
                </a:cxn>
                <a:cxn ang="0">
                  <a:pos x="0" y="421"/>
                </a:cxn>
                <a:cxn ang="0">
                  <a:pos x="0" y="439"/>
                </a:cxn>
                <a:cxn ang="0">
                  <a:pos x="0" y="465"/>
                </a:cxn>
                <a:cxn ang="0">
                  <a:pos x="134" y="559"/>
                </a:cxn>
                <a:cxn ang="0">
                  <a:pos x="362" y="723"/>
                </a:cxn>
              </a:cxnLst>
              <a:rect l="0" t="0" r="r" b="b"/>
              <a:pathLst>
                <a:path w="800" h="809">
                  <a:moveTo>
                    <a:pt x="362" y="723"/>
                  </a:moveTo>
                  <a:lnTo>
                    <a:pt x="374" y="743"/>
                  </a:lnTo>
                  <a:lnTo>
                    <a:pt x="388" y="743"/>
                  </a:lnTo>
                  <a:lnTo>
                    <a:pt x="412" y="763"/>
                  </a:lnTo>
                  <a:lnTo>
                    <a:pt x="426" y="755"/>
                  </a:lnTo>
                  <a:lnTo>
                    <a:pt x="452" y="769"/>
                  </a:lnTo>
                  <a:lnTo>
                    <a:pt x="454" y="803"/>
                  </a:lnTo>
                  <a:lnTo>
                    <a:pt x="466" y="809"/>
                  </a:lnTo>
                  <a:lnTo>
                    <a:pt x="492" y="803"/>
                  </a:lnTo>
                  <a:lnTo>
                    <a:pt x="580" y="769"/>
                  </a:lnTo>
                  <a:lnTo>
                    <a:pt x="800" y="627"/>
                  </a:lnTo>
                  <a:lnTo>
                    <a:pt x="772" y="587"/>
                  </a:lnTo>
                  <a:lnTo>
                    <a:pt x="748" y="569"/>
                  </a:lnTo>
                  <a:lnTo>
                    <a:pt x="728" y="569"/>
                  </a:lnTo>
                  <a:lnTo>
                    <a:pt x="712" y="555"/>
                  </a:lnTo>
                  <a:lnTo>
                    <a:pt x="718" y="547"/>
                  </a:lnTo>
                  <a:lnTo>
                    <a:pt x="696" y="509"/>
                  </a:lnTo>
                  <a:lnTo>
                    <a:pt x="714" y="487"/>
                  </a:lnTo>
                  <a:lnTo>
                    <a:pt x="706" y="467"/>
                  </a:lnTo>
                  <a:lnTo>
                    <a:pt x="712" y="439"/>
                  </a:lnTo>
                  <a:lnTo>
                    <a:pt x="704" y="346"/>
                  </a:lnTo>
                  <a:lnTo>
                    <a:pt x="684" y="252"/>
                  </a:lnTo>
                  <a:lnTo>
                    <a:pt x="656" y="234"/>
                  </a:lnTo>
                  <a:lnTo>
                    <a:pt x="654" y="218"/>
                  </a:lnTo>
                  <a:lnTo>
                    <a:pt x="628" y="198"/>
                  </a:lnTo>
                  <a:lnTo>
                    <a:pt x="614" y="158"/>
                  </a:lnTo>
                  <a:lnTo>
                    <a:pt x="620" y="144"/>
                  </a:lnTo>
                  <a:lnTo>
                    <a:pt x="648" y="106"/>
                  </a:lnTo>
                  <a:lnTo>
                    <a:pt x="648" y="30"/>
                  </a:lnTo>
                  <a:lnTo>
                    <a:pt x="654" y="10"/>
                  </a:lnTo>
                  <a:lnTo>
                    <a:pt x="624" y="12"/>
                  </a:lnTo>
                  <a:lnTo>
                    <a:pt x="606" y="0"/>
                  </a:lnTo>
                  <a:lnTo>
                    <a:pt x="598" y="10"/>
                  </a:lnTo>
                  <a:lnTo>
                    <a:pt x="572" y="10"/>
                  </a:lnTo>
                  <a:lnTo>
                    <a:pt x="560" y="18"/>
                  </a:lnTo>
                  <a:lnTo>
                    <a:pt x="544" y="20"/>
                  </a:lnTo>
                  <a:lnTo>
                    <a:pt x="534" y="28"/>
                  </a:lnTo>
                  <a:lnTo>
                    <a:pt x="516" y="18"/>
                  </a:lnTo>
                  <a:lnTo>
                    <a:pt x="492" y="14"/>
                  </a:lnTo>
                  <a:lnTo>
                    <a:pt x="438" y="32"/>
                  </a:lnTo>
                  <a:lnTo>
                    <a:pt x="368" y="42"/>
                  </a:lnTo>
                  <a:lnTo>
                    <a:pt x="320" y="78"/>
                  </a:lnTo>
                  <a:lnTo>
                    <a:pt x="288" y="86"/>
                  </a:lnTo>
                  <a:lnTo>
                    <a:pt x="260" y="102"/>
                  </a:lnTo>
                  <a:lnTo>
                    <a:pt x="244" y="104"/>
                  </a:lnTo>
                  <a:lnTo>
                    <a:pt x="254" y="138"/>
                  </a:lnTo>
                  <a:lnTo>
                    <a:pt x="254" y="174"/>
                  </a:lnTo>
                  <a:lnTo>
                    <a:pt x="264" y="204"/>
                  </a:lnTo>
                  <a:lnTo>
                    <a:pt x="282" y="220"/>
                  </a:lnTo>
                  <a:lnTo>
                    <a:pt x="274" y="246"/>
                  </a:lnTo>
                  <a:lnTo>
                    <a:pt x="230" y="240"/>
                  </a:lnTo>
                  <a:lnTo>
                    <a:pt x="214" y="256"/>
                  </a:lnTo>
                  <a:lnTo>
                    <a:pt x="214" y="276"/>
                  </a:lnTo>
                  <a:lnTo>
                    <a:pt x="106" y="356"/>
                  </a:lnTo>
                  <a:lnTo>
                    <a:pt x="94" y="373"/>
                  </a:lnTo>
                  <a:lnTo>
                    <a:pt x="64" y="377"/>
                  </a:lnTo>
                  <a:lnTo>
                    <a:pt x="20" y="397"/>
                  </a:lnTo>
                  <a:lnTo>
                    <a:pt x="0" y="421"/>
                  </a:lnTo>
                  <a:lnTo>
                    <a:pt x="0" y="439"/>
                  </a:lnTo>
                  <a:lnTo>
                    <a:pt x="0" y="465"/>
                  </a:lnTo>
                  <a:lnTo>
                    <a:pt x="134" y="559"/>
                  </a:lnTo>
                  <a:lnTo>
                    <a:pt x="362" y="723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45" name="Andorra">
              <a:extLst>
                <a:ext uri="{FF2B5EF4-FFF2-40B4-BE49-F238E27FC236}">
                  <a16:creationId xmlns="" xmlns:a16="http://schemas.microsoft.com/office/drawing/2014/main" id="{D8B9B229-3B16-4360-831E-9454327EEB60}"/>
                </a:ext>
              </a:extLst>
            </p:cNvPr>
            <p:cNvSpPr>
              <a:spLocks/>
            </p:cNvSpPr>
            <p:nvPr/>
          </p:nvSpPr>
          <p:spPr bwMode="gray">
            <a:xfrm>
              <a:off x="5845881" y="3052368"/>
              <a:ext cx="23427" cy="19666"/>
            </a:xfrm>
            <a:custGeom>
              <a:avLst/>
              <a:gdLst/>
              <a:ahLst/>
              <a:cxnLst>
                <a:cxn ang="0">
                  <a:pos x="26" y="16"/>
                </a:cxn>
                <a:cxn ang="0">
                  <a:pos x="22" y="6"/>
                </a:cxn>
                <a:cxn ang="0">
                  <a:pos x="4" y="0"/>
                </a:cxn>
                <a:cxn ang="0">
                  <a:pos x="4" y="8"/>
                </a:cxn>
                <a:cxn ang="0">
                  <a:pos x="0" y="18"/>
                </a:cxn>
                <a:cxn ang="0">
                  <a:pos x="14" y="26"/>
                </a:cxn>
                <a:cxn ang="0">
                  <a:pos x="26" y="16"/>
                </a:cxn>
              </a:cxnLst>
              <a:rect l="0" t="0" r="r" b="b"/>
              <a:pathLst>
                <a:path w="26" h="26">
                  <a:moveTo>
                    <a:pt x="26" y="16"/>
                  </a:moveTo>
                  <a:lnTo>
                    <a:pt x="22" y="6"/>
                  </a:lnTo>
                  <a:lnTo>
                    <a:pt x="4" y="0"/>
                  </a:lnTo>
                  <a:lnTo>
                    <a:pt x="4" y="8"/>
                  </a:lnTo>
                  <a:lnTo>
                    <a:pt x="0" y="18"/>
                  </a:lnTo>
                  <a:lnTo>
                    <a:pt x="14" y="26"/>
                  </a:lnTo>
                  <a:lnTo>
                    <a:pt x="26" y="16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46" name="Angola">
              <a:extLst>
                <a:ext uri="{FF2B5EF4-FFF2-40B4-BE49-F238E27FC236}">
                  <a16:creationId xmlns="" xmlns:a16="http://schemas.microsoft.com/office/drawing/2014/main" id="{8A2E2508-0D3F-4DBF-BA0B-9B189DE7D02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162155" y="4704277"/>
              <a:ext cx="394366" cy="440509"/>
            </a:xfrm>
            <a:custGeom>
              <a:avLst/>
              <a:gdLst/>
              <a:ahLst/>
              <a:cxnLst>
                <a:cxn ang="0">
                  <a:pos x="22" y="64"/>
                </a:cxn>
                <a:cxn ang="0">
                  <a:pos x="62" y="54"/>
                </a:cxn>
                <a:cxn ang="0">
                  <a:pos x="198" y="54"/>
                </a:cxn>
                <a:cxn ang="0">
                  <a:pos x="214" y="118"/>
                </a:cxn>
                <a:cxn ang="0">
                  <a:pos x="296" y="144"/>
                </a:cxn>
                <a:cxn ang="0">
                  <a:pos x="349" y="104"/>
                </a:cxn>
                <a:cxn ang="0">
                  <a:pos x="397" y="116"/>
                </a:cxn>
                <a:cxn ang="0">
                  <a:pos x="409" y="224"/>
                </a:cxn>
                <a:cxn ang="0">
                  <a:pos x="479" y="252"/>
                </a:cxn>
                <a:cxn ang="0">
                  <a:pos x="479" y="334"/>
                </a:cxn>
                <a:cxn ang="0">
                  <a:pos x="405" y="351"/>
                </a:cxn>
                <a:cxn ang="0">
                  <a:pos x="427" y="489"/>
                </a:cxn>
                <a:cxn ang="0">
                  <a:pos x="377" y="535"/>
                </a:cxn>
                <a:cxn ang="0">
                  <a:pos x="314" y="537"/>
                </a:cxn>
                <a:cxn ang="0">
                  <a:pos x="262" y="509"/>
                </a:cxn>
                <a:cxn ang="0">
                  <a:pos x="92" y="519"/>
                </a:cxn>
                <a:cxn ang="0">
                  <a:pos x="56" y="499"/>
                </a:cxn>
                <a:cxn ang="0">
                  <a:pos x="6" y="509"/>
                </a:cxn>
                <a:cxn ang="0">
                  <a:pos x="6" y="483"/>
                </a:cxn>
                <a:cxn ang="0">
                  <a:pos x="0" y="445"/>
                </a:cxn>
                <a:cxn ang="0">
                  <a:pos x="10" y="411"/>
                </a:cxn>
                <a:cxn ang="0">
                  <a:pos x="30" y="359"/>
                </a:cxn>
                <a:cxn ang="0">
                  <a:pos x="46" y="322"/>
                </a:cxn>
                <a:cxn ang="0">
                  <a:pos x="70" y="310"/>
                </a:cxn>
                <a:cxn ang="0">
                  <a:pos x="84" y="252"/>
                </a:cxn>
                <a:cxn ang="0">
                  <a:pos x="62" y="200"/>
                </a:cxn>
                <a:cxn ang="0">
                  <a:pos x="56" y="176"/>
                </a:cxn>
                <a:cxn ang="0">
                  <a:pos x="68" y="152"/>
                </a:cxn>
                <a:cxn ang="0">
                  <a:pos x="36" y="94"/>
                </a:cxn>
                <a:cxn ang="0">
                  <a:pos x="32" y="46"/>
                </a:cxn>
                <a:cxn ang="0">
                  <a:pos x="48" y="28"/>
                </a:cxn>
                <a:cxn ang="0">
                  <a:pos x="46" y="0"/>
                </a:cxn>
                <a:cxn ang="0">
                  <a:pos x="12" y="30"/>
                </a:cxn>
                <a:cxn ang="0">
                  <a:pos x="18" y="52"/>
                </a:cxn>
              </a:cxnLst>
              <a:rect l="0" t="0" r="r" b="b"/>
              <a:pathLst>
                <a:path w="483" h="539">
                  <a:moveTo>
                    <a:pt x="36" y="94"/>
                  </a:moveTo>
                  <a:lnTo>
                    <a:pt x="22" y="64"/>
                  </a:lnTo>
                  <a:lnTo>
                    <a:pt x="44" y="56"/>
                  </a:lnTo>
                  <a:lnTo>
                    <a:pt x="62" y="54"/>
                  </a:lnTo>
                  <a:lnTo>
                    <a:pt x="142" y="56"/>
                  </a:lnTo>
                  <a:lnTo>
                    <a:pt x="198" y="54"/>
                  </a:lnTo>
                  <a:lnTo>
                    <a:pt x="210" y="98"/>
                  </a:lnTo>
                  <a:lnTo>
                    <a:pt x="214" y="118"/>
                  </a:lnTo>
                  <a:lnTo>
                    <a:pt x="234" y="148"/>
                  </a:lnTo>
                  <a:lnTo>
                    <a:pt x="296" y="144"/>
                  </a:lnTo>
                  <a:lnTo>
                    <a:pt x="306" y="108"/>
                  </a:lnTo>
                  <a:lnTo>
                    <a:pt x="349" y="104"/>
                  </a:lnTo>
                  <a:lnTo>
                    <a:pt x="349" y="116"/>
                  </a:lnTo>
                  <a:lnTo>
                    <a:pt x="397" y="116"/>
                  </a:lnTo>
                  <a:lnTo>
                    <a:pt x="395" y="196"/>
                  </a:lnTo>
                  <a:lnTo>
                    <a:pt x="409" y="224"/>
                  </a:lnTo>
                  <a:lnTo>
                    <a:pt x="409" y="262"/>
                  </a:lnTo>
                  <a:lnTo>
                    <a:pt x="479" y="252"/>
                  </a:lnTo>
                  <a:lnTo>
                    <a:pt x="483" y="320"/>
                  </a:lnTo>
                  <a:lnTo>
                    <a:pt x="479" y="334"/>
                  </a:lnTo>
                  <a:lnTo>
                    <a:pt x="479" y="351"/>
                  </a:lnTo>
                  <a:lnTo>
                    <a:pt x="405" y="351"/>
                  </a:lnTo>
                  <a:lnTo>
                    <a:pt x="405" y="467"/>
                  </a:lnTo>
                  <a:lnTo>
                    <a:pt x="427" y="489"/>
                  </a:lnTo>
                  <a:lnTo>
                    <a:pt x="447" y="519"/>
                  </a:lnTo>
                  <a:lnTo>
                    <a:pt x="377" y="535"/>
                  </a:lnTo>
                  <a:lnTo>
                    <a:pt x="331" y="539"/>
                  </a:lnTo>
                  <a:lnTo>
                    <a:pt x="314" y="537"/>
                  </a:lnTo>
                  <a:lnTo>
                    <a:pt x="286" y="527"/>
                  </a:lnTo>
                  <a:lnTo>
                    <a:pt x="262" y="509"/>
                  </a:lnTo>
                  <a:lnTo>
                    <a:pt x="108" y="513"/>
                  </a:lnTo>
                  <a:lnTo>
                    <a:pt x="92" y="519"/>
                  </a:lnTo>
                  <a:lnTo>
                    <a:pt x="70" y="501"/>
                  </a:lnTo>
                  <a:lnTo>
                    <a:pt x="56" y="499"/>
                  </a:lnTo>
                  <a:lnTo>
                    <a:pt x="30" y="503"/>
                  </a:lnTo>
                  <a:lnTo>
                    <a:pt x="6" y="509"/>
                  </a:lnTo>
                  <a:lnTo>
                    <a:pt x="0" y="491"/>
                  </a:lnTo>
                  <a:lnTo>
                    <a:pt x="6" y="483"/>
                  </a:lnTo>
                  <a:lnTo>
                    <a:pt x="4" y="457"/>
                  </a:lnTo>
                  <a:lnTo>
                    <a:pt x="0" y="445"/>
                  </a:lnTo>
                  <a:lnTo>
                    <a:pt x="10" y="427"/>
                  </a:lnTo>
                  <a:lnTo>
                    <a:pt x="10" y="411"/>
                  </a:lnTo>
                  <a:lnTo>
                    <a:pt x="26" y="375"/>
                  </a:lnTo>
                  <a:lnTo>
                    <a:pt x="30" y="359"/>
                  </a:lnTo>
                  <a:lnTo>
                    <a:pt x="54" y="324"/>
                  </a:lnTo>
                  <a:lnTo>
                    <a:pt x="46" y="322"/>
                  </a:lnTo>
                  <a:lnTo>
                    <a:pt x="56" y="312"/>
                  </a:lnTo>
                  <a:lnTo>
                    <a:pt x="70" y="310"/>
                  </a:lnTo>
                  <a:lnTo>
                    <a:pt x="86" y="284"/>
                  </a:lnTo>
                  <a:lnTo>
                    <a:pt x="84" y="252"/>
                  </a:lnTo>
                  <a:lnTo>
                    <a:pt x="66" y="214"/>
                  </a:lnTo>
                  <a:lnTo>
                    <a:pt x="62" y="200"/>
                  </a:lnTo>
                  <a:lnTo>
                    <a:pt x="54" y="192"/>
                  </a:lnTo>
                  <a:lnTo>
                    <a:pt x="56" y="176"/>
                  </a:lnTo>
                  <a:lnTo>
                    <a:pt x="70" y="166"/>
                  </a:lnTo>
                  <a:lnTo>
                    <a:pt x="68" y="152"/>
                  </a:lnTo>
                  <a:lnTo>
                    <a:pt x="58" y="144"/>
                  </a:lnTo>
                  <a:lnTo>
                    <a:pt x="36" y="94"/>
                  </a:lnTo>
                  <a:close/>
                  <a:moveTo>
                    <a:pt x="18" y="52"/>
                  </a:moveTo>
                  <a:lnTo>
                    <a:pt x="32" y="46"/>
                  </a:lnTo>
                  <a:lnTo>
                    <a:pt x="34" y="30"/>
                  </a:lnTo>
                  <a:lnTo>
                    <a:pt x="48" y="28"/>
                  </a:lnTo>
                  <a:lnTo>
                    <a:pt x="60" y="12"/>
                  </a:lnTo>
                  <a:lnTo>
                    <a:pt x="46" y="0"/>
                  </a:lnTo>
                  <a:lnTo>
                    <a:pt x="28" y="18"/>
                  </a:lnTo>
                  <a:lnTo>
                    <a:pt x="12" y="30"/>
                  </a:lnTo>
                  <a:lnTo>
                    <a:pt x="12" y="40"/>
                  </a:lnTo>
                  <a:lnTo>
                    <a:pt x="18" y="52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47" name="Argentina">
              <a:extLst>
                <a:ext uri="{FF2B5EF4-FFF2-40B4-BE49-F238E27FC236}">
                  <a16:creationId xmlns="" xmlns:a16="http://schemas.microsoft.com/office/drawing/2014/main" id="{BC9C0061-41A6-454D-8EDC-C0A7A0DCF1FA}"/>
                </a:ext>
              </a:extLst>
            </p:cNvPr>
            <p:cNvSpPr>
              <a:spLocks noChangeAspect="1" noEditPoints="1"/>
            </p:cNvSpPr>
            <p:nvPr/>
          </p:nvSpPr>
          <p:spPr bwMode="gray">
            <a:xfrm>
              <a:off x="3425024" y="5327676"/>
              <a:ext cx="620831" cy="1400191"/>
            </a:xfrm>
            <a:custGeom>
              <a:avLst/>
              <a:gdLst/>
              <a:ahLst/>
              <a:cxnLst>
                <a:cxn ang="0">
                  <a:pos x="296" y="16"/>
                </a:cxn>
                <a:cxn ang="0">
                  <a:pos x="407" y="28"/>
                </a:cxn>
                <a:cxn ang="0">
                  <a:pos x="501" y="42"/>
                </a:cxn>
                <a:cxn ang="0">
                  <a:pos x="600" y="128"/>
                </a:cxn>
                <a:cxn ang="0">
                  <a:pos x="730" y="172"/>
                </a:cxn>
                <a:cxn ang="0">
                  <a:pos x="735" y="286"/>
                </a:cxn>
                <a:cxn ang="0">
                  <a:pos x="851" y="234"/>
                </a:cxn>
                <a:cxn ang="0">
                  <a:pos x="903" y="234"/>
                </a:cxn>
                <a:cxn ang="0">
                  <a:pos x="818" y="342"/>
                </a:cxn>
                <a:cxn ang="0">
                  <a:pos x="735" y="432"/>
                </a:cxn>
                <a:cxn ang="0">
                  <a:pos x="699" y="595"/>
                </a:cxn>
                <a:cxn ang="0">
                  <a:pos x="756" y="716"/>
                </a:cxn>
                <a:cxn ang="0">
                  <a:pos x="773" y="782"/>
                </a:cxn>
                <a:cxn ang="0">
                  <a:pos x="725" y="895"/>
                </a:cxn>
                <a:cxn ang="0">
                  <a:pos x="553" y="935"/>
                </a:cxn>
                <a:cxn ang="0">
                  <a:pos x="532" y="968"/>
                </a:cxn>
                <a:cxn ang="0">
                  <a:pos x="529" y="1027"/>
                </a:cxn>
                <a:cxn ang="0">
                  <a:pos x="454" y="1068"/>
                </a:cxn>
                <a:cxn ang="0">
                  <a:pos x="397" y="1039"/>
                </a:cxn>
                <a:cxn ang="0">
                  <a:pos x="418" y="1138"/>
                </a:cxn>
                <a:cxn ang="0">
                  <a:pos x="433" y="1129"/>
                </a:cxn>
                <a:cxn ang="0">
                  <a:pos x="468" y="1131"/>
                </a:cxn>
                <a:cxn ang="0">
                  <a:pos x="437" y="1150"/>
                </a:cxn>
                <a:cxn ang="0">
                  <a:pos x="414" y="1174"/>
                </a:cxn>
                <a:cxn ang="0">
                  <a:pos x="395" y="1221"/>
                </a:cxn>
                <a:cxn ang="0">
                  <a:pos x="369" y="1308"/>
                </a:cxn>
                <a:cxn ang="0">
                  <a:pos x="312" y="1323"/>
                </a:cxn>
                <a:cxn ang="0">
                  <a:pos x="288" y="1410"/>
                </a:cxn>
                <a:cxn ang="0">
                  <a:pos x="355" y="1445"/>
                </a:cxn>
                <a:cxn ang="0">
                  <a:pos x="366" y="1500"/>
                </a:cxn>
                <a:cxn ang="0">
                  <a:pos x="274" y="1597"/>
                </a:cxn>
                <a:cxn ang="0">
                  <a:pos x="251" y="1644"/>
                </a:cxn>
                <a:cxn ang="0">
                  <a:pos x="246" y="1649"/>
                </a:cxn>
                <a:cxn ang="0">
                  <a:pos x="215" y="1741"/>
                </a:cxn>
                <a:cxn ang="0">
                  <a:pos x="227" y="1778"/>
                </a:cxn>
                <a:cxn ang="0">
                  <a:pos x="220" y="1795"/>
                </a:cxn>
                <a:cxn ang="0">
                  <a:pos x="55" y="1726"/>
                </a:cxn>
                <a:cxn ang="0">
                  <a:pos x="14" y="1682"/>
                </a:cxn>
                <a:cxn ang="0">
                  <a:pos x="38" y="1566"/>
                </a:cxn>
                <a:cxn ang="0">
                  <a:pos x="50" y="1478"/>
                </a:cxn>
                <a:cxn ang="0">
                  <a:pos x="92" y="1367"/>
                </a:cxn>
                <a:cxn ang="0">
                  <a:pos x="100" y="1306"/>
                </a:cxn>
                <a:cxn ang="0">
                  <a:pos x="116" y="1292"/>
                </a:cxn>
                <a:cxn ang="0">
                  <a:pos x="85" y="1181"/>
                </a:cxn>
                <a:cxn ang="0">
                  <a:pos x="90" y="1094"/>
                </a:cxn>
                <a:cxn ang="0">
                  <a:pos x="102" y="957"/>
                </a:cxn>
                <a:cxn ang="0">
                  <a:pos x="123" y="841"/>
                </a:cxn>
                <a:cxn ang="0">
                  <a:pos x="149" y="758"/>
                </a:cxn>
                <a:cxn ang="0">
                  <a:pos x="170" y="574"/>
                </a:cxn>
                <a:cxn ang="0">
                  <a:pos x="159" y="465"/>
                </a:cxn>
                <a:cxn ang="0">
                  <a:pos x="180" y="378"/>
                </a:cxn>
                <a:cxn ang="0">
                  <a:pos x="229" y="293"/>
                </a:cxn>
                <a:cxn ang="0">
                  <a:pos x="234" y="196"/>
                </a:cxn>
                <a:cxn ang="0">
                  <a:pos x="281" y="125"/>
                </a:cxn>
                <a:cxn ang="0">
                  <a:pos x="284" y="2008"/>
                </a:cxn>
                <a:cxn ang="0">
                  <a:pos x="362" y="2019"/>
                </a:cxn>
                <a:cxn ang="0">
                  <a:pos x="343" y="1982"/>
                </a:cxn>
                <a:cxn ang="0">
                  <a:pos x="258" y="1889"/>
                </a:cxn>
                <a:cxn ang="0">
                  <a:pos x="237" y="1845"/>
                </a:cxn>
              </a:cxnLst>
              <a:rect l="0" t="0" r="r" b="b"/>
              <a:pathLst>
                <a:path w="905" h="2022">
                  <a:moveTo>
                    <a:pt x="293" y="111"/>
                  </a:moveTo>
                  <a:lnTo>
                    <a:pt x="303" y="76"/>
                  </a:lnTo>
                  <a:lnTo>
                    <a:pt x="303" y="45"/>
                  </a:lnTo>
                  <a:lnTo>
                    <a:pt x="296" y="16"/>
                  </a:lnTo>
                  <a:lnTo>
                    <a:pt x="317" y="12"/>
                  </a:lnTo>
                  <a:lnTo>
                    <a:pt x="329" y="0"/>
                  </a:lnTo>
                  <a:lnTo>
                    <a:pt x="352" y="21"/>
                  </a:lnTo>
                  <a:lnTo>
                    <a:pt x="407" y="28"/>
                  </a:lnTo>
                  <a:lnTo>
                    <a:pt x="430" y="59"/>
                  </a:lnTo>
                  <a:lnTo>
                    <a:pt x="451" y="14"/>
                  </a:lnTo>
                  <a:lnTo>
                    <a:pt x="494" y="24"/>
                  </a:lnTo>
                  <a:lnTo>
                    <a:pt x="501" y="42"/>
                  </a:lnTo>
                  <a:lnTo>
                    <a:pt x="518" y="57"/>
                  </a:lnTo>
                  <a:lnTo>
                    <a:pt x="527" y="57"/>
                  </a:lnTo>
                  <a:lnTo>
                    <a:pt x="529" y="68"/>
                  </a:lnTo>
                  <a:lnTo>
                    <a:pt x="600" y="128"/>
                  </a:lnTo>
                  <a:lnTo>
                    <a:pt x="645" y="125"/>
                  </a:lnTo>
                  <a:lnTo>
                    <a:pt x="669" y="142"/>
                  </a:lnTo>
                  <a:lnTo>
                    <a:pt x="688" y="144"/>
                  </a:lnTo>
                  <a:lnTo>
                    <a:pt x="730" y="172"/>
                  </a:lnTo>
                  <a:lnTo>
                    <a:pt x="690" y="262"/>
                  </a:lnTo>
                  <a:lnTo>
                    <a:pt x="697" y="274"/>
                  </a:lnTo>
                  <a:lnTo>
                    <a:pt x="714" y="276"/>
                  </a:lnTo>
                  <a:lnTo>
                    <a:pt x="735" y="286"/>
                  </a:lnTo>
                  <a:lnTo>
                    <a:pt x="754" y="293"/>
                  </a:lnTo>
                  <a:lnTo>
                    <a:pt x="813" y="288"/>
                  </a:lnTo>
                  <a:lnTo>
                    <a:pt x="844" y="260"/>
                  </a:lnTo>
                  <a:lnTo>
                    <a:pt x="851" y="234"/>
                  </a:lnTo>
                  <a:lnTo>
                    <a:pt x="860" y="194"/>
                  </a:lnTo>
                  <a:lnTo>
                    <a:pt x="886" y="196"/>
                  </a:lnTo>
                  <a:lnTo>
                    <a:pt x="905" y="210"/>
                  </a:lnTo>
                  <a:lnTo>
                    <a:pt x="903" y="234"/>
                  </a:lnTo>
                  <a:lnTo>
                    <a:pt x="891" y="279"/>
                  </a:lnTo>
                  <a:lnTo>
                    <a:pt x="877" y="281"/>
                  </a:lnTo>
                  <a:lnTo>
                    <a:pt x="820" y="335"/>
                  </a:lnTo>
                  <a:lnTo>
                    <a:pt x="818" y="342"/>
                  </a:lnTo>
                  <a:lnTo>
                    <a:pt x="808" y="342"/>
                  </a:lnTo>
                  <a:lnTo>
                    <a:pt x="768" y="385"/>
                  </a:lnTo>
                  <a:lnTo>
                    <a:pt x="761" y="404"/>
                  </a:lnTo>
                  <a:lnTo>
                    <a:pt x="735" y="432"/>
                  </a:lnTo>
                  <a:lnTo>
                    <a:pt x="714" y="484"/>
                  </a:lnTo>
                  <a:lnTo>
                    <a:pt x="707" y="515"/>
                  </a:lnTo>
                  <a:lnTo>
                    <a:pt x="702" y="557"/>
                  </a:lnTo>
                  <a:lnTo>
                    <a:pt x="699" y="595"/>
                  </a:lnTo>
                  <a:lnTo>
                    <a:pt x="692" y="607"/>
                  </a:lnTo>
                  <a:lnTo>
                    <a:pt x="690" y="635"/>
                  </a:lnTo>
                  <a:lnTo>
                    <a:pt x="692" y="675"/>
                  </a:lnTo>
                  <a:lnTo>
                    <a:pt x="756" y="716"/>
                  </a:lnTo>
                  <a:lnTo>
                    <a:pt x="759" y="737"/>
                  </a:lnTo>
                  <a:lnTo>
                    <a:pt x="747" y="753"/>
                  </a:lnTo>
                  <a:lnTo>
                    <a:pt x="754" y="772"/>
                  </a:lnTo>
                  <a:lnTo>
                    <a:pt x="773" y="782"/>
                  </a:lnTo>
                  <a:lnTo>
                    <a:pt x="773" y="817"/>
                  </a:lnTo>
                  <a:lnTo>
                    <a:pt x="744" y="864"/>
                  </a:lnTo>
                  <a:lnTo>
                    <a:pt x="742" y="879"/>
                  </a:lnTo>
                  <a:lnTo>
                    <a:pt x="725" y="895"/>
                  </a:lnTo>
                  <a:lnTo>
                    <a:pt x="652" y="923"/>
                  </a:lnTo>
                  <a:lnTo>
                    <a:pt x="605" y="926"/>
                  </a:lnTo>
                  <a:lnTo>
                    <a:pt x="586" y="935"/>
                  </a:lnTo>
                  <a:lnTo>
                    <a:pt x="553" y="935"/>
                  </a:lnTo>
                  <a:lnTo>
                    <a:pt x="520" y="916"/>
                  </a:lnTo>
                  <a:lnTo>
                    <a:pt x="515" y="919"/>
                  </a:lnTo>
                  <a:lnTo>
                    <a:pt x="515" y="935"/>
                  </a:lnTo>
                  <a:lnTo>
                    <a:pt x="532" y="968"/>
                  </a:lnTo>
                  <a:lnTo>
                    <a:pt x="529" y="990"/>
                  </a:lnTo>
                  <a:lnTo>
                    <a:pt x="515" y="1023"/>
                  </a:lnTo>
                  <a:lnTo>
                    <a:pt x="518" y="1032"/>
                  </a:lnTo>
                  <a:lnTo>
                    <a:pt x="529" y="1027"/>
                  </a:lnTo>
                  <a:lnTo>
                    <a:pt x="529" y="1034"/>
                  </a:lnTo>
                  <a:lnTo>
                    <a:pt x="503" y="1060"/>
                  </a:lnTo>
                  <a:lnTo>
                    <a:pt x="487" y="1070"/>
                  </a:lnTo>
                  <a:lnTo>
                    <a:pt x="454" y="1068"/>
                  </a:lnTo>
                  <a:lnTo>
                    <a:pt x="423" y="1051"/>
                  </a:lnTo>
                  <a:lnTo>
                    <a:pt x="409" y="1046"/>
                  </a:lnTo>
                  <a:lnTo>
                    <a:pt x="407" y="1032"/>
                  </a:lnTo>
                  <a:lnTo>
                    <a:pt x="397" y="1039"/>
                  </a:lnTo>
                  <a:lnTo>
                    <a:pt x="402" y="1089"/>
                  </a:lnTo>
                  <a:lnTo>
                    <a:pt x="397" y="1117"/>
                  </a:lnTo>
                  <a:lnTo>
                    <a:pt x="418" y="1124"/>
                  </a:lnTo>
                  <a:lnTo>
                    <a:pt x="418" y="1138"/>
                  </a:lnTo>
                  <a:lnTo>
                    <a:pt x="433" y="1141"/>
                  </a:lnTo>
                  <a:lnTo>
                    <a:pt x="444" y="1138"/>
                  </a:lnTo>
                  <a:lnTo>
                    <a:pt x="447" y="1131"/>
                  </a:lnTo>
                  <a:lnTo>
                    <a:pt x="433" y="1129"/>
                  </a:lnTo>
                  <a:lnTo>
                    <a:pt x="433" y="1122"/>
                  </a:lnTo>
                  <a:lnTo>
                    <a:pt x="454" y="1115"/>
                  </a:lnTo>
                  <a:lnTo>
                    <a:pt x="463" y="1127"/>
                  </a:lnTo>
                  <a:lnTo>
                    <a:pt x="468" y="1131"/>
                  </a:lnTo>
                  <a:lnTo>
                    <a:pt x="470" y="1164"/>
                  </a:lnTo>
                  <a:lnTo>
                    <a:pt x="459" y="1171"/>
                  </a:lnTo>
                  <a:lnTo>
                    <a:pt x="442" y="1171"/>
                  </a:lnTo>
                  <a:lnTo>
                    <a:pt x="437" y="1150"/>
                  </a:lnTo>
                  <a:lnTo>
                    <a:pt x="418" y="1145"/>
                  </a:lnTo>
                  <a:lnTo>
                    <a:pt x="409" y="1153"/>
                  </a:lnTo>
                  <a:lnTo>
                    <a:pt x="404" y="1162"/>
                  </a:lnTo>
                  <a:lnTo>
                    <a:pt x="414" y="1174"/>
                  </a:lnTo>
                  <a:lnTo>
                    <a:pt x="430" y="1176"/>
                  </a:lnTo>
                  <a:lnTo>
                    <a:pt x="418" y="1183"/>
                  </a:lnTo>
                  <a:lnTo>
                    <a:pt x="397" y="1205"/>
                  </a:lnTo>
                  <a:lnTo>
                    <a:pt x="395" y="1221"/>
                  </a:lnTo>
                  <a:lnTo>
                    <a:pt x="388" y="1261"/>
                  </a:lnTo>
                  <a:lnTo>
                    <a:pt x="390" y="1271"/>
                  </a:lnTo>
                  <a:lnTo>
                    <a:pt x="366" y="1294"/>
                  </a:lnTo>
                  <a:lnTo>
                    <a:pt x="369" y="1308"/>
                  </a:lnTo>
                  <a:lnTo>
                    <a:pt x="352" y="1311"/>
                  </a:lnTo>
                  <a:lnTo>
                    <a:pt x="340" y="1306"/>
                  </a:lnTo>
                  <a:lnTo>
                    <a:pt x="329" y="1323"/>
                  </a:lnTo>
                  <a:lnTo>
                    <a:pt x="312" y="1323"/>
                  </a:lnTo>
                  <a:lnTo>
                    <a:pt x="296" y="1346"/>
                  </a:lnTo>
                  <a:lnTo>
                    <a:pt x="281" y="1372"/>
                  </a:lnTo>
                  <a:lnTo>
                    <a:pt x="281" y="1398"/>
                  </a:lnTo>
                  <a:lnTo>
                    <a:pt x="288" y="1410"/>
                  </a:lnTo>
                  <a:lnTo>
                    <a:pt x="310" y="1424"/>
                  </a:lnTo>
                  <a:lnTo>
                    <a:pt x="312" y="1434"/>
                  </a:lnTo>
                  <a:lnTo>
                    <a:pt x="331" y="1443"/>
                  </a:lnTo>
                  <a:lnTo>
                    <a:pt x="355" y="1445"/>
                  </a:lnTo>
                  <a:lnTo>
                    <a:pt x="366" y="1445"/>
                  </a:lnTo>
                  <a:lnTo>
                    <a:pt x="371" y="1462"/>
                  </a:lnTo>
                  <a:lnTo>
                    <a:pt x="359" y="1481"/>
                  </a:lnTo>
                  <a:lnTo>
                    <a:pt x="366" y="1500"/>
                  </a:lnTo>
                  <a:lnTo>
                    <a:pt x="355" y="1519"/>
                  </a:lnTo>
                  <a:lnTo>
                    <a:pt x="322" y="1538"/>
                  </a:lnTo>
                  <a:lnTo>
                    <a:pt x="286" y="1573"/>
                  </a:lnTo>
                  <a:lnTo>
                    <a:pt x="274" y="1597"/>
                  </a:lnTo>
                  <a:lnTo>
                    <a:pt x="284" y="1599"/>
                  </a:lnTo>
                  <a:lnTo>
                    <a:pt x="281" y="1625"/>
                  </a:lnTo>
                  <a:lnTo>
                    <a:pt x="258" y="1646"/>
                  </a:lnTo>
                  <a:lnTo>
                    <a:pt x="251" y="1644"/>
                  </a:lnTo>
                  <a:lnTo>
                    <a:pt x="237" y="1630"/>
                  </a:lnTo>
                  <a:lnTo>
                    <a:pt x="229" y="1634"/>
                  </a:lnTo>
                  <a:lnTo>
                    <a:pt x="227" y="1641"/>
                  </a:lnTo>
                  <a:lnTo>
                    <a:pt x="246" y="1649"/>
                  </a:lnTo>
                  <a:lnTo>
                    <a:pt x="241" y="1660"/>
                  </a:lnTo>
                  <a:lnTo>
                    <a:pt x="220" y="1670"/>
                  </a:lnTo>
                  <a:lnTo>
                    <a:pt x="211" y="1705"/>
                  </a:lnTo>
                  <a:lnTo>
                    <a:pt x="215" y="1741"/>
                  </a:lnTo>
                  <a:lnTo>
                    <a:pt x="218" y="1755"/>
                  </a:lnTo>
                  <a:lnTo>
                    <a:pt x="203" y="1762"/>
                  </a:lnTo>
                  <a:lnTo>
                    <a:pt x="220" y="1762"/>
                  </a:lnTo>
                  <a:lnTo>
                    <a:pt x="227" y="1778"/>
                  </a:lnTo>
                  <a:lnTo>
                    <a:pt x="253" y="1812"/>
                  </a:lnTo>
                  <a:lnTo>
                    <a:pt x="248" y="1814"/>
                  </a:lnTo>
                  <a:lnTo>
                    <a:pt x="234" y="1814"/>
                  </a:lnTo>
                  <a:lnTo>
                    <a:pt x="220" y="1795"/>
                  </a:lnTo>
                  <a:lnTo>
                    <a:pt x="78" y="1795"/>
                  </a:lnTo>
                  <a:lnTo>
                    <a:pt x="57" y="1760"/>
                  </a:lnTo>
                  <a:lnTo>
                    <a:pt x="59" y="1743"/>
                  </a:lnTo>
                  <a:lnTo>
                    <a:pt x="55" y="1726"/>
                  </a:lnTo>
                  <a:lnTo>
                    <a:pt x="55" y="1691"/>
                  </a:lnTo>
                  <a:lnTo>
                    <a:pt x="38" y="1691"/>
                  </a:lnTo>
                  <a:lnTo>
                    <a:pt x="22" y="1703"/>
                  </a:lnTo>
                  <a:lnTo>
                    <a:pt x="14" y="1682"/>
                  </a:lnTo>
                  <a:lnTo>
                    <a:pt x="3" y="1665"/>
                  </a:lnTo>
                  <a:lnTo>
                    <a:pt x="0" y="1649"/>
                  </a:lnTo>
                  <a:lnTo>
                    <a:pt x="10" y="1611"/>
                  </a:lnTo>
                  <a:lnTo>
                    <a:pt x="38" y="1566"/>
                  </a:lnTo>
                  <a:lnTo>
                    <a:pt x="48" y="1545"/>
                  </a:lnTo>
                  <a:lnTo>
                    <a:pt x="57" y="1519"/>
                  </a:lnTo>
                  <a:lnTo>
                    <a:pt x="50" y="1493"/>
                  </a:lnTo>
                  <a:lnTo>
                    <a:pt x="50" y="1478"/>
                  </a:lnTo>
                  <a:lnTo>
                    <a:pt x="83" y="1445"/>
                  </a:lnTo>
                  <a:lnTo>
                    <a:pt x="85" y="1415"/>
                  </a:lnTo>
                  <a:lnTo>
                    <a:pt x="92" y="1408"/>
                  </a:lnTo>
                  <a:lnTo>
                    <a:pt x="92" y="1367"/>
                  </a:lnTo>
                  <a:lnTo>
                    <a:pt x="97" y="1356"/>
                  </a:lnTo>
                  <a:lnTo>
                    <a:pt x="92" y="1344"/>
                  </a:lnTo>
                  <a:lnTo>
                    <a:pt x="111" y="1320"/>
                  </a:lnTo>
                  <a:lnTo>
                    <a:pt x="100" y="1306"/>
                  </a:lnTo>
                  <a:lnTo>
                    <a:pt x="83" y="1301"/>
                  </a:lnTo>
                  <a:lnTo>
                    <a:pt x="81" y="1299"/>
                  </a:lnTo>
                  <a:lnTo>
                    <a:pt x="88" y="1290"/>
                  </a:lnTo>
                  <a:lnTo>
                    <a:pt x="116" y="1292"/>
                  </a:lnTo>
                  <a:lnTo>
                    <a:pt x="116" y="1278"/>
                  </a:lnTo>
                  <a:lnTo>
                    <a:pt x="88" y="1264"/>
                  </a:lnTo>
                  <a:lnTo>
                    <a:pt x="90" y="1216"/>
                  </a:lnTo>
                  <a:lnTo>
                    <a:pt x="85" y="1181"/>
                  </a:lnTo>
                  <a:lnTo>
                    <a:pt x="69" y="1157"/>
                  </a:lnTo>
                  <a:lnTo>
                    <a:pt x="71" y="1145"/>
                  </a:lnTo>
                  <a:lnTo>
                    <a:pt x="97" y="1134"/>
                  </a:lnTo>
                  <a:lnTo>
                    <a:pt x="90" y="1094"/>
                  </a:lnTo>
                  <a:lnTo>
                    <a:pt x="85" y="1039"/>
                  </a:lnTo>
                  <a:lnTo>
                    <a:pt x="95" y="1018"/>
                  </a:lnTo>
                  <a:lnTo>
                    <a:pt x="90" y="1001"/>
                  </a:lnTo>
                  <a:lnTo>
                    <a:pt x="102" y="957"/>
                  </a:lnTo>
                  <a:lnTo>
                    <a:pt x="116" y="928"/>
                  </a:lnTo>
                  <a:lnTo>
                    <a:pt x="128" y="928"/>
                  </a:lnTo>
                  <a:lnTo>
                    <a:pt x="130" y="897"/>
                  </a:lnTo>
                  <a:lnTo>
                    <a:pt x="123" y="841"/>
                  </a:lnTo>
                  <a:lnTo>
                    <a:pt x="123" y="796"/>
                  </a:lnTo>
                  <a:lnTo>
                    <a:pt x="135" y="786"/>
                  </a:lnTo>
                  <a:lnTo>
                    <a:pt x="137" y="770"/>
                  </a:lnTo>
                  <a:lnTo>
                    <a:pt x="149" y="758"/>
                  </a:lnTo>
                  <a:lnTo>
                    <a:pt x="161" y="706"/>
                  </a:lnTo>
                  <a:lnTo>
                    <a:pt x="175" y="657"/>
                  </a:lnTo>
                  <a:lnTo>
                    <a:pt x="177" y="612"/>
                  </a:lnTo>
                  <a:lnTo>
                    <a:pt x="170" y="574"/>
                  </a:lnTo>
                  <a:lnTo>
                    <a:pt x="151" y="527"/>
                  </a:lnTo>
                  <a:lnTo>
                    <a:pt x="149" y="498"/>
                  </a:lnTo>
                  <a:lnTo>
                    <a:pt x="161" y="491"/>
                  </a:lnTo>
                  <a:lnTo>
                    <a:pt x="159" y="465"/>
                  </a:lnTo>
                  <a:lnTo>
                    <a:pt x="170" y="463"/>
                  </a:lnTo>
                  <a:lnTo>
                    <a:pt x="180" y="449"/>
                  </a:lnTo>
                  <a:lnTo>
                    <a:pt x="177" y="401"/>
                  </a:lnTo>
                  <a:lnTo>
                    <a:pt x="180" y="378"/>
                  </a:lnTo>
                  <a:lnTo>
                    <a:pt x="196" y="345"/>
                  </a:lnTo>
                  <a:lnTo>
                    <a:pt x="213" y="331"/>
                  </a:lnTo>
                  <a:lnTo>
                    <a:pt x="218" y="312"/>
                  </a:lnTo>
                  <a:lnTo>
                    <a:pt x="229" y="293"/>
                  </a:lnTo>
                  <a:lnTo>
                    <a:pt x="248" y="276"/>
                  </a:lnTo>
                  <a:lnTo>
                    <a:pt x="239" y="257"/>
                  </a:lnTo>
                  <a:lnTo>
                    <a:pt x="239" y="217"/>
                  </a:lnTo>
                  <a:lnTo>
                    <a:pt x="234" y="196"/>
                  </a:lnTo>
                  <a:lnTo>
                    <a:pt x="246" y="170"/>
                  </a:lnTo>
                  <a:lnTo>
                    <a:pt x="246" y="151"/>
                  </a:lnTo>
                  <a:lnTo>
                    <a:pt x="253" y="144"/>
                  </a:lnTo>
                  <a:lnTo>
                    <a:pt x="281" y="125"/>
                  </a:lnTo>
                  <a:lnTo>
                    <a:pt x="293" y="111"/>
                  </a:lnTo>
                  <a:close/>
                  <a:moveTo>
                    <a:pt x="234" y="1937"/>
                  </a:moveTo>
                  <a:lnTo>
                    <a:pt x="234" y="2005"/>
                  </a:lnTo>
                  <a:lnTo>
                    <a:pt x="284" y="2008"/>
                  </a:lnTo>
                  <a:lnTo>
                    <a:pt x="303" y="2012"/>
                  </a:lnTo>
                  <a:lnTo>
                    <a:pt x="314" y="2012"/>
                  </a:lnTo>
                  <a:lnTo>
                    <a:pt x="333" y="2022"/>
                  </a:lnTo>
                  <a:lnTo>
                    <a:pt x="362" y="2019"/>
                  </a:lnTo>
                  <a:lnTo>
                    <a:pt x="364" y="2012"/>
                  </a:lnTo>
                  <a:lnTo>
                    <a:pt x="378" y="2015"/>
                  </a:lnTo>
                  <a:lnTo>
                    <a:pt x="395" y="1996"/>
                  </a:lnTo>
                  <a:lnTo>
                    <a:pt x="343" y="1982"/>
                  </a:lnTo>
                  <a:lnTo>
                    <a:pt x="303" y="1944"/>
                  </a:lnTo>
                  <a:lnTo>
                    <a:pt x="286" y="1934"/>
                  </a:lnTo>
                  <a:lnTo>
                    <a:pt x="258" y="1918"/>
                  </a:lnTo>
                  <a:lnTo>
                    <a:pt x="258" y="1889"/>
                  </a:lnTo>
                  <a:lnTo>
                    <a:pt x="241" y="1882"/>
                  </a:lnTo>
                  <a:lnTo>
                    <a:pt x="241" y="1875"/>
                  </a:lnTo>
                  <a:lnTo>
                    <a:pt x="255" y="1868"/>
                  </a:lnTo>
                  <a:lnTo>
                    <a:pt x="237" y="1845"/>
                  </a:lnTo>
                  <a:lnTo>
                    <a:pt x="234" y="1937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8001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48" name="Armenia">
              <a:extLst>
                <a:ext uri="{FF2B5EF4-FFF2-40B4-BE49-F238E27FC236}">
                  <a16:creationId xmlns="" xmlns:a16="http://schemas.microsoft.com/office/drawing/2014/main" id="{40CCE0F2-0108-4412-B9D6-A23ACC367631}"/>
                </a:ext>
              </a:extLst>
            </p:cNvPr>
            <p:cNvSpPr>
              <a:spLocks/>
            </p:cNvSpPr>
            <p:nvPr/>
          </p:nvSpPr>
          <p:spPr bwMode="gray">
            <a:xfrm>
              <a:off x="7148067" y="3121196"/>
              <a:ext cx="97614" cy="104228"/>
            </a:xfrm>
            <a:custGeom>
              <a:avLst/>
              <a:gdLst/>
              <a:ahLst/>
              <a:cxnLst>
                <a:cxn ang="0">
                  <a:pos x="98" y="118"/>
                </a:cxn>
                <a:cxn ang="0">
                  <a:pos x="102" y="126"/>
                </a:cxn>
                <a:cxn ang="0">
                  <a:pos x="120" y="124"/>
                </a:cxn>
                <a:cxn ang="0">
                  <a:pos x="118" y="110"/>
                </a:cxn>
                <a:cxn ang="0">
                  <a:pos x="122" y="100"/>
                </a:cxn>
                <a:cxn ang="0">
                  <a:pos x="120" y="94"/>
                </a:cxn>
                <a:cxn ang="0">
                  <a:pos x="88" y="64"/>
                </a:cxn>
                <a:cxn ang="0">
                  <a:pos x="96" y="42"/>
                </a:cxn>
                <a:cxn ang="0">
                  <a:pos x="80" y="42"/>
                </a:cxn>
                <a:cxn ang="0">
                  <a:pos x="68" y="34"/>
                </a:cxn>
                <a:cxn ang="0">
                  <a:pos x="64" y="28"/>
                </a:cxn>
                <a:cxn ang="0">
                  <a:pos x="70" y="14"/>
                </a:cxn>
                <a:cxn ang="0">
                  <a:pos x="56" y="12"/>
                </a:cxn>
                <a:cxn ang="0">
                  <a:pos x="46" y="0"/>
                </a:cxn>
                <a:cxn ang="0">
                  <a:pos x="0" y="2"/>
                </a:cxn>
                <a:cxn ang="0">
                  <a:pos x="2" y="16"/>
                </a:cxn>
                <a:cxn ang="0">
                  <a:pos x="2" y="34"/>
                </a:cxn>
                <a:cxn ang="0">
                  <a:pos x="6" y="50"/>
                </a:cxn>
                <a:cxn ang="0">
                  <a:pos x="16" y="64"/>
                </a:cxn>
                <a:cxn ang="0">
                  <a:pos x="26" y="62"/>
                </a:cxn>
                <a:cxn ang="0">
                  <a:pos x="40" y="82"/>
                </a:cxn>
                <a:cxn ang="0">
                  <a:pos x="60" y="82"/>
                </a:cxn>
                <a:cxn ang="0">
                  <a:pos x="70" y="84"/>
                </a:cxn>
                <a:cxn ang="0">
                  <a:pos x="80" y="84"/>
                </a:cxn>
                <a:cxn ang="0">
                  <a:pos x="90" y="88"/>
                </a:cxn>
                <a:cxn ang="0">
                  <a:pos x="94" y="96"/>
                </a:cxn>
                <a:cxn ang="0">
                  <a:pos x="96" y="104"/>
                </a:cxn>
                <a:cxn ang="0">
                  <a:pos x="102" y="106"/>
                </a:cxn>
                <a:cxn ang="0">
                  <a:pos x="98" y="118"/>
                </a:cxn>
              </a:cxnLst>
              <a:rect l="0" t="0" r="r" b="b"/>
              <a:pathLst>
                <a:path w="122" h="126">
                  <a:moveTo>
                    <a:pt x="98" y="118"/>
                  </a:moveTo>
                  <a:lnTo>
                    <a:pt x="102" y="126"/>
                  </a:lnTo>
                  <a:lnTo>
                    <a:pt x="120" y="124"/>
                  </a:lnTo>
                  <a:lnTo>
                    <a:pt x="118" y="110"/>
                  </a:lnTo>
                  <a:lnTo>
                    <a:pt x="122" y="100"/>
                  </a:lnTo>
                  <a:lnTo>
                    <a:pt x="120" y="94"/>
                  </a:lnTo>
                  <a:lnTo>
                    <a:pt x="88" y="64"/>
                  </a:lnTo>
                  <a:lnTo>
                    <a:pt x="96" y="42"/>
                  </a:lnTo>
                  <a:lnTo>
                    <a:pt x="80" y="42"/>
                  </a:lnTo>
                  <a:lnTo>
                    <a:pt x="68" y="34"/>
                  </a:lnTo>
                  <a:lnTo>
                    <a:pt x="64" y="28"/>
                  </a:lnTo>
                  <a:lnTo>
                    <a:pt x="70" y="14"/>
                  </a:lnTo>
                  <a:lnTo>
                    <a:pt x="56" y="12"/>
                  </a:lnTo>
                  <a:lnTo>
                    <a:pt x="46" y="0"/>
                  </a:lnTo>
                  <a:lnTo>
                    <a:pt x="0" y="2"/>
                  </a:lnTo>
                  <a:lnTo>
                    <a:pt x="2" y="16"/>
                  </a:lnTo>
                  <a:lnTo>
                    <a:pt x="2" y="34"/>
                  </a:lnTo>
                  <a:lnTo>
                    <a:pt x="6" y="50"/>
                  </a:lnTo>
                  <a:lnTo>
                    <a:pt x="16" y="64"/>
                  </a:lnTo>
                  <a:lnTo>
                    <a:pt x="26" y="62"/>
                  </a:lnTo>
                  <a:lnTo>
                    <a:pt x="40" y="82"/>
                  </a:lnTo>
                  <a:lnTo>
                    <a:pt x="60" y="82"/>
                  </a:lnTo>
                  <a:lnTo>
                    <a:pt x="70" y="84"/>
                  </a:lnTo>
                  <a:lnTo>
                    <a:pt x="80" y="84"/>
                  </a:lnTo>
                  <a:lnTo>
                    <a:pt x="90" y="88"/>
                  </a:lnTo>
                  <a:lnTo>
                    <a:pt x="94" y="96"/>
                  </a:lnTo>
                  <a:lnTo>
                    <a:pt x="96" y="104"/>
                  </a:lnTo>
                  <a:lnTo>
                    <a:pt x="102" y="106"/>
                  </a:lnTo>
                  <a:lnTo>
                    <a:pt x="98" y="118"/>
                  </a:lnTo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49" name="Australia">
              <a:extLst>
                <a:ext uri="{FF2B5EF4-FFF2-40B4-BE49-F238E27FC236}">
                  <a16:creationId xmlns="" xmlns:a16="http://schemas.microsoft.com/office/drawing/2014/main" id="{4AF9CF14-DA85-41F6-BB62-AC905B4F9DA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303412" y="4885200"/>
              <a:ext cx="1247524" cy="1205501"/>
            </a:xfrm>
            <a:custGeom>
              <a:avLst/>
              <a:gdLst/>
              <a:ahLst/>
              <a:cxnLst>
                <a:cxn ang="0">
                  <a:pos x="869" y="68"/>
                </a:cxn>
                <a:cxn ang="0">
                  <a:pos x="861" y="110"/>
                </a:cxn>
                <a:cxn ang="0">
                  <a:pos x="975" y="251"/>
                </a:cxn>
                <a:cxn ang="0">
                  <a:pos x="1073" y="98"/>
                </a:cxn>
                <a:cxn ang="0">
                  <a:pos x="1113" y="10"/>
                </a:cxn>
                <a:cxn ang="0">
                  <a:pos x="1151" y="88"/>
                </a:cxn>
                <a:cxn ang="0">
                  <a:pos x="1209" y="165"/>
                </a:cxn>
                <a:cxn ang="0">
                  <a:pos x="1241" y="247"/>
                </a:cxn>
                <a:cxn ang="0">
                  <a:pos x="1321" y="373"/>
                </a:cxn>
                <a:cxn ang="0">
                  <a:pos x="1379" y="455"/>
                </a:cxn>
                <a:cxn ang="0">
                  <a:pos x="1424" y="525"/>
                </a:cxn>
                <a:cxn ang="0">
                  <a:pos x="1522" y="629"/>
                </a:cxn>
                <a:cxn ang="0">
                  <a:pos x="1518" y="829"/>
                </a:cxn>
                <a:cxn ang="0">
                  <a:pos x="1480" y="943"/>
                </a:cxn>
                <a:cxn ang="0">
                  <a:pos x="1430" y="1058"/>
                </a:cxn>
                <a:cxn ang="0">
                  <a:pos x="1399" y="1166"/>
                </a:cxn>
                <a:cxn ang="0">
                  <a:pos x="1289" y="1210"/>
                </a:cxn>
                <a:cxn ang="0">
                  <a:pos x="1259" y="1258"/>
                </a:cxn>
                <a:cxn ang="0">
                  <a:pos x="1173" y="1216"/>
                </a:cxn>
                <a:cxn ang="0">
                  <a:pos x="1081" y="1212"/>
                </a:cxn>
                <a:cxn ang="0">
                  <a:pos x="1013" y="1160"/>
                </a:cxn>
                <a:cxn ang="0">
                  <a:pos x="963" y="1076"/>
                </a:cxn>
                <a:cxn ang="0">
                  <a:pos x="933" y="1026"/>
                </a:cxn>
                <a:cxn ang="0">
                  <a:pos x="905" y="1034"/>
                </a:cxn>
                <a:cxn ang="0">
                  <a:pos x="909" y="984"/>
                </a:cxn>
                <a:cxn ang="0">
                  <a:pos x="861" y="1042"/>
                </a:cxn>
                <a:cxn ang="0">
                  <a:pos x="827" y="973"/>
                </a:cxn>
                <a:cxn ang="0">
                  <a:pos x="769" y="897"/>
                </a:cxn>
                <a:cxn ang="0">
                  <a:pos x="585" y="883"/>
                </a:cxn>
                <a:cxn ang="0">
                  <a:pos x="415" y="945"/>
                </a:cxn>
                <a:cxn ang="0">
                  <a:pos x="275" y="979"/>
                </a:cxn>
                <a:cxn ang="0">
                  <a:pos x="191" y="1046"/>
                </a:cxn>
                <a:cxn ang="0">
                  <a:pos x="94" y="1026"/>
                </a:cxn>
                <a:cxn ang="0">
                  <a:pos x="96" y="887"/>
                </a:cxn>
                <a:cxn ang="0">
                  <a:pos x="44" y="747"/>
                </a:cxn>
                <a:cxn ang="0">
                  <a:pos x="2" y="619"/>
                </a:cxn>
                <a:cxn ang="0">
                  <a:pos x="2" y="549"/>
                </a:cxn>
                <a:cxn ang="0">
                  <a:pos x="20" y="455"/>
                </a:cxn>
                <a:cxn ang="0">
                  <a:pos x="102" y="423"/>
                </a:cxn>
                <a:cxn ang="0">
                  <a:pos x="183" y="407"/>
                </a:cxn>
                <a:cxn ang="0">
                  <a:pos x="309" y="351"/>
                </a:cxn>
                <a:cxn ang="0">
                  <a:pos x="345" y="245"/>
                </a:cxn>
                <a:cxn ang="0">
                  <a:pos x="435" y="193"/>
                </a:cxn>
                <a:cxn ang="0">
                  <a:pos x="551" y="157"/>
                </a:cxn>
                <a:cxn ang="0">
                  <a:pos x="631" y="165"/>
                </a:cxn>
                <a:cxn ang="0">
                  <a:pos x="645" y="90"/>
                </a:cxn>
                <a:cxn ang="0">
                  <a:pos x="721" y="72"/>
                </a:cxn>
                <a:cxn ang="0">
                  <a:pos x="703" y="24"/>
                </a:cxn>
                <a:cxn ang="0">
                  <a:pos x="1189" y="1346"/>
                </a:cxn>
                <a:cxn ang="0">
                  <a:pos x="1221" y="1414"/>
                </a:cxn>
                <a:cxn ang="0">
                  <a:pos x="1251" y="1472"/>
                </a:cxn>
                <a:cxn ang="0">
                  <a:pos x="1307" y="1450"/>
                </a:cxn>
                <a:cxn ang="0">
                  <a:pos x="1325" y="1402"/>
                </a:cxn>
                <a:cxn ang="0">
                  <a:pos x="1337" y="1350"/>
                </a:cxn>
                <a:cxn ang="0">
                  <a:pos x="1279" y="1336"/>
                </a:cxn>
                <a:cxn ang="0">
                  <a:pos x="1207" y="1326"/>
                </a:cxn>
              </a:cxnLst>
              <a:rect l="0" t="0" r="r" b="b"/>
              <a:pathLst>
                <a:path w="1536" h="1474">
                  <a:moveTo>
                    <a:pt x="741" y="32"/>
                  </a:moveTo>
                  <a:lnTo>
                    <a:pt x="773" y="50"/>
                  </a:lnTo>
                  <a:lnTo>
                    <a:pt x="803" y="60"/>
                  </a:lnTo>
                  <a:lnTo>
                    <a:pt x="843" y="68"/>
                  </a:lnTo>
                  <a:lnTo>
                    <a:pt x="869" y="68"/>
                  </a:lnTo>
                  <a:lnTo>
                    <a:pt x="883" y="58"/>
                  </a:lnTo>
                  <a:lnTo>
                    <a:pt x="895" y="64"/>
                  </a:lnTo>
                  <a:lnTo>
                    <a:pt x="881" y="96"/>
                  </a:lnTo>
                  <a:lnTo>
                    <a:pt x="877" y="104"/>
                  </a:lnTo>
                  <a:lnTo>
                    <a:pt x="861" y="110"/>
                  </a:lnTo>
                  <a:lnTo>
                    <a:pt x="855" y="151"/>
                  </a:lnTo>
                  <a:lnTo>
                    <a:pt x="841" y="169"/>
                  </a:lnTo>
                  <a:lnTo>
                    <a:pt x="857" y="185"/>
                  </a:lnTo>
                  <a:lnTo>
                    <a:pt x="931" y="225"/>
                  </a:lnTo>
                  <a:lnTo>
                    <a:pt x="975" y="251"/>
                  </a:lnTo>
                  <a:lnTo>
                    <a:pt x="1011" y="281"/>
                  </a:lnTo>
                  <a:lnTo>
                    <a:pt x="1039" y="275"/>
                  </a:lnTo>
                  <a:lnTo>
                    <a:pt x="1055" y="245"/>
                  </a:lnTo>
                  <a:lnTo>
                    <a:pt x="1077" y="189"/>
                  </a:lnTo>
                  <a:lnTo>
                    <a:pt x="1073" y="98"/>
                  </a:lnTo>
                  <a:lnTo>
                    <a:pt x="1073" y="62"/>
                  </a:lnTo>
                  <a:lnTo>
                    <a:pt x="1087" y="12"/>
                  </a:lnTo>
                  <a:lnTo>
                    <a:pt x="1099" y="2"/>
                  </a:lnTo>
                  <a:lnTo>
                    <a:pt x="1111" y="0"/>
                  </a:lnTo>
                  <a:lnTo>
                    <a:pt x="1113" y="10"/>
                  </a:lnTo>
                  <a:lnTo>
                    <a:pt x="1119" y="18"/>
                  </a:lnTo>
                  <a:lnTo>
                    <a:pt x="1123" y="46"/>
                  </a:lnTo>
                  <a:lnTo>
                    <a:pt x="1135" y="56"/>
                  </a:lnTo>
                  <a:lnTo>
                    <a:pt x="1141" y="82"/>
                  </a:lnTo>
                  <a:lnTo>
                    <a:pt x="1151" y="88"/>
                  </a:lnTo>
                  <a:lnTo>
                    <a:pt x="1151" y="122"/>
                  </a:lnTo>
                  <a:lnTo>
                    <a:pt x="1163" y="149"/>
                  </a:lnTo>
                  <a:lnTo>
                    <a:pt x="1179" y="147"/>
                  </a:lnTo>
                  <a:lnTo>
                    <a:pt x="1191" y="139"/>
                  </a:lnTo>
                  <a:lnTo>
                    <a:pt x="1209" y="165"/>
                  </a:lnTo>
                  <a:lnTo>
                    <a:pt x="1223" y="171"/>
                  </a:lnTo>
                  <a:lnTo>
                    <a:pt x="1221" y="201"/>
                  </a:lnTo>
                  <a:lnTo>
                    <a:pt x="1227" y="213"/>
                  </a:lnTo>
                  <a:lnTo>
                    <a:pt x="1231" y="241"/>
                  </a:lnTo>
                  <a:lnTo>
                    <a:pt x="1241" y="247"/>
                  </a:lnTo>
                  <a:lnTo>
                    <a:pt x="1253" y="273"/>
                  </a:lnTo>
                  <a:lnTo>
                    <a:pt x="1249" y="307"/>
                  </a:lnTo>
                  <a:lnTo>
                    <a:pt x="1263" y="345"/>
                  </a:lnTo>
                  <a:lnTo>
                    <a:pt x="1291" y="365"/>
                  </a:lnTo>
                  <a:lnTo>
                    <a:pt x="1321" y="373"/>
                  </a:lnTo>
                  <a:lnTo>
                    <a:pt x="1341" y="391"/>
                  </a:lnTo>
                  <a:lnTo>
                    <a:pt x="1353" y="407"/>
                  </a:lnTo>
                  <a:lnTo>
                    <a:pt x="1353" y="429"/>
                  </a:lnTo>
                  <a:lnTo>
                    <a:pt x="1373" y="437"/>
                  </a:lnTo>
                  <a:lnTo>
                    <a:pt x="1379" y="455"/>
                  </a:lnTo>
                  <a:lnTo>
                    <a:pt x="1377" y="467"/>
                  </a:lnTo>
                  <a:lnTo>
                    <a:pt x="1385" y="481"/>
                  </a:lnTo>
                  <a:lnTo>
                    <a:pt x="1395" y="471"/>
                  </a:lnTo>
                  <a:lnTo>
                    <a:pt x="1426" y="485"/>
                  </a:lnTo>
                  <a:lnTo>
                    <a:pt x="1424" y="525"/>
                  </a:lnTo>
                  <a:lnTo>
                    <a:pt x="1454" y="549"/>
                  </a:lnTo>
                  <a:lnTo>
                    <a:pt x="1474" y="549"/>
                  </a:lnTo>
                  <a:lnTo>
                    <a:pt x="1482" y="567"/>
                  </a:lnTo>
                  <a:lnTo>
                    <a:pt x="1510" y="625"/>
                  </a:lnTo>
                  <a:lnTo>
                    <a:pt x="1522" y="629"/>
                  </a:lnTo>
                  <a:lnTo>
                    <a:pt x="1520" y="695"/>
                  </a:lnTo>
                  <a:lnTo>
                    <a:pt x="1536" y="739"/>
                  </a:lnTo>
                  <a:lnTo>
                    <a:pt x="1534" y="771"/>
                  </a:lnTo>
                  <a:lnTo>
                    <a:pt x="1530" y="809"/>
                  </a:lnTo>
                  <a:lnTo>
                    <a:pt x="1518" y="829"/>
                  </a:lnTo>
                  <a:lnTo>
                    <a:pt x="1520" y="865"/>
                  </a:lnTo>
                  <a:lnTo>
                    <a:pt x="1510" y="899"/>
                  </a:lnTo>
                  <a:lnTo>
                    <a:pt x="1510" y="919"/>
                  </a:lnTo>
                  <a:lnTo>
                    <a:pt x="1484" y="931"/>
                  </a:lnTo>
                  <a:lnTo>
                    <a:pt x="1480" y="943"/>
                  </a:lnTo>
                  <a:lnTo>
                    <a:pt x="1468" y="947"/>
                  </a:lnTo>
                  <a:lnTo>
                    <a:pt x="1458" y="992"/>
                  </a:lnTo>
                  <a:lnTo>
                    <a:pt x="1450" y="1014"/>
                  </a:lnTo>
                  <a:lnTo>
                    <a:pt x="1444" y="1042"/>
                  </a:lnTo>
                  <a:lnTo>
                    <a:pt x="1430" y="1058"/>
                  </a:lnTo>
                  <a:lnTo>
                    <a:pt x="1415" y="1084"/>
                  </a:lnTo>
                  <a:lnTo>
                    <a:pt x="1407" y="1114"/>
                  </a:lnTo>
                  <a:lnTo>
                    <a:pt x="1401" y="1136"/>
                  </a:lnTo>
                  <a:lnTo>
                    <a:pt x="1407" y="1148"/>
                  </a:lnTo>
                  <a:lnTo>
                    <a:pt x="1399" y="1166"/>
                  </a:lnTo>
                  <a:lnTo>
                    <a:pt x="1365" y="1186"/>
                  </a:lnTo>
                  <a:lnTo>
                    <a:pt x="1349" y="1182"/>
                  </a:lnTo>
                  <a:lnTo>
                    <a:pt x="1309" y="1200"/>
                  </a:lnTo>
                  <a:lnTo>
                    <a:pt x="1289" y="1202"/>
                  </a:lnTo>
                  <a:lnTo>
                    <a:pt x="1289" y="1210"/>
                  </a:lnTo>
                  <a:lnTo>
                    <a:pt x="1283" y="1218"/>
                  </a:lnTo>
                  <a:lnTo>
                    <a:pt x="1267" y="1226"/>
                  </a:lnTo>
                  <a:lnTo>
                    <a:pt x="1267" y="1238"/>
                  </a:lnTo>
                  <a:lnTo>
                    <a:pt x="1265" y="1252"/>
                  </a:lnTo>
                  <a:lnTo>
                    <a:pt x="1259" y="1258"/>
                  </a:lnTo>
                  <a:lnTo>
                    <a:pt x="1249" y="1240"/>
                  </a:lnTo>
                  <a:lnTo>
                    <a:pt x="1235" y="1232"/>
                  </a:lnTo>
                  <a:lnTo>
                    <a:pt x="1213" y="1228"/>
                  </a:lnTo>
                  <a:lnTo>
                    <a:pt x="1185" y="1206"/>
                  </a:lnTo>
                  <a:lnTo>
                    <a:pt x="1173" y="1216"/>
                  </a:lnTo>
                  <a:lnTo>
                    <a:pt x="1157" y="1228"/>
                  </a:lnTo>
                  <a:lnTo>
                    <a:pt x="1137" y="1218"/>
                  </a:lnTo>
                  <a:lnTo>
                    <a:pt x="1111" y="1216"/>
                  </a:lnTo>
                  <a:lnTo>
                    <a:pt x="1095" y="1208"/>
                  </a:lnTo>
                  <a:lnTo>
                    <a:pt x="1081" y="1212"/>
                  </a:lnTo>
                  <a:lnTo>
                    <a:pt x="1069" y="1196"/>
                  </a:lnTo>
                  <a:lnTo>
                    <a:pt x="1053" y="1196"/>
                  </a:lnTo>
                  <a:lnTo>
                    <a:pt x="1027" y="1174"/>
                  </a:lnTo>
                  <a:lnTo>
                    <a:pt x="1025" y="1164"/>
                  </a:lnTo>
                  <a:lnTo>
                    <a:pt x="1013" y="1160"/>
                  </a:lnTo>
                  <a:lnTo>
                    <a:pt x="1009" y="1150"/>
                  </a:lnTo>
                  <a:lnTo>
                    <a:pt x="1015" y="1132"/>
                  </a:lnTo>
                  <a:lnTo>
                    <a:pt x="989" y="1098"/>
                  </a:lnTo>
                  <a:lnTo>
                    <a:pt x="981" y="1062"/>
                  </a:lnTo>
                  <a:lnTo>
                    <a:pt x="963" y="1076"/>
                  </a:lnTo>
                  <a:lnTo>
                    <a:pt x="941" y="1076"/>
                  </a:lnTo>
                  <a:lnTo>
                    <a:pt x="947" y="1062"/>
                  </a:lnTo>
                  <a:lnTo>
                    <a:pt x="959" y="1052"/>
                  </a:lnTo>
                  <a:lnTo>
                    <a:pt x="939" y="1016"/>
                  </a:lnTo>
                  <a:lnTo>
                    <a:pt x="933" y="1026"/>
                  </a:lnTo>
                  <a:lnTo>
                    <a:pt x="933" y="1046"/>
                  </a:lnTo>
                  <a:lnTo>
                    <a:pt x="917" y="1054"/>
                  </a:lnTo>
                  <a:lnTo>
                    <a:pt x="899" y="1056"/>
                  </a:lnTo>
                  <a:lnTo>
                    <a:pt x="897" y="1046"/>
                  </a:lnTo>
                  <a:lnTo>
                    <a:pt x="905" y="1034"/>
                  </a:lnTo>
                  <a:lnTo>
                    <a:pt x="919" y="1034"/>
                  </a:lnTo>
                  <a:lnTo>
                    <a:pt x="923" y="1002"/>
                  </a:lnTo>
                  <a:lnTo>
                    <a:pt x="943" y="949"/>
                  </a:lnTo>
                  <a:lnTo>
                    <a:pt x="929" y="949"/>
                  </a:lnTo>
                  <a:lnTo>
                    <a:pt x="909" y="984"/>
                  </a:lnTo>
                  <a:lnTo>
                    <a:pt x="879" y="1000"/>
                  </a:lnTo>
                  <a:lnTo>
                    <a:pt x="879" y="1020"/>
                  </a:lnTo>
                  <a:lnTo>
                    <a:pt x="871" y="1030"/>
                  </a:lnTo>
                  <a:lnTo>
                    <a:pt x="869" y="1040"/>
                  </a:lnTo>
                  <a:lnTo>
                    <a:pt x="861" y="1042"/>
                  </a:lnTo>
                  <a:lnTo>
                    <a:pt x="853" y="1028"/>
                  </a:lnTo>
                  <a:lnTo>
                    <a:pt x="843" y="1018"/>
                  </a:lnTo>
                  <a:lnTo>
                    <a:pt x="853" y="1014"/>
                  </a:lnTo>
                  <a:lnTo>
                    <a:pt x="839" y="986"/>
                  </a:lnTo>
                  <a:lnTo>
                    <a:pt x="827" y="973"/>
                  </a:lnTo>
                  <a:lnTo>
                    <a:pt x="829" y="951"/>
                  </a:lnTo>
                  <a:lnTo>
                    <a:pt x="815" y="939"/>
                  </a:lnTo>
                  <a:lnTo>
                    <a:pt x="799" y="941"/>
                  </a:lnTo>
                  <a:lnTo>
                    <a:pt x="789" y="905"/>
                  </a:lnTo>
                  <a:lnTo>
                    <a:pt x="769" y="897"/>
                  </a:lnTo>
                  <a:lnTo>
                    <a:pt x="759" y="907"/>
                  </a:lnTo>
                  <a:lnTo>
                    <a:pt x="729" y="889"/>
                  </a:lnTo>
                  <a:lnTo>
                    <a:pt x="719" y="901"/>
                  </a:lnTo>
                  <a:lnTo>
                    <a:pt x="677" y="877"/>
                  </a:lnTo>
                  <a:lnTo>
                    <a:pt x="585" y="883"/>
                  </a:lnTo>
                  <a:lnTo>
                    <a:pt x="569" y="893"/>
                  </a:lnTo>
                  <a:lnTo>
                    <a:pt x="507" y="917"/>
                  </a:lnTo>
                  <a:lnTo>
                    <a:pt x="485" y="913"/>
                  </a:lnTo>
                  <a:lnTo>
                    <a:pt x="459" y="933"/>
                  </a:lnTo>
                  <a:lnTo>
                    <a:pt x="415" y="945"/>
                  </a:lnTo>
                  <a:lnTo>
                    <a:pt x="389" y="977"/>
                  </a:lnTo>
                  <a:lnTo>
                    <a:pt x="345" y="979"/>
                  </a:lnTo>
                  <a:lnTo>
                    <a:pt x="327" y="988"/>
                  </a:lnTo>
                  <a:lnTo>
                    <a:pt x="305" y="979"/>
                  </a:lnTo>
                  <a:lnTo>
                    <a:pt x="275" y="979"/>
                  </a:lnTo>
                  <a:lnTo>
                    <a:pt x="259" y="992"/>
                  </a:lnTo>
                  <a:lnTo>
                    <a:pt x="247" y="992"/>
                  </a:lnTo>
                  <a:lnTo>
                    <a:pt x="233" y="1016"/>
                  </a:lnTo>
                  <a:lnTo>
                    <a:pt x="213" y="1016"/>
                  </a:lnTo>
                  <a:lnTo>
                    <a:pt x="191" y="1046"/>
                  </a:lnTo>
                  <a:lnTo>
                    <a:pt x="174" y="1042"/>
                  </a:lnTo>
                  <a:lnTo>
                    <a:pt x="138" y="1044"/>
                  </a:lnTo>
                  <a:lnTo>
                    <a:pt x="124" y="1046"/>
                  </a:lnTo>
                  <a:lnTo>
                    <a:pt x="112" y="1030"/>
                  </a:lnTo>
                  <a:lnTo>
                    <a:pt x="94" y="1026"/>
                  </a:lnTo>
                  <a:lnTo>
                    <a:pt x="82" y="1010"/>
                  </a:lnTo>
                  <a:lnTo>
                    <a:pt x="70" y="1010"/>
                  </a:lnTo>
                  <a:lnTo>
                    <a:pt x="68" y="971"/>
                  </a:lnTo>
                  <a:lnTo>
                    <a:pt x="84" y="961"/>
                  </a:lnTo>
                  <a:lnTo>
                    <a:pt x="96" y="887"/>
                  </a:lnTo>
                  <a:lnTo>
                    <a:pt x="74" y="837"/>
                  </a:lnTo>
                  <a:lnTo>
                    <a:pt x="74" y="821"/>
                  </a:lnTo>
                  <a:lnTo>
                    <a:pt x="66" y="813"/>
                  </a:lnTo>
                  <a:lnTo>
                    <a:pt x="66" y="787"/>
                  </a:lnTo>
                  <a:lnTo>
                    <a:pt x="44" y="747"/>
                  </a:lnTo>
                  <a:lnTo>
                    <a:pt x="30" y="721"/>
                  </a:lnTo>
                  <a:lnTo>
                    <a:pt x="28" y="699"/>
                  </a:lnTo>
                  <a:lnTo>
                    <a:pt x="2" y="657"/>
                  </a:lnTo>
                  <a:lnTo>
                    <a:pt x="0" y="643"/>
                  </a:lnTo>
                  <a:lnTo>
                    <a:pt x="2" y="619"/>
                  </a:lnTo>
                  <a:lnTo>
                    <a:pt x="16" y="623"/>
                  </a:lnTo>
                  <a:lnTo>
                    <a:pt x="26" y="617"/>
                  </a:lnTo>
                  <a:lnTo>
                    <a:pt x="18" y="601"/>
                  </a:lnTo>
                  <a:lnTo>
                    <a:pt x="10" y="575"/>
                  </a:lnTo>
                  <a:lnTo>
                    <a:pt x="2" y="549"/>
                  </a:lnTo>
                  <a:lnTo>
                    <a:pt x="10" y="529"/>
                  </a:lnTo>
                  <a:lnTo>
                    <a:pt x="16" y="507"/>
                  </a:lnTo>
                  <a:lnTo>
                    <a:pt x="8" y="485"/>
                  </a:lnTo>
                  <a:lnTo>
                    <a:pt x="20" y="469"/>
                  </a:lnTo>
                  <a:lnTo>
                    <a:pt x="20" y="455"/>
                  </a:lnTo>
                  <a:lnTo>
                    <a:pt x="30" y="453"/>
                  </a:lnTo>
                  <a:lnTo>
                    <a:pt x="36" y="467"/>
                  </a:lnTo>
                  <a:lnTo>
                    <a:pt x="50" y="455"/>
                  </a:lnTo>
                  <a:lnTo>
                    <a:pt x="78" y="433"/>
                  </a:lnTo>
                  <a:lnTo>
                    <a:pt x="102" y="423"/>
                  </a:lnTo>
                  <a:lnTo>
                    <a:pt x="116" y="421"/>
                  </a:lnTo>
                  <a:lnTo>
                    <a:pt x="132" y="409"/>
                  </a:lnTo>
                  <a:lnTo>
                    <a:pt x="142" y="417"/>
                  </a:lnTo>
                  <a:lnTo>
                    <a:pt x="154" y="411"/>
                  </a:lnTo>
                  <a:lnTo>
                    <a:pt x="183" y="407"/>
                  </a:lnTo>
                  <a:lnTo>
                    <a:pt x="205" y="385"/>
                  </a:lnTo>
                  <a:lnTo>
                    <a:pt x="225" y="385"/>
                  </a:lnTo>
                  <a:lnTo>
                    <a:pt x="243" y="387"/>
                  </a:lnTo>
                  <a:lnTo>
                    <a:pt x="285" y="377"/>
                  </a:lnTo>
                  <a:lnTo>
                    <a:pt x="309" y="351"/>
                  </a:lnTo>
                  <a:lnTo>
                    <a:pt x="319" y="321"/>
                  </a:lnTo>
                  <a:lnTo>
                    <a:pt x="339" y="297"/>
                  </a:lnTo>
                  <a:lnTo>
                    <a:pt x="331" y="287"/>
                  </a:lnTo>
                  <a:lnTo>
                    <a:pt x="333" y="263"/>
                  </a:lnTo>
                  <a:lnTo>
                    <a:pt x="345" y="245"/>
                  </a:lnTo>
                  <a:lnTo>
                    <a:pt x="353" y="223"/>
                  </a:lnTo>
                  <a:lnTo>
                    <a:pt x="377" y="237"/>
                  </a:lnTo>
                  <a:lnTo>
                    <a:pt x="381" y="223"/>
                  </a:lnTo>
                  <a:lnTo>
                    <a:pt x="417" y="227"/>
                  </a:lnTo>
                  <a:lnTo>
                    <a:pt x="435" y="193"/>
                  </a:lnTo>
                  <a:lnTo>
                    <a:pt x="457" y="157"/>
                  </a:lnTo>
                  <a:lnTo>
                    <a:pt x="487" y="127"/>
                  </a:lnTo>
                  <a:lnTo>
                    <a:pt x="509" y="122"/>
                  </a:lnTo>
                  <a:lnTo>
                    <a:pt x="531" y="131"/>
                  </a:lnTo>
                  <a:lnTo>
                    <a:pt x="551" y="157"/>
                  </a:lnTo>
                  <a:lnTo>
                    <a:pt x="561" y="173"/>
                  </a:lnTo>
                  <a:lnTo>
                    <a:pt x="575" y="169"/>
                  </a:lnTo>
                  <a:lnTo>
                    <a:pt x="597" y="169"/>
                  </a:lnTo>
                  <a:lnTo>
                    <a:pt x="611" y="183"/>
                  </a:lnTo>
                  <a:lnTo>
                    <a:pt x="631" y="165"/>
                  </a:lnTo>
                  <a:lnTo>
                    <a:pt x="609" y="155"/>
                  </a:lnTo>
                  <a:lnTo>
                    <a:pt x="621" y="135"/>
                  </a:lnTo>
                  <a:lnTo>
                    <a:pt x="619" y="112"/>
                  </a:lnTo>
                  <a:lnTo>
                    <a:pt x="649" y="106"/>
                  </a:lnTo>
                  <a:lnTo>
                    <a:pt x="645" y="90"/>
                  </a:lnTo>
                  <a:lnTo>
                    <a:pt x="663" y="78"/>
                  </a:lnTo>
                  <a:lnTo>
                    <a:pt x="677" y="58"/>
                  </a:lnTo>
                  <a:lnTo>
                    <a:pt x="695" y="66"/>
                  </a:lnTo>
                  <a:lnTo>
                    <a:pt x="705" y="64"/>
                  </a:lnTo>
                  <a:lnTo>
                    <a:pt x="721" y="72"/>
                  </a:lnTo>
                  <a:lnTo>
                    <a:pt x="735" y="56"/>
                  </a:lnTo>
                  <a:lnTo>
                    <a:pt x="721" y="46"/>
                  </a:lnTo>
                  <a:lnTo>
                    <a:pt x="703" y="44"/>
                  </a:lnTo>
                  <a:lnTo>
                    <a:pt x="691" y="30"/>
                  </a:lnTo>
                  <a:lnTo>
                    <a:pt x="703" y="24"/>
                  </a:lnTo>
                  <a:lnTo>
                    <a:pt x="717" y="32"/>
                  </a:lnTo>
                  <a:lnTo>
                    <a:pt x="729" y="34"/>
                  </a:lnTo>
                  <a:lnTo>
                    <a:pt x="741" y="32"/>
                  </a:lnTo>
                  <a:close/>
                  <a:moveTo>
                    <a:pt x="1189" y="1326"/>
                  </a:moveTo>
                  <a:lnTo>
                    <a:pt x="1189" y="1346"/>
                  </a:lnTo>
                  <a:lnTo>
                    <a:pt x="1199" y="1364"/>
                  </a:lnTo>
                  <a:lnTo>
                    <a:pt x="1209" y="1388"/>
                  </a:lnTo>
                  <a:lnTo>
                    <a:pt x="1219" y="1392"/>
                  </a:lnTo>
                  <a:lnTo>
                    <a:pt x="1225" y="1406"/>
                  </a:lnTo>
                  <a:lnTo>
                    <a:pt x="1221" y="1414"/>
                  </a:lnTo>
                  <a:lnTo>
                    <a:pt x="1223" y="1436"/>
                  </a:lnTo>
                  <a:lnTo>
                    <a:pt x="1239" y="1450"/>
                  </a:lnTo>
                  <a:lnTo>
                    <a:pt x="1253" y="1460"/>
                  </a:lnTo>
                  <a:lnTo>
                    <a:pt x="1251" y="1466"/>
                  </a:lnTo>
                  <a:lnTo>
                    <a:pt x="1251" y="1472"/>
                  </a:lnTo>
                  <a:lnTo>
                    <a:pt x="1283" y="1474"/>
                  </a:lnTo>
                  <a:lnTo>
                    <a:pt x="1283" y="1460"/>
                  </a:lnTo>
                  <a:lnTo>
                    <a:pt x="1289" y="1460"/>
                  </a:lnTo>
                  <a:lnTo>
                    <a:pt x="1295" y="1444"/>
                  </a:lnTo>
                  <a:lnTo>
                    <a:pt x="1307" y="1450"/>
                  </a:lnTo>
                  <a:lnTo>
                    <a:pt x="1309" y="1442"/>
                  </a:lnTo>
                  <a:lnTo>
                    <a:pt x="1315" y="1440"/>
                  </a:lnTo>
                  <a:lnTo>
                    <a:pt x="1317" y="1424"/>
                  </a:lnTo>
                  <a:lnTo>
                    <a:pt x="1321" y="1414"/>
                  </a:lnTo>
                  <a:lnTo>
                    <a:pt x="1325" y="1402"/>
                  </a:lnTo>
                  <a:lnTo>
                    <a:pt x="1339" y="1402"/>
                  </a:lnTo>
                  <a:lnTo>
                    <a:pt x="1341" y="1394"/>
                  </a:lnTo>
                  <a:lnTo>
                    <a:pt x="1337" y="1378"/>
                  </a:lnTo>
                  <a:lnTo>
                    <a:pt x="1341" y="1358"/>
                  </a:lnTo>
                  <a:lnTo>
                    <a:pt x="1337" y="1350"/>
                  </a:lnTo>
                  <a:lnTo>
                    <a:pt x="1339" y="1332"/>
                  </a:lnTo>
                  <a:lnTo>
                    <a:pt x="1327" y="1324"/>
                  </a:lnTo>
                  <a:lnTo>
                    <a:pt x="1313" y="1328"/>
                  </a:lnTo>
                  <a:lnTo>
                    <a:pt x="1297" y="1332"/>
                  </a:lnTo>
                  <a:lnTo>
                    <a:pt x="1279" y="1336"/>
                  </a:lnTo>
                  <a:lnTo>
                    <a:pt x="1277" y="1344"/>
                  </a:lnTo>
                  <a:lnTo>
                    <a:pt x="1259" y="1342"/>
                  </a:lnTo>
                  <a:lnTo>
                    <a:pt x="1231" y="1338"/>
                  </a:lnTo>
                  <a:lnTo>
                    <a:pt x="1215" y="1334"/>
                  </a:lnTo>
                  <a:lnTo>
                    <a:pt x="1207" y="1326"/>
                  </a:lnTo>
                  <a:lnTo>
                    <a:pt x="1191" y="1324"/>
                  </a:lnTo>
                  <a:lnTo>
                    <a:pt x="1189" y="1326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50" name="Austria">
              <a:extLst>
                <a:ext uri="{FF2B5EF4-FFF2-40B4-BE49-F238E27FC236}">
                  <a16:creationId xmlns="" xmlns:a16="http://schemas.microsoft.com/office/drawing/2014/main" id="{E78556C1-9D20-44C4-AA4C-40FE2D752496}"/>
                </a:ext>
              </a:extLst>
            </p:cNvPr>
            <p:cNvSpPr>
              <a:spLocks/>
            </p:cNvSpPr>
            <p:nvPr/>
          </p:nvSpPr>
          <p:spPr bwMode="gray">
            <a:xfrm>
              <a:off x="6097728" y="2765248"/>
              <a:ext cx="238181" cy="121926"/>
            </a:xfrm>
            <a:custGeom>
              <a:avLst/>
              <a:gdLst/>
              <a:ahLst/>
              <a:cxnLst>
                <a:cxn ang="0">
                  <a:pos x="42" y="124"/>
                </a:cxn>
                <a:cxn ang="0">
                  <a:pos x="32" y="116"/>
                </a:cxn>
                <a:cxn ang="0">
                  <a:pos x="18" y="120"/>
                </a:cxn>
                <a:cxn ang="0">
                  <a:pos x="4" y="114"/>
                </a:cxn>
                <a:cxn ang="0">
                  <a:pos x="0" y="100"/>
                </a:cxn>
                <a:cxn ang="0">
                  <a:pos x="6" y="86"/>
                </a:cxn>
                <a:cxn ang="0">
                  <a:pos x="92" y="82"/>
                </a:cxn>
                <a:cxn ang="0">
                  <a:pos x="108" y="74"/>
                </a:cxn>
                <a:cxn ang="0">
                  <a:pos x="126" y="84"/>
                </a:cxn>
                <a:cxn ang="0">
                  <a:pos x="138" y="78"/>
                </a:cxn>
                <a:cxn ang="0">
                  <a:pos x="122" y="60"/>
                </a:cxn>
                <a:cxn ang="0">
                  <a:pos x="120" y="46"/>
                </a:cxn>
                <a:cxn ang="0">
                  <a:pos x="138" y="36"/>
                </a:cxn>
                <a:cxn ang="0">
                  <a:pos x="154" y="22"/>
                </a:cxn>
                <a:cxn ang="0">
                  <a:pos x="172" y="20"/>
                </a:cxn>
                <a:cxn ang="0">
                  <a:pos x="176" y="26"/>
                </a:cxn>
                <a:cxn ang="0">
                  <a:pos x="192" y="24"/>
                </a:cxn>
                <a:cxn ang="0">
                  <a:pos x="208" y="0"/>
                </a:cxn>
                <a:cxn ang="0">
                  <a:pos x="230" y="4"/>
                </a:cxn>
                <a:cxn ang="0">
                  <a:pos x="252" y="8"/>
                </a:cxn>
                <a:cxn ang="0">
                  <a:pos x="270" y="8"/>
                </a:cxn>
                <a:cxn ang="0">
                  <a:pos x="286" y="18"/>
                </a:cxn>
                <a:cxn ang="0">
                  <a:pos x="280" y="36"/>
                </a:cxn>
                <a:cxn ang="0">
                  <a:pos x="294" y="48"/>
                </a:cxn>
                <a:cxn ang="0">
                  <a:pos x="286" y="60"/>
                </a:cxn>
                <a:cxn ang="0">
                  <a:pos x="282" y="80"/>
                </a:cxn>
                <a:cxn ang="0">
                  <a:pos x="264" y="74"/>
                </a:cxn>
                <a:cxn ang="0">
                  <a:pos x="258" y="88"/>
                </a:cxn>
                <a:cxn ang="0">
                  <a:pos x="252" y="106"/>
                </a:cxn>
                <a:cxn ang="0">
                  <a:pos x="248" y="124"/>
                </a:cxn>
                <a:cxn ang="0">
                  <a:pos x="236" y="122"/>
                </a:cxn>
                <a:cxn ang="0">
                  <a:pos x="222" y="134"/>
                </a:cxn>
                <a:cxn ang="0">
                  <a:pos x="214" y="130"/>
                </a:cxn>
                <a:cxn ang="0">
                  <a:pos x="200" y="138"/>
                </a:cxn>
                <a:cxn ang="0">
                  <a:pos x="188" y="148"/>
                </a:cxn>
                <a:cxn ang="0">
                  <a:pos x="150" y="146"/>
                </a:cxn>
                <a:cxn ang="0">
                  <a:pos x="124" y="140"/>
                </a:cxn>
                <a:cxn ang="0">
                  <a:pos x="102" y="126"/>
                </a:cxn>
                <a:cxn ang="0">
                  <a:pos x="98" y="112"/>
                </a:cxn>
                <a:cxn ang="0">
                  <a:pos x="66" y="112"/>
                </a:cxn>
                <a:cxn ang="0">
                  <a:pos x="42" y="124"/>
                </a:cxn>
              </a:cxnLst>
              <a:rect l="0" t="0" r="r" b="b"/>
              <a:pathLst>
                <a:path w="294" h="148">
                  <a:moveTo>
                    <a:pt x="42" y="124"/>
                  </a:moveTo>
                  <a:lnTo>
                    <a:pt x="32" y="116"/>
                  </a:lnTo>
                  <a:lnTo>
                    <a:pt x="18" y="120"/>
                  </a:lnTo>
                  <a:lnTo>
                    <a:pt x="4" y="114"/>
                  </a:lnTo>
                  <a:lnTo>
                    <a:pt x="0" y="100"/>
                  </a:lnTo>
                  <a:lnTo>
                    <a:pt x="6" y="86"/>
                  </a:lnTo>
                  <a:lnTo>
                    <a:pt x="92" y="82"/>
                  </a:lnTo>
                  <a:lnTo>
                    <a:pt x="108" y="74"/>
                  </a:lnTo>
                  <a:lnTo>
                    <a:pt x="126" y="84"/>
                  </a:lnTo>
                  <a:lnTo>
                    <a:pt x="138" y="78"/>
                  </a:lnTo>
                  <a:lnTo>
                    <a:pt x="122" y="60"/>
                  </a:lnTo>
                  <a:lnTo>
                    <a:pt x="120" y="46"/>
                  </a:lnTo>
                  <a:lnTo>
                    <a:pt x="138" y="36"/>
                  </a:lnTo>
                  <a:lnTo>
                    <a:pt x="154" y="22"/>
                  </a:lnTo>
                  <a:lnTo>
                    <a:pt x="172" y="20"/>
                  </a:lnTo>
                  <a:lnTo>
                    <a:pt x="176" y="26"/>
                  </a:lnTo>
                  <a:lnTo>
                    <a:pt x="192" y="24"/>
                  </a:lnTo>
                  <a:lnTo>
                    <a:pt x="208" y="0"/>
                  </a:lnTo>
                  <a:lnTo>
                    <a:pt x="230" y="4"/>
                  </a:lnTo>
                  <a:lnTo>
                    <a:pt x="252" y="8"/>
                  </a:lnTo>
                  <a:lnTo>
                    <a:pt x="270" y="8"/>
                  </a:lnTo>
                  <a:lnTo>
                    <a:pt x="286" y="18"/>
                  </a:lnTo>
                  <a:lnTo>
                    <a:pt x="280" y="36"/>
                  </a:lnTo>
                  <a:lnTo>
                    <a:pt x="294" y="48"/>
                  </a:lnTo>
                  <a:lnTo>
                    <a:pt x="286" y="60"/>
                  </a:lnTo>
                  <a:lnTo>
                    <a:pt x="282" y="80"/>
                  </a:lnTo>
                  <a:lnTo>
                    <a:pt x="264" y="74"/>
                  </a:lnTo>
                  <a:lnTo>
                    <a:pt x="258" y="88"/>
                  </a:lnTo>
                  <a:lnTo>
                    <a:pt x="252" y="106"/>
                  </a:lnTo>
                  <a:lnTo>
                    <a:pt x="248" y="124"/>
                  </a:lnTo>
                  <a:lnTo>
                    <a:pt x="236" y="122"/>
                  </a:lnTo>
                  <a:lnTo>
                    <a:pt x="222" y="134"/>
                  </a:lnTo>
                  <a:lnTo>
                    <a:pt x="214" y="130"/>
                  </a:lnTo>
                  <a:lnTo>
                    <a:pt x="200" y="138"/>
                  </a:lnTo>
                  <a:lnTo>
                    <a:pt x="188" y="148"/>
                  </a:lnTo>
                  <a:lnTo>
                    <a:pt x="150" y="146"/>
                  </a:lnTo>
                  <a:lnTo>
                    <a:pt x="124" y="140"/>
                  </a:lnTo>
                  <a:lnTo>
                    <a:pt x="102" y="126"/>
                  </a:lnTo>
                  <a:lnTo>
                    <a:pt x="98" y="112"/>
                  </a:lnTo>
                  <a:lnTo>
                    <a:pt x="66" y="112"/>
                  </a:lnTo>
                  <a:lnTo>
                    <a:pt x="42" y="124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51" name="Azerbaijan">
              <a:extLst>
                <a:ext uri="{FF2B5EF4-FFF2-40B4-BE49-F238E27FC236}">
                  <a16:creationId xmlns="" xmlns:a16="http://schemas.microsoft.com/office/drawing/2014/main" id="{1DEFC69D-3012-4AC8-BE7A-A82873A9350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179304" y="3087764"/>
              <a:ext cx="169851" cy="159290"/>
            </a:xfrm>
            <a:custGeom>
              <a:avLst/>
              <a:gdLst/>
              <a:ahLst/>
              <a:cxnLst>
                <a:cxn ang="0">
                  <a:pos x="208" y="229"/>
                </a:cxn>
                <a:cxn ang="0">
                  <a:pos x="180" y="215"/>
                </a:cxn>
                <a:cxn ang="0">
                  <a:pos x="161" y="201"/>
                </a:cxn>
                <a:cxn ang="0">
                  <a:pos x="173" y="182"/>
                </a:cxn>
                <a:cxn ang="0">
                  <a:pos x="159" y="151"/>
                </a:cxn>
                <a:cxn ang="0">
                  <a:pos x="126" y="173"/>
                </a:cxn>
                <a:cxn ang="0">
                  <a:pos x="95" y="196"/>
                </a:cxn>
                <a:cxn ang="0">
                  <a:pos x="92" y="180"/>
                </a:cxn>
                <a:cxn ang="0">
                  <a:pos x="97" y="168"/>
                </a:cxn>
                <a:cxn ang="0">
                  <a:pos x="95" y="161"/>
                </a:cxn>
                <a:cxn ang="0">
                  <a:pos x="57" y="125"/>
                </a:cxn>
                <a:cxn ang="0">
                  <a:pos x="66" y="99"/>
                </a:cxn>
                <a:cxn ang="0">
                  <a:pos x="48" y="99"/>
                </a:cxn>
                <a:cxn ang="0">
                  <a:pos x="33" y="90"/>
                </a:cxn>
                <a:cxn ang="0">
                  <a:pos x="29" y="83"/>
                </a:cxn>
                <a:cxn ang="0">
                  <a:pos x="36" y="66"/>
                </a:cxn>
                <a:cxn ang="0">
                  <a:pos x="19" y="64"/>
                </a:cxn>
                <a:cxn ang="0">
                  <a:pos x="7" y="50"/>
                </a:cxn>
                <a:cxn ang="0">
                  <a:pos x="19" y="40"/>
                </a:cxn>
                <a:cxn ang="0">
                  <a:pos x="36" y="38"/>
                </a:cxn>
                <a:cxn ang="0">
                  <a:pos x="50" y="52"/>
                </a:cxn>
                <a:cxn ang="0">
                  <a:pos x="83" y="50"/>
                </a:cxn>
                <a:cxn ang="0">
                  <a:pos x="81" y="40"/>
                </a:cxn>
                <a:cxn ang="0">
                  <a:pos x="69" y="31"/>
                </a:cxn>
                <a:cxn ang="0">
                  <a:pos x="76" y="7"/>
                </a:cxn>
                <a:cxn ang="0">
                  <a:pos x="92" y="0"/>
                </a:cxn>
                <a:cxn ang="0">
                  <a:pos x="107" y="17"/>
                </a:cxn>
                <a:cxn ang="0">
                  <a:pos x="123" y="21"/>
                </a:cxn>
                <a:cxn ang="0">
                  <a:pos x="130" y="38"/>
                </a:cxn>
                <a:cxn ang="0">
                  <a:pos x="156" y="45"/>
                </a:cxn>
                <a:cxn ang="0">
                  <a:pos x="166" y="45"/>
                </a:cxn>
                <a:cxn ang="0">
                  <a:pos x="170" y="31"/>
                </a:cxn>
                <a:cxn ang="0">
                  <a:pos x="192" y="21"/>
                </a:cxn>
                <a:cxn ang="0">
                  <a:pos x="208" y="50"/>
                </a:cxn>
                <a:cxn ang="0">
                  <a:pos x="208" y="69"/>
                </a:cxn>
                <a:cxn ang="0">
                  <a:pos x="218" y="73"/>
                </a:cxn>
                <a:cxn ang="0">
                  <a:pos x="232" y="95"/>
                </a:cxn>
                <a:cxn ang="0">
                  <a:pos x="253" y="97"/>
                </a:cxn>
                <a:cxn ang="0">
                  <a:pos x="253" y="104"/>
                </a:cxn>
                <a:cxn ang="0">
                  <a:pos x="229" y="121"/>
                </a:cxn>
                <a:cxn ang="0">
                  <a:pos x="225" y="180"/>
                </a:cxn>
                <a:cxn ang="0">
                  <a:pos x="218" y="168"/>
                </a:cxn>
                <a:cxn ang="0">
                  <a:pos x="208" y="170"/>
                </a:cxn>
                <a:cxn ang="0">
                  <a:pos x="208" y="229"/>
                </a:cxn>
                <a:cxn ang="0">
                  <a:pos x="69" y="189"/>
                </a:cxn>
                <a:cxn ang="0">
                  <a:pos x="74" y="175"/>
                </a:cxn>
                <a:cxn ang="0">
                  <a:pos x="66" y="173"/>
                </a:cxn>
                <a:cxn ang="0">
                  <a:pos x="64" y="163"/>
                </a:cxn>
                <a:cxn ang="0">
                  <a:pos x="59" y="154"/>
                </a:cxn>
                <a:cxn ang="0">
                  <a:pos x="48" y="149"/>
                </a:cxn>
                <a:cxn ang="0">
                  <a:pos x="36" y="149"/>
                </a:cxn>
                <a:cxn ang="0">
                  <a:pos x="24" y="147"/>
                </a:cxn>
                <a:cxn ang="0">
                  <a:pos x="0" y="147"/>
                </a:cxn>
                <a:cxn ang="0">
                  <a:pos x="12" y="156"/>
                </a:cxn>
                <a:cxn ang="0">
                  <a:pos x="50" y="191"/>
                </a:cxn>
                <a:cxn ang="0">
                  <a:pos x="59" y="194"/>
                </a:cxn>
                <a:cxn ang="0">
                  <a:pos x="74" y="199"/>
                </a:cxn>
                <a:cxn ang="0">
                  <a:pos x="69" y="189"/>
                </a:cxn>
              </a:cxnLst>
              <a:rect l="0" t="0" r="r" b="b"/>
              <a:pathLst>
                <a:path w="253" h="229">
                  <a:moveTo>
                    <a:pt x="208" y="229"/>
                  </a:moveTo>
                  <a:lnTo>
                    <a:pt x="180" y="215"/>
                  </a:lnTo>
                  <a:lnTo>
                    <a:pt x="161" y="201"/>
                  </a:lnTo>
                  <a:lnTo>
                    <a:pt x="173" y="182"/>
                  </a:lnTo>
                  <a:lnTo>
                    <a:pt x="159" y="151"/>
                  </a:lnTo>
                  <a:lnTo>
                    <a:pt x="126" y="173"/>
                  </a:lnTo>
                  <a:lnTo>
                    <a:pt x="95" y="196"/>
                  </a:lnTo>
                  <a:lnTo>
                    <a:pt x="92" y="180"/>
                  </a:lnTo>
                  <a:lnTo>
                    <a:pt x="97" y="168"/>
                  </a:lnTo>
                  <a:lnTo>
                    <a:pt x="95" y="161"/>
                  </a:lnTo>
                  <a:lnTo>
                    <a:pt x="57" y="125"/>
                  </a:lnTo>
                  <a:lnTo>
                    <a:pt x="66" y="99"/>
                  </a:lnTo>
                  <a:lnTo>
                    <a:pt x="48" y="99"/>
                  </a:lnTo>
                  <a:lnTo>
                    <a:pt x="33" y="90"/>
                  </a:lnTo>
                  <a:lnTo>
                    <a:pt x="29" y="83"/>
                  </a:lnTo>
                  <a:lnTo>
                    <a:pt x="36" y="66"/>
                  </a:lnTo>
                  <a:lnTo>
                    <a:pt x="19" y="64"/>
                  </a:lnTo>
                  <a:lnTo>
                    <a:pt x="7" y="50"/>
                  </a:lnTo>
                  <a:lnTo>
                    <a:pt x="19" y="40"/>
                  </a:lnTo>
                  <a:lnTo>
                    <a:pt x="36" y="38"/>
                  </a:lnTo>
                  <a:lnTo>
                    <a:pt x="50" y="52"/>
                  </a:lnTo>
                  <a:lnTo>
                    <a:pt x="83" y="50"/>
                  </a:lnTo>
                  <a:lnTo>
                    <a:pt x="81" y="40"/>
                  </a:lnTo>
                  <a:lnTo>
                    <a:pt x="69" y="31"/>
                  </a:lnTo>
                  <a:lnTo>
                    <a:pt x="76" y="7"/>
                  </a:lnTo>
                  <a:lnTo>
                    <a:pt x="92" y="0"/>
                  </a:lnTo>
                  <a:lnTo>
                    <a:pt x="107" y="17"/>
                  </a:lnTo>
                  <a:lnTo>
                    <a:pt x="123" y="21"/>
                  </a:lnTo>
                  <a:lnTo>
                    <a:pt x="130" y="38"/>
                  </a:lnTo>
                  <a:lnTo>
                    <a:pt x="156" y="45"/>
                  </a:lnTo>
                  <a:lnTo>
                    <a:pt x="166" y="45"/>
                  </a:lnTo>
                  <a:lnTo>
                    <a:pt x="170" y="31"/>
                  </a:lnTo>
                  <a:lnTo>
                    <a:pt x="192" y="21"/>
                  </a:lnTo>
                  <a:lnTo>
                    <a:pt x="208" y="50"/>
                  </a:lnTo>
                  <a:lnTo>
                    <a:pt x="208" y="69"/>
                  </a:lnTo>
                  <a:lnTo>
                    <a:pt x="218" y="73"/>
                  </a:lnTo>
                  <a:lnTo>
                    <a:pt x="232" y="95"/>
                  </a:lnTo>
                  <a:lnTo>
                    <a:pt x="253" y="97"/>
                  </a:lnTo>
                  <a:lnTo>
                    <a:pt x="253" y="104"/>
                  </a:lnTo>
                  <a:lnTo>
                    <a:pt x="229" y="121"/>
                  </a:lnTo>
                  <a:lnTo>
                    <a:pt x="225" y="180"/>
                  </a:lnTo>
                  <a:lnTo>
                    <a:pt x="218" y="168"/>
                  </a:lnTo>
                  <a:lnTo>
                    <a:pt x="208" y="170"/>
                  </a:lnTo>
                  <a:lnTo>
                    <a:pt x="208" y="229"/>
                  </a:lnTo>
                  <a:moveTo>
                    <a:pt x="69" y="189"/>
                  </a:moveTo>
                  <a:lnTo>
                    <a:pt x="74" y="175"/>
                  </a:lnTo>
                  <a:lnTo>
                    <a:pt x="66" y="173"/>
                  </a:lnTo>
                  <a:lnTo>
                    <a:pt x="64" y="163"/>
                  </a:lnTo>
                  <a:lnTo>
                    <a:pt x="59" y="154"/>
                  </a:lnTo>
                  <a:lnTo>
                    <a:pt x="48" y="149"/>
                  </a:lnTo>
                  <a:lnTo>
                    <a:pt x="36" y="149"/>
                  </a:lnTo>
                  <a:lnTo>
                    <a:pt x="24" y="147"/>
                  </a:lnTo>
                  <a:lnTo>
                    <a:pt x="0" y="147"/>
                  </a:lnTo>
                  <a:lnTo>
                    <a:pt x="12" y="156"/>
                  </a:lnTo>
                  <a:lnTo>
                    <a:pt x="50" y="191"/>
                  </a:lnTo>
                  <a:lnTo>
                    <a:pt x="59" y="194"/>
                  </a:lnTo>
                  <a:lnTo>
                    <a:pt x="74" y="199"/>
                  </a:lnTo>
                  <a:lnTo>
                    <a:pt x="69" y="189"/>
                  </a:lnTo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 cmpd="sng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52" name="Bahrain">
              <a:extLst>
                <a:ext uri="{FF2B5EF4-FFF2-40B4-BE49-F238E27FC236}">
                  <a16:creationId xmlns="" xmlns:a16="http://schemas.microsoft.com/office/drawing/2014/main" id="{DE97C7CD-13E1-4259-8849-145BABF8361E}"/>
                </a:ext>
              </a:extLst>
            </p:cNvPr>
            <p:cNvSpPr>
              <a:spLocks/>
            </p:cNvSpPr>
            <p:nvPr/>
          </p:nvSpPr>
          <p:spPr bwMode="gray">
            <a:xfrm>
              <a:off x="7360869" y="3689531"/>
              <a:ext cx="11715" cy="17698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4" y="0"/>
                </a:cxn>
                <a:cxn ang="0">
                  <a:pos x="12" y="2"/>
                </a:cxn>
                <a:cxn ang="0">
                  <a:pos x="10" y="24"/>
                </a:cxn>
                <a:cxn ang="0">
                  <a:pos x="2" y="16"/>
                </a:cxn>
                <a:cxn ang="0">
                  <a:pos x="2" y="10"/>
                </a:cxn>
                <a:cxn ang="0">
                  <a:pos x="0" y="2"/>
                </a:cxn>
              </a:cxnLst>
              <a:rect l="0" t="0" r="r" b="b"/>
              <a:pathLst>
                <a:path w="12" h="24">
                  <a:moveTo>
                    <a:pt x="0" y="2"/>
                  </a:moveTo>
                  <a:lnTo>
                    <a:pt x="4" y="0"/>
                  </a:lnTo>
                  <a:lnTo>
                    <a:pt x="12" y="2"/>
                  </a:lnTo>
                  <a:lnTo>
                    <a:pt x="10" y="24"/>
                  </a:lnTo>
                  <a:lnTo>
                    <a:pt x="2" y="16"/>
                  </a:lnTo>
                  <a:lnTo>
                    <a:pt x="2" y="1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53" name="Bangladesh">
              <a:extLst>
                <a:ext uri="{FF2B5EF4-FFF2-40B4-BE49-F238E27FC236}">
                  <a16:creationId xmlns="" xmlns:a16="http://schemas.microsoft.com/office/drawing/2014/main" id="{EC201309-ABE0-4AFC-B3DD-8C958C816ECD}"/>
                </a:ext>
              </a:extLst>
            </p:cNvPr>
            <p:cNvSpPr>
              <a:spLocks/>
            </p:cNvSpPr>
            <p:nvPr/>
          </p:nvSpPr>
          <p:spPr bwMode="gray">
            <a:xfrm>
              <a:off x="8518584" y="3691497"/>
              <a:ext cx="150328" cy="202557"/>
            </a:xfrm>
            <a:custGeom>
              <a:avLst/>
              <a:gdLst/>
              <a:ahLst/>
              <a:cxnLst>
                <a:cxn ang="0">
                  <a:pos x="178" y="216"/>
                </a:cxn>
                <a:cxn ang="0">
                  <a:pos x="174" y="192"/>
                </a:cxn>
                <a:cxn ang="0">
                  <a:pos x="172" y="170"/>
                </a:cxn>
                <a:cxn ang="0">
                  <a:pos x="168" y="118"/>
                </a:cxn>
                <a:cxn ang="0">
                  <a:pos x="158" y="112"/>
                </a:cxn>
                <a:cxn ang="0">
                  <a:pos x="150" y="118"/>
                </a:cxn>
                <a:cxn ang="0">
                  <a:pos x="146" y="134"/>
                </a:cxn>
                <a:cxn ang="0">
                  <a:pos x="128" y="124"/>
                </a:cxn>
                <a:cxn ang="0">
                  <a:pos x="130" y="114"/>
                </a:cxn>
                <a:cxn ang="0">
                  <a:pos x="136" y="102"/>
                </a:cxn>
                <a:cxn ang="0">
                  <a:pos x="150" y="94"/>
                </a:cxn>
                <a:cxn ang="0">
                  <a:pos x="162" y="84"/>
                </a:cxn>
                <a:cxn ang="0">
                  <a:pos x="180" y="58"/>
                </a:cxn>
                <a:cxn ang="0">
                  <a:pos x="182" y="42"/>
                </a:cxn>
                <a:cxn ang="0">
                  <a:pos x="104" y="40"/>
                </a:cxn>
                <a:cxn ang="0">
                  <a:pos x="86" y="44"/>
                </a:cxn>
                <a:cxn ang="0">
                  <a:pos x="72" y="38"/>
                </a:cxn>
                <a:cxn ang="0">
                  <a:pos x="70" y="24"/>
                </a:cxn>
                <a:cxn ang="0">
                  <a:pos x="62" y="12"/>
                </a:cxn>
                <a:cxn ang="0">
                  <a:pos x="52" y="12"/>
                </a:cxn>
                <a:cxn ang="0">
                  <a:pos x="44" y="0"/>
                </a:cxn>
                <a:cxn ang="0">
                  <a:pos x="30" y="8"/>
                </a:cxn>
                <a:cxn ang="0">
                  <a:pos x="20" y="2"/>
                </a:cxn>
                <a:cxn ang="0">
                  <a:pos x="6" y="4"/>
                </a:cxn>
                <a:cxn ang="0">
                  <a:pos x="8" y="18"/>
                </a:cxn>
                <a:cxn ang="0">
                  <a:pos x="0" y="32"/>
                </a:cxn>
                <a:cxn ang="0">
                  <a:pos x="16" y="48"/>
                </a:cxn>
                <a:cxn ang="0">
                  <a:pos x="22" y="46"/>
                </a:cxn>
                <a:cxn ang="0">
                  <a:pos x="32" y="56"/>
                </a:cxn>
                <a:cxn ang="0">
                  <a:pos x="24" y="72"/>
                </a:cxn>
                <a:cxn ang="0">
                  <a:pos x="14" y="72"/>
                </a:cxn>
                <a:cxn ang="0">
                  <a:pos x="8" y="84"/>
                </a:cxn>
                <a:cxn ang="0">
                  <a:pos x="30" y="102"/>
                </a:cxn>
                <a:cxn ang="0">
                  <a:pos x="24" y="116"/>
                </a:cxn>
                <a:cxn ang="0">
                  <a:pos x="42" y="156"/>
                </a:cxn>
                <a:cxn ang="0">
                  <a:pos x="56" y="202"/>
                </a:cxn>
                <a:cxn ang="0">
                  <a:pos x="70" y="190"/>
                </a:cxn>
                <a:cxn ang="0">
                  <a:pos x="80" y="196"/>
                </a:cxn>
                <a:cxn ang="0">
                  <a:pos x="92" y="180"/>
                </a:cxn>
                <a:cxn ang="0">
                  <a:pos x="96" y="142"/>
                </a:cxn>
                <a:cxn ang="0">
                  <a:pos x="134" y="170"/>
                </a:cxn>
                <a:cxn ang="0">
                  <a:pos x="142" y="188"/>
                </a:cxn>
                <a:cxn ang="0">
                  <a:pos x="144" y="222"/>
                </a:cxn>
                <a:cxn ang="0">
                  <a:pos x="156" y="236"/>
                </a:cxn>
                <a:cxn ang="0">
                  <a:pos x="172" y="250"/>
                </a:cxn>
                <a:cxn ang="0">
                  <a:pos x="174" y="220"/>
                </a:cxn>
                <a:cxn ang="0">
                  <a:pos x="178" y="216"/>
                </a:cxn>
              </a:cxnLst>
              <a:rect l="0" t="0" r="r" b="b"/>
              <a:pathLst>
                <a:path w="182" h="250">
                  <a:moveTo>
                    <a:pt x="178" y="216"/>
                  </a:moveTo>
                  <a:lnTo>
                    <a:pt x="174" y="192"/>
                  </a:lnTo>
                  <a:lnTo>
                    <a:pt x="172" y="170"/>
                  </a:lnTo>
                  <a:lnTo>
                    <a:pt x="168" y="118"/>
                  </a:lnTo>
                  <a:lnTo>
                    <a:pt x="158" y="112"/>
                  </a:lnTo>
                  <a:lnTo>
                    <a:pt x="150" y="118"/>
                  </a:lnTo>
                  <a:lnTo>
                    <a:pt x="146" y="134"/>
                  </a:lnTo>
                  <a:lnTo>
                    <a:pt x="128" y="124"/>
                  </a:lnTo>
                  <a:lnTo>
                    <a:pt x="130" y="114"/>
                  </a:lnTo>
                  <a:lnTo>
                    <a:pt x="136" y="102"/>
                  </a:lnTo>
                  <a:lnTo>
                    <a:pt x="150" y="94"/>
                  </a:lnTo>
                  <a:lnTo>
                    <a:pt x="162" y="84"/>
                  </a:lnTo>
                  <a:lnTo>
                    <a:pt x="180" y="58"/>
                  </a:lnTo>
                  <a:lnTo>
                    <a:pt x="182" y="42"/>
                  </a:lnTo>
                  <a:lnTo>
                    <a:pt x="104" y="40"/>
                  </a:lnTo>
                  <a:lnTo>
                    <a:pt x="86" y="44"/>
                  </a:lnTo>
                  <a:lnTo>
                    <a:pt x="72" y="38"/>
                  </a:lnTo>
                  <a:lnTo>
                    <a:pt x="70" y="24"/>
                  </a:lnTo>
                  <a:lnTo>
                    <a:pt x="62" y="12"/>
                  </a:lnTo>
                  <a:lnTo>
                    <a:pt x="52" y="12"/>
                  </a:lnTo>
                  <a:lnTo>
                    <a:pt x="44" y="0"/>
                  </a:lnTo>
                  <a:lnTo>
                    <a:pt x="30" y="8"/>
                  </a:lnTo>
                  <a:lnTo>
                    <a:pt x="20" y="2"/>
                  </a:lnTo>
                  <a:lnTo>
                    <a:pt x="6" y="4"/>
                  </a:lnTo>
                  <a:lnTo>
                    <a:pt x="8" y="18"/>
                  </a:lnTo>
                  <a:lnTo>
                    <a:pt x="0" y="32"/>
                  </a:lnTo>
                  <a:lnTo>
                    <a:pt x="16" y="48"/>
                  </a:lnTo>
                  <a:lnTo>
                    <a:pt x="22" y="46"/>
                  </a:lnTo>
                  <a:lnTo>
                    <a:pt x="32" y="56"/>
                  </a:lnTo>
                  <a:lnTo>
                    <a:pt x="24" y="72"/>
                  </a:lnTo>
                  <a:lnTo>
                    <a:pt x="14" y="72"/>
                  </a:lnTo>
                  <a:lnTo>
                    <a:pt x="8" y="84"/>
                  </a:lnTo>
                  <a:lnTo>
                    <a:pt x="30" y="102"/>
                  </a:lnTo>
                  <a:lnTo>
                    <a:pt x="24" y="116"/>
                  </a:lnTo>
                  <a:lnTo>
                    <a:pt x="42" y="156"/>
                  </a:lnTo>
                  <a:lnTo>
                    <a:pt x="56" y="202"/>
                  </a:lnTo>
                  <a:lnTo>
                    <a:pt x="70" y="190"/>
                  </a:lnTo>
                  <a:lnTo>
                    <a:pt x="80" y="196"/>
                  </a:lnTo>
                  <a:lnTo>
                    <a:pt x="92" y="180"/>
                  </a:lnTo>
                  <a:lnTo>
                    <a:pt x="96" y="142"/>
                  </a:lnTo>
                  <a:lnTo>
                    <a:pt x="134" y="170"/>
                  </a:lnTo>
                  <a:lnTo>
                    <a:pt x="142" y="188"/>
                  </a:lnTo>
                  <a:lnTo>
                    <a:pt x="144" y="222"/>
                  </a:lnTo>
                  <a:lnTo>
                    <a:pt x="156" y="236"/>
                  </a:lnTo>
                  <a:lnTo>
                    <a:pt x="172" y="250"/>
                  </a:lnTo>
                  <a:lnTo>
                    <a:pt x="174" y="220"/>
                  </a:lnTo>
                  <a:lnTo>
                    <a:pt x="178" y="216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54" name="Belarus">
              <a:extLst>
                <a:ext uri="{FF2B5EF4-FFF2-40B4-BE49-F238E27FC236}">
                  <a16:creationId xmlns="" xmlns:a16="http://schemas.microsoft.com/office/drawing/2014/main" id="{A48D1ADF-DCDD-4C9A-B9B0-7FCB0896FFE5}"/>
                </a:ext>
              </a:extLst>
            </p:cNvPr>
            <p:cNvSpPr>
              <a:spLocks/>
            </p:cNvSpPr>
            <p:nvPr/>
          </p:nvSpPr>
          <p:spPr bwMode="gray">
            <a:xfrm>
              <a:off x="6517474" y="2381769"/>
              <a:ext cx="294797" cy="269419"/>
            </a:xfrm>
            <a:custGeom>
              <a:avLst/>
              <a:gdLst/>
              <a:ahLst/>
              <a:cxnLst>
                <a:cxn ang="0">
                  <a:pos x="330" y="268"/>
                </a:cxn>
                <a:cxn ang="0">
                  <a:pos x="322" y="210"/>
                </a:cxn>
                <a:cxn ang="0">
                  <a:pos x="352" y="202"/>
                </a:cxn>
                <a:cxn ang="0">
                  <a:pos x="352" y="174"/>
                </a:cxn>
                <a:cxn ang="0">
                  <a:pos x="336" y="154"/>
                </a:cxn>
                <a:cxn ang="0">
                  <a:pos x="304" y="128"/>
                </a:cxn>
                <a:cxn ang="0">
                  <a:pos x="300" y="92"/>
                </a:cxn>
                <a:cxn ang="0">
                  <a:pos x="298" y="62"/>
                </a:cxn>
                <a:cxn ang="0">
                  <a:pos x="270" y="16"/>
                </a:cxn>
                <a:cxn ang="0">
                  <a:pos x="244" y="8"/>
                </a:cxn>
                <a:cxn ang="0">
                  <a:pos x="216" y="10"/>
                </a:cxn>
                <a:cxn ang="0">
                  <a:pos x="190" y="0"/>
                </a:cxn>
                <a:cxn ang="0">
                  <a:pos x="174" y="50"/>
                </a:cxn>
                <a:cxn ang="0">
                  <a:pos x="152" y="46"/>
                </a:cxn>
                <a:cxn ang="0">
                  <a:pos x="136" y="74"/>
                </a:cxn>
                <a:cxn ang="0">
                  <a:pos x="104" y="116"/>
                </a:cxn>
                <a:cxn ang="0">
                  <a:pos x="106" y="152"/>
                </a:cxn>
                <a:cxn ang="0">
                  <a:pos x="66" y="140"/>
                </a:cxn>
                <a:cxn ang="0">
                  <a:pos x="18" y="162"/>
                </a:cxn>
                <a:cxn ang="0">
                  <a:pos x="28" y="214"/>
                </a:cxn>
                <a:cxn ang="0">
                  <a:pos x="22" y="250"/>
                </a:cxn>
                <a:cxn ang="0">
                  <a:pos x="0" y="268"/>
                </a:cxn>
                <a:cxn ang="0">
                  <a:pos x="18" y="304"/>
                </a:cxn>
                <a:cxn ang="0">
                  <a:pos x="52" y="296"/>
                </a:cxn>
                <a:cxn ang="0">
                  <a:pos x="108" y="294"/>
                </a:cxn>
                <a:cxn ang="0">
                  <a:pos x="134" y="304"/>
                </a:cxn>
                <a:cxn ang="0">
                  <a:pos x="160" y="302"/>
                </a:cxn>
                <a:cxn ang="0">
                  <a:pos x="198" y="306"/>
                </a:cxn>
                <a:cxn ang="0">
                  <a:pos x="226" y="308"/>
                </a:cxn>
                <a:cxn ang="0">
                  <a:pos x="242" y="330"/>
                </a:cxn>
                <a:cxn ang="0">
                  <a:pos x="282" y="328"/>
                </a:cxn>
                <a:cxn ang="0">
                  <a:pos x="300" y="276"/>
                </a:cxn>
              </a:cxnLst>
              <a:rect l="0" t="0" r="r" b="b"/>
              <a:pathLst>
                <a:path w="364" h="330">
                  <a:moveTo>
                    <a:pt x="300" y="276"/>
                  </a:moveTo>
                  <a:lnTo>
                    <a:pt x="330" y="268"/>
                  </a:lnTo>
                  <a:lnTo>
                    <a:pt x="336" y="236"/>
                  </a:lnTo>
                  <a:lnTo>
                    <a:pt x="322" y="210"/>
                  </a:lnTo>
                  <a:lnTo>
                    <a:pt x="328" y="200"/>
                  </a:lnTo>
                  <a:lnTo>
                    <a:pt x="352" y="202"/>
                  </a:lnTo>
                  <a:lnTo>
                    <a:pt x="364" y="186"/>
                  </a:lnTo>
                  <a:lnTo>
                    <a:pt x="352" y="174"/>
                  </a:lnTo>
                  <a:lnTo>
                    <a:pt x="330" y="172"/>
                  </a:lnTo>
                  <a:lnTo>
                    <a:pt x="336" y="154"/>
                  </a:lnTo>
                  <a:lnTo>
                    <a:pt x="318" y="134"/>
                  </a:lnTo>
                  <a:lnTo>
                    <a:pt x="304" y="128"/>
                  </a:lnTo>
                  <a:lnTo>
                    <a:pt x="310" y="110"/>
                  </a:lnTo>
                  <a:lnTo>
                    <a:pt x="300" y="92"/>
                  </a:lnTo>
                  <a:lnTo>
                    <a:pt x="308" y="84"/>
                  </a:lnTo>
                  <a:lnTo>
                    <a:pt x="298" y="62"/>
                  </a:lnTo>
                  <a:lnTo>
                    <a:pt x="302" y="40"/>
                  </a:lnTo>
                  <a:lnTo>
                    <a:pt x="270" y="16"/>
                  </a:lnTo>
                  <a:lnTo>
                    <a:pt x="242" y="28"/>
                  </a:lnTo>
                  <a:lnTo>
                    <a:pt x="244" y="8"/>
                  </a:lnTo>
                  <a:lnTo>
                    <a:pt x="226" y="2"/>
                  </a:lnTo>
                  <a:lnTo>
                    <a:pt x="216" y="10"/>
                  </a:lnTo>
                  <a:lnTo>
                    <a:pt x="208" y="0"/>
                  </a:lnTo>
                  <a:lnTo>
                    <a:pt x="190" y="0"/>
                  </a:lnTo>
                  <a:lnTo>
                    <a:pt x="176" y="34"/>
                  </a:lnTo>
                  <a:lnTo>
                    <a:pt x="174" y="50"/>
                  </a:lnTo>
                  <a:lnTo>
                    <a:pt x="164" y="56"/>
                  </a:lnTo>
                  <a:lnTo>
                    <a:pt x="152" y="46"/>
                  </a:lnTo>
                  <a:lnTo>
                    <a:pt x="130" y="54"/>
                  </a:lnTo>
                  <a:lnTo>
                    <a:pt x="136" y="74"/>
                  </a:lnTo>
                  <a:lnTo>
                    <a:pt x="122" y="80"/>
                  </a:lnTo>
                  <a:lnTo>
                    <a:pt x="104" y="116"/>
                  </a:lnTo>
                  <a:lnTo>
                    <a:pt x="110" y="138"/>
                  </a:lnTo>
                  <a:lnTo>
                    <a:pt x="106" y="152"/>
                  </a:lnTo>
                  <a:lnTo>
                    <a:pt x="80" y="140"/>
                  </a:lnTo>
                  <a:lnTo>
                    <a:pt x="66" y="140"/>
                  </a:lnTo>
                  <a:lnTo>
                    <a:pt x="58" y="162"/>
                  </a:lnTo>
                  <a:lnTo>
                    <a:pt x="18" y="162"/>
                  </a:lnTo>
                  <a:lnTo>
                    <a:pt x="20" y="194"/>
                  </a:lnTo>
                  <a:lnTo>
                    <a:pt x="28" y="214"/>
                  </a:lnTo>
                  <a:lnTo>
                    <a:pt x="28" y="238"/>
                  </a:lnTo>
                  <a:lnTo>
                    <a:pt x="22" y="250"/>
                  </a:lnTo>
                  <a:lnTo>
                    <a:pt x="8" y="248"/>
                  </a:lnTo>
                  <a:lnTo>
                    <a:pt x="0" y="268"/>
                  </a:lnTo>
                  <a:lnTo>
                    <a:pt x="22" y="282"/>
                  </a:lnTo>
                  <a:lnTo>
                    <a:pt x="18" y="304"/>
                  </a:lnTo>
                  <a:lnTo>
                    <a:pt x="36" y="304"/>
                  </a:lnTo>
                  <a:lnTo>
                    <a:pt x="52" y="296"/>
                  </a:lnTo>
                  <a:lnTo>
                    <a:pt x="96" y="292"/>
                  </a:lnTo>
                  <a:lnTo>
                    <a:pt x="108" y="294"/>
                  </a:lnTo>
                  <a:lnTo>
                    <a:pt x="122" y="294"/>
                  </a:lnTo>
                  <a:lnTo>
                    <a:pt x="134" y="304"/>
                  </a:lnTo>
                  <a:lnTo>
                    <a:pt x="148" y="304"/>
                  </a:lnTo>
                  <a:lnTo>
                    <a:pt x="160" y="302"/>
                  </a:lnTo>
                  <a:lnTo>
                    <a:pt x="182" y="318"/>
                  </a:lnTo>
                  <a:lnTo>
                    <a:pt x="198" y="306"/>
                  </a:lnTo>
                  <a:lnTo>
                    <a:pt x="216" y="316"/>
                  </a:lnTo>
                  <a:lnTo>
                    <a:pt x="226" y="308"/>
                  </a:lnTo>
                  <a:lnTo>
                    <a:pt x="238" y="312"/>
                  </a:lnTo>
                  <a:lnTo>
                    <a:pt x="242" y="330"/>
                  </a:lnTo>
                  <a:lnTo>
                    <a:pt x="266" y="326"/>
                  </a:lnTo>
                  <a:lnTo>
                    <a:pt x="282" y="328"/>
                  </a:lnTo>
                  <a:lnTo>
                    <a:pt x="286" y="302"/>
                  </a:lnTo>
                  <a:lnTo>
                    <a:pt x="300" y="276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55" name="Belgium">
              <a:extLst>
                <a:ext uri="{FF2B5EF4-FFF2-40B4-BE49-F238E27FC236}">
                  <a16:creationId xmlns="" xmlns:a16="http://schemas.microsoft.com/office/drawing/2014/main" id="{B59E287A-54FA-46C9-B2DB-1A723B51D2F7}"/>
                </a:ext>
              </a:extLst>
            </p:cNvPr>
            <p:cNvSpPr>
              <a:spLocks/>
            </p:cNvSpPr>
            <p:nvPr/>
          </p:nvSpPr>
          <p:spPr bwMode="gray">
            <a:xfrm>
              <a:off x="5879069" y="2641355"/>
              <a:ext cx="121043" cy="100295"/>
            </a:xfrm>
            <a:custGeom>
              <a:avLst/>
              <a:gdLst/>
              <a:ahLst/>
              <a:cxnLst>
                <a:cxn ang="0">
                  <a:pos x="0" y="22"/>
                </a:cxn>
                <a:cxn ang="0">
                  <a:pos x="26" y="6"/>
                </a:cxn>
                <a:cxn ang="0">
                  <a:pos x="32" y="20"/>
                </a:cxn>
                <a:cxn ang="0">
                  <a:pos x="60" y="18"/>
                </a:cxn>
                <a:cxn ang="0">
                  <a:pos x="68" y="6"/>
                </a:cxn>
                <a:cxn ang="0">
                  <a:pos x="78" y="0"/>
                </a:cxn>
                <a:cxn ang="0">
                  <a:pos x="98" y="10"/>
                </a:cxn>
                <a:cxn ang="0">
                  <a:pos x="114" y="12"/>
                </a:cxn>
                <a:cxn ang="0">
                  <a:pos x="126" y="20"/>
                </a:cxn>
                <a:cxn ang="0">
                  <a:pos x="126" y="34"/>
                </a:cxn>
                <a:cxn ang="0">
                  <a:pos x="120" y="44"/>
                </a:cxn>
                <a:cxn ang="0">
                  <a:pos x="124" y="48"/>
                </a:cxn>
                <a:cxn ang="0">
                  <a:pos x="136" y="48"/>
                </a:cxn>
                <a:cxn ang="0">
                  <a:pos x="148" y="70"/>
                </a:cxn>
                <a:cxn ang="0">
                  <a:pos x="138" y="84"/>
                </a:cxn>
                <a:cxn ang="0">
                  <a:pos x="130" y="92"/>
                </a:cxn>
                <a:cxn ang="0">
                  <a:pos x="126" y="100"/>
                </a:cxn>
                <a:cxn ang="0">
                  <a:pos x="130" y="106"/>
                </a:cxn>
                <a:cxn ang="0">
                  <a:pos x="126" y="124"/>
                </a:cxn>
                <a:cxn ang="0">
                  <a:pos x="116" y="124"/>
                </a:cxn>
                <a:cxn ang="0">
                  <a:pos x="90" y="100"/>
                </a:cxn>
                <a:cxn ang="0">
                  <a:pos x="86" y="84"/>
                </a:cxn>
                <a:cxn ang="0">
                  <a:pos x="72" y="92"/>
                </a:cxn>
                <a:cxn ang="0">
                  <a:pos x="60" y="86"/>
                </a:cxn>
                <a:cxn ang="0">
                  <a:pos x="54" y="78"/>
                </a:cxn>
                <a:cxn ang="0">
                  <a:pos x="52" y="64"/>
                </a:cxn>
                <a:cxn ang="0">
                  <a:pos x="40" y="64"/>
                </a:cxn>
                <a:cxn ang="0">
                  <a:pos x="26" y="54"/>
                </a:cxn>
                <a:cxn ang="0">
                  <a:pos x="20" y="44"/>
                </a:cxn>
                <a:cxn ang="0">
                  <a:pos x="8" y="36"/>
                </a:cxn>
                <a:cxn ang="0">
                  <a:pos x="0" y="22"/>
                </a:cxn>
              </a:cxnLst>
              <a:rect l="0" t="0" r="r" b="b"/>
              <a:pathLst>
                <a:path w="148" h="124">
                  <a:moveTo>
                    <a:pt x="0" y="22"/>
                  </a:moveTo>
                  <a:lnTo>
                    <a:pt x="26" y="6"/>
                  </a:lnTo>
                  <a:lnTo>
                    <a:pt x="32" y="20"/>
                  </a:lnTo>
                  <a:lnTo>
                    <a:pt x="60" y="18"/>
                  </a:lnTo>
                  <a:lnTo>
                    <a:pt x="68" y="6"/>
                  </a:lnTo>
                  <a:lnTo>
                    <a:pt x="78" y="0"/>
                  </a:lnTo>
                  <a:lnTo>
                    <a:pt x="98" y="10"/>
                  </a:lnTo>
                  <a:lnTo>
                    <a:pt x="114" y="12"/>
                  </a:lnTo>
                  <a:lnTo>
                    <a:pt x="126" y="20"/>
                  </a:lnTo>
                  <a:lnTo>
                    <a:pt x="126" y="34"/>
                  </a:lnTo>
                  <a:lnTo>
                    <a:pt x="120" y="44"/>
                  </a:lnTo>
                  <a:lnTo>
                    <a:pt x="124" y="48"/>
                  </a:lnTo>
                  <a:lnTo>
                    <a:pt x="136" y="48"/>
                  </a:lnTo>
                  <a:lnTo>
                    <a:pt x="148" y="70"/>
                  </a:lnTo>
                  <a:lnTo>
                    <a:pt x="138" y="84"/>
                  </a:lnTo>
                  <a:lnTo>
                    <a:pt x="130" y="92"/>
                  </a:lnTo>
                  <a:lnTo>
                    <a:pt x="126" y="100"/>
                  </a:lnTo>
                  <a:lnTo>
                    <a:pt x="130" y="106"/>
                  </a:lnTo>
                  <a:lnTo>
                    <a:pt x="126" y="124"/>
                  </a:lnTo>
                  <a:lnTo>
                    <a:pt x="116" y="124"/>
                  </a:lnTo>
                  <a:lnTo>
                    <a:pt x="90" y="100"/>
                  </a:lnTo>
                  <a:lnTo>
                    <a:pt x="86" y="84"/>
                  </a:lnTo>
                  <a:lnTo>
                    <a:pt x="72" y="92"/>
                  </a:lnTo>
                  <a:lnTo>
                    <a:pt x="60" y="86"/>
                  </a:lnTo>
                  <a:lnTo>
                    <a:pt x="54" y="78"/>
                  </a:lnTo>
                  <a:lnTo>
                    <a:pt x="52" y="64"/>
                  </a:lnTo>
                  <a:lnTo>
                    <a:pt x="40" y="64"/>
                  </a:lnTo>
                  <a:lnTo>
                    <a:pt x="26" y="54"/>
                  </a:lnTo>
                  <a:lnTo>
                    <a:pt x="20" y="44"/>
                  </a:lnTo>
                  <a:lnTo>
                    <a:pt x="8" y="36"/>
                  </a:lnTo>
                  <a:lnTo>
                    <a:pt x="0" y="22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56" name="Benin">
              <a:extLst>
                <a:ext uri="{FF2B5EF4-FFF2-40B4-BE49-F238E27FC236}">
                  <a16:creationId xmlns="" xmlns:a16="http://schemas.microsoft.com/office/drawing/2014/main" id="{53B73F48-C662-4306-8E34-67F536CD0424}"/>
                </a:ext>
              </a:extLst>
            </p:cNvPr>
            <p:cNvSpPr>
              <a:spLocks/>
            </p:cNvSpPr>
            <p:nvPr/>
          </p:nvSpPr>
          <p:spPr bwMode="gray">
            <a:xfrm>
              <a:off x="5830263" y="4161506"/>
              <a:ext cx="95663" cy="202556"/>
            </a:xfrm>
            <a:custGeom>
              <a:avLst/>
              <a:gdLst/>
              <a:ahLst/>
              <a:cxnLst>
                <a:cxn ang="0">
                  <a:pos x="70" y="247"/>
                </a:cxn>
                <a:cxn ang="0">
                  <a:pos x="44" y="245"/>
                </a:cxn>
                <a:cxn ang="0">
                  <a:pos x="40" y="233"/>
                </a:cxn>
                <a:cxn ang="0">
                  <a:pos x="36" y="140"/>
                </a:cxn>
                <a:cxn ang="0">
                  <a:pos x="22" y="126"/>
                </a:cxn>
                <a:cxn ang="0">
                  <a:pos x="22" y="98"/>
                </a:cxn>
                <a:cxn ang="0">
                  <a:pos x="0" y="66"/>
                </a:cxn>
                <a:cxn ang="0">
                  <a:pos x="24" y="42"/>
                </a:cxn>
                <a:cxn ang="0">
                  <a:pos x="44" y="44"/>
                </a:cxn>
                <a:cxn ang="0">
                  <a:pos x="54" y="26"/>
                </a:cxn>
                <a:cxn ang="0">
                  <a:pos x="62" y="2"/>
                </a:cxn>
                <a:cxn ang="0">
                  <a:pos x="72" y="0"/>
                </a:cxn>
                <a:cxn ang="0">
                  <a:pos x="108" y="16"/>
                </a:cxn>
                <a:cxn ang="0">
                  <a:pos x="118" y="56"/>
                </a:cxn>
                <a:cxn ang="0">
                  <a:pos x="118" y="88"/>
                </a:cxn>
                <a:cxn ang="0">
                  <a:pos x="104" y="120"/>
                </a:cxn>
                <a:cxn ang="0">
                  <a:pos x="94" y="136"/>
                </a:cxn>
                <a:cxn ang="0">
                  <a:pos x="84" y="138"/>
                </a:cxn>
                <a:cxn ang="0">
                  <a:pos x="84" y="203"/>
                </a:cxn>
                <a:cxn ang="0">
                  <a:pos x="92" y="217"/>
                </a:cxn>
                <a:cxn ang="0">
                  <a:pos x="92" y="239"/>
                </a:cxn>
                <a:cxn ang="0">
                  <a:pos x="70" y="247"/>
                </a:cxn>
              </a:cxnLst>
              <a:rect l="0" t="0" r="r" b="b"/>
              <a:pathLst>
                <a:path w="118" h="247">
                  <a:moveTo>
                    <a:pt x="70" y="247"/>
                  </a:moveTo>
                  <a:lnTo>
                    <a:pt x="44" y="245"/>
                  </a:lnTo>
                  <a:lnTo>
                    <a:pt x="40" y="233"/>
                  </a:lnTo>
                  <a:lnTo>
                    <a:pt x="36" y="140"/>
                  </a:lnTo>
                  <a:lnTo>
                    <a:pt x="22" y="126"/>
                  </a:lnTo>
                  <a:lnTo>
                    <a:pt x="22" y="98"/>
                  </a:lnTo>
                  <a:lnTo>
                    <a:pt x="0" y="66"/>
                  </a:lnTo>
                  <a:lnTo>
                    <a:pt x="24" y="42"/>
                  </a:lnTo>
                  <a:lnTo>
                    <a:pt x="44" y="44"/>
                  </a:lnTo>
                  <a:lnTo>
                    <a:pt x="54" y="26"/>
                  </a:lnTo>
                  <a:lnTo>
                    <a:pt x="62" y="2"/>
                  </a:lnTo>
                  <a:lnTo>
                    <a:pt x="72" y="0"/>
                  </a:lnTo>
                  <a:lnTo>
                    <a:pt x="108" y="16"/>
                  </a:lnTo>
                  <a:lnTo>
                    <a:pt x="118" y="56"/>
                  </a:lnTo>
                  <a:lnTo>
                    <a:pt x="118" y="88"/>
                  </a:lnTo>
                  <a:lnTo>
                    <a:pt x="104" y="120"/>
                  </a:lnTo>
                  <a:lnTo>
                    <a:pt x="94" y="136"/>
                  </a:lnTo>
                  <a:lnTo>
                    <a:pt x="84" y="138"/>
                  </a:lnTo>
                  <a:lnTo>
                    <a:pt x="84" y="203"/>
                  </a:lnTo>
                  <a:lnTo>
                    <a:pt x="92" y="217"/>
                  </a:lnTo>
                  <a:lnTo>
                    <a:pt x="92" y="239"/>
                  </a:lnTo>
                  <a:lnTo>
                    <a:pt x="70" y="247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57" name="Bhutan">
              <a:extLst>
                <a:ext uri="{FF2B5EF4-FFF2-40B4-BE49-F238E27FC236}">
                  <a16:creationId xmlns="" xmlns:a16="http://schemas.microsoft.com/office/drawing/2014/main" id="{9D810168-817C-4FF8-8613-70B1D58C4EDC}"/>
                </a:ext>
              </a:extLst>
            </p:cNvPr>
            <p:cNvSpPr>
              <a:spLocks/>
            </p:cNvSpPr>
            <p:nvPr/>
          </p:nvSpPr>
          <p:spPr bwMode="gray">
            <a:xfrm>
              <a:off x="8551774" y="3632502"/>
              <a:ext cx="89806" cy="49165"/>
            </a:xfrm>
            <a:custGeom>
              <a:avLst/>
              <a:gdLst/>
              <a:ahLst/>
              <a:cxnLst>
                <a:cxn ang="0">
                  <a:pos x="102" y="4"/>
                </a:cxn>
                <a:cxn ang="0">
                  <a:pos x="60" y="6"/>
                </a:cxn>
                <a:cxn ang="0">
                  <a:pos x="34" y="0"/>
                </a:cxn>
                <a:cxn ang="0">
                  <a:pos x="16" y="16"/>
                </a:cxn>
                <a:cxn ang="0">
                  <a:pos x="0" y="42"/>
                </a:cxn>
                <a:cxn ang="0">
                  <a:pos x="2" y="60"/>
                </a:cxn>
                <a:cxn ang="0">
                  <a:pos x="28" y="60"/>
                </a:cxn>
                <a:cxn ang="0">
                  <a:pos x="48" y="54"/>
                </a:cxn>
                <a:cxn ang="0">
                  <a:pos x="78" y="54"/>
                </a:cxn>
                <a:cxn ang="0">
                  <a:pos x="100" y="54"/>
                </a:cxn>
                <a:cxn ang="0">
                  <a:pos x="112" y="40"/>
                </a:cxn>
                <a:cxn ang="0">
                  <a:pos x="104" y="28"/>
                </a:cxn>
                <a:cxn ang="0">
                  <a:pos x="94" y="24"/>
                </a:cxn>
                <a:cxn ang="0">
                  <a:pos x="102" y="4"/>
                </a:cxn>
              </a:cxnLst>
              <a:rect l="0" t="0" r="r" b="b"/>
              <a:pathLst>
                <a:path w="112" h="60">
                  <a:moveTo>
                    <a:pt x="102" y="4"/>
                  </a:moveTo>
                  <a:lnTo>
                    <a:pt x="60" y="6"/>
                  </a:lnTo>
                  <a:lnTo>
                    <a:pt x="34" y="0"/>
                  </a:lnTo>
                  <a:lnTo>
                    <a:pt x="16" y="16"/>
                  </a:lnTo>
                  <a:lnTo>
                    <a:pt x="0" y="42"/>
                  </a:lnTo>
                  <a:lnTo>
                    <a:pt x="2" y="60"/>
                  </a:lnTo>
                  <a:lnTo>
                    <a:pt x="28" y="60"/>
                  </a:lnTo>
                  <a:lnTo>
                    <a:pt x="48" y="54"/>
                  </a:lnTo>
                  <a:lnTo>
                    <a:pt x="78" y="54"/>
                  </a:lnTo>
                  <a:lnTo>
                    <a:pt x="100" y="54"/>
                  </a:lnTo>
                  <a:lnTo>
                    <a:pt x="112" y="40"/>
                  </a:lnTo>
                  <a:lnTo>
                    <a:pt x="104" y="28"/>
                  </a:lnTo>
                  <a:lnTo>
                    <a:pt x="94" y="24"/>
                  </a:lnTo>
                  <a:lnTo>
                    <a:pt x="102" y="4"/>
                  </a:lnTo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58" name="Bolivia">
              <a:extLst>
                <a:ext uri="{FF2B5EF4-FFF2-40B4-BE49-F238E27FC236}">
                  <a16:creationId xmlns="" xmlns:a16="http://schemas.microsoft.com/office/drawing/2014/main" id="{5F9FBDFC-587B-44D9-9DE6-F2F871686446}"/>
                </a:ext>
              </a:extLst>
            </p:cNvPr>
            <p:cNvSpPr>
              <a:spLocks/>
            </p:cNvSpPr>
            <p:nvPr/>
          </p:nvSpPr>
          <p:spPr bwMode="gray">
            <a:xfrm>
              <a:off x="3549972" y="4934364"/>
              <a:ext cx="376794" cy="446410"/>
            </a:xfrm>
            <a:custGeom>
              <a:avLst/>
              <a:gdLst/>
              <a:ahLst/>
              <a:cxnLst>
                <a:cxn ang="0">
                  <a:pos x="6" y="315"/>
                </a:cxn>
                <a:cxn ang="0">
                  <a:pos x="0" y="295"/>
                </a:cxn>
                <a:cxn ang="0">
                  <a:pos x="24" y="279"/>
                </a:cxn>
                <a:cxn ang="0">
                  <a:pos x="36" y="265"/>
                </a:cxn>
                <a:cxn ang="0">
                  <a:pos x="14" y="243"/>
                </a:cxn>
                <a:cxn ang="0">
                  <a:pos x="22" y="217"/>
                </a:cxn>
                <a:cxn ang="0">
                  <a:pos x="12" y="201"/>
                </a:cxn>
                <a:cxn ang="0">
                  <a:pos x="42" y="110"/>
                </a:cxn>
                <a:cxn ang="0">
                  <a:pos x="6" y="52"/>
                </a:cxn>
                <a:cxn ang="0">
                  <a:pos x="44" y="50"/>
                </a:cxn>
                <a:cxn ang="0">
                  <a:pos x="70" y="30"/>
                </a:cxn>
                <a:cxn ang="0">
                  <a:pos x="92" y="24"/>
                </a:cxn>
                <a:cxn ang="0">
                  <a:pos x="114" y="8"/>
                </a:cxn>
                <a:cxn ang="0">
                  <a:pos x="158" y="0"/>
                </a:cxn>
                <a:cxn ang="0">
                  <a:pos x="166" y="20"/>
                </a:cxn>
                <a:cxn ang="0">
                  <a:pos x="160" y="42"/>
                </a:cxn>
                <a:cxn ang="0">
                  <a:pos x="172" y="90"/>
                </a:cxn>
                <a:cxn ang="0">
                  <a:pos x="202" y="106"/>
                </a:cxn>
                <a:cxn ang="0">
                  <a:pos x="228" y="112"/>
                </a:cxn>
                <a:cxn ang="0">
                  <a:pos x="298" y="147"/>
                </a:cxn>
                <a:cxn ang="0">
                  <a:pos x="350" y="161"/>
                </a:cxn>
                <a:cxn ang="0">
                  <a:pos x="356" y="201"/>
                </a:cxn>
                <a:cxn ang="0">
                  <a:pos x="348" y="225"/>
                </a:cxn>
                <a:cxn ang="0">
                  <a:pos x="372" y="261"/>
                </a:cxn>
                <a:cxn ang="0">
                  <a:pos x="430" y="263"/>
                </a:cxn>
                <a:cxn ang="0">
                  <a:pos x="434" y="297"/>
                </a:cxn>
                <a:cxn ang="0">
                  <a:pos x="454" y="307"/>
                </a:cxn>
                <a:cxn ang="0">
                  <a:pos x="464" y="323"/>
                </a:cxn>
                <a:cxn ang="0">
                  <a:pos x="456" y="355"/>
                </a:cxn>
                <a:cxn ang="0">
                  <a:pos x="456" y="375"/>
                </a:cxn>
                <a:cxn ang="0">
                  <a:pos x="438" y="407"/>
                </a:cxn>
                <a:cxn ang="0">
                  <a:pos x="408" y="389"/>
                </a:cxn>
                <a:cxn ang="0">
                  <a:pos x="362" y="395"/>
                </a:cxn>
                <a:cxn ang="0">
                  <a:pos x="330" y="397"/>
                </a:cxn>
                <a:cxn ang="0">
                  <a:pos x="296" y="395"/>
                </a:cxn>
                <a:cxn ang="0">
                  <a:pos x="278" y="429"/>
                </a:cxn>
                <a:cxn ang="0">
                  <a:pos x="278" y="449"/>
                </a:cxn>
                <a:cxn ang="0">
                  <a:pos x="264" y="501"/>
                </a:cxn>
                <a:cxn ang="0">
                  <a:pos x="228" y="493"/>
                </a:cxn>
                <a:cxn ang="0">
                  <a:pos x="210" y="531"/>
                </a:cxn>
                <a:cxn ang="0">
                  <a:pos x="190" y="505"/>
                </a:cxn>
                <a:cxn ang="0">
                  <a:pos x="144" y="499"/>
                </a:cxn>
                <a:cxn ang="0">
                  <a:pos x="124" y="481"/>
                </a:cxn>
                <a:cxn ang="0">
                  <a:pos x="114" y="491"/>
                </a:cxn>
                <a:cxn ang="0">
                  <a:pos x="96" y="495"/>
                </a:cxn>
                <a:cxn ang="0">
                  <a:pos x="102" y="519"/>
                </a:cxn>
                <a:cxn ang="0">
                  <a:pos x="102" y="545"/>
                </a:cxn>
                <a:cxn ang="0">
                  <a:pos x="60" y="527"/>
                </a:cxn>
                <a:cxn ang="0">
                  <a:pos x="54" y="475"/>
                </a:cxn>
                <a:cxn ang="0">
                  <a:pos x="48" y="463"/>
                </a:cxn>
                <a:cxn ang="0">
                  <a:pos x="38" y="457"/>
                </a:cxn>
                <a:cxn ang="0">
                  <a:pos x="38" y="417"/>
                </a:cxn>
                <a:cxn ang="0">
                  <a:pos x="32" y="407"/>
                </a:cxn>
                <a:cxn ang="0">
                  <a:pos x="32" y="391"/>
                </a:cxn>
                <a:cxn ang="0">
                  <a:pos x="6" y="315"/>
                </a:cxn>
              </a:cxnLst>
              <a:rect l="0" t="0" r="r" b="b"/>
              <a:pathLst>
                <a:path w="464" h="545">
                  <a:moveTo>
                    <a:pt x="6" y="315"/>
                  </a:moveTo>
                  <a:lnTo>
                    <a:pt x="0" y="295"/>
                  </a:lnTo>
                  <a:lnTo>
                    <a:pt x="24" y="279"/>
                  </a:lnTo>
                  <a:lnTo>
                    <a:pt x="36" y="265"/>
                  </a:lnTo>
                  <a:lnTo>
                    <a:pt x="14" y="243"/>
                  </a:lnTo>
                  <a:lnTo>
                    <a:pt x="22" y="217"/>
                  </a:lnTo>
                  <a:lnTo>
                    <a:pt x="12" y="201"/>
                  </a:lnTo>
                  <a:lnTo>
                    <a:pt x="42" y="110"/>
                  </a:lnTo>
                  <a:lnTo>
                    <a:pt x="6" y="52"/>
                  </a:lnTo>
                  <a:lnTo>
                    <a:pt x="44" y="50"/>
                  </a:lnTo>
                  <a:lnTo>
                    <a:pt x="70" y="30"/>
                  </a:lnTo>
                  <a:lnTo>
                    <a:pt x="92" y="24"/>
                  </a:lnTo>
                  <a:lnTo>
                    <a:pt x="114" y="8"/>
                  </a:lnTo>
                  <a:lnTo>
                    <a:pt x="158" y="0"/>
                  </a:lnTo>
                  <a:lnTo>
                    <a:pt x="166" y="20"/>
                  </a:lnTo>
                  <a:lnTo>
                    <a:pt x="160" y="42"/>
                  </a:lnTo>
                  <a:lnTo>
                    <a:pt x="172" y="90"/>
                  </a:lnTo>
                  <a:lnTo>
                    <a:pt x="202" y="106"/>
                  </a:lnTo>
                  <a:lnTo>
                    <a:pt x="228" y="112"/>
                  </a:lnTo>
                  <a:lnTo>
                    <a:pt x="298" y="147"/>
                  </a:lnTo>
                  <a:lnTo>
                    <a:pt x="350" y="161"/>
                  </a:lnTo>
                  <a:lnTo>
                    <a:pt x="356" y="201"/>
                  </a:lnTo>
                  <a:lnTo>
                    <a:pt x="348" y="225"/>
                  </a:lnTo>
                  <a:lnTo>
                    <a:pt x="372" y="261"/>
                  </a:lnTo>
                  <a:lnTo>
                    <a:pt x="430" y="263"/>
                  </a:lnTo>
                  <a:lnTo>
                    <a:pt x="434" y="297"/>
                  </a:lnTo>
                  <a:lnTo>
                    <a:pt x="454" y="307"/>
                  </a:lnTo>
                  <a:lnTo>
                    <a:pt x="464" y="323"/>
                  </a:lnTo>
                  <a:lnTo>
                    <a:pt x="456" y="355"/>
                  </a:lnTo>
                  <a:lnTo>
                    <a:pt x="456" y="375"/>
                  </a:lnTo>
                  <a:lnTo>
                    <a:pt x="438" y="407"/>
                  </a:lnTo>
                  <a:lnTo>
                    <a:pt x="408" y="389"/>
                  </a:lnTo>
                  <a:lnTo>
                    <a:pt x="362" y="395"/>
                  </a:lnTo>
                  <a:lnTo>
                    <a:pt x="330" y="397"/>
                  </a:lnTo>
                  <a:lnTo>
                    <a:pt x="296" y="395"/>
                  </a:lnTo>
                  <a:lnTo>
                    <a:pt x="278" y="429"/>
                  </a:lnTo>
                  <a:lnTo>
                    <a:pt x="278" y="449"/>
                  </a:lnTo>
                  <a:lnTo>
                    <a:pt x="264" y="501"/>
                  </a:lnTo>
                  <a:lnTo>
                    <a:pt x="228" y="493"/>
                  </a:lnTo>
                  <a:lnTo>
                    <a:pt x="210" y="531"/>
                  </a:lnTo>
                  <a:lnTo>
                    <a:pt x="190" y="505"/>
                  </a:lnTo>
                  <a:lnTo>
                    <a:pt x="144" y="499"/>
                  </a:lnTo>
                  <a:lnTo>
                    <a:pt x="124" y="481"/>
                  </a:lnTo>
                  <a:lnTo>
                    <a:pt x="114" y="491"/>
                  </a:lnTo>
                  <a:lnTo>
                    <a:pt x="96" y="495"/>
                  </a:lnTo>
                  <a:lnTo>
                    <a:pt x="102" y="519"/>
                  </a:lnTo>
                  <a:lnTo>
                    <a:pt x="102" y="545"/>
                  </a:lnTo>
                  <a:lnTo>
                    <a:pt x="60" y="527"/>
                  </a:lnTo>
                  <a:lnTo>
                    <a:pt x="54" y="475"/>
                  </a:lnTo>
                  <a:lnTo>
                    <a:pt x="48" y="463"/>
                  </a:lnTo>
                  <a:lnTo>
                    <a:pt x="38" y="457"/>
                  </a:lnTo>
                  <a:lnTo>
                    <a:pt x="38" y="417"/>
                  </a:lnTo>
                  <a:lnTo>
                    <a:pt x="32" y="407"/>
                  </a:lnTo>
                  <a:lnTo>
                    <a:pt x="32" y="391"/>
                  </a:lnTo>
                  <a:lnTo>
                    <a:pt x="6" y="315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59" name="Bosnia Herzegovina">
              <a:extLst>
                <a:ext uri="{FF2B5EF4-FFF2-40B4-BE49-F238E27FC236}">
                  <a16:creationId xmlns="" xmlns:a16="http://schemas.microsoft.com/office/drawing/2014/main" id="{3E0C0083-AC5A-4197-B862-F0234D23682B}"/>
                </a:ext>
              </a:extLst>
            </p:cNvPr>
            <p:cNvSpPr>
              <a:spLocks/>
            </p:cNvSpPr>
            <p:nvPr/>
          </p:nvSpPr>
          <p:spPr bwMode="gray">
            <a:xfrm>
              <a:off x="6292958" y="2938306"/>
              <a:ext cx="107378" cy="119959"/>
            </a:xfrm>
            <a:custGeom>
              <a:avLst/>
              <a:gdLst/>
              <a:ahLst/>
              <a:cxnLst>
                <a:cxn ang="0">
                  <a:pos x="74" y="126"/>
                </a:cxn>
                <a:cxn ang="0">
                  <a:pos x="66" y="102"/>
                </a:cxn>
                <a:cxn ang="0">
                  <a:pos x="62" y="90"/>
                </a:cxn>
                <a:cxn ang="0">
                  <a:pos x="36" y="74"/>
                </a:cxn>
                <a:cxn ang="0">
                  <a:pos x="16" y="44"/>
                </a:cxn>
                <a:cxn ang="0">
                  <a:pos x="0" y="22"/>
                </a:cxn>
                <a:cxn ang="0">
                  <a:pos x="2" y="0"/>
                </a:cxn>
                <a:cxn ang="0">
                  <a:pos x="22" y="12"/>
                </a:cxn>
                <a:cxn ang="0">
                  <a:pos x="38" y="8"/>
                </a:cxn>
                <a:cxn ang="0">
                  <a:pos x="52" y="16"/>
                </a:cxn>
                <a:cxn ang="0">
                  <a:pos x="104" y="16"/>
                </a:cxn>
                <a:cxn ang="0">
                  <a:pos x="116" y="22"/>
                </a:cxn>
                <a:cxn ang="0">
                  <a:pos x="124" y="26"/>
                </a:cxn>
                <a:cxn ang="0">
                  <a:pos x="118" y="48"/>
                </a:cxn>
                <a:cxn ang="0">
                  <a:pos x="122" y="60"/>
                </a:cxn>
                <a:cxn ang="0">
                  <a:pos x="132" y="68"/>
                </a:cxn>
                <a:cxn ang="0">
                  <a:pos x="122" y="78"/>
                </a:cxn>
                <a:cxn ang="0">
                  <a:pos x="130" y="98"/>
                </a:cxn>
                <a:cxn ang="0">
                  <a:pos x="124" y="116"/>
                </a:cxn>
                <a:cxn ang="0">
                  <a:pos x="104" y="134"/>
                </a:cxn>
                <a:cxn ang="0">
                  <a:pos x="96" y="146"/>
                </a:cxn>
                <a:cxn ang="0">
                  <a:pos x="74" y="126"/>
                </a:cxn>
              </a:cxnLst>
              <a:rect l="0" t="0" r="r" b="b"/>
              <a:pathLst>
                <a:path w="132" h="146">
                  <a:moveTo>
                    <a:pt x="74" y="126"/>
                  </a:moveTo>
                  <a:lnTo>
                    <a:pt x="66" y="102"/>
                  </a:lnTo>
                  <a:lnTo>
                    <a:pt x="62" y="90"/>
                  </a:lnTo>
                  <a:lnTo>
                    <a:pt x="36" y="74"/>
                  </a:lnTo>
                  <a:lnTo>
                    <a:pt x="16" y="44"/>
                  </a:lnTo>
                  <a:lnTo>
                    <a:pt x="0" y="22"/>
                  </a:lnTo>
                  <a:lnTo>
                    <a:pt x="2" y="0"/>
                  </a:lnTo>
                  <a:lnTo>
                    <a:pt x="22" y="12"/>
                  </a:lnTo>
                  <a:lnTo>
                    <a:pt x="38" y="8"/>
                  </a:lnTo>
                  <a:lnTo>
                    <a:pt x="52" y="16"/>
                  </a:lnTo>
                  <a:lnTo>
                    <a:pt x="104" y="16"/>
                  </a:lnTo>
                  <a:lnTo>
                    <a:pt x="116" y="22"/>
                  </a:lnTo>
                  <a:lnTo>
                    <a:pt x="124" y="26"/>
                  </a:lnTo>
                  <a:lnTo>
                    <a:pt x="118" y="48"/>
                  </a:lnTo>
                  <a:lnTo>
                    <a:pt x="122" y="60"/>
                  </a:lnTo>
                  <a:lnTo>
                    <a:pt x="132" y="68"/>
                  </a:lnTo>
                  <a:lnTo>
                    <a:pt x="122" y="78"/>
                  </a:lnTo>
                  <a:lnTo>
                    <a:pt x="130" y="98"/>
                  </a:lnTo>
                  <a:lnTo>
                    <a:pt x="124" y="116"/>
                  </a:lnTo>
                  <a:lnTo>
                    <a:pt x="104" y="134"/>
                  </a:lnTo>
                  <a:lnTo>
                    <a:pt x="96" y="146"/>
                  </a:lnTo>
                  <a:lnTo>
                    <a:pt x="74" y="126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60" name="Botswana">
              <a:extLst>
                <a:ext uri="{FF2B5EF4-FFF2-40B4-BE49-F238E27FC236}">
                  <a16:creationId xmlns="" xmlns:a16="http://schemas.microsoft.com/office/drawing/2014/main" id="{21A97902-E844-4BDB-B4E9-778926271664}"/>
                </a:ext>
              </a:extLst>
            </p:cNvPr>
            <p:cNvSpPr>
              <a:spLocks/>
            </p:cNvSpPr>
            <p:nvPr/>
          </p:nvSpPr>
          <p:spPr bwMode="gray">
            <a:xfrm>
              <a:off x="6423763" y="5136921"/>
              <a:ext cx="296750" cy="322516"/>
            </a:xfrm>
            <a:custGeom>
              <a:avLst/>
              <a:gdLst/>
              <a:ahLst/>
              <a:cxnLst>
                <a:cxn ang="0">
                  <a:pos x="171" y="16"/>
                </a:cxn>
                <a:cxn ang="0">
                  <a:pos x="191" y="0"/>
                </a:cxn>
                <a:cxn ang="0">
                  <a:pos x="189" y="22"/>
                </a:cxn>
                <a:cxn ang="0">
                  <a:pos x="213" y="40"/>
                </a:cxn>
                <a:cxn ang="0">
                  <a:pos x="215" y="56"/>
                </a:cxn>
                <a:cxn ang="0">
                  <a:pos x="273" y="112"/>
                </a:cxn>
                <a:cxn ang="0">
                  <a:pos x="273" y="130"/>
                </a:cxn>
                <a:cxn ang="0">
                  <a:pos x="291" y="128"/>
                </a:cxn>
                <a:cxn ang="0">
                  <a:pos x="299" y="150"/>
                </a:cxn>
                <a:cxn ang="0">
                  <a:pos x="319" y="166"/>
                </a:cxn>
                <a:cxn ang="0">
                  <a:pos x="339" y="168"/>
                </a:cxn>
                <a:cxn ang="0">
                  <a:pos x="365" y="186"/>
                </a:cxn>
                <a:cxn ang="0">
                  <a:pos x="351" y="192"/>
                </a:cxn>
                <a:cxn ang="0">
                  <a:pos x="331" y="206"/>
                </a:cxn>
                <a:cxn ang="0">
                  <a:pos x="319" y="210"/>
                </a:cxn>
                <a:cxn ang="0">
                  <a:pos x="311" y="220"/>
                </a:cxn>
                <a:cxn ang="0">
                  <a:pos x="289" y="226"/>
                </a:cxn>
                <a:cxn ang="0">
                  <a:pos x="263" y="256"/>
                </a:cxn>
                <a:cxn ang="0">
                  <a:pos x="257" y="280"/>
                </a:cxn>
                <a:cxn ang="0">
                  <a:pos x="243" y="288"/>
                </a:cxn>
                <a:cxn ang="0">
                  <a:pos x="225" y="294"/>
                </a:cxn>
                <a:cxn ang="0">
                  <a:pos x="211" y="334"/>
                </a:cxn>
                <a:cxn ang="0">
                  <a:pos x="163" y="346"/>
                </a:cxn>
                <a:cxn ang="0">
                  <a:pos x="135" y="334"/>
                </a:cxn>
                <a:cxn ang="0">
                  <a:pos x="119" y="334"/>
                </a:cxn>
                <a:cxn ang="0">
                  <a:pos x="101" y="362"/>
                </a:cxn>
                <a:cxn ang="0">
                  <a:pos x="67" y="390"/>
                </a:cxn>
                <a:cxn ang="0">
                  <a:pos x="27" y="394"/>
                </a:cxn>
                <a:cxn ang="0">
                  <a:pos x="15" y="368"/>
                </a:cxn>
                <a:cxn ang="0">
                  <a:pos x="19" y="340"/>
                </a:cxn>
                <a:cxn ang="0">
                  <a:pos x="2" y="310"/>
                </a:cxn>
                <a:cxn ang="0">
                  <a:pos x="0" y="196"/>
                </a:cxn>
                <a:cxn ang="0">
                  <a:pos x="39" y="194"/>
                </a:cxn>
                <a:cxn ang="0">
                  <a:pos x="41" y="24"/>
                </a:cxn>
                <a:cxn ang="0">
                  <a:pos x="123" y="2"/>
                </a:cxn>
                <a:cxn ang="0">
                  <a:pos x="127" y="22"/>
                </a:cxn>
                <a:cxn ang="0">
                  <a:pos x="139" y="30"/>
                </a:cxn>
                <a:cxn ang="0">
                  <a:pos x="149" y="18"/>
                </a:cxn>
                <a:cxn ang="0">
                  <a:pos x="161" y="14"/>
                </a:cxn>
                <a:cxn ang="0">
                  <a:pos x="171" y="16"/>
                </a:cxn>
              </a:cxnLst>
              <a:rect l="0" t="0" r="r" b="b"/>
              <a:pathLst>
                <a:path w="365" h="394">
                  <a:moveTo>
                    <a:pt x="171" y="16"/>
                  </a:moveTo>
                  <a:lnTo>
                    <a:pt x="191" y="0"/>
                  </a:lnTo>
                  <a:lnTo>
                    <a:pt x="189" y="22"/>
                  </a:lnTo>
                  <a:lnTo>
                    <a:pt x="213" y="40"/>
                  </a:lnTo>
                  <a:lnTo>
                    <a:pt x="215" y="56"/>
                  </a:lnTo>
                  <a:lnTo>
                    <a:pt x="273" y="112"/>
                  </a:lnTo>
                  <a:lnTo>
                    <a:pt x="273" y="130"/>
                  </a:lnTo>
                  <a:lnTo>
                    <a:pt x="291" y="128"/>
                  </a:lnTo>
                  <a:lnTo>
                    <a:pt x="299" y="150"/>
                  </a:lnTo>
                  <a:lnTo>
                    <a:pt x="319" y="166"/>
                  </a:lnTo>
                  <a:lnTo>
                    <a:pt x="339" y="168"/>
                  </a:lnTo>
                  <a:lnTo>
                    <a:pt x="365" y="186"/>
                  </a:lnTo>
                  <a:lnTo>
                    <a:pt x="351" y="192"/>
                  </a:lnTo>
                  <a:lnTo>
                    <a:pt x="331" y="206"/>
                  </a:lnTo>
                  <a:lnTo>
                    <a:pt x="319" y="210"/>
                  </a:lnTo>
                  <a:lnTo>
                    <a:pt x="311" y="220"/>
                  </a:lnTo>
                  <a:lnTo>
                    <a:pt x="289" y="226"/>
                  </a:lnTo>
                  <a:lnTo>
                    <a:pt x="263" y="256"/>
                  </a:lnTo>
                  <a:lnTo>
                    <a:pt x="257" y="280"/>
                  </a:lnTo>
                  <a:lnTo>
                    <a:pt x="243" y="288"/>
                  </a:lnTo>
                  <a:lnTo>
                    <a:pt x="225" y="294"/>
                  </a:lnTo>
                  <a:lnTo>
                    <a:pt x="211" y="334"/>
                  </a:lnTo>
                  <a:lnTo>
                    <a:pt x="163" y="346"/>
                  </a:lnTo>
                  <a:lnTo>
                    <a:pt x="135" y="334"/>
                  </a:lnTo>
                  <a:lnTo>
                    <a:pt x="119" y="334"/>
                  </a:lnTo>
                  <a:lnTo>
                    <a:pt x="101" y="362"/>
                  </a:lnTo>
                  <a:lnTo>
                    <a:pt x="67" y="390"/>
                  </a:lnTo>
                  <a:lnTo>
                    <a:pt x="27" y="394"/>
                  </a:lnTo>
                  <a:lnTo>
                    <a:pt x="15" y="368"/>
                  </a:lnTo>
                  <a:lnTo>
                    <a:pt x="19" y="340"/>
                  </a:lnTo>
                  <a:lnTo>
                    <a:pt x="2" y="310"/>
                  </a:lnTo>
                  <a:lnTo>
                    <a:pt x="0" y="196"/>
                  </a:lnTo>
                  <a:lnTo>
                    <a:pt x="39" y="194"/>
                  </a:lnTo>
                  <a:lnTo>
                    <a:pt x="41" y="24"/>
                  </a:lnTo>
                  <a:lnTo>
                    <a:pt x="123" y="2"/>
                  </a:lnTo>
                  <a:lnTo>
                    <a:pt x="127" y="22"/>
                  </a:lnTo>
                  <a:lnTo>
                    <a:pt x="139" y="30"/>
                  </a:lnTo>
                  <a:lnTo>
                    <a:pt x="149" y="18"/>
                  </a:lnTo>
                  <a:lnTo>
                    <a:pt x="161" y="14"/>
                  </a:lnTo>
                  <a:lnTo>
                    <a:pt x="171" y="16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61" name="Brazil">
              <a:extLst>
                <a:ext uri="{FF2B5EF4-FFF2-40B4-BE49-F238E27FC236}">
                  <a16:creationId xmlns="" xmlns:a16="http://schemas.microsoft.com/office/drawing/2014/main" id="{AB21B2DB-FF8A-493A-8F2E-16677FF6CE85}"/>
                </a:ext>
              </a:extLst>
            </p:cNvPr>
            <p:cNvSpPr>
              <a:spLocks/>
            </p:cNvSpPr>
            <p:nvPr/>
          </p:nvSpPr>
          <p:spPr bwMode="gray">
            <a:xfrm>
              <a:off x="3419166" y="4456490"/>
              <a:ext cx="1214334" cy="1307761"/>
            </a:xfrm>
            <a:custGeom>
              <a:avLst/>
              <a:gdLst/>
              <a:ahLst/>
              <a:cxnLst>
                <a:cxn ang="0">
                  <a:pos x="28" y="440"/>
                </a:cxn>
                <a:cxn ang="0">
                  <a:pos x="130" y="368"/>
                </a:cxn>
                <a:cxn ang="0">
                  <a:pos x="168" y="202"/>
                </a:cxn>
                <a:cxn ang="0">
                  <a:pos x="148" y="154"/>
                </a:cxn>
                <a:cxn ang="0">
                  <a:pos x="242" y="120"/>
                </a:cxn>
                <a:cxn ang="0">
                  <a:pos x="356" y="136"/>
                </a:cxn>
                <a:cxn ang="0">
                  <a:pos x="362" y="92"/>
                </a:cxn>
                <a:cxn ang="0">
                  <a:pos x="394" y="50"/>
                </a:cxn>
                <a:cxn ang="0">
                  <a:pos x="488" y="30"/>
                </a:cxn>
                <a:cxn ang="0">
                  <a:pos x="552" y="42"/>
                </a:cxn>
                <a:cxn ang="0">
                  <a:pos x="536" y="126"/>
                </a:cxn>
                <a:cxn ang="0">
                  <a:pos x="648" y="122"/>
                </a:cxn>
                <a:cxn ang="0">
                  <a:pos x="722" y="94"/>
                </a:cxn>
                <a:cxn ang="0">
                  <a:pos x="796" y="122"/>
                </a:cxn>
                <a:cxn ang="0">
                  <a:pos x="854" y="28"/>
                </a:cxn>
                <a:cxn ang="0">
                  <a:pos x="890" y="98"/>
                </a:cxn>
                <a:cxn ang="0">
                  <a:pos x="904" y="174"/>
                </a:cxn>
                <a:cxn ang="0">
                  <a:pos x="828" y="256"/>
                </a:cxn>
                <a:cxn ang="0">
                  <a:pos x="888" y="222"/>
                </a:cxn>
                <a:cxn ang="0">
                  <a:pos x="972" y="230"/>
                </a:cxn>
                <a:cxn ang="0">
                  <a:pos x="948" y="274"/>
                </a:cxn>
                <a:cxn ang="0">
                  <a:pos x="1020" y="222"/>
                </a:cxn>
                <a:cxn ang="0">
                  <a:pos x="1096" y="248"/>
                </a:cxn>
                <a:cxn ang="0">
                  <a:pos x="1122" y="282"/>
                </a:cxn>
                <a:cxn ang="0">
                  <a:pos x="1189" y="284"/>
                </a:cxn>
                <a:cxn ang="0">
                  <a:pos x="1329" y="326"/>
                </a:cxn>
                <a:cxn ang="0">
                  <a:pos x="1451" y="392"/>
                </a:cxn>
                <a:cxn ang="0">
                  <a:pos x="1497" y="510"/>
                </a:cxn>
                <a:cxn ang="0">
                  <a:pos x="1411" y="624"/>
                </a:cxn>
                <a:cxn ang="0">
                  <a:pos x="1345" y="700"/>
                </a:cxn>
                <a:cxn ang="0">
                  <a:pos x="1333" y="853"/>
                </a:cxn>
                <a:cxn ang="0">
                  <a:pos x="1275" y="1029"/>
                </a:cxn>
                <a:cxn ang="0">
                  <a:pos x="1219" y="1101"/>
                </a:cxn>
                <a:cxn ang="0">
                  <a:pos x="1161" y="1111"/>
                </a:cxn>
                <a:cxn ang="0">
                  <a:pos x="1084" y="1155"/>
                </a:cxn>
                <a:cxn ang="0">
                  <a:pos x="992" y="1213"/>
                </a:cxn>
                <a:cxn ang="0">
                  <a:pos x="968" y="1279"/>
                </a:cxn>
                <a:cxn ang="0">
                  <a:pos x="954" y="1371"/>
                </a:cxn>
                <a:cxn ang="0">
                  <a:pos x="840" y="1515"/>
                </a:cxn>
                <a:cxn ang="0">
                  <a:pos x="812" y="1541"/>
                </a:cxn>
                <a:cxn ang="0">
                  <a:pos x="796" y="1592"/>
                </a:cxn>
                <a:cxn ang="0">
                  <a:pos x="788" y="1537"/>
                </a:cxn>
                <a:cxn ang="0">
                  <a:pos x="698" y="1461"/>
                </a:cxn>
                <a:cxn ang="0">
                  <a:pos x="692" y="1357"/>
                </a:cxn>
                <a:cxn ang="0">
                  <a:pos x="772" y="1265"/>
                </a:cxn>
                <a:cxn ang="0">
                  <a:pos x="740" y="1159"/>
                </a:cxn>
                <a:cxn ang="0">
                  <a:pos x="680" y="1089"/>
                </a:cxn>
                <a:cxn ang="0">
                  <a:pos x="600" y="993"/>
                </a:cxn>
                <a:cxn ang="0">
                  <a:pos x="596" y="883"/>
                </a:cxn>
                <a:cxn ang="0">
                  <a:pos x="512" y="747"/>
                </a:cxn>
                <a:cxn ang="0">
                  <a:pos x="322" y="628"/>
                </a:cxn>
                <a:cxn ang="0">
                  <a:pos x="232" y="616"/>
                </a:cxn>
                <a:cxn ang="0">
                  <a:pos x="120" y="564"/>
                </a:cxn>
                <a:cxn ang="0">
                  <a:pos x="12" y="540"/>
                </a:cxn>
              </a:cxnLst>
              <a:rect l="0" t="0" r="r" b="b"/>
              <a:pathLst>
                <a:path w="1497" h="1600">
                  <a:moveTo>
                    <a:pt x="0" y="496"/>
                  </a:moveTo>
                  <a:lnTo>
                    <a:pt x="2" y="480"/>
                  </a:lnTo>
                  <a:lnTo>
                    <a:pt x="14" y="462"/>
                  </a:lnTo>
                  <a:lnTo>
                    <a:pt x="28" y="458"/>
                  </a:lnTo>
                  <a:lnTo>
                    <a:pt x="28" y="440"/>
                  </a:lnTo>
                  <a:lnTo>
                    <a:pt x="42" y="402"/>
                  </a:lnTo>
                  <a:lnTo>
                    <a:pt x="58" y="390"/>
                  </a:lnTo>
                  <a:lnTo>
                    <a:pt x="72" y="378"/>
                  </a:lnTo>
                  <a:lnTo>
                    <a:pt x="90" y="376"/>
                  </a:lnTo>
                  <a:lnTo>
                    <a:pt x="130" y="368"/>
                  </a:lnTo>
                  <a:lnTo>
                    <a:pt x="146" y="376"/>
                  </a:lnTo>
                  <a:lnTo>
                    <a:pt x="150" y="364"/>
                  </a:lnTo>
                  <a:lnTo>
                    <a:pt x="170" y="250"/>
                  </a:lnTo>
                  <a:lnTo>
                    <a:pt x="166" y="224"/>
                  </a:lnTo>
                  <a:lnTo>
                    <a:pt x="168" y="202"/>
                  </a:lnTo>
                  <a:lnTo>
                    <a:pt x="142" y="194"/>
                  </a:lnTo>
                  <a:lnTo>
                    <a:pt x="146" y="172"/>
                  </a:lnTo>
                  <a:lnTo>
                    <a:pt x="174" y="172"/>
                  </a:lnTo>
                  <a:lnTo>
                    <a:pt x="174" y="160"/>
                  </a:lnTo>
                  <a:lnTo>
                    <a:pt x="148" y="154"/>
                  </a:lnTo>
                  <a:lnTo>
                    <a:pt x="148" y="130"/>
                  </a:lnTo>
                  <a:lnTo>
                    <a:pt x="196" y="130"/>
                  </a:lnTo>
                  <a:lnTo>
                    <a:pt x="208" y="122"/>
                  </a:lnTo>
                  <a:lnTo>
                    <a:pt x="224" y="126"/>
                  </a:lnTo>
                  <a:lnTo>
                    <a:pt x="242" y="120"/>
                  </a:lnTo>
                  <a:lnTo>
                    <a:pt x="252" y="136"/>
                  </a:lnTo>
                  <a:lnTo>
                    <a:pt x="256" y="152"/>
                  </a:lnTo>
                  <a:lnTo>
                    <a:pt x="264" y="146"/>
                  </a:lnTo>
                  <a:lnTo>
                    <a:pt x="296" y="172"/>
                  </a:lnTo>
                  <a:lnTo>
                    <a:pt x="356" y="136"/>
                  </a:lnTo>
                  <a:lnTo>
                    <a:pt x="366" y="146"/>
                  </a:lnTo>
                  <a:lnTo>
                    <a:pt x="404" y="114"/>
                  </a:lnTo>
                  <a:lnTo>
                    <a:pt x="402" y="102"/>
                  </a:lnTo>
                  <a:lnTo>
                    <a:pt x="376" y="108"/>
                  </a:lnTo>
                  <a:lnTo>
                    <a:pt x="362" y="92"/>
                  </a:lnTo>
                  <a:lnTo>
                    <a:pt x="366" y="60"/>
                  </a:lnTo>
                  <a:lnTo>
                    <a:pt x="342" y="52"/>
                  </a:lnTo>
                  <a:lnTo>
                    <a:pt x="342" y="34"/>
                  </a:lnTo>
                  <a:lnTo>
                    <a:pt x="378" y="50"/>
                  </a:lnTo>
                  <a:lnTo>
                    <a:pt x="394" y="50"/>
                  </a:lnTo>
                  <a:lnTo>
                    <a:pt x="420" y="56"/>
                  </a:lnTo>
                  <a:lnTo>
                    <a:pt x="436" y="36"/>
                  </a:lnTo>
                  <a:lnTo>
                    <a:pt x="448" y="44"/>
                  </a:lnTo>
                  <a:lnTo>
                    <a:pt x="472" y="30"/>
                  </a:lnTo>
                  <a:lnTo>
                    <a:pt x="488" y="30"/>
                  </a:lnTo>
                  <a:lnTo>
                    <a:pt x="506" y="2"/>
                  </a:lnTo>
                  <a:lnTo>
                    <a:pt x="534" y="0"/>
                  </a:lnTo>
                  <a:lnTo>
                    <a:pt x="526" y="18"/>
                  </a:lnTo>
                  <a:lnTo>
                    <a:pt x="536" y="30"/>
                  </a:lnTo>
                  <a:lnTo>
                    <a:pt x="552" y="42"/>
                  </a:lnTo>
                  <a:lnTo>
                    <a:pt x="540" y="62"/>
                  </a:lnTo>
                  <a:lnTo>
                    <a:pt x="540" y="76"/>
                  </a:lnTo>
                  <a:lnTo>
                    <a:pt x="532" y="100"/>
                  </a:lnTo>
                  <a:lnTo>
                    <a:pt x="546" y="114"/>
                  </a:lnTo>
                  <a:lnTo>
                    <a:pt x="536" y="126"/>
                  </a:lnTo>
                  <a:lnTo>
                    <a:pt x="568" y="152"/>
                  </a:lnTo>
                  <a:lnTo>
                    <a:pt x="586" y="138"/>
                  </a:lnTo>
                  <a:lnTo>
                    <a:pt x="600" y="140"/>
                  </a:lnTo>
                  <a:lnTo>
                    <a:pt x="626" y="126"/>
                  </a:lnTo>
                  <a:lnTo>
                    <a:pt x="648" y="122"/>
                  </a:lnTo>
                  <a:lnTo>
                    <a:pt x="688" y="124"/>
                  </a:lnTo>
                  <a:lnTo>
                    <a:pt x="680" y="110"/>
                  </a:lnTo>
                  <a:lnTo>
                    <a:pt x="686" y="102"/>
                  </a:lnTo>
                  <a:lnTo>
                    <a:pt x="704" y="110"/>
                  </a:lnTo>
                  <a:lnTo>
                    <a:pt x="722" y="94"/>
                  </a:lnTo>
                  <a:lnTo>
                    <a:pt x="742" y="112"/>
                  </a:lnTo>
                  <a:lnTo>
                    <a:pt x="758" y="116"/>
                  </a:lnTo>
                  <a:lnTo>
                    <a:pt x="774" y="104"/>
                  </a:lnTo>
                  <a:lnTo>
                    <a:pt x="790" y="110"/>
                  </a:lnTo>
                  <a:lnTo>
                    <a:pt x="796" y="122"/>
                  </a:lnTo>
                  <a:lnTo>
                    <a:pt x="814" y="108"/>
                  </a:lnTo>
                  <a:lnTo>
                    <a:pt x="822" y="76"/>
                  </a:lnTo>
                  <a:lnTo>
                    <a:pt x="838" y="52"/>
                  </a:lnTo>
                  <a:lnTo>
                    <a:pt x="846" y="26"/>
                  </a:lnTo>
                  <a:lnTo>
                    <a:pt x="854" y="28"/>
                  </a:lnTo>
                  <a:lnTo>
                    <a:pt x="858" y="40"/>
                  </a:lnTo>
                  <a:lnTo>
                    <a:pt x="864" y="36"/>
                  </a:lnTo>
                  <a:lnTo>
                    <a:pt x="880" y="66"/>
                  </a:lnTo>
                  <a:lnTo>
                    <a:pt x="876" y="76"/>
                  </a:lnTo>
                  <a:lnTo>
                    <a:pt x="890" y="98"/>
                  </a:lnTo>
                  <a:lnTo>
                    <a:pt x="896" y="132"/>
                  </a:lnTo>
                  <a:lnTo>
                    <a:pt x="914" y="132"/>
                  </a:lnTo>
                  <a:lnTo>
                    <a:pt x="916" y="148"/>
                  </a:lnTo>
                  <a:lnTo>
                    <a:pt x="916" y="164"/>
                  </a:lnTo>
                  <a:lnTo>
                    <a:pt x="904" y="174"/>
                  </a:lnTo>
                  <a:lnTo>
                    <a:pt x="884" y="196"/>
                  </a:lnTo>
                  <a:lnTo>
                    <a:pt x="860" y="206"/>
                  </a:lnTo>
                  <a:lnTo>
                    <a:pt x="844" y="228"/>
                  </a:lnTo>
                  <a:lnTo>
                    <a:pt x="838" y="244"/>
                  </a:lnTo>
                  <a:lnTo>
                    <a:pt x="828" y="256"/>
                  </a:lnTo>
                  <a:lnTo>
                    <a:pt x="828" y="270"/>
                  </a:lnTo>
                  <a:lnTo>
                    <a:pt x="848" y="252"/>
                  </a:lnTo>
                  <a:lnTo>
                    <a:pt x="864" y="246"/>
                  </a:lnTo>
                  <a:lnTo>
                    <a:pt x="880" y="222"/>
                  </a:lnTo>
                  <a:lnTo>
                    <a:pt x="888" y="222"/>
                  </a:lnTo>
                  <a:lnTo>
                    <a:pt x="902" y="210"/>
                  </a:lnTo>
                  <a:lnTo>
                    <a:pt x="930" y="212"/>
                  </a:lnTo>
                  <a:lnTo>
                    <a:pt x="954" y="206"/>
                  </a:lnTo>
                  <a:lnTo>
                    <a:pt x="970" y="208"/>
                  </a:lnTo>
                  <a:lnTo>
                    <a:pt x="972" y="230"/>
                  </a:lnTo>
                  <a:lnTo>
                    <a:pt x="962" y="246"/>
                  </a:lnTo>
                  <a:lnTo>
                    <a:pt x="956" y="260"/>
                  </a:lnTo>
                  <a:lnTo>
                    <a:pt x="942" y="264"/>
                  </a:lnTo>
                  <a:lnTo>
                    <a:pt x="940" y="298"/>
                  </a:lnTo>
                  <a:lnTo>
                    <a:pt x="948" y="274"/>
                  </a:lnTo>
                  <a:lnTo>
                    <a:pt x="974" y="256"/>
                  </a:lnTo>
                  <a:lnTo>
                    <a:pt x="978" y="244"/>
                  </a:lnTo>
                  <a:lnTo>
                    <a:pt x="986" y="226"/>
                  </a:lnTo>
                  <a:lnTo>
                    <a:pt x="1006" y="220"/>
                  </a:lnTo>
                  <a:lnTo>
                    <a:pt x="1020" y="222"/>
                  </a:lnTo>
                  <a:lnTo>
                    <a:pt x="1030" y="230"/>
                  </a:lnTo>
                  <a:lnTo>
                    <a:pt x="1046" y="226"/>
                  </a:lnTo>
                  <a:lnTo>
                    <a:pt x="1058" y="240"/>
                  </a:lnTo>
                  <a:lnTo>
                    <a:pt x="1074" y="238"/>
                  </a:lnTo>
                  <a:lnTo>
                    <a:pt x="1096" y="248"/>
                  </a:lnTo>
                  <a:lnTo>
                    <a:pt x="1094" y="264"/>
                  </a:lnTo>
                  <a:lnTo>
                    <a:pt x="1106" y="254"/>
                  </a:lnTo>
                  <a:lnTo>
                    <a:pt x="1118" y="254"/>
                  </a:lnTo>
                  <a:lnTo>
                    <a:pt x="1126" y="262"/>
                  </a:lnTo>
                  <a:lnTo>
                    <a:pt x="1122" y="282"/>
                  </a:lnTo>
                  <a:lnTo>
                    <a:pt x="1128" y="286"/>
                  </a:lnTo>
                  <a:lnTo>
                    <a:pt x="1128" y="300"/>
                  </a:lnTo>
                  <a:lnTo>
                    <a:pt x="1140" y="298"/>
                  </a:lnTo>
                  <a:lnTo>
                    <a:pt x="1161" y="286"/>
                  </a:lnTo>
                  <a:lnTo>
                    <a:pt x="1189" y="284"/>
                  </a:lnTo>
                  <a:lnTo>
                    <a:pt x="1231" y="312"/>
                  </a:lnTo>
                  <a:lnTo>
                    <a:pt x="1251" y="304"/>
                  </a:lnTo>
                  <a:lnTo>
                    <a:pt x="1279" y="302"/>
                  </a:lnTo>
                  <a:lnTo>
                    <a:pt x="1299" y="302"/>
                  </a:lnTo>
                  <a:lnTo>
                    <a:pt x="1329" y="326"/>
                  </a:lnTo>
                  <a:lnTo>
                    <a:pt x="1353" y="338"/>
                  </a:lnTo>
                  <a:lnTo>
                    <a:pt x="1381" y="370"/>
                  </a:lnTo>
                  <a:lnTo>
                    <a:pt x="1393" y="372"/>
                  </a:lnTo>
                  <a:lnTo>
                    <a:pt x="1421" y="392"/>
                  </a:lnTo>
                  <a:lnTo>
                    <a:pt x="1451" y="392"/>
                  </a:lnTo>
                  <a:lnTo>
                    <a:pt x="1461" y="392"/>
                  </a:lnTo>
                  <a:lnTo>
                    <a:pt x="1485" y="412"/>
                  </a:lnTo>
                  <a:lnTo>
                    <a:pt x="1487" y="438"/>
                  </a:lnTo>
                  <a:lnTo>
                    <a:pt x="1497" y="452"/>
                  </a:lnTo>
                  <a:lnTo>
                    <a:pt x="1497" y="510"/>
                  </a:lnTo>
                  <a:lnTo>
                    <a:pt x="1493" y="530"/>
                  </a:lnTo>
                  <a:lnTo>
                    <a:pt x="1473" y="568"/>
                  </a:lnTo>
                  <a:lnTo>
                    <a:pt x="1453" y="590"/>
                  </a:lnTo>
                  <a:lnTo>
                    <a:pt x="1433" y="606"/>
                  </a:lnTo>
                  <a:lnTo>
                    <a:pt x="1411" y="624"/>
                  </a:lnTo>
                  <a:lnTo>
                    <a:pt x="1405" y="644"/>
                  </a:lnTo>
                  <a:lnTo>
                    <a:pt x="1379" y="682"/>
                  </a:lnTo>
                  <a:lnTo>
                    <a:pt x="1367" y="688"/>
                  </a:lnTo>
                  <a:lnTo>
                    <a:pt x="1335" y="688"/>
                  </a:lnTo>
                  <a:lnTo>
                    <a:pt x="1345" y="700"/>
                  </a:lnTo>
                  <a:lnTo>
                    <a:pt x="1333" y="728"/>
                  </a:lnTo>
                  <a:lnTo>
                    <a:pt x="1339" y="753"/>
                  </a:lnTo>
                  <a:lnTo>
                    <a:pt x="1339" y="789"/>
                  </a:lnTo>
                  <a:lnTo>
                    <a:pt x="1343" y="819"/>
                  </a:lnTo>
                  <a:lnTo>
                    <a:pt x="1333" y="853"/>
                  </a:lnTo>
                  <a:lnTo>
                    <a:pt x="1331" y="903"/>
                  </a:lnTo>
                  <a:lnTo>
                    <a:pt x="1309" y="921"/>
                  </a:lnTo>
                  <a:lnTo>
                    <a:pt x="1307" y="977"/>
                  </a:lnTo>
                  <a:lnTo>
                    <a:pt x="1289" y="1007"/>
                  </a:lnTo>
                  <a:lnTo>
                    <a:pt x="1275" y="1029"/>
                  </a:lnTo>
                  <a:lnTo>
                    <a:pt x="1257" y="1051"/>
                  </a:lnTo>
                  <a:lnTo>
                    <a:pt x="1255" y="1061"/>
                  </a:lnTo>
                  <a:lnTo>
                    <a:pt x="1263" y="1061"/>
                  </a:lnTo>
                  <a:lnTo>
                    <a:pt x="1259" y="1079"/>
                  </a:lnTo>
                  <a:lnTo>
                    <a:pt x="1219" y="1101"/>
                  </a:lnTo>
                  <a:lnTo>
                    <a:pt x="1219" y="1109"/>
                  </a:lnTo>
                  <a:lnTo>
                    <a:pt x="1223" y="1119"/>
                  </a:lnTo>
                  <a:lnTo>
                    <a:pt x="1213" y="1121"/>
                  </a:lnTo>
                  <a:lnTo>
                    <a:pt x="1171" y="1119"/>
                  </a:lnTo>
                  <a:lnTo>
                    <a:pt x="1161" y="1111"/>
                  </a:lnTo>
                  <a:lnTo>
                    <a:pt x="1136" y="1123"/>
                  </a:lnTo>
                  <a:lnTo>
                    <a:pt x="1116" y="1125"/>
                  </a:lnTo>
                  <a:lnTo>
                    <a:pt x="1118" y="1135"/>
                  </a:lnTo>
                  <a:lnTo>
                    <a:pt x="1086" y="1149"/>
                  </a:lnTo>
                  <a:lnTo>
                    <a:pt x="1084" y="1155"/>
                  </a:lnTo>
                  <a:lnTo>
                    <a:pt x="1064" y="1157"/>
                  </a:lnTo>
                  <a:lnTo>
                    <a:pt x="1042" y="1167"/>
                  </a:lnTo>
                  <a:lnTo>
                    <a:pt x="1030" y="1179"/>
                  </a:lnTo>
                  <a:lnTo>
                    <a:pt x="1002" y="1205"/>
                  </a:lnTo>
                  <a:lnTo>
                    <a:pt x="992" y="1213"/>
                  </a:lnTo>
                  <a:lnTo>
                    <a:pt x="990" y="1225"/>
                  </a:lnTo>
                  <a:lnTo>
                    <a:pt x="964" y="1227"/>
                  </a:lnTo>
                  <a:lnTo>
                    <a:pt x="976" y="1239"/>
                  </a:lnTo>
                  <a:lnTo>
                    <a:pt x="968" y="1249"/>
                  </a:lnTo>
                  <a:lnTo>
                    <a:pt x="968" y="1279"/>
                  </a:lnTo>
                  <a:lnTo>
                    <a:pt x="968" y="1301"/>
                  </a:lnTo>
                  <a:lnTo>
                    <a:pt x="970" y="1331"/>
                  </a:lnTo>
                  <a:lnTo>
                    <a:pt x="964" y="1351"/>
                  </a:lnTo>
                  <a:lnTo>
                    <a:pt x="956" y="1357"/>
                  </a:lnTo>
                  <a:lnTo>
                    <a:pt x="954" y="1371"/>
                  </a:lnTo>
                  <a:lnTo>
                    <a:pt x="930" y="1393"/>
                  </a:lnTo>
                  <a:lnTo>
                    <a:pt x="916" y="1425"/>
                  </a:lnTo>
                  <a:lnTo>
                    <a:pt x="908" y="1441"/>
                  </a:lnTo>
                  <a:lnTo>
                    <a:pt x="882" y="1479"/>
                  </a:lnTo>
                  <a:lnTo>
                    <a:pt x="840" y="1515"/>
                  </a:lnTo>
                  <a:lnTo>
                    <a:pt x="828" y="1527"/>
                  </a:lnTo>
                  <a:lnTo>
                    <a:pt x="824" y="1543"/>
                  </a:lnTo>
                  <a:lnTo>
                    <a:pt x="816" y="1559"/>
                  </a:lnTo>
                  <a:lnTo>
                    <a:pt x="812" y="1557"/>
                  </a:lnTo>
                  <a:lnTo>
                    <a:pt x="812" y="1541"/>
                  </a:lnTo>
                  <a:lnTo>
                    <a:pt x="808" y="1541"/>
                  </a:lnTo>
                  <a:lnTo>
                    <a:pt x="800" y="1553"/>
                  </a:lnTo>
                  <a:lnTo>
                    <a:pt x="802" y="1569"/>
                  </a:lnTo>
                  <a:lnTo>
                    <a:pt x="800" y="1583"/>
                  </a:lnTo>
                  <a:lnTo>
                    <a:pt x="796" y="1592"/>
                  </a:lnTo>
                  <a:lnTo>
                    <a:pt x="788" y="1600"/>
                  </a:lnTo>
                  <a:lnTo>
                    <a:pt x="778" y="1590"/>
                  </a:lnTo>
                  <a:lnTo>
                    <a:pt x="778" y="1577"/>
                  </a:lnTo>
                  <a:lnTo>
                    <a:pt x="780" y="1557"/>
                  </a:lnTo>
                  <a:lnTo>
                    <a:pt x="788" y="1537"/>
                  </a:lnTo>
                  <a:lnTo>
                    <a:pt x="774" y="1533"/>
                  </a:lnTo>
                  <a:lnTo>
                    <a:pt x="760" y="1509"/>
                  </a:lnTo>
                  <a:lnTo>
                    <a:pt x="744" y="1491"/>
                  </a:lnTo>
                  <a:lnTo>
                    <a:pt x="720" y="1479"/>
                  </a:lnTo>
                  <a:lnTo>
                    <a:pt x="698" y="1461"/>
                  </a:lnTo>
                  <a:lnTo>
                    <a:pt x="684" y="1469"/>
                  </a:lnTo>
                  <a:lnTo>
                    <a:pt x="670" y="1449"/>
                  </a:lnTo>
                  <a:lnTo>
                    <a:pt x="652" y="1409"/>
                  </a:lnTo>
                  <a:lnTo>
                    <a:pt x="658" y="1393"/>
                  </a:lnTo>
                  <a:lnTo>
                    <a:pt x="692" y="1357"/>
                  </a:lnTo>
                  <a:lnTo>
                    <a:pt x="700" y="1357"/>
                  </a:lnTo>
                  <a:lnTo>
                    <a:pt x="702" y="1351"/>
                  </a:lnTo>
                  <a:lnTo>
                    <a:pt x="750" y="1305"/>
                  </a:lnTo>
                  <a:lnTo>
                    <a:pt x="762" y="1303"/>
                  </a:lnTo>
                  <a:lnTo>
                    <a:pt x="772" y="1265"/>
                  </a:lnTo>
                  <a:lnTo>
                    <a:pt x="774" y="1245"/>
                  </a:lnTo>
                  <a:lnTo>
                    <a:pt x="758" y="1233"/>
                  </a:lnTo>
                  <a:lnTo>
                    <a:pt x="736" y="1231"/>
                  </a:lnTo>
                  <a:lnTo>
                    <a:pt x="752" y="1173"/>
                  </a:lnTo>
                  <a:lnTo>
                    <a:pt x="740" y="1159"/>
                  </a:lnTo>
                  <a:lnTo>
                    <a:pt x="718" y="1159"/>
                  </a:lnTo>
                  <a:lnTo>
                    <a:pt x="704" y="1153"/>
                  </a:lnTo>
                  <a:lnTo>
                    <a:pt x="702" y="1119"/>
                  </a:lnTo>
                  <a:lnTo>
                    <a:pt x="692" y="1095"/>
                  </a:lnTo>
                  <a:lnTo>
                    <a:pt x="680" y="1089"/>
                  </a:lnTo>
                  <a:lnTo>
                    <a:pt x="656" y="1091"/>
                  </a:lnTo>
                  <a:lnTo>
                    <a:pt x="620" y="1085"/>
                  </a:lnTo>
                  <a:lnTo>
                    <a:pt x="606" y="1073"/>
                  </a:lnTo>
                  <a:lnTo>
                    <a:pt x="614" y="1019"/>
                  </a:lnTo>
                  <a:lnTo>
                    <a:pt x="600" y="993"/>
                  </a:lnTo>
                  <a:lnTo>
                    <a:pt x="618" y="961"/>
                  </a:lnTo>
                  <a:lnTo>
                    <a:pt x="618" y="941"/>
                  </a:lnTo>
                  <a:lnTo>
                    <a:pt x="626" y="909"/>
                  </a:lnTo>
                  <a:lnTo>
                    <a:pt x="616" y="893"/>
                  </a:lnTo>
                  <a:lnTo>
                    <a:pt x="596" y="883"/>
                  </a:lnTo>
                  <a:lnTo>
                    <a:pt x="592" y="849"/>
                  </a:lnTo>
                  <a:lnTo>
                    <a:pt x="534" y="847"/>
                  </a:lnTo>
                  <a:lnTo>
                    <a:pt x="510" y="811"/>
                  </a:lnTo>
                  <a:lnTo>
                    <a:pt x="518" y="787"/>
                  </a:lnTo>
                  <a:lnTo>
                    <a:pt x="512" y="747"/>
                  </a:lnTo>
                  <a:lnTo>
                    <a:pt x="460" y="733"/>
                  </a:lnTo>
                  <a:lnTo>
                    <a:pt x="390" y="698"/>
                  </a:lnTo>
                  <a:lnTo>
                    <a:pt x="364" y="692"/>
                  </a:lnTo>
                  <a:lnTo>
                    <a:pt x="334" y="676"/>
                  </a:lnTo>
                  <a:lnTo>
                    <a:pt x="322" y="628"/>
                  </a:lnTo>
                  <a:lnTo>
                    <a:pt x="328" y="606"/>
                  </a:lnTo>
                  <a:lnTo>
                    <a:pt x="320" y="586"/>
                  </a:lnTo>
                  <a:lnTo>
                    <a:pt x="276" y="594"/>
                  </a:lnTo>
                  <a:lnTo>
                    <a:pt x="254" y="610"/>
                  </a:lnTo>
                  <a:lnTo>
                    <a:pt x="232" y="616"/>
                  </a:lnTo>
                  <a:lnTo>
                    <a:pt x="206" y="636"/>
                  </a:lnTo>
                  <a:lnTo>
                    <a:pt x="168" y="638"/>
                  </a:lnTo>
                  <a:lnTo>
                    <a:pt x="130" y="636"/>
                  </a:lnTo>
                  <a:lnTo>
                    <a:pt x="126" y="568"/>
                  </a:lnTo>
                  <a:lnTo>
                    <a:pt x="120" y="564"/>
                  </a:lnTo>
                  <a:lnTo>
                    <a:pt x="80" y="594"/>
                  </a:lnTo>
                  <a:lnTo>
                    <a:pt x="52" y="568"/>
                  </a:lnTo>
                  <a:lnTo>
                    <a:pt x="28" y="562"/>
                  </a:lnTo>
                  <a:lnTo>
                    <a:pt x="38" y="544"/>
                  </a:lnTo>
                  <a:lnTo>
                    <a:pt x="12" y="540"/>
                  </a:lnTo>
                  <a:lnTo>
                    <a:pt x="6" y="526"/>
                  </a:lnTo>
                  <a:lnTo>
                    <a:pt x="10" y="506"/>
                  </a:lnTo>
                  <a:lnTo>
                    <a:pt x="0" y="496"/>
                  </a:lnTo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8001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62" name="Brunei">
              <a:extLst>
                <a:ext uri="{FF2B5EF4-FFF2-40B4-BE49-F238E27FC236}">
                  <a16:creationId xmlns="" xmlns:a16="http://schemas.microsoft.com/office/drawing/2014/main" id="{7C9EAF51-714F-4722-B8B5-1F89276ADA10}"/>
                </a:ext>
              </a:extLst>
            </p:cNvPr>
            <p:cNvSpPr>
              <a:spLocks/>
            </p:cNvSpPr>
            <p:nvPr/>
          </p:nvSpPr>
          <p:spPr bwMode="gray">
            <a:xfrm>
              <a:off x="9324887" y="4377829"/>
              <a:ext cx="42950" cy="31465"/>
            </a:xfrm>
            <a:custGeom>
              <a:avLst/>
              <a:gdLst/>
              <a:ahLst/>
              <a:cxnLst>
                <a:cxn ang="0">
                  <a:pos x="46" y="0"/>
                </a:cxn>
                <a:cxn ang="0">
                  <a:pos x="52" y="6"/>
                </a:cxn>
                <a:cxn ang="0">
                  <a:pos x="52" y="22"/>
                </a:cxn>
                <a:cxn ang="0">
                  <a:pos x="32" y="14"/>
                </a:cxn>
                <a:cxn ang="0">
                  <a:pos x="32" y="28"/>
                </a:cxn>
                <a:cxn ang="0">
                  <a:pos x="24" y="38"/>
                </a:cxn>
                <a:cxn ang="0">
                  <a:pos x="0" y="14"/>
                </a:cxn>
                <a:cxn ang="0">
                  <a:pos x="18" y="6"/>
                </a:cxn>
                <a:cxn ang="0">
                  <a:pos x="32" y="2"/>
                </a:cxn>
                <a:cxn ang="0">
                  <a:pos x="46" y="0"/>
                </a:cxn>
              </a:cxnLst>
              <a:rect l="0" t="0" r="r" b="b"/>
              <a:pathLst>
                <a:path w="52" h="38">
                  <a:moveTo>
                    <a:pt x="46" y="0"/>
                  </a:moveTo>
                  <a:lnTo>
                    <a:pt x="52" y="6"/>
                  </a:lnTo>
                  <a:lnTo>
                    <a:pt x="52" y="22"/>
                  </a:lnTo>
                  <a:lnTo>
                    <a:pt x="32" y="14"/>
                  </a:lnTo>
                  <a:lnTo>
                    <a:pt x="32" y="28"/>
                  </a:lnTo>
                  <a:lnTo>
                    <a:pt x="24" y="38"/>
                  </a:lnTo>
                  <a:lnTo>
                    <a:pt x="0" y="14"/>
                  </a:lnTo>
                  <a:lnTo>
                    <a:pt x="18" y="6"/>
                  </a:lnTo>
                  <a:lnTo>
                    <a:pt x="32" y="2"/>
                  </a:lnTo>
                  <a:lnTo>
                    <a:pt x="46" y="0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63" name="Bulgaria">
              <a:extLst>
                <a:ext uri="{FF2B5EF4-FFF2-40B4-BE49-F238E27FC236}">
                  <a16:creationId xmlns="" xmlns:a16="http://schemas.microsoft.com/office/drawing/2014/main" id="{3D9CB211-6ED8-4E3B-AEF2-49419B90FBAB}"/>
                </a:ext>
              </a:extLst>
            </p:cNvPr>
            <p:cNvSpPr>
              <a:spLocks/>
            </p:cNvSpPr>
            <p:nvPr/>
          </p:nvSpPr>
          <p:spPr bwMode="gray">
            <a:xfrm>
              <a:off x="6488189" y="2987470"/>
              <a:ext cx="193279" cy="125860"/>
            </a:xfrm>
            <a:custGeom>
              <a:avLst/>
              <a:gdLst/>
              <a:ahLst/>
              <a:cxnLst>
                <a:cxn ang="0">
                  <a:pos x="72" y="142"/>
                </a:cxn>
                <a:cxn ang="0">
                  <a:pos x="94" y="148"/>
                </a:cxn>
                <a:cxn ang="0">
                  <a:pos x="108" y="154"/>
                </a:cxn>
                <a:cxn ang="0">
                  <a:pos x="138" y="152"/>
                </a:cxn>
                <a:cxn ang="0">
                  <a:pos x="140" y="138"/>
                </a:cxn>
                <a:cxn ang="0">
                  <a:pos x="146" y="128"/>
                </a:cxn>
                <a:cxn ang="0">
                  <a:pos x="154" y="136"/>
                </a:cxn>
                <a:cxn ang="0">
                  <a:pos x="174" y="116"/>
                </a:cxn>
                <a:cxn ang="0">
                  <a:pos x="190" y="116"/>
                </a:cxn>
                <a:cxn ang="0">
                  <a:pos x="204" y="118"/>
                </a:cxn>
                <a:cxn ang="0">
                  <a:pos x="222" y="114"/>
                </a:cxn>
                <a:cxn ang="0">
                  <a:pos x="214" y="88"/>
                </a:cxn>
                <a:cxn ang="0">
                  <a:pos x="208" y="84"/>
                </a:cxn>
                <a:cxn ang="0">
                  <a:pos x="218" y="68"/>
                </a:cxn>
                <a:cxn ang="0">
                  <a:pos x="222" y="44"/>
                </a:cxn>
                <a:cxn ang="0">
                  <a:pos x="234" y="42"/>
                </a:cxn>
                <a:cxn ang="0">
                  <a:pos x="238" y="26"/>
                </a:cxn>
                <a:cxn ang="0">
                  <a:pos x="216" y="20"/>
                </a:cxn>
                <a:cxn ang="0">
                  <a:pos x="204" y="4"/>
                </a:cxn>
                <a:cxn ang="0">
                  <a:pos x="192" y="10"/>
                </a:cxn>
                <a:cxn ang="0">
                  <a:pos x="180" y="16"/>
                </a:cxn>
                <a:cxn ang="0">
                  <a:pos x="164" y="16"/>
                </a:cxn>
                <a:cxn ang="0">
                  <a:pos x="148" y="28"/>
                </a:cxn>
                <a:cxn ang="0">
                  <a:pos x="112" y="42"/>
                </a:cxn>
                <a:cxn ang="0">
                  <a:pos x="78" y="36"/>
                </a:cxn>
                <a:cxn ang="0">
                  <a:pos x="60" y="28"/>
                </a:cxn>
                <a:cxn ang="0">
                  <a:pos x="28" y="22"/>
                </a:cxn>
                <a:cxn ang="0">
                  <a:pos x="26" y="4"/>
                </a:cxn>
                <a:cxn ang="0">
                  <a:pos x="10" y="0"/>
                </a:cxn>
                <a:cxn ang="0">
                  <a:pos x="6" y="14"/>
                </a:cxn>
                <a:cxn ang="0">
                  <a:pos x="0" y="20"/>
                </a:cxn>
                <a:cxn ang="0">
                  <a:pos x="10" y="36"/>
                </a:cxn>
                <a:cxn ang="0">
                  <a:pos x="20" y="50"/>
                </a:cxn>
                <a:cxn ang="0">
                  <a:pos x="30" y="62"/>
                </a:cxn>
                <a:cxn ang="0">
                  <a:pos x="20" y="76"/>
                </a:cxn>
                <a:cxn ang="0">
                  <a:pos x="10" y="76"/>
                </a:cxn>
                <a:cxn ang="0">
                  <a:pos x="8" y="86"/>
                </a:cxn>
                <a:cxn ang="0">
                  <a:pos x="10" y="98"/>
                </a:cxn>
                <a:cxn ang="0">
                  <a:pos x="12" y="116"/>
                </a:cxn>
                <a:cxn ang="0">
                  <a:pos x="22" y="124"/>
                </a:cxn>
                <a:cxn ang="0">
                  <a:pos x="30" y="152"/>
                </a:cxn>
                <a:cxn ang="0">
                  <a:pos x="52" y="152"/>
                </a:cxn>
                <a:cxn ang="0">
                  <a:pos x="72" y="142"/>
                </a:cxn>
              </a:cxnLst>
              <a:rect l="0" t="0" r="r" b="b"/>
              <a:pathLst>
                <a:path w="238" h="154">
                  <a:moveTo>
                    <a:pt x="72" y="142"/>
                  </a:moveTo>
                  <a:lnTo>
                    <a:pt x="94" y="148"/>
                  </a:lnTo>
                  <a:lnTo>
                    <a:pt x="108" y="154"/>
                  </a:lnTo>
                  <a:lnTo>
                    <a:pt x="138" y="152"/>
                  </a:lnTo>
                  <a:lnTo>
                    <a:pt x="140" y="138"/>
                  </a:lnTo>
                  <a:lnTo>
                    <a:pt x="146" y="128"/>
                  </a:lnTo>
                  <a:lnTo>
                    <a:pt x="154" y="136"/>
                  </a:lnTo>
                  <a:lnTo>
                    <a:pt x="174" y="116"/>
                  </a:lnTo>
                  <a:lnTo>
                    <a:pt x="190" y="116"/>
                  </a:lnTo>
                  <a:lnTo>
                    <a:pt x="204" y="118"/>
                  </a:lnTo>
                  <a:lnTo>
                    <a:pt x="222" y="114"/>
                  </a:lnTo>
                  <a:lnTo>
                    <a:pt x="214" y="88"/>
                  </a:lnTo>
                  <a:lnTo>
                    <a:pt x="208" y="84"/>
                  </a:lnTo>
                  <a:lnTo>
                    <a:pt x="218" y="68"/>
                  </a:lnTo>
                  <a:lnTo>
                    <a:pt x="222" y="44"/>
                  </a:lnTo>
                  <a:lnTo>
                    <a:pt x="234" y="42"/>
                  </a:lnTo>
                  <a:lnTo>
                    <a:pt x="238" y="26"/>
                  </a:lnTo>
                  <a:lnTo>
                    <a:pt x="216" y="20"/>
                  </a:lnTo>
                  <a:lnTo>
                    <a:pt x="204" y="4"/>
                  </a:lnTo>
                  <a:lnTo>
                    <a:pt x="192" y="10"/>
                  </a:lnTo>
                  <a:lnTo>
                    <a:pt x="180" y="16"/>
                  </a:lnTo>
                  <a:lnTo>
                    <a:pt x="164" y="16"/>
                  </a:lnTo>
                  <a:lnTo>
                    <a:pt x="148" y="28"/>
                  </a:lnTo>
                  <a:lnTo>
                    <a:pt x="112" y="42"/>
                  </a:lnTo>
                  <a:lnTo>
                    <a:pt x="78" y="36"/>
                  </a:lnTo>
                  <a:lnTo>
                    <a:pt x="60" y="28"/>
                  </a:lnTo>
                  <a:lnTo>
                    <a:pt x="28" y="22"/>
                  </a:lnTo>
                  <a:lnTo>
                    <a:pt x="26" y="4"/>
                  </a:lnTo>
                  <a:lnTo>
                    <a:pt x="10" y="0"/>
                  </a:lnTo>
                  <a:lnTo>
                    <a:pt x="6" y="14"/>
                  </a:lnTo>
                  <a:lnTo>
                    <a:pt x="0" y="20"/>
                  </a:lnTo>
                  <a:lnTo>
                    <a:pt x="10" y="36"/>
                  </a:lnTo>
                  <a:lnTo>
                    <a:pt x="20" y="50"/>
                  </a:lnTo>
                  <a:lnTo>
                    <a:pt x="30" y="62"/>
                  </a:lnTo>
                  <a:lnTo>
                    <a:pt x="20" y="76"/>
                  </a:lnTo>
                  <a:lnTo>
                    <a:pt x="10" y="76"/>
                  </a:lnTo>
                  <a:lnTo>
                    <a:pt x="8" y="86"/>
                  </a:lnTo>
                  <a:lnTo>
                    <a:pt x="10" y="98"/>
                  </a:lnTo>
                  <a:lnTo>
                    <a:pt x="12" y="116"/>
                  </a:lnTo>
                  <a:lnTo>
                    <a:pt x="22" y="124"/>
                  </a:lnTo>
                  <a:lnTo>
                    <a:pt x="30" y="152"/>
                  </a:lnTo>
                  <a:lnTo>
                    <a:pt x="52" y="152"/>
                  </a:lnTo>
                  <a:lnTo>
                    <a:pt x="72" y="142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64" name="Burkina Faso">
              <a:extLst>
                <a:ext uri="{FF2B5EF4-FFF2-40B4-BE49-F238E27FC236}">
                  <a16:creationId xmlns="" xmlns:a16="http://schemas.microsoft.com/office/drawing/2014/main" id="{76BB58F8-9AEF-4D40-865C-EFEB680640B2}"/>
                </a:ext>
              </a:extLst>
            </p:cNvPr>
            <p:cNvSpPr>
              <a:spLocks/>
            </p:cNvSpPr>
            <p:nvPr/>
          </p:nvSpPr>
          <p:spPr bwMode="gray">
            <a:xfrm>
              <a:off x="5638937" y="4067111"/>
              <a:ext cx="236228" cy="192723"/>
            </a:xfrm>
            <a:custGeom>
              <a:avLst/>
              <a:gdLst/>
              <a:ahLst/>
              <a:cxnLst>
                <a:cxn ang="0">
                  <a:pos x="98" y="232"/>
                </a:cxn>
                <a:cxn ang="0">
                  <a:pos x="68" y="216"/>
                </a:cxn>
                <a:cxn ang="0">
                  <a:pos x="52" y="222"/>
                </a:cxn>
                <a:cxn ang="0">
                  <a:pos x="32" y="224"/>
                </a:cxn>
                <a:cxn ang="0">
                  <a:pos x="16" y="208"/>
                </a:cxn>
                <a:cxn ang="0">
                  <a:pos x="0" y="200"/>
                </a:cxn>
                <a:cxn ang="0">
                  <a:pos x="0" y="186"/>
                </a:cxn>
                <a:cxn ang="0">
                  <a:pos x="14" y="160"/>
                </a:cxn>
                <a:cxn ang="0">
                  <a:pos x="14" y="136"/>
                </a:cxn>
                <a:cxn ang="0">
                  <a:pos x="34" y="134"/>
                </a:cxn>
                <a:cxn ang="0">
                  <a:pos x="52" y="104"/>
                </a:cxn>
                <a:cxn ang="0">
                  <a:pos x="50" y="86"/>
                </a:cxn>
                <a:cxn ang="0">
                  <a:pos x="64" y="74"/>
                </a:cxn>
                <a:cxn ang="0">
                  <a:pos x="82" y="88"/>
                </a:cxn>
                <a:cxn ang="0">
                  <a:pos x="116" y="42"/>
                </a:cxn>
                <a:cxn ang="0">
                  <a:pos x="124" y="48"/>
                </a:cxn>
                <a:cxn ang="0">
                  <a:pos x="130" y="42"/>
                </a:cxn>
                <a:cxn ang="0">
                  <a:pos x="134" y="22"/>
                </a:cxn>
                <a:cxn ang="0">
                  <a:pos x="164" y="18"/>
                </a:cxn>
                <a:cxn ang="0">
                  <a:pos x="192" y="0"/>
                </a:cxn>
                <a:cxn ang="0">
                  <a:pos x="220" y="8"/>
                </a:cxn>
                <a:cxn ang="0">
                  <a:pos x="220" y="50"/>
                </a:cxn>
                <a:cxn ang="0">
                  <a:pos x="244" y="76"/>
                </a:cxn>
                <a:cxn ang="0">
                  <a:pos x="244" y="90"/>
                </a:cxn>
                <a:cxn ang="0">
                  <a:pos x="270" y="100"/>
                </a:cxn>
                <a:cxn ang="0">
                  <a:pos x="274" y="94"/>
                </a:cxn>
                <a:cxn ang="0">
                  <a:pos x="286" y="102"/>
                </a:cxn>
                <a:cxn ang="0">
                  <a:pos x="282" y="114"/>
                </a:cxn>
                <a:cxn ang="0">
                  <a:pos x="280" y="124"/>
                </a:cxn>
                <a:cxn ang="0">
                  <a:pos x="292" y="140"/>
                </a:cxn>
                <a:cxn ang="0">
                  <a:pos x="282" y="158"/>
                </a:cxn>
                <a:cxn ang="0">
                  <a:pos x="262" y="156"/>
                </a:cxn>
                <a:cxn ang="0">
                  <a:pos x="238" y="180"/>
                </a:cxn>
                <a:cxn ang="0">
                  <a:pos x="228" y="174"/>
                </a:cxn>
                <a:cxn ang="0">
                  <a:pos x="212" y="174"/>
                </a:cxn>
                <a:cxn ang="0">
                  <a:pos x="214" y="166"/>
                </a:cxn>
                <a:cxn ang="0">
                  <a:pos x="196" y="166"/>
                </a:cxn>
                <a:cxn ang="0">
                  <a:pos x="188" y="174"/>
                </a:cxn>
                <a:cxn ang="0">
                  <a:pos x="94" y="174"/>
                </a:cxn>
                <a:cxn ang="0">
                  <a:pos x="98" y="232"/>
                </a:cxn>
              </a:cxnLst>
              <a:rect l="0" t="0" r="r" b="b"/>
              <a:pathLst>
                <a:path w="292" h="232">
                  <a:moveTo>
                    <a:pt x="98" y="232"/>
                  </a:moveTo>
                  <a:lnTo>
                    <a:pt x="68" y="216"/>
                  </a:lnTo>
                  <a:lnTo>
                    <a:pt x="52" y="222"/>
                  </a:lnTo>
                  <a:lnTo>
                    <a:pt x="32" y="224"/>
                  </a:lnTo>
                  <a:lnTo>
                    <a:pt x="16" y="208"/>
                  </a:lnTo>
                  <a:lnTo>
                    <a:pt x="0" y="200"/>
                  </a:lnTo>
                  <a:lnTo>
                    <a:pt x="0" y="186"/>
                  </a:lnTo>
                  <a:lnTo>
                    <a:pt x="14" y="160"/>
                  </a:lnTo>
                  <a:lnTo>
                    <a:pt x="14" y="136"/>
                  </a:lnTo>
                  <a:lnTo>
                    <a:pt x="34" y="134"/>
                  </a:lnTo>
                  <a:lnTo>
                    <a:pt x="52" y="104"/>
                  </a:lnTo>
                  <a:lnTo>
                    <a:pt x="50" y="86"/>
                  </a:lnTo>
                  <a:lnTo>
                    <a:pt x="64" y="74"/>
                  </a:lnTo>
                  <a:lnTo>
                    <a:pt x="82" y="88"/>
                  </a:lnTo>
                  <a:lnTo>
                    <a:pt x="116" y="42"/>
                  </a:lnTo>
                  <a:lnTo>
                    <a:pt x="124" y="48"/>
                  </a:lnTo>
                  <a:lnTo>
                    <a:pt x="130" y="42"/>
                  </a:lnTo>
                  <a:lnTo>
                    <a:pt x="134" y="22"/>
                  </a:lnTo>
                  <a:lnTo>
                    <a:pt x="164" y="18"/>
                  </a:lnTo>
                  <a:lnTo>
                    <a:pt x="192" y="0"/>
                  </a:lnTo>
                  <a:lnTo>
                    <a:pt x="220" y="8"/>
                  </a:lnTo>
                  <a:lnTo>
                    <a:pt x="220" y="50"/>
                  </a:lnTo>
                  <a:lnTo>
                    <a:pt x="244" y="76"/>
                  </a:lnTo>
                  <a:lnTo>
                    <a:pt x="244" y="90"/>
                  </a:lnTo>
                  <a:lnTo>
                    <a:pt x="270" y="100"/>
                  </a:lnTo>
                  <a:lnTo>
                    <a:pt x="274" y="94"/>
                  </a:lnTo>
                  <a:lnTo>
                    <a:pt x="286" y="102"/>
                  </a:lnTo>
                  <a:lnTo>
                    <a:pt x="282" y="114"/>
                  </a:lnTo>
                  <a:lnTo>
                    <a:pt x="280" y="124"/>
                  </a:lnTo>
                  <a:lnTo>
                    <a:pt x="292" y="140"/>
                  </a:lnTo>
                  <a:lnTo>
                    <a:pt x="282" y="158"/>
                  </a:lnTo>
                  <a:lnTo>
                    <a:pt x="262" y="156"/>
                  </a:lnTo>
                  <a:lnTo>
                    <a:pt x="238" y="180"/>
                  </a:lnTo>
                  <a:lnTo>
                    <a:pt x="228" y="174"/>
                  </a:lnTo>
                  <a:lnTo>
                    <a:pt x="212" y="174"/>
                  </a:lnTo>
                  <a:lnTo>
                    <a:pt x="214" y="166"/>
                  </a:lnTo>
                  <a:lnTo>
                    <a:pt x="196" y="166"/>
                  </a:lnTo>
                  <a:lnTo>
                    <a:pt x="188" y="174"/>
                  </a:lnTo>
                  <a:lnTo>
                    <a:pt x="94" y="174"/>
                  </a:lnTo>
                  <a:lnTo>
                    <a:pt x="98" y="232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65" name="Burundi">
              <a:extLst>
                <a:ext uri="{FF2B5EF4-FFF2-40B4-BE49-F238E27FC236}">
                  <a16:creationId xmlns="" xmlns:a16="http://schemas.microsoft.com/office/drawing/2014/main" id="{B3D20FA8-3C5D-401D-9424-216D29555C6E}"/>
                </a:ext>
              </a:extLst>
            </p:cNvPr>
            <p:cNvSpPr>
              <a:spLocks/>
            </p:cNvSpPr>
            <p:nvPr/>
          </p:nvSpPr>
          <p:spPr bwMode="gray">
            <a:xfrm>
              <a:off x="6716609" y="4645279"/>
              <a:ext cx="50759" cy="62931"/>
            </a:xfrm>
            <a:custGeom>
              <a:avLst/>
              <a:gdLst/>
              <a:ahLst/>
              <a:cxnLst>
                <a:cxn ang="0">
                  <a:pos x="0" y="78"/>
                </a:cxn>
                <a:cxn ang="0">
                  <a:pos x="0" y="46"/>
                </a:cxn>
                <a:cxn ang="0">
                  <a:pos x="6" y="14"/>
                </a:cxn>
                <a:cxn ang="0">
                  <a:pos x="26" y="4"/>
                </a:cxn>
                <a:cxn ang="0">
                  <a:pos x="48" y="0"/>
                </a:cxn>
                <a:cxn ang="0">
                  <a:pos x="62" y="28"/>
                </a:cxn>
                <a:cxn ang="0">
                  <a:pos x="24" y="64"/>
                </a:cxn>
                <a:cxn ang="0">
                  <a:pos x="22" y="76"/>
                </a:cxn>
                <a:cxn ang="0">
                  <a:pos x="0" y="78"/>
                </a:cxn>
              </a:cxnLst>
              <a:rect l="0" t="0" r="r" b="b"/>
              <a:pathLst>
                <a:path w="62" h="78">
                  <a:moveTo>
                    <a:pt x="0" y="78"/>
                  </a:moveTo>
                  <a:lnTo>
                    <a:pt x="0" y="46"/>
                  </a:lnTo>
                  <a:lnTo>
                    <a:pt x="6" y="14"/>
                  </a:lnTo>
                  <a:lnTo>
                    <a:pt x="26" y="4"/>
                  </a:lnTo>
                  <a:lnTo>
                    <a:pt x="48" y="0"/>
                  </a:lnTo>
                  <a:lnTo>
                    <a:pt x="62" y="28"/>
                  </a:lnTo>
                  <a:lnTo>
                    <a:pt x="24" y="64"/>
                  </a:lnTo>
                  <a:lnTo>
                    <a:pt x="22" y="76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66" name="Cambodia">
              <a:extLst>
                <a:ext uri="{FF2B5EF4-FFF2-40B4-BE49-F238E27FC236}">
                  <a16:creationId xmlns="" xmlns:a16="http://schemas.microsoft.com/office/drawing/2014/main" id="{DC6C8908-645B-44E5-B4BF-F98286A52E30}"/>
                </a:ext>
              </a:extLst>
            </p:cNvPr>
            <p:cNvSpPr>
              <a:spLocks/>
            </p:cNvSpPr>
            <p:nvPr/>
          </p:nvSpPr>
          <p:spPr bwMode="gray">
            <a:xfrm>
              <a:off x="8959805" y="4084810"/>
              <a:ext cx="160088" cy="139627"/>
            </a:xfrm>
            <a:custGeom>
              <a:avLst/>
              <a:gdLst/>
              <a:ahLst/>
              <a:cxnLst>
                <a:cxn ang="0">
                  <a:pos x="72" y="164"/>
                </a:cxn>
                <a:cxn ang="0">
                  <a:pos x="88" y="172"/>
                </a:cxn>
                <a:cxn ang="0">
                  <a:pos x="114" y="140"/>
                </a:cxn>
                <a:cxn ang="0">
                  <a:pos x="134" y="138"/>
                </a:cxn>
                <a:cxn ang="0">
                  <a:pos x="136" y="124"/>
                </a:cxn>
                <a:cxn ang="0">
                  <a:pos x="146" y="110"/>
                </a:cxn>
                <a:cxn ang="0">
                  <a:pos x="160" y="110"/>
                </a:cxn>
                <a:cxn ang="0">
                  <a:pos x="168" y="100"/>
                </a:cxn>
                <a:cxn ang="0">
                  <a:pos x="186" y="96"/>
                </a:cxn>
                <a:cxn ang="0">
                  <a:pos x="196" y="86"/>
                </a:cxn>
                <a:cxn ang="0">
                  <a:pos x="196" y="34"/>
                </a:cxn>
                <a:cxn ang="0">
                  <a:pos x="194" y="4"/>
                </a:cxn>
                <a:cxn ang="0">
                  <a:pos x="180" y="6"/>
                </a:cxn>
                <a:cxn ang="0">
                  <a:pos x="172" y="0"/>
                </a:cxn>
                <a:cxn ang="0">
                  <a:pos x="164" y="0"/>
                </a:cxn>
                <a:cxn ang="0">
                  <a:pos x="152" y="12"/>
                </a:cxn>
                <a:cxn ang="0">
                  <a:pos x="138" y="16"/>
                </a:cxn>
                <a:cxn ang="0">
                  <a:pos x="134" y="32"/>
                </a:cxn>
                <a:cxn ang="0">
                  <a:pos x="110" y="22"/>
                </a:cxn>
                <a:cxn ang="0">
                  <a:pos x="100" y="6"/>
                </a:cxn>
                <a:cxn ang="0">
                  <a:pos x="76" y="10"/>
                </a:cxn>
                <a:cxn ang="0">
                  <a:pos x="30" y="18"/>
                </a:cxn>
                <a:cxn ang="0">
                  <a:pos x="2" y="56"/>
                </a:cxn>
                <a:cxn ang="0">
                  <a:pos x="0" y="70"/>
                </a:cxn>
                <a:cxn ang="0">
                  <a:pos x="20" y="94"/>
                </a:cxn>
                <a:cxn ang="0">
                  <a:pos x="18" y="112"/>
                </a:cxn>
                <a:cxn ang="0">
                  <a:pos x="22" y="124"/>
                </a:cxn>
                <a:cxn ang="0">
                  <a:pos x="24" y="150"/>
                </a:cxn>
                <a:cxn ang="0">
                  <a:pos x="34" y="150"/>
                </a:cxn>
                <a:cxn ang="0">
                  <a:pos x="42" y="152"/>
                </a:cxn>
                <a:cxn ang="0">
                  <a:pos x="46" y="148"/>
                </a:cxn>
                <a:cxn ang="0">
                  <a:pos x="42" y="142"/>
                </a:cxn>
                <a:cxn ang="0">
                  <a:pos x="46" y="138"/>
                </a:cxn>
                <a:cxn ang="0">
                  <a:pos x="52" y="144"/>
                </a:cxn>
                <a:cxn ang="0">
                  <a:pos x="52" y="152"/>
                </a:cxn>
                <a:cxn ang="0">
                  <a:pos x="48" y="158"/>
                </a:cxn>
                <a:cxn ang="0">
                  <a:pos x="48" y="164"/>
                </a:cxn>
                <a:cxn ang="0">
                  <a:pos x="52" y="164"/>
                </a:cxn>
                <a:cxn ang="0">
                  <a:pos x="56" y="162"/>
                </a:cxn>
                <a:cxn ang="0">
                  <a:pos x="60" y="158"/>
                </a:cxn>
                <a:cxn ang="0">
                  <a:pos x="72" y="164"/>
                </a:cxn>
              </a:cxnLst>
              <a:rect l="0" t="0" r="r" b="b"/>
              <a:pathLst>
                <a:path w="196" h="172">
                  <a:moveTo>
                    <a:pt x="72" y="164"/>
                  </a:moveTo>
                  <a:lnTo>
                    <a:pt x="88" y="172"/>
                  </a:lnTo>
                  <a:lnTo>
                    <a:pt x="114" y="140"/>
                  </a:lnTo>
                  <a:lnTo>
                    <a:pt x="134" y="138"/>
                  </a:lnTo>
                  <a:lnTo>
                    <a:pt x="136" y="124"/>
                  </a:lnTo>
                  <a:lnTo>
                    <a:pt x="146" y="110"/>
                  </a:lnTo>
                  <a:lnTo>
                    <a:pt x="160" y="110"/>
                  </a:lnTo>
                  <a:lnTo>
                    <a:pt x="168" y="100"/>
                  </a:lnTo>
                  <a:lnTo>
                    <a:pt x="186" y="96"/>
                  </a:lnTo>
                  <a:lnTo>
                    <a:pt x="196" y="86"/>
                  </a:lnTo>
                  <a:lnTo>
                    <a:pt x="196" y="34"/>
                  </a:lnTo>
                  <a:lnTo>
                    <a:pt x="194" y="4"/>
                  </a:lnTo>
                  <a:lnTo>
                    <a:pt x="180" y="6"/>
                  </a:lnTo>
                  <a:lnTo>
                    <a:pt x="172" y="0"/>
                  </a:lnTo>
                  <a:lnTo>
                    <a:pt x="164" y="0"/>
                  </a:lnTo>
                  <a:lnTo>
                    <a:pt x="152" y="12"/>
                  </a:lnTo>
                  <a:lnTo>
                    <a:pt x="138" y="16"/>
                  </a:lnTo>
                  <a:lnTo>
                    <a:pt x="134" y="32"/>
                  </a:lnTo>
                  <a:lnTo>
                    <a:pt x="110" y="22"/>
                  </a:lnTo>
                  <a:lnTo>
                    <a:pt x="100" y="6"/>
                  </a:lnTo>
                  <a:lnTo>
                    <a:pt x="76" y="10"/>
                  </a:lnTo>
                  <a:lnTo>
                    <a:pt x="30" y="18"/>
                  </a:lnTo>
                  <a:lnTo>
                    <a:pt x="2" y="56"/>
                  </a:lnTo>
                  <a:lnTo>
                    <a:pt x="0" y="70"/>
                  </a:lnTo>
                  <a:lnTo>
                    <a:pt x="20" y="94"/>
                  </a:lnTo>
                  <a:lnTo>
                    <a:pt x="18" y="112"/>
                  </a:lnTo>
                  <a:lnTo>
                    <a:pt x="22" y="124"/>
                  </a:lnTo>
                  <a:lnTo>
                    <a:pt x="24" y="150"/>
                  </a:lnTo>
                  <a:lnTo>
                    <a:pt x="34" y="150"/>
                  </a:lnTo>
                  <a:lnTo>
                    <a:pt x="42" y="152"/>
                  </a:lnTo>
                  <a:lnTo>
                    <a:pt x="46" y="148"/>
                  </a:lnTo>
                  <a:lnTo>
                    <a:pt x="42" y="142"/>
                  </a:lnTo>
                  <a:lnTo>
                    <a:pt x="46" y="138"/>
                  </a:lnTo>
                  <a:lnTo>
                    <a:pt x="52" y="144"/>
                  </a:lnTo>
                  <a:lnTo>
                    <a:pt x="52" y="152"/>
                  </a:lnTo>
                  <a:lnTo>
                    <a:pt x="48" y="158"/>
                  </a:lnTo>
                  <a:lnTo>
                    <a:pt x="48" y="164"/>
                  </a:lnTo>
                  <a:lnTo>
                    <a:pt x="52" y="164"/>
                  </a:lnTo>
                  <a:lnTo>
                    <a:pt x="56" y="162"/>
                  </a:lnTo>
                  <a:lnTo>
                    <a:pt x="60" y="158"/>
                  </a:lnTo>
                  <a:lnTo>
                    <a:pt x="72" y="164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67" name="Cameroon">
              <a:extLst>
                <a:ext uri="{FF2B5EF4-FFF2-40B4-BE49-F238E27FC236}">
                  <a16:creationId xmlns="" xmlns:a16="http://schemas.microsoft.com/office/drawing/2014/main" id="{6B1ECEB9-FF64-4B00-9D33-591C01153857}"/>
                </a:ext>
              </a:extLst>
            </p:cNvPr>
            <p:cNvSpPr>
              <a:spLocks/>
            </p:cNvSpPr>
            <p:nvPr/>
          </p:nvSpPr>
          <p:spPr bwMode="gray">
            <a:xfrm>
              <a:off x="6086015" y="4149707"/>
              <a:ext cx="214754" cy="361847"/>
            </a:xfrm>
            <a:custGeom>
              <a:avLst/>
              <a:gdLst/>
              <a:ahLst/>
              <a:cxnLst>
                <a:cxn ang="0">
                  <a:pos x="0" y="307"/>
                </a:cxn>
                <a:cxn ang="0">
                  <a:pos x="8" y="297"/>
                </a:cxn>
                <a:cxn ang="0">
                  <a:pos x="8" y="277"/>
                </a:cxn>
                <a:cxn ang="0">
                  <a:pos x="46" y="241"/>
                </a:cxn>
                <a:cxn ang="0">
                  <a:pos x="62" y="239"/>
                </a:cxn>
                <a:cxn ang="0">
                  <a:pos x="96" y="249"/>
                </a:cxn>
                <a:cxn ang="0">
                  <a:pos x="128" y="205"/>
                </a:cxn>
                <a:cxn ang="0">
                  <a:pos x="128" y="189"/>
                </a:cxn>
                <a:cxn ang="0">
                  <a:pos x="148" y="169"/>
                </a:cxn>
                <a:cxn ang="0">
                  <a:pos x="152" y="136"/>
                </a:cxn>
                <a:cxn ang="0">
                  <a:pos x="178" y="110"/>
                </a:cxn>
                <a:cxn ang="0">
                  <a:pos x="180" y="90"/>
                </a:cxn>
                <a:cxn ang="0">
                  <a:pos x="196" y="62"/>
                </a:cxn>
                <a:cxn ang="0">
                  <a:pos x="210" y="56"/>
                </a:cxn>
                <a:cxn ang="0">
                  <a:pos x="210" y="38"/>
                </a:cxn>
                <a:cxn ang="0">
                  <a:pos x="196" y="14"/>
                </a:cxn>
                <a:cxn ang="0">
                  <a:pos x="196" y="0"/>
                </a:cxn>
                <a:cxn ang="0">
                  <a:pos x="214" y="2"/>
                </a:cxn>
                <a:cxn ang="0">
                  <a:pos x="230" y="48"/>
                </a:cxn>
                <a:cxn ang="0">
                  <a:pos x="228" y="86"/>
                </a:cxn>
                <a:cxn ang="0">
                  <a:pos x="246" y="118"/>
                </a:cxn>
                <a:cxn ang="0">
                  <a:pos x="220" y="124"/>
                </a:cxn>
                <a:cxn ang="0">
                  <a:pos x="206" y="122"/>
                </a:cxn>
                <a:cxn ang="0">
                  <a:pos x="196" y="134"/>
                </a:cxn>
                <a:cxn ang="0">
                  <a:pos x="226" y="171"/>
                </a:cxn>
                <a:cxn ang="0">
                  <a:pos x="244" y="173"/>
                </a:cxn>
                <a:cxn ang="0">
                  <a:pos x="250" y="213"/>
                </a:cxn>
                <a:cxn ang="0">
                  <a:pos x="202" y="255"/>
                </a:cxn>
                <a:cxn ang="0">
                  <a:pos x="202" y="315"/>
                </a:cxn>
                <a:cxn ang="0">
                  <a:pos x="226" y="335"/>
                </a:cxn>
                <a:cxn ang="0">
                  <a:pos x="236" y="365"/>
                </a:cxn>
                <a:cxn ang="0">
                  <a:pos x="260" y="381"/>
                </a:cxn>
                <a:cxn ang="0">
                  <a:pos x="264" y="409"/>
                </a:cxn>
                <a:cxn ang="0">
                  <a:pos x="262" y="443"/>
                </a:cxn>
                <a:cxn ang="0">
                  <a:pos x="244" y="437"/>
                </a:cxn>
                <a:cxn ang="0">
                  <a:pos x="162" y="433"/>
                </a:cxn>
                <a:cxn ang="0">
                  <a:pos x="162" y="423"/>
                </a:cxn>
                <a:cxn ang="0">
                  <a:pos x="94" y="427"/>
                </a:cxn>
                <a:cxn ang="0">
                  <a:pos x="22" y="427"/>
                </a:cxn>
                <a:cxn ang="0">
                  <a:pos x="28" y="355"/>
                </a:cxn>
                <a:cxn ang="0">
                  <a:pos x="22" y="343"/>
                </a:cxn>
                <a:cxn ang="0">
                  <a:pos x="2" y="333"/>
                </a:cxn>
                <a:cxn ang="0">
                  <a:pos x="0" y="307"/>
                </a:cxn>
              </a:cxnLst>
              <a:rect l="0" t="0" r="r" b="b"/>
              <a:pathLst>
                <a:path w="264" h="443">
                  <a:moveTo>
                    <a:pt x="0" y="307"/>
                  </a:moveTo>
                  <a:lnTo>
                    <a:pt x="8" y="297"/>
                  </a:lnTo>
                  <a:lnTo>
                    <a:pt x="8" y="277"/>
                  </a:lnTo>
                  <a:lnTo>
                    <a:pt x="46" y="241"/>
                  </a:lnTo>
                  <a:lnTo>
                    <a:pt x="62" y="239"/>
                  </a:lnTo>
                  <a:lnTo>
                    <a:pt x="96" y="249"/>
                  </a:lnTo>
                  <a:lnTo>
                    <a:pt x="128" y="205"/>
                  </a:lnTo>
                  <a:lnTo>
                    <a:pt x="128" y="189"/>
                  </a:lnTo>
                  <a:lnTo>
                    <a:pt x="148" y="169"/>
                  </a:lnTo>
                  <a:lnTo>
                    <a:pt x="152" y="136"/>
                  </a:lnTo>
                  <a:lnTo>
                    <a:pt x="178" y="110"/>
                  </a:lnTo>
                  <a:lnTo>
                    <a:pt x="180" y="90"/>
                  </a:lnTo>
                  <a:lnTo>
                    <a:pt x="196" y="62"/>
                  </a:lnTo>
                  <a:lnTo>
                    <a:pt x="210" y="56"/>
                  </a:lnTo>
                  <a:lnTo>
                    <a:pt x="210" y="38"/>
                  </a:lnTo>
                  <a:lnTo>
                    <a:pt x="196" y="14"/>
                  </a:lnTo>
                  <a:lnTo>
                    <a:pt x="196" y="0"/>
                  </a:lnTo>
                  <a:lnTo>
                    <a:pt x="214" y="2"/>
                  </a:lnTo>
                  <a:lnTo>
                    <a:pt x="230" y="48"/>
                  </a:lnTo>
                  <a:lnTo>
                    <a:pt x="228" y="86"/>
                  </a:lnTo>
                  <a:lnTo>
                    <a:pt x="246" y="118"/>
                  </a:lnTo>
                  <a:lnTo>
                    <a:pt x="220" y="124"/>
                  </a:lnTo>
                  <a:lnTo>
                    <a:pt x="206" y="122"/>
                  </a:lnTo>
                  <a:lnTo>
                    <a:pt x="196" y="134"/>
                  </a:lnTo>
                  <a:lnTo>
                    <a:pt x="226" y="171"/>
                  </a:lnTo>
                  <a:lnTo>
                    <a:pt x="244" y="173"/>
                  </a:lnTo>
                  <a:lnTo>
                    <a:pt x="250" y="213"/>
                  </a:lnTo>
                  <a:lnTo>
                    <a:pt x="202" y="255"/>
                  </a:lnTo>
                  <a:lnTo>
                    <a:pt x="202" y="315"/>
                  </a:lnTo>
                  <a:lnTo>
                    <a:pt x="226" y="335"/>
                  </a:lnTo>
                  <a:lnTo>
                    <a:pt x="236" y="365"/>
                  </a:lnTo>
                  <a:lnTo>
                    <a:pt x="260" y="381"/>
                  </a:lnTo>
                  <a:lnTo>
                    <a:pt x="264" y="409"/>
                  </a:lnTo>
                  <a:lnTo>
                    <a:pt x="262" y="443"/>
                  </a:lnTo>
                  <a:lnTo>
                    <a:pt x="244" y="437"/>
                  </a:lnTo>
                  <a:lnTo>
                    <a:pt x="162" y="433"/>
                  </a:lnTo>
                  <a:lnTo>
                    <a:pt x="162" y="423"/>
                  </a:lnTo>
                  <a:lnTo>
                    <a:pt x="94" y="427"/>
                  </a:lnTo>
                  <a:lnTo>
                    <a:pt x="22" y="427"/>
                  </a:lnTo>
                  <a:lnTo>
                    <a:pt x="28" y="355"/>
                  </a:lnTo>
                  <a:lnTo>
                    <a:pt x="22" y="343"/>
                  </a:lnTo>
                  <a:lnTo>
                    <a:pt x="2" y="333"/>
                  </a:lnTo>
                  <a:lnTo>
                    <a:pt x="0" y="307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68" name="Canada">
              <a:extLst>
                <a:ext uri="{FF2B5EF4-FFF2-40B4-BE49-F238E27FC236}">
                  <a16:creationId xmlns="" xmlns:a16="http://schemas.microsoft.com/office/drawing/2014/main" id="{52FFA4AE-E929-40C0-BA29-256B665642B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400484" y="967814"/>
              <a:ext cx="2746892" cy="2153382"/>
            </a:xfrm>
            <a:custGeom>
              <a:avLst/>
              <a:gdLst/>
              <a:ahLst/>
              <a:cxnLst>
                <a:cxn ang="0">
                  <a:pos x="310" y="1083"/>
                </a:cxn>
                <a:cxn ang="0">
                  <a:pos x="376" y="195"/>
                </a:cxn>
                <a:cxn ang="0">
                  <a:pos x="461" y="213"/>
                </a:cxn>
                <a:cxn ang="0">
                  <a:pos x="539" y="298"/>
                </a:cxn>
                <a:cxn ang="0">
                  <a:pos x="552" y="406"/>
                </a:cxn>
                <a:cxn ang="0">
                  <a:pos x="757" y="378"/>
                </a:cxn>
                <a:cxn ang="0">
                  <a:pos x="637" y="253"/>
                </a:cxn>
                <a:cxn ang="0">
                  <a:pos x="712" y="133"/>
                </a:cxn>
                <a:cxn ang="0">
                  <a:pos x="752" y="251"/>
                </a:cxn>
                <a:cxn ang="0">
                  <a:pos x="760" y="160"/>
                </a:cxn>
                <a:cxn ang="0">
                  <a:pos x="795" y="361"/>
                </a:cxn>
                <a:cxn ang="0">
                  <a:pos x="1023" y="213"/>
                </a:cxn>
                <a:cxn ang="0">
                  <a:pos x="1101" y="351"/>
                </a:cxn>
                <a:cxn ang="0">
                  <a:pos x="1294" y="436"/>
                </a:cxn>
                <a:cxn ang="0">
                  <a:pos x="1279" y="541"/>
                </a:cxn>
                <a:cxn ang="0">
                  <a:pos x="1369" y="597"/>
                </a:cxn>
                <a:cxn ang="0">
                  <a:pos x="1487" y="544"/>
                </a:cxn>
                <a:cxn ang="0">
                  <a:pos x="1362" y="316"/>
                </a:cxn>
                <a:cxn ang="0">
                  <a:pos x="1254" y="220"/>
                </a:cxn>
                <a:cxn ang="0">
                  <a:pos x="1098" y="281"/>
                </a:cxn>
                <a:cxn ang="0">
                  <a:pos x="1201" y="439"/>
                </a:cxn>
                <a:cxn ang="0">
                  <a:pos x="1035" y="636"/>
                </a:cxn>
                <a:cxn ang="0">
                  <a:pos x="1077" y="568"/>
                </a:cxn>
                <a:cxn ang="0">
                  <a:pos x="955" y="243"/>
                </a:cxn>
                <a:cxn ang="0">
                  <a:pos x="1241" y="150"/>
                </a:cxn>
                <a:cxn ang="0">
                  <a:pos x="1331" y="12"/>
                </a:cxn>
                <a:cxn ang="0">
                  <a:pos x="1006" y="98"/>
                </a:cxn>
                <a:cxn ang="0">
                  <a:pos x="1606" y="1017"/>
                </a:cxn>
                <a:cxn ang="0">
                  <a:pos x="1638" y="1070"/>
                </a:cxn>
                <a:cxn ang="0">
                  <a:pos x="1668" y="1109"/>
                </a:cxn>
                <a:cxn ang="0">
                  <a:pos x="1516" y="1048"/>
                </a:cxn>
                <a:cxn ang="0">
                  <a:pos x="1434" y="1152"/>
                </a:cxn>
                <a:cxn ang="0">
                  <a:pos x="1357" y="1177"/>
                </a:cxn>
                <a:cxn ang="0">
                  <a:pos x="1214" y="1259"/>
                </a:cxn>
                <a:cxn ang="0">
                  <a:pos x="1145" y="1280"/>
                </a:cxn>
                <a:cxn ang="0">
                  <a:pos x="1116" y="1219"/>
                </a:cxn>
                <a:cxn ang="0">
                  <a:pos x="1062" y="1231"/>
                </a:cxn>
                <a:cxn ang="0">
                  <a:pos x="1031" y="1278"/>
                </a:cxn>
                <a:cxn ang="0">
                  <a:pos x="1034" y="1221"/>
                </a:cxn>
                <a:cxn ang="0">
                  <a:pos x="1101" y="1187"/>
                </a:cxn>
                <a:cxn ang="0">
                  <a:pos x="1017" y="1166"/>
                </a:cxn>
                <a:cxn ang="0">
                  <a:pos x="951" y="1171"/>
                </a:cxn>
                <a:cxn ang="0">
                  <a:pos x="914" y="1130"/>
                </a:cxn>
                <a:cxn ang="0">
                  <a:pos x="363" y="1113"/>
                </a:cxn>
                <a:cxn ang="0">
                  <a:pos x="208" y="890"/>
                </a:cxn>
                <a:cxn ang="0">
                  <a:pos x="181" y="346"/>
                </a:cxn>
                <a:cxn ang="0">
                  <a:pos x="411" y="371"/>
                </a:cxn>
                <a:cxn ang="0">
                  <a:pos x="632" y="511"/>
                </a:cxn>
                <a:cxn ang="0">
                  <a:pos x="720" y="444"/>
                </a:cxn>
                <a:cxn ang="0">
                  <a:pos x="889" y="459"/>
                </a:cxn>
                <a:cxn ang="0">
                  <a:pos x="883" y="225"/>
                </a:cxn>
                <a:cxn ang="0">
                  <a:pos x="1036" y="476"/>
                </a:cxn>
                <a:cxn ang="0">
                  <a:pos x="1048" y="526"/>
                </a:cxn>
                <a:cxn ang="0">
                  <a:pos x="976" y="854"/>
                </a:cxn>
                <a:cxn ang="0">
                  <a:pos x="1221" y="946"/>
                </a:cxn>
                <a:cxn ang="0">
                  <a:pos x="1314" y="659"/>
                </a:cxn>
                <a:cxn ang="0">
                  <a:pos x="1492" y="782"/>
                </a:cxn>
                <a:cxn ang="0">
                  <a:pos x="1616" y="923"/>
                </a:cxn>
                <a:cxn ang="0">
                  <a:pos x="1364" y="1119"/>
                </a:cxn>
                <a:cxn ang="0">
                  <a:pos x="1475" y="1102"/>
                </a:cxn>
                <a:cxn ang="0">
                  <a:pos x="1484" y="1183"/>
                </a:cxn>
              </a:cxnLst>
              <a:rect l="0" t="0" r="r" b="b"/>
              <a:pathLst>
                <a:path w="1692" h="1317">
                  <a:moveTo>
                    <a:pt x="168" y="968"/>
                  </a:moveTo>
                  <a:cubicBezTo>
                    <a:pt x="171" y="978"/>
                    <a:pt x="171" y="978"/>
                    <a:pt x="171" y="978"/>
                  </a:cubicBezTo>
                  <a:cubicBezTo>
                    <a:pt x="176" y="988"/>
                    <a:pt x="176" y="988"/>
                    <a:pt x="176" y="988"/>
                  </a:cubicBezTo>
                  <a:cubicBezTo>
                    <a:pt x="193" y="1008"/>
                    <a:pt x="193" y="1008"/>
                    <a:pt x="193" y="1008"/>
                  </a:cubicBezTo>
                  <a:cubicBezTo>
                    <a:pt x="198" y="1008"/>
                    <a:pt x="198" y="1008"/>
                    <a:pt x="198" y="1008"/>
                  </a:cubicBezTo>
                  <a:cubicBezTo>
                    <a:pt x="198" y="1003"/>
                    <a:pt x="198" y="1003"/>
                    <a:pt x="198" y="1003"/>
                  </a:cubicBezTo>
                  <a:cubicBezTo>
                    <a:pt x="192" y="999"/>
                    <a:pt x="192" y="999"/>
                    <a:pt x="192" y="999"/>
                  </a:cubicBezTo>
                  <a:cubicBezTo>
                    <a:pt x="183" y="983"/>
                    <a:pt x="183" y="983"/>
                    <a:pt x="183" y="983"/>
                  </a:cubicBezTo>
                  <a:cubicBezTo>
                    <a:pt x="186" y="980"/>
                    <a:pt x="186" y="980"/>
                    <a:pt x="186" y="980"/>
                  </a:cubicBezTo>
                  <a:cubicBezTo>
                    <a:pt x="186" y="973"/>
                    <a:pt x="186" y="973"/>
                    <a:pt x="186" y="973"/>
                  </a:cubicBezTo>
                  <a:cubicBezTo>
                    <a:pt x="183" y="973"/>
                    <a:pt x="183" y="973"/>
                    <a:pt x="183" y="973"/>
                  </a:cubicBezTo>
                  <a:cubicBezTo>
                    <a:pt x="181" y="968"/>
                    <a:pt x="181" y="968"/>
                    <a:pt x="181" y="968"/>
                  </a:cubicBezTo>
                  <a:cubicBezTo>
                    <a:pt x="183" y="963"/>
                    <a:pt x="183" y="963"/>
                    <a:pt x="183" y="963"/>
                  </a:cubicBezTo>
                  <a:cubicBezTo>
                    <a:pt x="188" y="945"/>
                    <a:pt x="188" y="945"/>
                    <a:pt x="188" y="945"/>
                  </a:cubicBezTo>
                  <a:cubicBezTo>
                    <a:pt x="181" y="950"/>
                    <a:pt x="181" y="950"/>
                    <a:pt x="181" y="950"/>
                  </a:cubicBezTo>
                  <a:cubicBezTo>
                    <a:pt x="163" y="945"/>
                    <a:pt x="163" y="945"/>
                    <a:pt x="163" y="945"/>
                  </a:cubicBezTo>
                  <a:cubicBezTo>
                    <a:pt x="168" y="968"/>
                    <a:pt x="168" y="968"/>
                    <a:pt x="168" y="968"/>
                  </a:cubicBezTo>
                  <a:moveTo>
                    <a:pt x="325" y="1095"/>
                  </a:moveTo>
                  <a:cubicBezTo>
                    <a:pt x="318" y="1088"/>
                    <a:pt x="318" y="1088"/>
                    <a:pt x="318" y="1088"/>
                  </a:cubicBezTo>
                  <a:cubicBezTo>
                    <a:pt x="310" y="1083"/>
                    <a:pt x="310" y="1083"/>
                    <a:pt x="310" y="1083"/>
                  </a:cubicBezTo>
                  <a:cubicBezTo>
                    <a:pt x="307" y="1074"/>
                    <a:pt x="307" y="1074"/>
                    <a:pt x="307" y="1074"/>
                  </a:cubicBezTo>
                  <a:cubicBezTo>
                    <a:pt x="263" y="1055"/>
                    <a:pt x="263" y="1055"/>
                    <a:pt x="263" y="1055"/>
                  </a:cubicBezTo>
                  <a:cubicBezTo>
                    <a:pt x="251" y="1061"/>
                    <a:pt x="251" y="1061"/>
                    <a:pt x="251" y="1061"/>
                  </a:cubicBezTo>
                  <a:cubicBezTo>
                    <a:pt x="267" y="1068"/>
                    <a:pt x="267" y="1068"/>
                    <a:pt x="267" y="1068"/>
                  </a:cubicBezTo>
                  <a:cubicBezTo>
                    <a:pt x="264" y="1073"/>
                    <a:pt x="264" y="1073"/>
                    <a:pt x="264" y="1073"/>
                  </a:cubicBezTo>
                  <a:cubicBezTo>
                    <a:pt x="270" y="1080"/>
                    <a:pt x="270" y="1080"/>
                    <a:pt x="270" y="1080"/>
                  </a:cubicBezTo>
                  <a:cubicBezTo>
                    <a:pt x="281" y="1087"/>
                    <a:pt x="281" y="1087"/>
                    <a:pt x="281" y="1087"/>
                  </a:cubicBezTo>
                  <a:cubicBezTo>
                    <a:pt x="290" y="1088"/>
                    <a:pt x="290" y="1088"/>
                    <a:pt x="290" y="1088"/>
                  </a:cubicBezTo>
                  <a:cubicBezTo>
                    <a:pt x="295" y="1093"/>
                    <a:pt x="295" y="1093"/>
                    <a:pt x="295" y="1093"/>
                  </a:cubicBezTo>
                  <a:cubicBezTo>
                    <a:pt x="297" y="1101"/>
                    <a:pt x="297" y="1101"/>
                    <a:pt x="297" y="1101"/>
                  </a:cubicBezTo>
                  <a:cubicBezTo>
                    <a:pt x="307" y="1102"/>
                    <a:pt x="307" y="1102"/>
                    <a:pt x="307" y="1102"/>
                  </a:cubicBezTo>
                  <a:cubicBezTo>
                    <a:pt x="310" y="1108"/>
                    <a:pt x="310" y="1108"/>
                    <a:pt x="310" y="1108"/>
                  </a:cubicBezTo>
                  <a:cubicBezTo>
                    <a:pt x="317" y="1109"/>
                    <a:pt x="317" y="1109"/>
                    <a:pt x="317" y="1109"/>
                  </a:cubicBezTo>
                  <a:cubicBezTo>
                    <a:pt x="318" y="1116"/>
                    <a:pt x="318" y="1116"/>
                    <a:pt x="318" y="1116"/>
                  </a:cubicBezTo>
                  <a:cubicBezTo>
                    <a:pt x="345" y="1125"/>
                    <a:pt x="345" y="1125"/>
                    <a:pt x="345" y="1125"/>
                  </a:cubicBezTo>
                  <a:cubicBezTo>
                    <a:pt x="350" y="1123"/>
                    <a:pt x="350" y="1123"/>
                    <a:pt x="350" y="1123"/>
                  </a:cubicBezTo>
                  <a:cubicBezTo>
                    <a:pt x="335" y="1100"/>
                    <a:pt x="335" y="1100"/>
                    <a:pt x="335" y="1100"/>
                  </a:cubicBezTo>
                  <a:lnTo>
                    <a:pt x="325" y="1095"/>
                  </a:lnTo>
                  <a:close/>
                  <a:moveTo>
                    <a:pt x="386" y="163"/>
                  </a:moveTo>
                  <a:cubicBezTo>
                    <a:pt x="376" y="195"/>
                    <a:pt x="376" y="195"/>
                    <a:pt x="376" y="195"/>
                  </a:cubicBezTo>
                  <a:cubicBezTo>
                    <a:pt x="371" y="235"/>
                    <a:pt x="371" y="235"/>
                    <a:pt x="371" y="235"/>
                  </a:cubicBezTo>
                  <a:cubicBezTo>
                    <a:pt x="384" y="251"/>
                    <a:pt x="384" y="251"/>
                    <a:pt x="384" y="251"/>
                  </a:cubicBezTo>
                  <a:cubicBezTo>
                    <a:pt x="389" y="281"/>
                    <a:pt x="389" y="281"/>
                    <a:pt x="389" y="281"/>
                  </a:cubicBezTo>
                  <a:cubicBezTo>
                    <a:pt x="396" y="276"/>
                    <a:pt x="396" y="276"/>
                    <a:pt x="396" y="276"/>
                  </a:cubicBezTo>
                  <a:cubicBezTo>
                    <a:pt x="404" y="261"/>
                    <a:pt x="404" y="261"/>
                    <a:pt x="404" y="261"/>
                  </a:cubicBezTo>
                  <a:cubicBezTo>
                    <a:pt x="409" y="266"/>
                    <a:pt x="409" y="266"/>
                    <a:pt x="409" y="266"/>
                  </a:cubicBezTo>
                  <a:cubicBezTo>
                    <a:pt x="416" y="251"/>
                    <a:pt x="416" y="251"/>
                    <a:pt x="416" y="251"/>
                  </a:cubicBezTo>
                  <a:cubicBezTo>
                    <a:pt x="421" y="223"/>
                    <a:pt x="421" y="223"/>
                    <a:pt x="421" y="223"/>
                  </a:cubicBezTo>
                  <a:cubicBezTo>
                    <a:pt x="424" y="193"/>
                    <a:pt x="424" y="193"/>
                    <a:pt x="424" y="193"/>
                  </a:cubicBezTo>
                  <a:cubicBezTo>
                    <a:pt x="446" y="173"/>
                    <a:pt x="446" y="173"/>
                    <a:pt x="446" y="173"/>
                  </a:cubicBezTo>
                  <a:cubicBezTo>
                    <a:pt x="469" y="163"/>
                    <a:pt x="469" y="163"/>
                    <a:pt x="469" y="163"/>
                  </a:cubicBezTo>
                  <a:cubicBezTo>
                    <a:pt x="474" y="133"/>
                    <a:pt x="474" y="133"/>
                    <a:pt x="474" y="133"/>
                  </a:cubicBezTo>
                  <a:cubicBezTo>
                    <a:pt x="446" y="130"/>
                    <a:pt x="446" y="130"/>
                    <a:pt x="446" y="130"/>
                  </a:cubicBezTo>
                  <a:cubicBezTo>
                    <a:pt x="426" y="138"/>
                    <a:pt x="426" y="138"/>
                    <a:pt x="426" y="138"/>
                  </a:cubicBezTo>
                  <a:cubicBezTo>
                    <a:pt x="404" y="145"/>
                    <a:pt x="404" y="145"/>
                    <a:pt x="404" y="145"/>
                  </a:cubicBezTo>
                  <a:cubicBezTo>
                    <a:pt x="403" y="165"/>
                    <a:pt x="403" y="165"/>
                    <a:pt x="403" y="165"/>
                  </a:cubicBezTo>
                  <a:lnTo>
                    <a:pt x="386" y="163"/>
                  </a:lnTo>
                  <a:close/>
                  <a:moveTo>
                    <a:pt x="444" y="205"/>
                  </a:moveTo>
                  <a:cubicBezTo>
                    <a:pt x="446" y="213"/>
                    <a:pt x="446" y="213"/>
                    <a:pt x="446" y="213"/>
                  </a:cubicBezTo>
                  <a:cubicBezTo>
                    <a:pt x="461" y="213"/>
                    <a:pt x="461" y="213"/>
                    <a:pt x="461" y="213"/>
                  </a:cubicBezTo>
                  <a:cubicBezTo>
                    <a:pt x="454" y="223"/>
                    <a:pt x="454" y="223"/>
                    <a:pt x="454" y="223"/>
                  </a:cubicBezTo>
                  <a:cubicBezTo>
                    <a:pt x="444" y="223"/>
                    <a:pt x="444" y="223"/>
                    <a:pt x="444" y="223"/>
                  </a:cubicBezTo>
                  <a:cubicBezTo>
                    <a:pt x="434" y="248"/>
                    <a:pt x="434" y="248"/>
                    <a:pt x="434" y="248"/>
                  </a:cubicBezTo>
                  <a:cubicBezTo>
                    <a:pt x="449" y="248"/>
                    <a:pt x="449" y="248"/>
                    <a:pt x="449" y="248"/>
                  </a:cubicBezTo>
                  <a:cubicBezTo>
                    <a:pt x="451" y="253"/>
                    <a:pt x="451" y="253"/>
                    <a:pt x="451" y="253"/>
                  </a:cubicBezTo>
                  <a:cubicBezTo>
                    <a:pt x="444" y="261"/>
                    <a:pt x="444" y="261"/>
                    <a:pt x="444" y="261"/>
                  </a:cubicBezTo>
                  <a:cubicBezTo>
                    <a:pt x="454" y="266"/>
                    <a:pt x="454" y="266"/>
                    <a:pt x="454" y="266"/>
                  </a:cubicBezTo>
                  <a:cubicBezTo>
                    <a:pt x="461" y="258"/>
                    <a:pt x="461" y="258"/>
                    <a:pt x="461" y="258"/>
                  </a:cubicBezTo>
                  <a:cubicBezTo>
                    <a:pt x="474" y="258"/>
                    <a:pt x="474" y="258"/>
                    <a:pt x="474" y="258"/>
                  </a:cubicBezTo>
                  <a:cubicBezTo>
                    <a:pt x="499" y="253"/>
                    <a:pt x="499" y="253"/>
                    <a:pt x="499" y="253"/>
                  </a:cubicBezTo>
                  <a:cubicBezTo>
                    <a:pt x="507" y="256"/>
                    <a:pt x="507" y="256"/>
                    <a:pt x="507" y="256"/>
                  </a:cubicBezTo>
                  <a:cubicBezTo>
                    <a:pt x="504" y="261"/>
                    <a:pt x="504" y="261"/>
                    <a:pt x="504" y="261"/>
                  </a:cubicBezTo>
                  <a:cubicBezTo>
                    <a:pt x="484" y="266"/>
                    <a:pt x="484" y="266"/>
                    <a:pt x="484" y="266"/>
                  </a:cubicBezTo>
                  <a:cubicBezTo>
                    <a:pt x="459" y="278"/>
                    <a:pt x="459" y="278"/>
                    <a:pt x="459" y="278"/>
                  </a:cubicBezTo>
                  <a:cubicBezTo>
                    <a:pt x="454" y="288"/>
                    <a:pt x="454" y="288"/>
                    <a:pt x="454" y="288"/>
                  </a:cubicBezTo>
                  <a:cubicBezTo>
                    <a:pt x="466" y="298"/>
                    <a:pt x="466" y="298"/>
                    <a:pt x="466" y="298"/>
                  </a:cubicBezTo>
                  <a:cubicBezTo>
                    <a:pt x="484" y="301"/>
                    <a:pt x="484" y="301"/>
                    <a:pt x="484" y="301"/>
                  </a:cubicBezTo>
                  <a:cubicBezTo>
                    <a:pt x="509" y="303"/>
                    <a:pt x="509" y="303"/>
                    <a:pt x="509" y="303"/>
                  </a:cubicBezTo>
                  <a:cubicBezTo>
                    <a:pt x="524" y="301"/>
                    <a:pt x="524" y="301"/>
                    <a:pt x="524" y="301"/>
                  </a:cubicBezTo>
                  <a:cubicBezTo>
                    <a:pt x="539" y="298"/>
                    <a:pt x="539" y="298"/>
                    <a:pt x="539" y="298"/>
                  </a:cubicBezTo>
                  <a:cubicBezTo>
                    <a:pt x="567" y="303"/>
                    <a:pt x="567" y="303"/>
                    <a:pt x="567" y="303"/>
                  </a:cubicBezTo>
                  <a:cubicBezTo>
                    <a:pt x="584" y="306"/>
                    <a:pt x="584" y="306"/>
                    <a:pt x="584" y="306"/>
                  </a:cubicBezTo>
                  <a:cubicBezTo>
                    <a:pt x="594" y="313"/>
                    <a:pt x="594" y="313"/>
                    <a:pt x="594" y="313"/>
                  </a:cubicBezTo>
                  <a:cubicBezTo>
                    <a:pt x="574" y="316"/>
                    <a:pt x="574" y="316"/>
                    <a:pt x="574" y="316"/>
                  </a:cubicBezTo>
                  <a:cubicBezTo>
                    <a:pt x="567" y="323"/>
                    <a:pt x="567" y="323"/>
                    <a:pt x="567" y="323"/>
                  </a:cubicBezTo>
                  <a:cubicBezTo>
                    <a:pt x="532" y="321"/>
                    <a:pt x="532" y="321"/>
                    <a:pt x="532" y="321"/>
                  </a:cubicBezTo>
                  <a:cubicBezTo>
                    <a:pt x="517" y="323"/>
                    <a:pt x="517" y="323"/>
                    <a:pt x="517" y="323"/>
                  </a:cubicBezTo>
                  <a:cubicBezTo>
                    <a:pt x="517" y="326"/>
                    <a:pt x="517" y="326"/>
                    <a:pt x="517" y="326"/>
                  </a:cubicBezTo>
                  <a:cubicBezTo>
                    <a:pt x="499" y="328"/>
                    <a:pt x="499" y="328"/>
                    <a:pt x="499" y="328"/>
                  </a:cubicBezTo>
                  <a:cubicBezTo>
                    <a:pt x="494" y="326"/>
                    <a:pt x="494" y="326"/>
                    <a:pt x="494" y="326"/>
                  </a:cubicBezTo>
                  <a:cubicBezTo>
                    <a:pt x="484" y="333"/>
                    <a:pt x="484" y="333"/>
                    <a:pt x="484" y="333"/>
                  </a:cubicBezTo>
                  <a:cubicBezTo>
                    <a:pt x="469" y="336"/>
                    <a:pt x="469" y="336"/>
                    <a:pt x="469" y="336"/>
                  </a:cubicBezTo>
                  <a:cubicBezTo>
                    <a:pt x="474" y="341"/>
                    <a:pt x="474" y="341"/>
                    <a:pt x="474" y="341"/>
                  </a:cubicBezTo>
                  <a:cubicBezTo>
                    <a:pt x="482" y="358"/>
                    <a:pt x="482" y="358"/>
                    <a:pt x="482" y="358"/>
                  </a:cubicBezTo>
                  <a:cubicBezTo>
                    <a:pt x="499" y="363"/>
                    <a:pt x="499" y="363"/>
                    <a:pt x="499" y="363"/>
                  </a:cubicBezTo>
                  <a:cubicBezTo>
                    <a:pt x="544" y="363"/>
                    <a:pt x="544" y="363"/>
                    <a:pt x="544" y="363"/>
                  </a:cubicBezTo>
                  <a:cubicBezTo>
                    <a:pt x="547" y="381"/>
                    <a:pt x="547" y="381"/>
                    <a:pt x="547" y="381"/>
                  </a:cubicBezTo>
                  <a:cubicBezTo>
                    <a:pt x="539" y="383"/>
                    <a:pt x="539" y="383"/>
                    <a:pt x="539" y="383"/>
                  </a:cubicBezTo>
                  <a:cubicBezTo>
                    <a:pt x="542" y="396"/>
                    <a:pt x="542" y="396"/>
                    <a:pt x="542" y="396"/>
                  </a:cubicBezTo>
                  <a:cubicBezTo>
                    <a:pt x="552" y="406"/>
                    <a:pt x="552" y="406"/>
                    <a:pt x="552" y="406"/>
                  </a:cubicBezTo>
                  <a:cubicBezTo>
                    <a:pt x="552" y="413"/>
                    <a:pt x="552" y="413"/>
                    <a:pt x="552" y="413"/>
                  </a:cubicBezTo>
                  <a:cubicBezTo>
                    <a:pt x="557" y="408"/>
                    <a:pt x="557" y="408"/>
                    <a:pt x="557" y="408"/>
                  </a:cubicBezTo>
                  <a:cubicBezTo>
                    <a:pt x="582" y="411"/>
                    <a:pt x="582" y="411"/>
                    <a:pt x="582" y="411"/>
                  </a:cubicBezTo>
                  <a:cubicBezTo>
                    <a:pt x="604" y="406"/>
                    <a:pt x="604" y="406"/>
                    <a:pt x="604" y="406"/>
                  </a:cubicBezTo>
                  <a:cubicBezTo>
                    <a:pt x="629" y="391"/>
                    <a:pt x="629" y="391"/>
                    <a:pt x="629" y="391"/>
                  </a:cubicBezTo>
                  <a:cubicBezTo>
                    <a:pt x="632" y="388"/>
                    <a:pt x="632" y="388"/>
                    <a:pt x="632" y="388"/>
                  </a:cubicBezTo>
                  <a:cubicBezTo>
                    <a:pt x="639" y="386"/>
                    <a:pt x="639" y="386"/>
                    <a:pt x="639" y="386"/>
                  </a:cubicBezTo>
                  <a:cubicBezTo>
                    <a:pt x="657" y="376"/>
                    <a:pt x="657" y="376"/>
                    <a:pt x="657" y="376"/>
                  </a:cubicBezTo>
                  <a:cubicBezTo>
                    <a:pt x="660" y="366"/>
                    <a:pt x="660" y="366"/>
                    <a:pt x="660" y="366"/>
                  </a:cubicBezTo>
                  <a:cubicBezTo>
                    <a:pt x="670" y="363"/>
                    <a:pt x="670" y="363"/>
                    <a:pt x="670" y="363"/>
                  </a:cubicBezTo>
                  <a:cubicBezTo>
                    <a:pt x="672" y="363"/>
                    <a:pt x="672" y="363"/>
                    <a:pt x="672" y="363"/>
                  </a:cubicBezTo>
                  <a:cubicBezTo>
                    <a:pt x="670" y="376"/>
                    <a:pt x="670" y="376"/>
                    <a:pt x="670" y="376"/>
                  </a:cubicBezTo>
                  <a:cubicBezTo>
                    <a:pt x="682" y="376"/>
                    <a:pt x="682" y="376"/>
                    <a:pt x="682" y="376"/>
                  </a:cubicBezTo>
                  <a:cubicBezTo>
                    <a:pt x="702" y="376"/>
                    <a:pt x="702" y="376"/>
                    <a:pt x="702" y="376"/>
                  </a:cubicBezTo>
                  <a:cubicBezTo>
                    <a:pt x="697" y="383"/>
                    <a:pt x="697" y="383"/>
                    <a:pt x="697" y="383"/>
                  </a:cubicBezTo>
                  <a:cubicBezTo>
                    <a:pt x="697" y="388"/>
                    <a:pt x="697" y="388"/>
                    <a:pt x="697" y="388"/>
                  </a:cubicBezTo>
                  <a:cubicBezTo>
                    <a:pt x="715" y="388"/>
                    <a:pt x="715" y="388"/>
                    <a:pt x="715" y="388"/>
                  </a:cubicBezTo>
                  <a:cubicBezTo>
                    <a:pt x="737" y="388"/>
                    <a:pt x="737" y="388"/>
                    <a:pt x="737" y="388"/>
                  </a:cubicBezTo>
                  <a:cubicBezTo>
                    <a:pt x="747" y="383"/>
                    <a:pt x="747" y="383"/>
                    <a:pt x="747" y="383"/>
                  </a:cubicBezTo>
                  <a:cubicBezTo>
                    <a:pt x="757" y="378"/>
                    <a:pt x="757" y="378"/>
                    <a:pt x="757" y="378"/>
                  </a:cubicBezTo>
                  <a:cubicBezTo>
                    <a:pt x="750" y="366"/>
                    <a:pt x="750" y="366"/>
                    <a:pt x="750" y="366"/>
                  </a:cubicBezTo>
                  <a:cubicBezTo>
                    <a:pt x="747" y="361"/>
                    <a:pt x="747" y="361"/>
                    <a:pt x="747" y="361"/>
                  </a:cubicBezTo>
                  <a:cubicBezTo>
                    <a:pt x="732" y="363"/>
                    <a:pt x="732" y="363"/>
                    <a:pt x="732" y="363"/>
                  </a:cubicBezTo>
                  <a:cubicBezTo>
                    <a:pt x="732" y="356"/>
                    <a:pt x="732" y="356"/>
                    <a:pt x="732" y="356"/>
                  </a:cubicBezTo>
                  <a:cubicBezTo>
                    <a:pt x="745" y="348"/>
                    <a:pt x="745" y="348"/>
                    <a:pt x="745" y="348"/>
                  </a:cubicBezTo>
                  <a:cubicBezTo>
                    <a:pt x="760" y="348"/>
                    <a:pt x="760" y="348"/>
                    <a:pt x="760" y="348"/>
                  </a:cubicBezTo>
                  <a:cubicBezTo>
                    <a:pt x="767" y="351"/>
                    <a:pt x="767" y="351"/>
                    <a:pt x="767" y="351"/>
                  </a:cubicBezTo>
                  <a:cubicBezTo>
                    <a:pt x="770" y="331"/>
                    <a:pt x="770" y="331"/>
                    <a:pt x="770" y="331"/>
                  </a:cubicBezTo>
                  <a:cubicBezTo>
                    <a:pt x="745" y="318"/>
                    <a:pt x="745" y="318"/>
                    <a:pt x="745" y="318"/>
                  </a:cubicBezTo>
                  <a:cubicBezTo>
                    <a:pt x="740" y="311"/>
                    <a:pt x="740" y="311"/>
                    <a:pt x="740" y="311"/>
                  </a:cubicBezTo>
                  <a:cubicBezTo>
                    <a:pt x="732" y="318"/>
                    <a:pt x="732" y="318"/>
                    <a:pt x="732" y="318"/>
                  </a:cubicBezTo>
                  <a:cubicBezTo>
                    <a:pt x="707" y="298"/>
                    <a:pt x="707" y="298"/>
                    <a:pt x="707" y="298"/>
                  </a:cubicBezTo>
                  <a:cubicBezTo>
                    <a:pt x="707" y="276"/>
                    <a:pt x="707" y="276"/>
                    <a:pt x="707" y="276"/>
                  </a:cubicBezTo>
                  <a:cubicBezTo>
                    <a:pt x="697" y="243"/>
                    <a:pt x="697" y="243"/>
                    <a:pt x="697" y="243"/>
                  </a:cubicBezTo>
                  <a:cubicBezTo>
                    <a:pt x="682" y="180"/>
                    <a:pt x="682" y="180"/>
                    <a:pt x="682" y="180"/>
                  </a:cubicBezTo>
                  <a:cubicBezTo>
                    <a:pt x="667" y="170"/>
                    <a:pt x="667" y="170"/>
                    <a:pt x="667" y="170"/>
                  </a:cubicBezTo>
                  <a:cubicBezTo>
                    <a:pt x="639" y="165"/>
                    <a:pt x="639" y="165"/>
                    <a:pt x="639" y="165"/>
                  </a:cubicBezTo>
                  <a:cubicBezTo>
                    <a:pt x="652" y="248"/>
                    <a:pt x="652" y="248"/>
                    <a:pt x="652" y="248"/>
                  </a:cubicBezTo>
                  <a:cubicBezTo>
                    <a:pt x="650" y="258"/>
                    <a:pt x="650" y="258"/>
                    <a:pt x="650" y="258"/>
                  </a:cubicBezTo>
                  <a:cubicBezTo>
                    <a:pt x="637" y="253"/>
                    <a:pt x="637" y="253"/>
                    <a:pt x="637" y="253"/>
                  </a:cubicBezTo>
                  <a:cubicBezTo>
                    <a:pt x="637" y="230"/>
                    <a:pt x="637" y="230"/>
                    <a:pt x="637" y="230"/>
                  </a:cubicBezTo>
                  <a:cubicBezTo>
                    <a:pt x="629" y="205"/>
                    <a:pt x="629" y="205"/>
                    <a:pt x="629" y="205"/>
                  </a:cubicBezTo>
                  <a:cubicBezTo>
                    <a:pt x="614" y="188"/>
                    <a:pt x="614" y="188"/>
                    <a:pt x="614" y="188"/>
                  </a:cubicBezTo>
                  <a:cubicBezTo>
                    <a:pt x="594" y="183"/>
                    <a:pt x="594" y="183"/>
                    <a:pt x="594" y="183"/>
                  </a:cubicBezTo>
                  <a:cubicBezTo>
                    <a:pt x="609" y="223"/>
                    <a:pt x="609" y="223"/>
                    <a:pt x="609" y="223"/>
                  </a:cubicBezTo>
                  <a:cubicBezTo>
                    <a:pt x="572" y="228"/>
                    <a:pt x="572" y="228"/>
                    <a:pt x="572" y="228"/>
                  </a:cubicBezTo>
                  <a:cubicBezTo>
                    <a:pt x="589" y="200"/>
                    <a:pt x="589" y="200"/>
                    <a:pt x="589" y="200"/>
                  </a:cubicBezTo>
                  <a:cubicBezTo>
                    <a:pt x="552" y="183"/>
                    <a:pt x="552" y="183"/>
                    <a:pt x="552" y="183"/>
                  </a:cubicBezTo>
                  <a:cubicBezTo>
                    <a:pt x="539" y="193"/>
                    <a:pt x="539" y="193"/>
                    <a:pt x="539" y="193"/>
                  </a:cubicBezTo>
                  <a:cubicBezTo>
                    <a:pt x="539" y="208"/>
                    <a:pt x="539" y="208"/>
                    <a:pt x="539" y="208"/>
                  </a:cubicBezTo>
                  <a:cubicBezTo>
                    <a:pt x="522" y="210"/>
                    <a:pt x="522" y="210"/>
                    <a:pt x="522" y="210"/>
                  </a:cubicBezTo>
                  <a:cubicBezTo>
                    <a:pt x="527" y="158"/>
                    <a:pt x="527" y="158"/>
                    <a:pt x="527" y="158"/>
                  </a:cubicBezTo>
                  <a:cubicBezTo>
                    <a:pt x="517" y="158"/>
                    <a:pt x="517" y="158"/>
                    <a:pt x="517" y="158"/>
                  </a:cubicBezTo>
                  <a:cubicBezTo>
                    <a:pt x="444" y="198"/>
                    <a:pt x="444" y="198"/>
                    <a:pt x="444" y="198"/>
                  </a:cubicBezTo>
                  <a:cubicBezTo>
                    <a:pt x="444" y="205"/>
                    <a:pt x="444" y="205"/>
                    <a:pt x="444" y="205"/>
                  </a:cubicBezTo>
                  <a:close/>
                  <a:moveTo>
                    <a:pt x="680" y="145"/>
                  </a:moveTo>
                  <a:cubicBezTo>
                    <a:pt x="682" y="145"/>
                    <a:pt x="682" y="145"/>
                    <a:pt x="682" y="145"/>
                  </a:cubicBezTo>
                  <a:cubicBezTo>
                    <a:pt x="705" y="173"/>
                    <a:pt x="705" y="173"/>
                    <a:pt x="705" y="173"/>
                  </a:cubicBezTo>
                  <a:cubicBezTo>
                    <a:pt x="722" y="143"/>
                    <a:pt x="722" y="143"/>
                    <a:pt x="722" y="143"/>
                  </a:cubicBezTo>
                  <a:cubicBezTo>
                    <a:pt x="712" y="133"/>
                    <a:pt x="712" y="133"/>
                    <a:pt x="712" y="133"/>
                  </a:cubicBezTo>
                  <a:cubicBezTo>
                    <a:pt x="710" y="130"/>
                    <a:pt x="710" y="130"/>
                    <a:pt x="710" y="130"/>
                  </a:cubicBezTo>
                  <a:cubicBezTo>
                    <a:pt x="682" y="130"/>
                    <a:pt x="682" y="130"/>
                    <a:pt x="682" y="130"/>
                  </a:cubicBezTo>
                  <a:cubicBezTo>
                    <a:pt x="672" y="143"/>
                    <a:pt x="672" y="143"/>
                    <a:pt x="672" y="143"/>
                  </a:cubicBezTo>
                  <a:cubicBezTo>
                    <a:pt x="680" y="145"/>
                    <a:pt x="680" y="145"/>
                    <a:pt x="680" y="145"/>
                  </a:cubicBezTo>
                  <a:close/>
                  <a:moveTo>
                    <a:pt x="752" y="165"/>
                  </a:moveTo>
                  <a:cubicBezTo>
                    <a:pt x="745" y="165"/>
                    <a:pt x="745" y="165"/>
                    <a:pt x="745" y="165"/>
                  </a:cubicBezTo>
                  <a:cubicBezTo>
                    <a:pt x="740" y="178"/>
                    <a:pt x="740" y="178"/>
                    <a:pt x="740" y="178"/>
                  </a:cubicBezTo>
                  <a:cubicBezTo>
                    <a:pt x="745" y="188"/>
                    <a:pt x="745" y="188"/>
                    <a:pt x="745" y="188"/>
                  </a:cubicBezTo>
                  <a:cubicBezTo>
                    <a:pt x="737" y="193"/>
                    <a:pt x="737" y="193"/>
                    <a:pt x="737" y="193"/>
                  </a:cubicBezTo>
                  <a:cubicBezTo>
                    <a:pt x="760" y="200"/>
                    <a:pt x="760" y="200"/>
                    <a:pt x="760" y="200"/>
                  </a:cubicBezTo>
                  <a:cubicBezTo>
                    <a:pt x="757" y="208"/>
                    <a:pt x="757" y="208"/>
                    <a:pt x="757" y="208"/>
                  </a:cubicBezTo>
                  <a:cubicBezTo>
                    <a:pt x="760" y="228"/>
                    <a:pt x="760" y="228"/>
                    <a:pt x="760" y="228"/>
                  </a:cubicBezTo>
                  <a:cubicBezTo>
                    <a:pt x="752" y="223"/>
                    <a:pt x="752" y="223"/>
                    <a:pt x="752" y="223"/>
                  </a:cubicBezTo>
                  <a:cubicBezTo>
                    <a:pt x="745" y="220"/>
                    <a:pt x="745" y="220"/>
                    <a:pt x="745" y="220"/>
                  </a:cubicBezTo>
                  <a:cubicBezTo>
                    <a:pt x="740" y="208"/>
                    <a:pt x="740" y="208"/>
                    <a:pt x="740" y="208"/>
                  </a:cubicBezTo>
                  <a:cubicBezTo>
                    <a:pt x="727" y="203"/>
                    <a:pt x="727" y="203"/>
                    <a:pt x="727" y="203"/>
                  </a:cubicBezTo>
                  <a:cubicBezTo>
                    <a:pt x="717" y="215"/>
                    <a:pt x="717" y="215"/>
                    <a:pt x="717" y="215"/>
                  </a:cubicBezTo>
                  <a:cubicBezTo>
                    <a:pt x="720" y="228"/>
                    <a:pt x="720" y="228"/>
                    <a:pt x="720" y="228"/>
                  </a:cubicBezTo>
                  <a:cubicBezTo>
                    <a:pt x="732" y="253"/>
                    <a:pt x="732" y="253"/>
                    <a:pt x="732" y="253"/>
                  </a:cubicBezTo>
                  <a:cubicBezTo>
                    <a:pt x="752" y="251"/>
                    <a:pt x="752" y="251"/>
                    <a:pt x="752" y="251"/>
                  </a:cubicBezTo>
                  <a:cubicBezTo>
                    <a:pt x="772" y="271"/>
                    <a:pt x="772" y="271"/>
                    <a:pt x="772" y="271"/>
                  </a:cubicBezTo>
                  <a:cubicBezTo>
                    <a:pt x="790" y="313"/>
                    <a:pt x="790" y="313"/>
                    <a:pt x="790" y="313"/>
                  </a:cubicBezTo>
                  <a:cubicBezTo>
                    <a:pt x="795" y="313"/>
                    <a:pt x="795" y="313"/>
                    <a:pt x="795" y="313"/>
                  </a:cubicBezTo>
                  <a:cubicBezTo>
                    <a:pt x="812" y="296"/>
                    <a:pt x="812" y="296"/>
                    <a:pt x="812" y="296"/>
                  </a:cubicBezTo>
                  <a:cubicBezTo>
                    <a:pt x="802" y="283"/>
                    <a:pt x="802" y="283"/>
                    <a:pt x="802" y="283"/>
                  </a:cubicBezTo>
                  <a:cubicBezTo>
                    <a:pt x="815" y="283"/>
                    <a:pt x="815" y="283"/>
                    <a:pt x="815" y="283"/>
                  </a:cubicBezTo>
                  <a:cubicBezTo>
                    <a:pt x="835" y="271"/>
                    <a:pt x="835" y="271"/>
                    <a:pt x="835" y="271"/>
                  </a:cubicBezTo>
                  <a:cubicBezTo>
                    <a:pt x="830" y="261"/>
                    <a:pt x="830" y="261"/>
                    <a:pt x="830" y="261"/>
                  </a:cubicBezTo>
                  <a:cubicBezTo>
                    <a:pt x="830" y="248"/>
                    <a:pt x="830" y="248"/>
                    <a:pt x="830" y="248"/>
                  </a:cubicBezTo>
                  <a:cubicBezTo>
                    <a:pt x="823" y="248"/>
                    <a:pt x="823" y="248"/>
                    <a:pt x="823" y="248"/>
                  </a:cubicBezTo>
                  <a:cubicBezTo>
                    <a:pt x="830" y="218"/>
                    <a:pt x="830" y="218"/>
                    <a:pt x="830" y="218"/>
                  </a:cubicBezTo>
                  <a:cubicBezTo>
                    <a:pt x="800" y="215"/>
                    <a:pt x="800" y="215"/>
                    <a:pt x="800" y="215"/>
                  </a:cubicBezTo>
                  <a:cubicBezTo>
                    <a:pt x="797" y="200"/>
                    <a:pt x="797" y="200"/>
                    <a:pt x="797" y="200"/>
                  </a:cubicBezTo>
                  <a:cubicBezTo>
                    <a:pt x="820" y="190"/>
                    <a:pt x="820" y="190"/>
                    <a:pt x="820" y="190"/>
                  </a:cubicBezTo>
                  <a:cubicBezTo>
                    <a:pt x="812" y="180"/>
                    <a:pt x="812" y="180"/>
                    <a:pt x="812" y="180"/>
                  </a:cubicBezTo>
                  <a:cubicBezTo>
                    <a:pt x="823" y="175"/>
                    <a:pt x="823" y="175"/>
                    <a:pt x="823" y="175"/>
                  </a:cubicBezTo>
                  <a:cubicBezTo>
                    <a:pt x="820" y="163"/>
                    <a:pt x="820" y="163"/>
                    <a:pt x="820" y="163"/>
                  </a:cubicBezTo>
                  <a:cubicBezTo>
                    <a:pt x="795" y="173"/>
                    <a:pt x="795" y="173"/>
                    <a:pt x="795" y="173"/>
                  </a:cubicBezTo>
                  <a:cubicBezTo>
                    <a:pt x="775" y="175"/>
                    <a:pt x="775" y="175"/>
                    <a:pt x="775" y="175"/>
                  </a:cubicBezTo>
                  <a:cubicBezTo>
                    <a:pt x="760" y="160"/>
                    <a:pt x="760" y="160"/>
                    <a:pt x="760" y="160"/>
                  </a:cubicBezTo>
                  <a:cubicBezTo>
                    <a:pt x="752" y="165"/>
                    <a:pt x="752" y="165"/>
                    <a:pt x="752" y="165"/>
                  </a:cubicBezTo>
                  <a:close/>
                  <a:moveTo>
                    <a:pt x="865" y="158"/>
                  </a:moveTo>
                  <a:cubicBezTo>
                    <a:pt x="858" y="160"/>
                    <a:pt x="858" y="160"/>
                    <a:pt x="858" y="160"/>
                  </a:cubicBezTo>
                  <a:cubicBezTo>
                    <a:pt x="850" y="158"/>
                    <a:pt x="850" y="158"/>
                    <a:pt x="850" y="158"/>
                  </a:cubicBezTo>
                  <a:cubicBezTo>
                    <a:pt x="845" y="168"/>
                    <a:pt x="845" y="168"/>
                    <a:pt x="845" y="168"/>
                  </a:cubicBezTo>
                  <a:cubicBezTo>
                    <a:pt x="845" y="183"/>
                    <a:pt x="845" y="183"/>
                    <a:pt x="845" y="183"/>
                  </a:cubicBezTo>
                  <a:cubicBezTo>
                    <a:pt x="845" y="208"/>
                    <a:pt x="845" y="208"/>
                    <a:pt x="845" y="208"/>
                  </a:cubicBezTo>
                  <a:cubicBezTo>
                    <a:pt x="870" y="210"/>
                    <a:pt x="870" y="210"/>
                    <a:pt x="870" y="210"/>
                  </a:cubicBezTo>
                  <a:cubicBezTo>
                    <a:pt x="883" y="200"/>
                    <a:pt x="883" y="200"/>
                    <a:pt x="883" y="200"/>
                  </a:cubicBezTo>
                  <a:cubicBezTo>
                    <a:pt x="895" y="198"/>
                    <a:pt x="895" y="198"/>
                    <a:pt x="895" y="198"/>
                  </a:cubicBezTo>
                  <a:cubicBezTo>
                    <a:pt x="905" y="198"/>
                    <a:pt x="905" y="198"/>
                    <a:pt x="905" y="198"/>
                  </a:cubicBezTo>
                  <a:cubicBezTo>
                    <a:pt x="930" y="198"/>
                    <a:pt x="930" y="198"/>
                    <a:pt x="930" y="198"/>
                  </a:cubicBezTo>
                  <a:cubicBezTo>
                    <a:pt x="948" y="180"/>
                    <a:pt x="948" y="180"/>
                    <a:pt x="948" y="180"/>
                  </a:cubicBezTo>
                  <a:cubicBezTo>
                    <a:pt x="955" y="158"/>
                    <a:pt x="955" y="158"/>
                    <a:pt x="955" y="158"/>
                  </a:cubicBezTo>
                  <a:cubicBezTo>
                    <a:pt x="940" y="155"/>
                    <a:pt x="940" y="155"/>
                    <a:pt x="940" y="155"/>
                  </a:cubicBezTo>
                  <a:cubicBezTo>
                    <a:pt x="920" y="145"/>
                    <a:pt x="920" y="145"/>
                    <a:pt x="920" y="145"/>
                  </a:cubicBezTo>
                  <a:cubicBezTo>
                    <a:pt x="888" y="145"/>
                    <a:pt x="888" y="145"/>
                    <a:pt x="888" y="145"/>
                  </a:cubicBezTo>
                  <a:cubicBezTo>
                    <a:pt x="853" y="148"/>
                    <a:pt x="853" y="148"/>
                    <a:pt x="853" y="148"/>
                  </a:cubicBezTo>
                  <a:cubicBezTo>
                    <a:pt x="865" y="158"/>
                    <a:pt x="865" y="158"/>
                    <a:pt x="865" y="158"/>
                  </a:cubicBezTo>
                  <a:close/>
                  <a:moveTo>
                    <a:pt x="795" y="361"/>
                  </a:moveTo>
                  <a:cubicBezTo>
                    <a:pt x="792" y="371"/>
                    <a:pt x="792" y="371"/>
                    <a:pt x="792" y="371"/>
                  </a:cubicBezTo>
                  <a:cubicBezTo>
                    <a:pt x="805" y="376"/>
                    <a:pt x="805" y="376"/>
                    <a:pt x="805" y="376"/>
                  </a:cubicBezTo>
                  <a:cubicBezTo>
                    <a:pt x="815" y="376"/>
                    <a:pt x="815" y="376"/>
                    <a:pt x="815" y="376"/>
                  </a:cubicBezTo>
                  <a:cubicBezTo>
                    <a:pt x="820" y="378"/>
                    <a:pt x="820" y="378"/>
                    <a:pt x="820" y="378"/>
                  </a:cubicBezTo>
                  <a:cubicBezTo>
                    <a:pt x="855" y="388"/>
                    <a:pt x="855" y="388"/>
                    <a:pt x="855" y="388"/>
                  </a:cubicBezTo>
                  <a:cubicBezTo>
                    <a:pt x="865" y="376"/>
                    <a:pt x="865" y="376"/>
                    <a:pt x="865" y="376"/>
                  </a:cubicBezTo>
                  <a:cubicBezTo>
                    <a:pt x="873" y="376"/>
                    <a:pt x="873" y="376"/>
                    <a:pt x="873" y="376"/>
                  </a:cubicBezTo>
                  <a:cubicBezTo>
                    <a:pt x="875" y="366"/>
                    <a:pt x="875" y="366"/>
                    <a:pt x="875" y="366"/>
                  </a:cubicBezTo>
                  <a:cubicBezTo>
                    <a:pt x="865" y="363"/>
                    <a:pt x="865" y="363"/>
                    <a:pt x="865" y="363"/>
                  </a:cubicBezTo>
                  <a:cubicBezTo>
                    <a:pt x="858" y="358"/>
                    <a:pt x="858" y="358"/>
                    <a:pt x="858" y="358"/>
                  </a:cubicBezTo>
                  <a:cubicBezTo>
                    <a:pt x="853" y="343"/>
                    <a:pt x="853" y="343"/>
                    <a:pt x="853" y="343"/>
                  </a:cubicBezTo>
                  <a:cubicBezTo>
                    <a:pt x="838" y="338"/>
                    <a:pt x="838" y="338"/>
                    <a:pt x="838" y="338"/>
                  </a:cubicBezTo>
                  <a:cubicBezTo>
                    <a:pt x="830" y="326"/>
                    <a:pt x="830" y="326"/>
                    <a:pt x="830" y="326"/>
                  </a:cubicBezTo>
                  <a:cubicBezTo>
                    <a:pt x="812" y="338"/>
                    <a:pt x="812" y="338"/>
                    <a:pt x="812" y="338"/>
                  </a:cubicBezTo>
                  <a:cubicBezTo>
                    <a:pt x="815" y="356"/>
                    <a:pt x="815" y="356"/>
                    <a:pt x="815" y="356"/>
                  </a:cubicBezTo>
                  <a:cubicBezTo>
                    <a:pt x="807" y="361"/>
                    <a:pt x="807" y="361"/>
                    <a:pt x="807" y="361"/>
                  </a:cubicBezTo>
                  <a:cubicBezTo>
                    <a:pt x="795" y="361"/>
                    <a:pt x="795" y="361"/>
                    <a:pt x="795" y="361"/>
                  </a:cubicBezTo>
                  <a:close/>
                  <a:moveTo>
                    <a:pt x="1036" y="193"/>
                  </a:moveTo>
                  <a:cubicBezTo>
                    <a:pt x="1023" y="205"/>
                    <a:pt x="1023" y="205"/>
                    <a:pt x="1023" y="205"/>
                  </a:cubicBezTo>
                  <a:cubicBezTo>
                    <a:pt x="1023" y="213"/>
                    <a:pt x="1023" y="213"/>
                    <a:pt x="1023" y="213"/>
                  </a:cubicBezTo>
                  <a:cubicBezTo>
                    <a:pt x="1021" y="225"/>
                    <a:pt x="1021" y="225"/>
                    <a:pt x="1021" y="225"/>
                  </a:cubicBezTo>
                  <a:cubicBezTo>
                    <a:pt x="1008" y="240"/>
                    <a:pt x="1008" y="240"/>
                    <a:pt x="1008" y="240"/>
                  </a:cubicBezTo>
                  <a:cubicBezTo>
                    <a:pt x="1011" y="248"/>
                    <a:pt x="1011" y="248"/>
                    <a:pt x="1011" y="248"/>
                  </a:cubicBezTo>
                  <a:cubicBezTo>
                    <a:pt x="1001" y="261"/>
                    <a:pt x="1001" y="261"/>
                    <a:pt x="1001" y="261"/>
                  </a:cubicBezTo>
                  <a:cubicBezTo>
                    <a:pt x="1001" y="273"/>
                    <a:pt x="1001" y="273"/>
                    <a:pt x="1001" y="273"/>
                  </a:cubicBezTo>
                  <a:cubicBezTo>
                    <a:pt x="1023" y="288"/>
                    <a:pt x="1023" y="288"/>
                    <a:pt x="1023" y="288"/>
                  </a:cubicBezTo>
                  <a:cubicBezTo>
                    <a:pt x="1046" y="291"/>
                    <a:pt x="1046" y="291"/>
                    <a:pt x="1046" y="291"/>
                  </a:cubicBezTo>
                  <a:cubicBezTo>
                    <a:pt x="1061" y="303"/>
                    <a:pt x="1061" y="303"/>
                    <a:pt x="1061" y="303"/>
                  </a:cubicBezTo>
                  <a:cubicBezTo>
                    <a:pt x="1053" y="308"/>
                    <a:pt x="1053" y="308"/>
                    <a:pt x="1053" y="308"/>
                  </a:cubicBezTo>
                  <a:cubicBezTo>
                    <a:pt x="1048" y="306"/>
                    <a:pt x="1048" y="306"/>
                    <a:pt x="1048" y="306"/>
                  </a:cubicBezTo>
                  <a:cubicBezTo>
                    <a:pt x="1033" y="298"/>
                    <a:pt x="1033" y="298"/>
                    <a:pt x="1033" y="298"/>
                  </a:cubicBezTo>
                  <a:cubicBezTo>
                    <a:pt x="1016" y="296"/>
                    <a:pt x="1016" y="296"/>
                    <a:pt x="1016" y="296"/>
                  </a:cubicBezTo>
                  <a:cubicBezTo>
                    <a:pt x="1016" y="308"/>
                    <a:pt x="1016" y="308"/>
                    <a:pt x="1016" y="308"/>
                  </a:cubicBezTo>
                  <a:cubicBezTo>
                    <a:pt x="1038" y="336"/>
                    <a:pt x="1038" y="336"/>
                    <a:pt x="1038" y="336"/>
                  </a:cubicBezTo>
                  <a:cubicBezTo>
                    <a:pt x="1053" y="338"/>
                    <a:pt x="1053" y="338"/>
                    <a:pt x="1053" y="338"/>
                  </a:cubicBezTo>
                  <a:cubicBezTo>
                    <a:pt x="1058" y="333"/>
                    <a:pt x="1058" y="333"/>
                    <a:pt x="1058" y="333"/>
                  </a:cubicBezTo>
                  <a:cubicBezTo>
                    <a:pt x="1073" y="338"/>
                    <a:pt x="1073" y="338"/>
                    <a:pt x="1073" y="338"/>
                  </a:cubicBezTo>
                  <a:cubicBezTo>
                    <a:pt x="1088" y="351"/>
                    <a:pt x="1088" y="351"/>
                    <a:pt x="1088" y="351"/>
                  </a:cubicBezTo>
                  <a:cubicBezTo>
                    <a:pt x="1101" y="341"/>
                    <a:pt x="1101" y="341"/>
                    <a:pt x="1101" y="341"/>
                  </a:cubicBezTo>
                  <a:cubicBezTo>
                    <a:pt x="1101" y="351"/>
                    <a:pt x="1101" y="351"/>
                    <a:pt x="1101" y="351"/>
                  </a:cubicBezTo>
                  <a:cubicBezTo>
                    <a:pt x="1128" y="353"/>
                    <a:pt x="1128" y="353"/>
                    <a:pt x="1128" y="353"/>
                  </a:cubicBezTo>
                  <a:cubicBezTo>
                    <a:pt x="1143" y="361"/>
                    <a:pt x="1143" y="361"/>
                    <a:pt x="1143" y="361"/>
                  </a:cubicBezTo>
                  <a:cubicBezTo>
                    <a:pt x="1153" y="356"/>
                    <a:pt x="1153" y="356"/>
                    <a:pt x="1153" y="356"/>
                  </a:cubicBezTo>
                  <a:cubicBezTo>
                    <a:pt x="1158" y="353"/>
                    <a:pt x="1158" y="353"/>
                    <a:pt x="1158" y="353"/>
                  </a:cubicBezTo>
                  <a:cubicBezTo>
                    <a:pt x="1186" y="358"/>
                    <a:pt x="1186" y="358"/>
                    <a:pt x="1186" y="358"/>
                  </a:cubicBezTo>
                  <a:cubicBezTo>
                    <a:pt x="1211" y="363"/>
                    <a:pt x="1211" y="363"/>
                    <a:pt x="1211" y="363"/>
                  </a:cubicBezTo>
                  <a:cubicBezTo>
                    <a:pt x="1209" y="343"/>
                    <a:pt x="1209" y="343"/>
                    <a:pt x="1209" y="343"/>
                  </a:cubicBezTo>
                  <a:cubicBezTo>
                    <a:pt x="1189" y="336"/>
                    <a:pt x="1189" y="336"/>
                    <a:pt x="1189" y="336"/>
                  </a:cubicBezTo>
                  <a:cubicBezTo>
                    <a:pt x="1166" y="316"/>
                    <a:pt x="1166" y="316"/>
                    <a:pt x="1166" y="316"/>
                  </a:cubicBezTo>
                  <a:cubicBezTo>
                    <a:pt x="1206" y="323"/>
                    <a:pt x="1206" y="323"/>
                    <a:pt x="1206" y="323"/>
                  </a:cubicBezTo>
                  <a:cubicBezTo>
                    <a:pt x="1226" y="346"/>
                    <a:pt x="1226" y="346"/>
                    <a:pt x="1226" y="346"/>
                  </a:cubicBezTo>
                  <a:cubicBezTo>
                    <a:pt x="1231" y="371"/>
                    <a:pt x="1231" y="371"/>
                    <a:pt x="1231" y="371"/>
                  </a:cubicBezTo>
                  <a:cubicBezTo>
                    <a:pt x="1241" y="371"/>
                    <a:pt x="1241" y="371"/>
                    <a:pt x="1241" y="371"/>
                  </a:cubicBezTo>
                  <a:cubicBezTo>
                    <a:pt x="1256" y="391"/>
                    <a:pt x="1256" y="391"/>
                    <a:pt x="1256" y="391"/>
                  </a:cubicBezTo>
                  <a:cubicBezTo>
                    <a:pt x="1241" y="401"/>
                    <a:pt x="1241" y="401"/>
                    <a:pt x="1241" y="401"/>
                  </a:cubicBezTo>
                  <a:cubicBezTo>
                    <a:pt x="1239" y="411"/>
                    <a:pt x="1239" y="411"/>
                    <a:pt x="1239" y="411"/>
                  </a:cubicBezTo>
                  <a:cubicBezTo>
                    <a:pt x="1256" y="408"/>
                    <a:pt x="1256" y="408"/>
                    <a:pt x="1256" y="408"/>
                  </a:cubicBezTo>
                  <a:cubicBezTo>
                    <a:pt x="1271" y="396"/>
                    <a:pt x="1271" y="396"/>
                    <a:pt x="1271" y="396"/>
                  </a:cubicBezTo>
                  <a:cubicBezTo>
                    <a:pt x="1281" y="416"/>
                    <a:pt x="1281" y="416"/>
                    <a:pt x="1281" y="416"/>
                  </a:cubicBezTo>
                  <a:cubicBezTo>
                    <a:pt x="1294" y="436"/>
                    <a:pt x="1294" y="436"/>
                    <a:pt x="1294" y="436"/>
                  </a:cubicBezTo>
                  <a:cubicBezTo>
                    <a:pt x="1306" y="436"/>
                    <a:pt x="1306" y="436"/>
                    <a:pt x="1306" y="436"/>
                  </a:cubicBezTo>
                  <a:cubicBezTo>
                    <a:pt x="1311" y="449"/>
                    <a:pt x="1311" y="449"/>
                    <a:pt x="1311" y="449"/>
                  </a:cubicBezTo>
                  <a:cubicBezTo>
                    <a:pt x="1314" y="464"/>
                    <a:pt x="1314" y="464"/>
                    <a:pt x="1314" y="464"/>
                  </a:cubicBezTo>
                  <a:cubicBezTo>
                    <a:pt x="1324" y="466"/>
                    <a:pt x="1324" y="466"/>
                    <a:pt x="1324" y="466"/>
                  </a:cubicBezTo>
                  <a:cubicBezTo>
                    <a:pt x="1316" y="471"/>
                    <a:pt x="1316" y="471"/>
                    <a:pt x="1316" y="471"/>
                  </a:cubicBezTo>
                  <a:cubicBezTo>
                    <a:pt x="1319" y="479"/>
                    <a:pt x="1319" y="479"/>
                    <a:pt x="1319" y="479"/>
                  </a:cubicBezTo>
                  <a:cubicBezTo>
                    <a:pt x="1310" y="490"/>
                    <a:pt x="1310" y="490"/>
                    <a:pt x="1310" y="490"/>
                  </a:cubicBezTo>
                  <a:cubicBezTo>
                    <a:pt x="1334" y="496"/>
                    <a:pt x="1334" y="496"/>
                    <a:pt x="1334" y="496"/>
                  </a:cubicBezTo>
                  <a:cubicBezTo>
                    <a:pt x="1341" y="481"/>
                    <a:pt x="1341" y="481"/>
                    <a:pt x="1341" y="481"/>
                  </a:cubicBezTo>
                  <a:cubicBezTo>
                    <a:pt x="1349" y="499"/>
                    <a:pt x="1349" y="499"/>
                    <a:pt x="1349" y="499"/>
                  </a:cubicBezTo>
                  <a:cubicBezTo>
                    <a:pt x="1354" y="499"/>
                    <a:pt x="1354" y="499"/>
                    <a:pt x="1354" y="499"/>
                  </a:cubicBezTo>
                  <a:cubicBezTo>
                    <a:pt x="1369" y="511"/>
                    <a:pt x="1369" y="511"/>
                    <a:pt x="1369" y="511"/>
                  </a:cubicBezTo>
                  <a:cubicBezTo>
                    <a:pt x="1357" y="519"/>
                    <a:pt x="1357" y="519"/>
                    <a:pt x="1357" y="519"/>
                  </a:cubicBezTo>
                  <a:cubicBezTo>
                    <a:pt x="1347" y="519"/>
                    <a:pt x="1347" y="519"/>
                    <a:pt x="1347" y="519"/>
                  </a:cubicBezTo>
                  <a:cubicBezTo>
                    <a:pt x="1331" y="521"/>
                    <a:pt x="1331" y="521"/>
                    <a:pt x="1331" y="521"/>
                  </a:cubicBezTo>
                  <a:cubicBezTo>
                    <a:pt x="1329" y="506"/>
                    <a:pt x="1329" y="506"/>
                    <a:pt x="1329" y="506"/>
                  </a:cubicBezTo>
                  <a:cubicBezTo>
                    <a:pt x="1304" y="494"/>
                    <a:pt x="1304" y="494"/>
                    <a:pt x="1304" y="494"/>
                  </a:cubicBezTo>
                  <a:cubicBezTo>
                    <a:pt x="1276" y="516"/>
                    <a:pt x="1276" y="516"/>
                    <a:pt x="1276" y="516"/>
                  </a:cubicBezTo>
                  <a:cubicBezTo>
                    <a:pt x="1294" y="544"/>
                    <a:pt x="1294" y="544"/>
                    <a:pt x="1294" y="544"/>
                  </a:cubicBezTo>
                  <a:cubicBezTo>
                    <a:pt x="1279" y="541"/>
                    <a:pt x="1279" y="541"/>
                    <a:pt x="1279" y="541"/>
                  </a:cubicBezTo>
                  <a:cubicBezTo>
                    <a:pt x="1244" y="544"/>
                    <a:pt x="1244" y="544"/>
                    <a:pt x="1244" y="544"/>
                  </a:cubicBezTo>
                  <a:cubicBezTo>
                    <a:pt x="1241" y="544"/>
                    <a:pt x="1214" y="534"/>
                    <a:pt x="1214" y="534"/>
                  </a:cubicBezTo>
                  <a:cubicBezTo>
                    <a:pt x="1211" y="546"/>
                    <a:pt x="1211" y="546"/>
                    <a:pt x="1211" y="546"/>
                  </a:cubicBezTo>
                  <a:cubicBezTo>
                    <a:pt x="1204" y="551"/>
                    <a:pt x="1204" y="551"/>
                    <a:pt x="1204" y="551"/>
                  </a:cubicBezTo>
                  <a:cubicBezTo>
                    <a:pt x="1201" y="564"/>
                    <a:pt x="1201" y="564"/>
                    <a:pt x="1201" y="564"/>
                  </a:cubicBezTo>
                  <a:cubicBezTo>
                    <a:pt x="1206" y="571"/>
                    <a:pt x="1206" y="571"/>
                    <a:pt x="1206" y="571"/>
                  </a:cubicBezTo>
                  <a:cubicBezTo>
                    <a:pt x="1229" y="574"/>
                    <a:pt x="1229" y="574"/>
                    <a:pt x="1229" y="574"/>
                  </a:cubicBezTo>
                  <a:cubicBezTo>
                    <a:pt x="1244" y="569"/>
                    <a:pt x="1244" y="569"/>
                    <a:pt x="1244" y="569"/>
                  </a:cubicBezTo>
                  <a:cubicBezTo>
                    <a:pt x="1271" y="576"/>
                    <a:pt x="1271" y="576"/>
                    <a:pt x="1271" y="576"/>
                  </a:cubicBezTo>
                  <a:cubicBezTo>
                    <a:pt x="1284" y="574"/>
                    <a:pt x="1284" y="574"/>
                    <a:pt x="1284" y="574"/>
                  </a:cubicBezTo>
                  <a:cubicBezTo>
                    <a:pt x="1319" y="604"/>
                    <a:pt x="1319" y="604"/>
                    <a:pt x="1319" y="604"/>
                  </a:cubicBezTo>
                  <a:cubicBezTo>
                    <a:pt x="1306" y="609"/>
                    <a:pt x="1306" y="609"/>
                    <a:pt x="1306" y="609"/>
                  </a:cubicBezTo>
                  <a:cubicBezTo>
                    <a:pt x="1319" y="624"/>
                    <a:pt x="1319" y="624"/>
                    <a:pt x="1319" y="624"/>
                  </a:cubicBezTo>
                  <a:cubicBezTo>
                    <a:pt x="1329" y="624"/>
                    <a:pt x="1329" y="624"/>
                    <a:pt x="1329" y="624"/>
                  </a:cubicBezTo>
                  <a:cubicBezTo>
                    <a:pt x="1352" y="637"/>
                    <a:pt x="1352" y="637"/>
                    <a:pt x="1352" y="637"/>
                  </a:cubicBezTo>
                  <a:cubicBezTo>
                    <a:pt x="1397" y="654"/>
                    <a:pt x="1397" y="654"/>
                    <a:pt x="1397" y="654"/>
                  </a:cubicBezTo>
                  <a:cubicBezTo>
                    <a:pt x="1419" y="667"/>
                    <a:pt x="1419" y="667"/>
                    <a:pt x="1419" y="667"/>
                  </a:cubicBezTo>
                  <a:cubicBezTo>
                    <a:pt x="1414" y="652"/>
                    <a:pt x="1414" y="652"/>
                    <a:pt x="1414" y="652"/>
                  </a:cubicBezTo>
                  <a:cubicBezTo>
                    <a:pt x="1374" y="612"/>
                    <a:pt x="1374" y="612"/>
                    <a:pt x="1374" y="612"/>
                  </a:cubicBezTo>
                  <a:cubicBezTo>
                    <a:pt x="1369" y="597"/>
                    <a:pt x="1369" y="597"/>
                    <a:pt x="1369" y="597"/>
                  </a:cubicBezTo>
                  <a:cubicBezTo>
                    <a:pt x="1394" y="607"/>
                    <a:pt x="1394" y="607"/>
                    <a:pt x="1394" y="607"/>
                  </a:cubicBezTo>
                  <a:cubicBezTo>
                    <a:pt x="1412" y="622"/>
                    <a:pt x="1412" y="622"/>
                    <a:pt x="1412" y="622"/>
                  </a:cubicBezTo>
                  <a:cubicBezTo>
                    <a:pt x="1442" y="634"/>
                    <a:pt x="1442" y="634"/>
                    <a:pt x="1442" y="634"/>
                  </a:cubicBezTo>
                  <a:cubicBezTo>
                    <a:pt x="1442" y="612"/>
                    <a:pt x="1442" y="612"/>
                    <a:pt x="1442" y="612"/>
                  </a:cubicBezTo>
                  <a:cubicBezTo>
                    <a:pt x="1434" y="584"/>
                    <a:pt x="1434" y="584"/>
                    <a:pt x="1434" y="584"/>
                  </a:cubicBezTo>
                  <a:cubicBezTo>
                    <a:pt x="1414" y="571"/>
                    <a:pt x="1414" y="571"/>
                    <a:pt x="1414" y="571"/>
                  </a:cubicBezTo>
                  <a:cubicBezTo>
                    <a:pt x="1399" y="546"/>
                    <a:pt x="1399" y="546"/>
                    <a:pt x="1399" y="546"/>
                  </a:cubicBezTo>
                  <a:cubicBezTo>
                    <a:pt x="1377" y="526"/>
                    <a:pt x="1377" y="526"/>
                    <a:pt x="1377" y="526"/>
                  </a:cubicBezTo>
                  <a:cubicBezTo>
                    <a:pt x="1384" y="521"/>
                    <a:pt x="1384" y="521"/>
                    <a:pt x="1384" y="521"/>
                  </a:cubicBezTo>
                  <a:cubicBezTo>
                    <a:pt x="1392" y="531"/>
                    <a:pt x="1392" y="531"/>
                    <a:pt x="1392" y="531"/>
                  </a:cubicBezTo>
                  <a:cubicBezTo>
                    <a:pt x="1407" y="531"/>
                    <a:pt x="1407" y="531"/>
                    <a:pt x="1407" y="531"/>
                  </a:cubicBezTo>
                  <a:cubicBezTo>
                    <a:pt x="1404" y="519"/>
                    <a:pt x="1404" y="519"/>
                    <a:pt x="1404" y="519"/>
                  </a:cubicBezTo>
                  <a:cubicBezTo>
                    <a:pt x="1407" y="506"/>
                    <a:pt x="1407" y="506"/>
                    <a:pt x="1407" y="506"/>
                  </a:cubicBezTo>
                  <a:cubicBezTo>
                    <a:pt x="1434" y="531"/>
                    <a:pt x="1434" y="531"/>
                    <a:pt x="1434" y="531"/>
                  </a:cubicBezTo>
                  <a:cubicBezTo>
                    <a:pt x="1449" y="529"/>
                    <a:pt x="1449" y="529"/>
                    <a:pt x="1449" y="529"/>
                  </a:cubicBezTo>
                  <a:cubicBezTo>
                    <a:pt x="1439" y="539"/>
                    <a:pt x="1439" y="539"/>
                    <a:pt x="1439" y="539"/>
                  </a:cubicBezTo>
                  <a:cubicBezTo>
                    <a:pt x="1444" y="556"/>
                    <a:pt x="1444" y="556"/>
                    <a:pt x="1444" y="556"/>
                  </a:cubicBezTo>
                  <a:cubicBezTo>
                    <a:pt x="1469" y="569"/>
                    <a:pt x="1469" y="569"/>
                    <a:pt x="1469" y="569"/>
                  </a:cubicBezTo>
                  <a:cubicBezTo>
                    <a:pt x="1472" y="544"/>
                    <a:pt x="1472" y="544"/>
                    <a:pt x="1472" y="544"/>
                  </a:cubicBezTo>
                  <a:cubicBezTo>
                    <a:pt x="1487" y="544"/>
                    <a:pt x="1487" y="544"/>
                    <a:pt x="1487" y="544"/>
                  </a:cubicBezTo>
                  <a:cubicBezTo>
                    <a:pt x="1514" y="516"/>
                    <a:pt x="1514" y="516"/>
                    <a:pt x="1514" y="516"/>
                  </a:cubicBezTo>
                  <a:cubicBezTo>
                    <a:pt x="1499" y="499"/>
                    <a:pt x="1499" y="499"/>
                    <a:pt x="1499" y="499"/>
                  </a:cubicBezTo>
                  <a:cubicBezTo>
                    <a:pt x="1469" y="491"/>
                    <a:pt x="1469" y="491"/>
                    <a:pt x="1469" y="491"/>
                  </a:cubicBezTo>
                  <a:cubicBezTo>
                    <a:pt x="1467" y="471"/>
                    <a:pt x="1467" y="471"/>
                    <a:pt x="1467" y="471"/>
                  </a:cubicBezTo>
                  <a:cubicBezTo>
                    <a:pt x="1464" y="469"/>
                    <a:pt x="1459" y="469"/>
                    <a:pt x="1454" y="466"/>
                  </a:cubicBezTo>
                  <a:cubicBezTo>
                    <a:pt x="1449" y="461"/>
                    <a:pt x="1444" y="459"/>
                    <a:pt x="1437" y="454"/>
                  </a:cubicBezTo>
                  <a:cubicBezTo>
                    <a:pt x="1409" y="431"/>
                    <a:pt x="1409" y="431"/>
                    <a:pt x="1409" y="431"/>
                  </a:cubicBezTo>
                  <a:cubicBezTo>
                    <a:pt x="1392" y="419"/>
                    <a:pt x="1392" y="419"/>
                    <a:pt x="1392" y="419"/>
                  </a:cubicBezTo>
                  <a:cubicBezTo>
                    <a:pt x="1409" y="408"/>
                    <a:pt x="1409" y="408"/>
                    <a:pt x="1409" y="408"/>
                  </a:cubicBezTo>
                  <a:cubicBezTo>
                    <a:pt x="1424" y="408"/>
                    <a:pt x="1424" y="408"/>
                    <a:pt x="1424" y="408"/>
                  </a:cubicBezTo>
                  <a:cubicBezTo>
                    <a:pt x="1419" y="396"/>
                    <a:pt x="1419" y="396"/>
                    <a:pt x="1419" y="396"/>
                  </a:cubicBezTo>
                  <a:cubicBezTo>
                    <a:pt x="1387" y="386"/>
                    <a:pt x="1387" y="386"/>
                    <a:pt x="1387" y="386"/>
                  </a:cubicBezTo>
                  <a:cubicBezTo>
                    <a:pt x="1409" y="381"/>
                    <a:pt x="1409" y="381"/>
                    <a:pt x="1409" y="381"/>
                  </a:cubicBezTo>
                  <a:cubicBezTo>
                    <a:pt x="1424" y="386"/>
                    <a:pt x="1424" y="386"/>
                    <a:pt x="1424" y="386"/>
                  </a:cubicBezTo>
                  <a:cubicBezTo>
                    <a:pt x="1419" y="371"/>
                    <a:pt x="1419" y="371"/>
                    <a:pt x="1419" y="371"/>
                  </a:cubicBezTo>
                  <a:cubicBezTo>
                    <a:pt x="1407" y="358"/>
                    <a:pt x="1407" y="358"/>
                    <a:pt x="1407" y="358"/>
                  </a:cubicBezTo>
                  <a:cubicBezTo>
                    <a:pt x="1394" y="346"/>
                    <a:pt x="1394" y="346"/>
                    <a:pt x="1394" y="346"/>
                  </a:cubicBezTo>
                  <a:cubicBezTo>
                    <a:pt x="1377" y="328"/>
                    <a:pt x="1377" y="328"/>
                    <a:pt x="1377" y="328"/>
                  </a:cubicBezTo>
                  <a:cubicBezTo>
                    <a:pt x="1362" y="323"/>
                    <a:pt x="1362" y="323"/>
                    <a:pt x="1362" y="323"/>
                  </a:cubicBezTo>
                  <a:cubicBezTo>
                    <a:pt x="1362" y="316"/>
                    <a:pt x="1362" y="316"/>
                    <a:pt x="1362" y="316"/>
                  </a:cubicBezTo>
                  <a:cubicBezTo>
                    <a:pt x="1352" y="316"/>
                    <a:pt x="1352" y="316"/>
                    <a:pt x="1352" y="316"/>
                  </a:cubicBezTo>
                  <a:cubicBezTo>
                    <a:pt x="1339" y="326"/>
                    <a:pt x="1339" y="326"/>
                    <a:pt x="1339" y="326"/>
                  </a:cubicBezTo>
                  <a:cubicBezTo>
                    <a:pt x="1341" y="313"/>
                    <a:pt x="1341" y="313"/>
                    <a:pt x="1341" y="313"/>
                  </a:cubicBezTo>
                  <a:cubicBezTo>
                    <a:pt x="1354" y="298"/>
                    <a:pt x="1354" y="298"/>
                    <a:pt x="1354" y="298"/>
                  </a:cubicBezTo>
                  <a:cubicBezTo>
                    <a:pt x="1347" y="296"/>
                    <a:pt x="1347" y="296"/>
                    <a:pt x="1347" y="296"/>
                  </a:cubicBezTo>
                  <a:cubicBezTo>
                    <a:pt x="1341" y="288"/>
                    <a:pt x="1341" y="288"/>
                    <a:pt x="1341" y="288"/>
                  </a:cubicBezTo>
                  <a:cubicBezTo>
                    <a:pt x="1329" y="286"/>
                    <a:pt x="1329" y="286"/>
                    <a:pt x="1329" y="286"/>
                  </a:cubicBezTo>
                  <a:cubicBezTo>
                    <a:pt x="1324" y="281"/>
                    <a:pt x="1324" y="281"/>
                    <a:pt x="1324" y="281"/>
                  </a:cubicBezTo>
                  <a:cubicBezTo>
                    <a:pt x="1311" y="288"/>
                    <a:pt x="1311" y="288"/>
                    <a:pt x="1311" y="288"/>
                  </a:cubicBezTo>
                  <a:cubicBezTo>
                    <a:pt x="1301" y="291"/>
                    <a:pt x="1301" y="291"/>
                    <a:pt x="1301" y="291"/>
                  </a:cubicBezTo>
                  <a:cubicBezTo>
                    <a:pt x="1304" y="276"/>
                    <a:pt x="1304" y="276"/>
                    <a:pt x="1304" y="276"/>
                  </a:cubicBezTo>
                  <a:cubicBezTo>
                    <a:pt x="1279" y="278"/>
                    <a:pt x="1279" y="278"/>
                    <a:pt x="1279" y="278"/>
                  </a:cubicBezTo>
                  <a:cubicBezTo>
                    <a:pt x="1299" y="268"/>
                    <a:pt x="1299" y="268"/>
                    <a:pt x="1299" y="268"/>
                  </a:cubicBezTo>
                  <a:cubicBezTo>
                    <a:pt x="1301" y="256"/>
                    <a:pt x="1301" y="256"/>
                    <a:pt x="1301" y="256"/>
                  </a:cubicBezTo>
                  <a:cubicBezTo>
                    <a:pt x="1271" y="251"/>
                    <a:pt x="1271" y="251"/>
                    <a:pt x="1271" y="251"/>
                  </a:cubicBezTo>
                  <a:cubicBezTo>
                    <a:pt x="1289" y="243"/>
                    <a:pt x="1289" y="243"/>
                    <a:pt x="1289" y="243"/>
                  </a:cubicBezTo>
                  <a:cubicBezTo>
                    <a:pt x="1291" y="233"/>
                    <a:pt x="1291" y="233"/>
                    <a:pt x="1291" y="233"/>
                  </a:cubicBezTo>
                  <a:cubicBezTo>
                    <a:pt x="1281" y="225"/>
                    <a:pt x="1281" y="225"/>
                    <a:pt x="1281" y="225"/>
                  </a:cubicBezTo>
                  <a:cubicBezTo>
                    <a:pt x="1269" y="225"/>
                    <a:pt x="1269" y="225"/>
                    <a:pt x="1269" y="225"/>
                  </a:cubicBezTo>
                  <a:cubicBezTo>
                    <a:pt x="1254" y="220"/>
                    <a:pt x="1254" y="220"/>
                    <a:pt x="1254" y="220"/>
                  </a:cubicBezTo>
                  <a:cubicBezTo>
                    <a:pt x="1231" y="225"/>
                    <a:pt x="1231" y="225"/>
                    <a:pt x="1231" y="225"/>
                  </a:cubicBezTo>
                  <a:cubicBezTo>
                    <a:pt x="1229" y="238"/>
                    <a:pt x="1229" y="238"/>
                    <a:pt x="1229" y="238"/>
                  </a:cubicBezTo>
                  <a:cubicBezTo>
                    <a:pt x="1211" y="243"/>
                    <a:pt x="1211" y="243"/>
                    <a:pt x="1211" y="243"/>
                  </a:cubicBezTo>
                  <a:cubicBezTo>
                    <a:pt x="1181" y="238"/>
                    <a:pt x="1181" y="238"/>
                    <a:pt x="1181" y="238"/>
                  </a:cubicBezTo>
                  <a:cubicBezTo>
                    <a:pt x="1181" y="215"/>
                    <a:pt x="1181" y="215"/>
                    <a:pt x="1181" y="215"/>
                  </a:cubicBezTo>
                  <a:cubicBezTo>
                    <a:pt x="1171" y="200"/>
                    <a:pt x="1171" y="200"/>
                    <a:pt x="1171" y="200"/>
                  </a:cubicBezTo>
                  <a:cubicBezTo>
                    <a:pt x="1176" y="195"/>
                    <a:pt x="1176" y="195"/>
                    <a:pt x="1176" y="195"/>
                  </a:cubicBezTo>
                  <a:cubicBezTo>
                    <a:pt x="1169" y="168"/>
                    <a:pt x="1169" y="168"/>
                    <a:pt x="1169" y="168"/>
                  </a:cubicBezTo>
                  <a:cubicBezTo>
                    <a:pt x="1146" y="165"/>
                    <a:pt x="1146" y="165"/>
                    <a:pt x="1146" y="165"/>
                  </a:cubicBezTo>
                  <a:cubicBezTo>
                    <a:pt x="1123" y="175"/>
                    <a:pt x="1123" y="175"/>
                    <a:pt x="1123" y="175"/>
                  </a:cubicBezTo>
                  <a:cubicBezTo>
                    <a:pt x="1108" y="188"/>
                    <a:pt x="1108" y="188"/>
                    <a:pt x="1108" y="188"/>
                  </a:cubicBezTo>
                  <a:cubicBezTo>
                    <a:pt x="1101" y="205"/>
                    <a:pt x="1101" y="205"/>
                    <a:pt x="1101" y="205"/>
                  </a:cubicBezTo>
                  <a:cubicBezTo>
                    <a:pt x="1101" y="238"/>
                    <a:pt x="1101" y="238"/>
                    <a:pt x="1101" y="238"/>
                  </a:cubicBezTo>
                  <a:cubicBezTo>
                    <a:pt x="1091" y="256"/>
                    <a:pt x="1091" y="256"/>
                    <a:pt x="1091" y="256"/>
                  </a:cubicBezTo>
                  <a:cubicBezTo>
                    <a:pt x="1106" y="266"/>
                    <a:pt x="1106" y="266"/>
                    <a:pt x="1106" y="266"/>
                  </a:cubicBezTo>
                  <a:cubicBezTo>
                    <a:pt x="1106" y="281"/>
                    <a:pt x="1106" y="281"/>
                    <a:pt x="1106" y="281"/>
                  </a:cubicBezTo>
                  <a:cubicBezTo>
                    <a:pt x="1093" y="293"/>
                    <a:pt x="1093" y="293"/>
                    <a:pt x="1093" y="293"/>
                  </a:cubicBezTo>
                  <a:cubicBezTo>
                    <a:pt x="1071" y="301"/>
                    <a:pt x="1071" y="301"/>
                    <a:pt x="1071" y="301"/>
                  </a:cubicBezTo>
                  <a:cubicBezTo>
                    <a:pt x="1078" y="291"/>
                    <a:pt x="1078" y="291"/>
                    <a:pt x="1078" y="291"/>
                  </a:cubicBezTo>
                  <a:cubicBezTo>
                    <a:pt x="1098" y="281"/>
                    <a:pt x="1098" y="281"/>
                    <a:pt x="1098" y="281"/>
                  </a:cubicBezTo>
                  <a:cubicBezTo>
                    <a:pt x="1083" y="258"/>
                    <a:pt x="1083" y="258"/>
                    <a:pt x="1083" y="258"/>
                  </a:cubicBezTo>
                  <a:cubicBezTo>
                    <a:pt x="1081" y="230"/>
                    <a:pt x="1081" y="230"/>
                    <a:pt x="1081" y="230"/>
                  </a:cubicBezTo>
                  <a:cubicBezTo>
                    <a:pt x="1083" y="213"/>
                    <a:pt x="1083" y="213"/>
                    <a:pt x="1083" y="213"/>
                  </a:cubicBezTo>
                  <a:cubicBezTo>
                    <a:pt x="1098" y="183"/>
                    <a:pt x="1098" y="183"/>
                    <a:pt x="1098" y="183"/>
                  </a:cubicBezTo>
                  <a:cubicBezTo>
                    <a:pt x="1098" y="168"/>
                    <a:pt x="1098" y="168"/>
                    <a:pt x="1098" y="168"/>
                  </a:cubicBezTo>
                  <a:cubicBezTo>
                    <a:pt x="1063" y="175"/>
                    <a:pt x="1063" y="175"/>
                    <a:pt x="1063" y="175"/>
                  </a:cubicBezTo>
                  <a:cubicBezTo>
                    <a:pt x="1043" y="173"/>
                    <a:pt x="1043" y="173"/>
                    <a:pt x="1043" y="173"/>
                  </a:cubicBezTo>
                  <a:lnTo>
                    <a:pt x="1036" y="193"/>
                  </a:lnTo>
                  <a:close/>
                  <a:moveTo>
                    <a:pt x="1186" y="193"/>
                  </a:moveTo>
                  <a:cubicBezTo>
                    <a:pt x="1196" y="193"/>
                    <a:pt x="1196" y="193"/>
                    <a:pt x="1196" y="193"/>
                  </a:cubicBezTo>
                  <a:cubicBezTo>
                    <a:pt x="1196" y="213"/>
                    <a:pt x="1196" y="213"/>
                    <a:pt x="1196" y="213"/>
                  </a:cubicBezTo>
                  <a:cubicBezTo>
                    <a:pt x="1209" y="215"/>
                    <a:pt x="1209" y="215"/>
                    <a:pt x="1209" y="215"/>
                  </a:cubicBezTo>
                  <a:cubicBezTo>
                    <a:pt x="1229" y="215"/>
                    <a:pt x="1229" y="215"/>
                    <a:pt x="1229" y="215"/>
                  </a:cubicBezTo>
                  <a:cubicBezTo>
                    <a:pt x="1236" y="208"/>
                    <a:pt x="1236" y="208"/>
                    <a:pt x="1236" y="208"/>
                  </a:cubicBezTo>
                  <a:cubicBezTo>
                    <a:pt x="1271" y="208"/>
                    <a:pt x="1271" y="208"/>
                    <a:pt x="1271" y="208"/>
                  </a:cubicBezTo>
                  <a:cubicBezTo>
                    <a:pt x="1249" y="178"/>
                    <a:pt x="1249" y="178"/>
                    <a:pt x="1249" y="178"/>
                  </a:cubicBezTo>
                  <a:cubicBezTo>
                    <a:pt x="1201" y="173"/>
                    <a:pt x="1201" y="173"/>
                    <a:pt x="1201" y="173"/>
                  </a:cubicBezTo>
                  <a:cubicBezTo>
                    <a:pt x="1181" y="178"/>
                    <a:pt x="1181" y="178"/>
                    <a:pt x="1181" y="178"/>
                  </a:cubicBezTo>
                  <a:cubicBezTo>
                    <a:pt x="1186" y="193"/>
                    <a:pt x="1186" y="193"/>
                    <a:pt x="1186" y="193"/>
                  </a:cubicBezTo>
                  <a:close/>
                  <a:moveTo>
                    <a:pt x="1201" y="439"/>
                  </a:moveTo>
                  <a:cubicBezTo>
                    <a:pt x="1204" y="446"/>
                    <a:pt x="1204" y="446"/>
                    <a:pt x="1204" y="446"/>
                  </a:cubicBezTo>
                  <a:cubicBezTo>
                    <a:pt x="1206" y="459"/>
                    <a:pt x="1206" y="459"/>
                    <a:pt x="1206" y="459"/>
                  </a:cubicBezTo>
                  <a:cubicBezTo>
                    <a:pt x="1229" y="456"/>
                    <a:pt x="1229" y="456"/>
                    <a:pt x="1229" y="456"/>
                  </a:cubicBezTo>
                  <a:cubicBezTo>
                    <a:pt x="1236" y="446"/>
                    <a:pt x="1236" y="446"/>
                    <a:pt x="1236" y="446"/>
                  </a:cubicBezTo>
                  <a:cubicBezTo>
                    <a:pt x="1231" y="431"/>
                    <a:pt x="1231" y="431"/>
                    <a:pt x="1231" y="431"/>
                  </a:cubicBezTo>
                  <a:cubicBezTo>
                    <a:pt x="1236" y="419"/>
                    <a:pt x="1236" y="419"/>
                    <a:pt x="1236" y="419"/>
                  </a:cubicBezTo>
                  <a:cubicBezTo>
                    <a:pt x="1216" y="416"/>
                    <a:pt x="1216" y="416"/>
                    <a:pt x="1216" y="416"/>
                  </a:cubicBezTo>
                  <a:lnTo>
                    <a:pt x="1201" y="439"/>
                  </a:lnTo>
                  <a:close/>
                  <a:moveTo>
                    <a:pt x="1246" y="439"/>
                  </a:moveTo>
                  <a:cubicBezTo>
                    <a:pt x="1269" y="444"/>
                    <a:pt x="1269" y="444"/>
                    <a:pt x="1269" y="444"/>
                  </a:cubicBezTo>
                  <a:cubicBezTo>
                    <a:pt x="1274" y="431"/>
                    <a:pt x="1274" y="431"/>
                    <a:pt x="1274" y="431"/>
                  </a:cubicBezTo>
                  <a:cubicBezTo>
                    <a:pt x="1256" y="424"/>
                    <a:pt x="1256" y="424"/>
                    <a:pt x="1256" y="424"/>
                  </a:cubicBezTo>
                  <a:cubicBezTo>
                    <a:pt x="1246" y="429"/>
                    <a:pt x="1246" y="429"/>
                    <a:pt x="1246" y="429"/>
                  </a:cubicBezTo>
                  <a:lnTo>
                    <a:pt x="1246" y="439"/>
                  </a:lnTo>
                  <a:close/>
                  <a:moveTo>
                    <a:pt x="1065" y="555"/>
                  </a:moveTo>
                  <a:cubicBezTo>
                    <a:pt x="1052" y="575"/>
                    <a:pt x="1052" y="575"/>
                    <a:pt x="1052" y="575"/>
                  </a:cubicBezTo>
                  <a:cubicBezTo>
                    <a:pt x="1050" y="616"/>
                    <a:pt x="1050" y="616"/>
                    <a:pt x="1050" y="616"/>
                  </a:cubicBezTo>
                  <a:cubicBezTo>
                    <a:pt x="1050" y="623"/>
                    <a:pt x="1050" y="623"/>
                    <a:pt x="1050" y="623"/>
                  </a:cubicBezTo>
                  <a:cubicBezTo>
                    <a:pt x="1035" y="628"/>
                    <a:pt x="1035" y="628"/>
                    <a:pt x="1035" y="628"/>
                  </a:cubicBezTo>
                  <a:cubicBezTo>
                    <a:pt x="1035" y="636"/>
                    <a:pt x="1035" y="636"/>
                    <a:pt x="1035" y="636"/>
                  </a:cubicBezTo>
                  <a:cubicBezTo>
                    <a:pt x="1067" y="633"/>
                    <a:pt x="1067" y="633"/>
                    <a:pt x="1067" y="633"/>
                  </a:cubicBezTo>
                  <a:cubicBezTo>
                    <a:pt x="1070" y="656"/>
                    <a:pt x="1070" y="656"/>
                    <a:pt x="1070" y="656"/>
                  </a:cubicBezTo>
                  <a:cubicBezTo>
                    <a:pt x="1075" y="661"/>
                    <a:pt x="1075" y="661"/>
                    <a:pt x="1075" y="661"/>
                  </a:cubicBezTo>
                  <a:cubicBezTo>
                    <a:pt x="1087" y="648"/>
                    <a:pt x="1087" y="648"/>
                    <a:pt x="1087" y="648"/>
                  </a:cubicBezTo>
                  <a:cubicBezTo>
                    <a:pt x="1090" y="638"/>
                    <a:pt x="1090" y="638"/>
                    <a:pt x="1090" y="638"/>
                  </a:cubicBezTo>
                  <a:cubicBezTo>
                    <a:pt x="1105" y="621"/>
                    <a:pt x="1105" y="621"/>
                    <a:pt x="1105" y="621"/>
                  </a:cubicBezTo>
                  <a:cubicBezTo>
                    <a:pt x="1111" y="621"/>
                    <a:pt x="1111" y="621"/>
                    <a:pt x="1111" y="621"/>
                  </a:cubicBezTo>
                  <a:cubicBezTo>
                    <a:pt x="1114" y="623"/>
                    <a:pt x="1114" y="623"/>
                    <a:pt x="1114" y="623"/>
                  </a:cubicBezTo>
                  <a:cubicBezTo>
                    <a:pt x="1130" y="626"/>
                    <a:pt x="1130" y="626"/>
                    <a:pt x="1130" y="626"/>
                  </a:cubicBezTo>
                  <a:cubicBezTo>
                    <a:pt x="1127" y="633"/>
                    <a:pt x="1127" y="633"/>
                    <a:pt x="1127" y="633"/>
                  </a:cubicBezTo>
                  <a:cubicBezTo>
                    <a:pt x="1155" y="638"/>
                    <a:pt x="1155" y="638"/>
                    <a:pt x="1155" y="638"/>
                  </a:cubicBezTo>
                  <a:cubicBezTo>
                    <a:pt x="1172" y="626"/>
                    <a:pt x="1172" y="626"/>
                    <a:pt x="1172" y="626"/>
                  </a:cubicBezTo>
                  <a:cubicBezTo>
                    <a:pt x="1137" y="621"/>
                    <a:pt x="1137" y="621"/>
                    <a:pt x="1137" y="621"/>
                  </a:cubicBezTo>
                  <a:cubicBezTo>
                    <a:pt x="1135" y="608"/>
                    <a:pt x="1135" y="608"/>
                    <a:pt x="1135" y="608"/>
                  </a:cubicBezTo>
                  <a:cubicBezTo>
                    <a:pt x="1107" y="595"/>
                    <a:pt x="1107" y="595"/>
                    <a:pt x="1107" y="595"/>
                  </a:cubicBezTo>
                  <a:cubicBezTo>
                    <a:pt x="1095" y="580"/>
                    <a:pt x="1095" y="580"/>
                    <a:pt x="1095" y="580"/>
                  </a:cubicBezTo>
                  <a:cubicBezTo>
                    <a:pt x="1085" y="575"/>
                    <a:pt x="1085" y="575"/>
                    <a:pt x="1085" y="575"/>
                  </a:cubicBezTo>
                  <a:cubicBezTo>
                    <a:pt x="1080" y="583"/>
                    <a:pt x="1080" y="583"/>
                    <a:pt x="1080" y="583"/>
                  </a:cubicBezTo>
                  <a:cubicBezTo>
                    <a:pt x="1072" y="570"/>
                    <a:pt x="1072" y="570"/>
                    <a:pt x="1072" y="570"/>
                  </a:cubicBezTo>
                  <a:cubicBezTo>
                    <a:pt x="1077" y="568"/>
                    <a:pt x="1077" y="568"/>
                    <a:pt x="1077" y="568"/>
                  </a:cubicBezTo>
                  <a:cubicBezTo>
                    <a:pt x="1065" y="555"/>
                    <a:pt x="1065" y="555"/>
                    <a:pt x="1065" y="555"/>
                  </a:cubicBezTo>
                  <a:close/>
                  <a:moveTo>
                    <a:pt x="1116" y="674"/>
                  </a:moveTo>
                  <a:cubicBezTo>
                    <a:pt x="1108" y="679"/>
                    <a:pt x="1108" y="679"/>
                    <a:pt x="1108" y="679"/>
                  </a:cubicBezTo>
                  <a:cubicBezTo>
                    <a:pt x="1111" y="689"/>
                    <a:pt x="1111" y="689"/>
                    <a:pt x="1111" y="689"/>
                  </a:cubicBezTo>
                  <a:cubicBezTo>
                    <a:pt x="1118" y="682"/>
                    <a:pt x="1118" y="682"/>
                    <a:pt x="1118" y="682"/>
                  </a:cubicBezTo>
                  <a:cubicBezTo>
                    <a:pt x="1126" y="687"/>
                    <a:pt x="1126" y="687"/>
                    <a:pt x="1126" y="687"/>
                  </a:cubicBezTo>
                  <a:cubicBezTo>
                    <a:pt x="1146" y="667"/>
                    <a:pt x="1146" y="667"/>
                    <a:pt x="1146" y="667"/>
                  </a:cubicBezTo>
                  <a:cubicBezTo>
                    <a:pt x="1148" y="657"/>
                    <a:pt x="1148" y="657"/>
                    <a:pt x="1148" y="657"/>
                  </a:cubicBezTo>
                  <a:cubicBezTo>
                    <a:pt x="1116" y="662"/>
                    <a:pt x="1116" y="662"/>
                    <a:pt x="1116" y="662"/>
                  </a:cubicBezTo>
                  <a:cubicBezTo>
                    <a:pt x="1116" y="674"/>
                    <a:pt x="1116" y="674"/>
                    <a:pt x="1116" y="674"/>
                  </a:cubicBezTo>
                  <a:close/>
                  <a:moveTo>
                    <a:pt x="1158" y="714"/>
                  </a:moveTo>
                  <a:cubicBezTo>
                    <a:pt x="1174" y="722"/>
                    <a:pt x="1174" y="722"/>
                    <a:pt x="1174" y="722"/>
                  </a:cubicBezTo>
                  <a:cubicBezTo>
                    <a:pt x="1179" y="699"/>
                    <a:pt x="1179" y="699"/>
                    <a:pt x="1179" y="699"/>
                  </a:cubicBezTo>
                  <a:cubicBezTo>
                    <a:pt x="1169" y="692"/>
                    <a:pt x="1169" y="692"/>
                    <a:pt x="1169" y="692"/>
                  </a:cubicBezTo>
                  <a:cubicBezTo>
                    <a:pt x="1158" y="692"/>
                    <a:pt x="1158" y="692"/>
                    <a:pt x="1158" y="692"/>
                  </a:cubicBezTo>
                  <a:cubicBezTo>
                    <a:pt x="1158" y="714"/>
                    <a:pt x="1158" y="714"/>
                    <a:pt x="1158" y="714"/>
                  </a:cubicBezTo>
                  <a:close/>
                  <a:moveTo>
                    <a:pt x="975" y="183"/>
                  </a:moveTo>
                  <a:cubicBezTo>
                    <a:pt x="973" y="205"/>
                    <a:pt x="973" y="205"/>
                    <a:pt x="973" y="205"/>
                  </a:cubicBezTo>
                  <a:cubicBezTo>
                    <a:pt x="963" y="220"/>
                    <a:pt x="963" y="220"/>
                    <a:pt x="963" y="220"/>
                  </a:cubicBezTo>
                  <a:cubicBezTo>
                    <a:pt x="955" y="243"/>
                    <a:pt x="955" y="243"/>
                    <a:pt x="955" y="243"/>
                  </a:cubicBezTo>
                  <a:cubicBezTo>
                    <a:pt x="965" y="253"/>
                    <a:pt x="965" y="253"/>
                    <a:pt x="965" y="253"/>
                  </a:cubicBezTo>
                  <a:cubicBezTo>
                    <a:pt x="993" y="235"/>
                    <a:pt x="993" y="235"/>
                    <a:pt x="993" y="235"/>
                  </a:cubicBezTo>
                  <a:cubicBezTo>
                    <a:pt x="1006" y="210"/>
                    <a:pt x="1006" y="210"/>
                    <a:pt x="1006" y="210"/>
                  </a:cubicBezTo>
                  <a:cubicBezTo>
                    <a:pt x="1016" y="183"/>
                    <a:pt x="1016" y="183"/>
                    <a:pt x="1016" y="183"/>
                  </a:cubicBezTo>
                  <a:cubicBezTo>
                    <a:pt x="1016" y="160"/>
                    <a:pt x="1016" y="160"/>
                    <a:pt x="1016" y="160"/>
                  </a:cubicBezTo>
                  <a:cubicBezTo>
                    <a:pt x="1038" y="160"/>
                    <a:pt x="1038" y="160"/>
                    <a:pt x="1038" y="160"/>
                  </a:cubicBezTo>
                  <a:cubicBezTo>
                    <a:pt x="1061" y="160"/>
                    <a:pt x="1061" y="160"/>
                    <a:pt x="1061" y="160"/>
                  </a:cubicBezTo>
                  <a:cubicBezTo>
                    <a:pt x="1063" y="143"/>
                    <a:pt x="1063" y="143"/>
                    <a:pt x="1063" y="143"/>
                  </a:cubicBezTo>
                  <a:cubicBezTo>
                    <a:pt x="1088" y="133"/>
                    <a:pt x="1088" y="133"/>
                    <a:pt x="1088" y="133"/>
                  </a:cubicBezTo>
                  <a:cubicBezTo>
                    <a:pt x="1091" y="153"/>
                    <a:pt x="1091" y="153"/>
                    <a:pt x="1091" y="153"/>
                  </a:cubicBezTo>
                  <a:cubicBezTo>
                    <a:pt x="1106" y="153"/>
                    <a:pt x="1106" y="153"/>
                    <a:pt x="1106" y="153"/>
                  </a:cubicBezTo>
                  <a:cubicBezTo>
                    <a:pt x="1123" y="155"/>
                    <a:pt x="1123" y="155"/>
                    <a:pt x="1123" y="155"/>
                  </a:cubicBezTo>
                  <a:cubicBezTo>
                    <a:pt x="1143" y="148"/>
                    <a:pt x="1143" y="148"/>
                    <a:pt x="1143" y="148"/>
                  </a:cubicBezTo>
                  <a:cubicBezTo>
                    <a:pt x="1158" y="140"/>
                    <a:pt x="1158" y="140"/>
                    <a:pt x="1158" y="140"/>
                  </a:cubicBezTo>
                  <a:cubicBezTo>
                    <a:pt x="1171" y="148"/>
                    <a:pt x="1171" y="148"/>
                    <a:pt x="1171" y="148"/>
                  </a:cubicBezTo>
                  <a:cubicBezTo>
                    <a:pt x="1176" y="163"/>
                    <a:pt x="1176" y="163"/>
                    <a:pt x="1176" y="163"/>
                  </a:cubicBezTo>
                  <a:cubicBezTo>
                    <a:pt x="1194" y="158"/>
                    <a:pt x="1194" y="158"/>
                    <a:pt x="1194" y="158"/>
                  </a:cubicBezTo>
                  <a:cubicBezTo>
                    <a:pt x="1221" y="153"/>
                    <a:pt x="1221" y="153"/>
                    <a:pt x="1221" y="153"/>
                  </a:cubicBezTo>
                  <a:cubicBezTo>
                    <a:pt x="1229" y="133"/>
                    <a:pt x="1229" y="133"/>
                    <a:pt x="1229" y="133"/>
                  </a:cubicBezTo>
                  <a:cubicBezTo>
                    <a:pt x="1241" y="150"/>
                    <a:pt x="1241" y="150"/>
                    <a:pt x="1241" y="150"/>
                  </a:cubicBezTo>
                  <a:cubicBezTo>
                    <a:pt x="1261" y="145"/>
                    <a:pt x="1261" y="145"/>
                    <a:pt x="1261" y="145"/>
                  </a:cubicBezTo>
                  <a:cubicBezTo>
                    <a:pt x="1284" y="133"/>
                    <a:pt x="1284" y="133"/>
                    <a:pt x="1284" y="133"/>
                  </a:cubicBezTo>
                  <a:cubicBezTo>
                    <a:pt x="1316" y="145"/>
                    <a:pt x="1316" y="145"/>
                    <a:pt x="1316" y="145"/>
                  </a:cubicBezTo>
                  <a:cubicBezTo>
                    <a:pt x="1329" y="115"/>
                    <a:pt x="1329" y="115"/>
                    <a:pt x="1329" y="115"/>
                  </a:cubicBezTo>
                  <a:cubicBezTo>
                    <a:pt x="1354" y="115"/>
                    <a:pt x="1354" y="115"/>
                    <a:pt x="1354" y="115"/>
                  </a:cubicBezTo>
                  <a:cubicBezTo>
                    <a:pt x="1357" y="95"/>
                    <a:pt x="1357" y="95"/>
                    <a:pt x="1357" y="95"/>
                  </a:cubicBezTo>
                  <a:cubicBezTo>
                    <a:pt x="1369" y="110"/>
                    <a:pt x="1369" y="110"/>
                    <a:pt x="1369" y="110"/>
                  </a:cubicBezTo>
                  <a:cubicBezTo>
                    <a:pt x="1389" y="90"/>
                    <a:pt x="1389" y="90"/>
                    <a:pt x="1389" y="90"/>
                  </a:cubicBezTo>
                  <a:cubicBezTo>
                    <a:pt x="1422" y="88"/>
                    <a:pt x="1422" y="88"/>
                    <a:pt x="1422" y="88"/>
                  </a:cubicBezTo>
                  <a:cubicBezTo>
                    <a:pt x="1429" y="70"/>
                    <a:pt x="1429" y="70"/>
                    <a:pt x="1429" y="70"/>
                  </a:cubicBezTo>
                  <a:cubicBezTo>
                    <a:pt x="1454" y="67"/>
                    <a:pt x="1454" y="67"/>
                    <a:pt x="1454" y="67"/>
                  </a:cubicBezTo>
                  <a:cubicBezTo>
                    <a:pt x="1464" y="42"/>
                    <a:pt x="1464" y="42"/>
                    <a:pt x="1464" y="42"/>
                  </a:cubicBezTo>
                  <a:cubicBezTo>
                    <a:pt x="1495" y="28"/>
                    <a:pt x="1495" y="28"/>
                    <a:pt x="1495" y="28"/>
                  </a:cubicBezTo>
                  <a:cubicBezTo>
                    <a:pt x="1467" y="22"/>
                    <a:pt x="1467" y="22"/>
                    <a:pt x="1467" y="22"/>
                  </a:cubicBezTo>
                  <a:cubicBezTo>
                    <a:pt x="1444" y="17"/>
                    <a:pt x="1444" y="17"/>
                    <a:pt x="1444" y="17"/>
                  </a:cubicBezTo>
                  <a:cubicBezTo>
                    <a:pt x="1414" y="27"/>
                    <a:pt x="1414" y="27"/>
                    <a:pt x="1414" y="27"/>
                  </a:cubicBezTo>
                  <a:cubicBezTo>
                    <a:pt x="1384" y="35"/>
                    <a:pt x="1384" y="35"/>
                    <a:pt x="1384" y="35"/>
                  </a:cubicBezTo>
                  <a:cubicBezTo>
                    <a:pt x="1417" y="12"/>
                    <a:pt x="1417" y="12"/>
                    <a:pt x="1417" y="12"/>
                  </a:cubicBezTo>
                  <a:cubicBezTo>
                    <a:pt x="1369" y="0"/>
                    <a:pt x="1369" y="0"/>
                    <a:pt x="1369" y="0"/>
                  </a:cubicBezTo>
                  <a:cubicBezTo>
                    <a:pt x="1331" y="12"/>
                    <a:pt x="1331" y="12"/>
                    <a:pt x="1331" y="12"/>
                  </a:cubicBezTo>
                  <a:cubicBezTo>
                    <a:pt x="1319" y="0"/>
                    <a:pt x="1319" y="0"/>
                    <a:pt x="1319" y="0"/>
                  </a:cubicBezTo>
                  <a:cubicBezTo>
                    <a:pt x="1309" y="12"/>
                    <a:pt x="1309" y="12"/>
                    <a:pt x="1309" y="12"/>
                  </a:cubicBezTo>
                  <a:cubicBezTo>
                    <a:pt x="1301" y="27"/>
                    <a:pt x="1301" y="27"/>
                    <a:pt x="1301" y="27"/>
                  </a:cubicBezTo>
                  <a:cubicBezTo>
                    <a:pt x="1286" y="27"/>
                    <a:pt x="1286" y="27"/>
                    <a:pt x="1286" y="27"/>
                  </a:cubicBezTo>
                  <a:cubicBezTo>
                    <a:pt x="1264" y="20"/>
                    <a:pt x="1264" y="20"/>
                    <a:pt x="1264" y="20"/>
                  </a:cubicBezTo>
                  <a:cubicBezTo>
                    <a:pt x="1234" y="20"/>
                    <a:pt x="1234" y="20"/>
                    <a:pt x="1234" y="20"/>
                  </a:cubicBezTo>
                  <a:cubicBezTo>
                    <a:pt x="1236" y="50"/>
                    <a:pt x="1236" y="50"/>
                    <a:pt x="1236" y="50"/>
                  </a:cubicBezTo>
                  <a:cubicBezTo>
                    <a:pt x="1226" y="35"/>
                    <a:pt x="1226" y="35"/>
                    <a:pt x="1226" y="35"/>
                  </a:cubicBezTo>
                  <a:cubicBezTo>
                    <a:pt x="1209" y="27"/>
                    <a:pt x="1209" y="27"/>
                    <a:pt x="1209" y="27"/>
                  </a:cubicBezTo>
                  <a:cubicBezTo>
                    <a:pt x="1199" y="40"/>
                    <a:pt x="1199" y="40"/>
                    <a:pt x="1199" y="40"/>
                  </a:cubicBezTo>
                  <a:cubicBezTo>
                    <a:pt x="1169" y="42"/>
                    <a:pt x="1169" y="42"/>
                    <a:pt x="1169" y="42"/>
                  </a:cubicBezTo>
                  <a:cubicBezTo>
                    <a:pt x="1156" y="30"/>
                    <a:pt x="1156" y="30"/>
                    <a:pt x="1156" y="30"/>
                  </a:cubicBezTo>
                  <a:cubicBezTo>
                    <a:pt x="1108" y="35"/>
                    <a:pt x="1108" y="35"/>
                    <a:pt x="1108" y="35"/>
                  </a:cubicBezTo>
                  <a:cubicBezTo>
                    <a:pt x="1086" y="22"/>
                    <a:pt x="1086" y="22"/>
                    <a:pt x="1086" y="22"/>
                  </a:cubicBezTo>
                  <a:cubicBezTo>
                    <a:pt x="1076" y="37"/>
                    <a:pt x="1076" y="37"/>
                    <a:pt x="1076" y="37"/>
                  </a:cubicBezTo>
                  <a:cubicBezTo>
                    <a:pt x="1058" y="50"/>
                    <a:pt x="1058" y="50"/>
                    <a:pt x="1058" y="50"/>
                  </a:cubicBezTo>
                  <a:cubicBezTo>
                    <a:pt x="1001" y="55"/>
                    <a:pt x="1001" y="55"/>
                    <a:pt x="1001" y="55"/>
                  </a:cubicBezTo>
                  <a:cubicBezTo>
                    <a:pt x="1023" y="75"/>
                    <a:pt x="1023" y="75"/>
                    <a:pt x="1023" y="75"/>
                  </a:cubicBezTo>
                  <a:cubicBezTo>
                    <a:pt x="1046" y="98"/>
                    <a:pt x="1046" y="98"/>
                    <a:pt x="1046" y="98"/>
                  </a:cubicBezTo>
                  <a:cubicBezTo>
                    <a:pt x="1006" y="98"/>
                    <a:pt x="1006" y="98"/>
                    <a:pt x="1006" y="98"/>
                  </a:cubicBezTo>
                  <a:cubicBezTo>
                    <a:pt x="983" y="88"/>
                    <a:pt x="983" y="88"/>
                    <a:pt x="983" y="88"/>
                  </a:cubicBezTo>
                  <a:cubicBezTo>
                    <a:pt x="970" y="65"/>
                    <a:pt x="970" y="65"/>
                    <a:pt x="970" y="65"/>
                  </a:cubicBezTo>
                  <a:cubicBezTo>
                    <a:pt x="925" y="65"/>
                    <a:pt x="925" y="65"/>
                    <a:pt x="925" y="65"/>
                  </a:cubicBezTo>
                  <a:cubicBezTo>
                    <a:pt x="925" y="80"/>
                    <a:pt x="925" y="80"/>
                    <a:pt x="925" y="80"/>
                  </a:cubicBezTo>
                  <a:cubicBezTo>
                    <a:pt x="953" y="95"/>
                    <a:pt x="953" y="95"/>
                    <a:pt x="953" y="95"/>
                  </a:cubicBezTo>
                  <a:cubicBezTo>
                    <a:pt x="943" y="110"/>
                    <a:pt x="943" y="110"/>
                    <a:pt x="943" y="110"/>
                  </a:cubicBezTo>
                  <a:cubicBezTo>
                    <a:pt x="938" y="125"/>
                    <a:pt x="938" y="125"/>
                    <a:pt x="938" y="125"/>
                  </a:cubicBezTo>
                  <a:cubicBezTo>
                    <a:pt x="958" y="138"/>
                    <a:pt x="958" y="138"/>
                    <a:pt x="958" y="138"/>
                  </a:cubicBezTo>
                  <a:cubicBezTo>
                    <a:pt x="980" y="153"/>
                    <a:pt x="980" y="153"/>
                    <a:pt x="980" y="153"/>
                  </a:cubicBezTo>
                  <a:cubicBezTo>
                    <a:pt x="975" y="183"/>
                    <a:pt x="975" y="183"/>
                    <a:pt x="975" y="183"/>
                  </a:cubicBezTo>
                  <a:close/>
                  <a:moveTo>
                    <a:pt x="1573" y="1110"/>
                  </a:moveTo>
                  <a:cubicBezTo>
                    <a:pt x="1569" y="1107"/>
                    <a:pt x="1569" y="1107"/>
                    <a:pt x="1569" y="1107"/>
                  </a:cubicBezTo>
                  <a:cubicBezTo>
                    <a:pt x="1568" y="1099"/>
                    <a:pt x="1568" y="1099"/>
                    <a:pt x="1568" y="1099"/>
                  </a:cubicBezTo>
                  <a:cubicBezTo>
                    <a:pt x="1585" y="1085"/>
                    <a:pt x="1585" y="1085"/>
                    <a:pt x="1585" y="1085"/>
                  </a:cubicBezTo>
                  <a:cubicBezTo>
                    <a:pt x="1573" y="1082"/>
                    <a:pt x="1573" y="1082"/>
                    <a:pt x="1573" y="1082"/>
                  </a:cubicBezTo>
                  <a:cubicBezTo>
                    <a:pt x="1585" y="1068"/>
                    <a:pt x="1585" y="1068"/>
                    <a:pt x="1585" y="1068"/>
                  </a:cubicBezTo>
                  <a:cubicBezTo>
                    <a:pt x="1591" y="1069"/>
                    <a:pt x="1591" y="1069"/>
                    <a:pt x="1591" y="1069"/>
                  </a:cubicBezTo>
                  <a:cubicBezTo>
                    <a:pt x="1588" y="1059"/>
                    <a:pt x="1588" y="1059"/>
                    <a:pt x="1588" y="1059"/>
                  </a:cubicBezTo>
                  <a:cubicBezTo>
                    <a:pt x="1602" y="1031"/>
                    <a:pt x="1602" y="1031"/>
                    <a:pt x="1602" y="1031"/>
                  </a:cubicBezTo>
                  <a:cubicBezTo>
                    <a:pt x="1606" y="1017"/>
                    <a:pt x="1606" y="1017"/>
                    <a:pt x="1606" y="1017"/>
                  </a:cubicBezTo>
                  <a:cubicBezTo>
                    <a:pt x="1621" y="997"/>
                    <a:pt x="1621" y="997"/>
                    <a:pt x="1621" y="997"/>
                  </a:cubicBezTo>
                  <a:cubicBezTo>
                    <a:pt x="1631" y="992"/>
                    <a:pt x="1631" y="992"/>
                    <a:pt x="1631" y="992"/>
                  </a:cubicBezTo>
                  <a:cubicBezTo>
                    <a:pt x="1638" y="991"/>
                    <a:pt x="1638" y="991"/>
                    <a:pt x="1638" y="991"/>
                  </a:cubicBezTo>
                  <a:cubicBezTo>
                    <a:pt x="1637" y="1000"/>
                    <a:pt x="1637" y="1000"/>
                    <a:pt x="1637" y="1000"/>
                  </a:cubicBezTo>
                  <a:cubicBezTo>
                    <a:pt x="1631" y="1001"/>
                    <a:pt x="1631" y="1001"/>
                    <a:pt x="1631" y="1001"/>
                  </a:cubicBezTo>
                  <a:cubicBezTo>
                    <a:pt x="1633" y="1007"/>
                    <a:pt x="1633" y="1007"/>
                    <a:pt x="1633" y="1007"/>
                  </a:cubicBezTo>
                  <a:cubicBezTo>
                    <a:pt x="1631" y="1015"/>
                    <a:pt x="1631" y="1015"/>
                    <a:pt x="1631" y="1015"/>
                  </a:cubicBezTo>
                  <a:cubicBezTo>
                    <a:pt x="1626" y="1018"/>
                    <a:pt x="1626" y="1018"/>
                    <a:pt x="1626" y="1018"/>
                  </a:cubicBezTo>
                  <a:cubicBezTo>
                    <a:pt x="1622" y="1031"/>
                    <a:pt x="1622" y="1031"/>
                    <a:pt x="1622" y="1031"/>
                  </a:cubicBezTo>
                  <a:cubicBezTo>
                    <a:pt x="1615" y="1039"/>
                    <a:pt x="1615" y="1039"/>
                    <a:pt x="1615" y="1039"/>
                  </a:cubicBezTo>
                  <a:cubicBezTo>
                    <a:pt x="1611" y="1047"/>
                    <a:pt x="1611" y="1047"/>
                    <a:pt x="1611" y="1047"/>
                  </a:cubicBezTo>
                  <a:cubicBezTo>
                    <a:pt x="1612" y="1054"/>
                    <a:pt x="1612" y="1054"/>
                    <a:pt x="1612" y="1054"/>
                  </a:cubicBezTo>
                  <a:cubicBezTo>
                    <a:pt x="1618" y="1052"/>
                    <a:pt x="1618" y="1052"/>
                    <a:pt x="1618" y="1052"/>
                  </a:cubicBezTo>
                  <a:cubicBezTo>
                    <a:pt x="1626" y="1035"/>
                    <a:pt x="1626" y="1035"/>
                    <a:pt x="1626" y="1035"/>
                  </a:cubicBezTo>
                  <a:cubicBezTo>
                    <a:pt x="1630" y="1044"/>
                    <a:pt x="1630" y="1044"/>
                    <a:pt x="1630" y="1044"/>
                  </a:cubicBezTo>
                  <a:cubicBezTo>
                    <a:pt x="1639" y="1042"/>
                    <a:pt x="1639" y="1042"/>
                    <a:pt x="1639" y="1042"/>
                  </a:cubicBezTo>
                  <a:cubicBezTo>
                    <a:pt x="1629" y="1054"/>
                    <a:pt x="1629" y="1054"/>
                    <a:pt x="1629" y="1054"/>
                  </a:cubicBezTo>
                  <a:cubicBezTo>
                    <a:pt x="1636" y="1056"/>
                    <a:pt x="1636" y="1056"/>
                    <a:pt x="1636" y="1056"/>
                  </a:cubicBezTo>
                  <a:cubicBezTo>
                    <a:pt x="1643" y="1056"/>
                    <a:pt x="1643" y="1056"/>
                    <a:pt x="1643" y="1056"/>
                  </a:cubicBezTo>
                  <a:cubicBezTo>
                    <a:pt x="1638" y="1070"/>
                    <a:pt x="1638" y="1070"/>
                    <a:pt x="1638" y="1070"/>
                  </a:cubicBezTo>
                  <a:cubicBezTo>
                    <a:pt x="1656" y="1054"/>
                    <a:pt x="1656" y="1054"/>
                    <a:pt x="1656" y="1054"/>
                  </a:cubicBezTo>
                  <a:cubicBezTo>
                    <a:pt x="1667" y="1057"/>
                    <a:pt x="1667" y="1057"/>
                    <a:pt x="1667" y="1057"/>
                  </a:cubicBezTo>
                  <a:cubicBezTo>
                    <a:pt x="1677" y="1059"/>
                    <a:pt x="1677" y="1059"/>
                    <a:pt x="1677" y="1059"/>
                  </a:cubicBezTo>
                  <a:cubicBezTo>
                    <a:pt x="1669" y="1072"/>
                    <a:pt x="1669" y="1072"/>
                    <a:pt x="1669" y="1072"/>
                  </a:cubicBezTo>
                  <a:cubicBezTo>
                    <a:pt x="1668" y="1079"/>
                    <a:pt x="1668" y="1079"/>
                    <a:pt x="1668" y="1079"/>
                  </a:cubicBezTo>
                  <a:cubicBezTo>
                    <a:pt x="1685" y="1079"/>
                    <a:pt x="1685" y="1079"/>
                    <a:pt x="1685" y="1079"/>
                  </a:cubicBezTo>
                  <a:cubicBezTo>
                    <a:pt x="1677" y="1087"/>
                    <a:pt x="1677" y="1087"/>
                    <a:pt x="1677" y="1087"/>
                  </a:cubicBezTo>
                  <a:cubicBezTo>
                    <a:pt x="1670" y="1090"/>
                    <a:pt x="1670" y="1090"/>
                    <a:pt x="1670" y="1090"/>
                  </a:cubicBezTo>
                  <a:cubicBezTo>
                    <a:pt x="1674" y="1097"/>
                    <a:pt x="1674" y="1097"/>
                    <a:pt x="1674" y="1097"/>
                  </a:cubicBezTo>
                  <a:cubicBezTo>
                    <a:pt x="1674" y="1107"/>
                    <a:pt x="1674" y="1107"/>
                    <a:pt x="1674" y="1107"/>
                  </a:cubicBezTo>
                  <a:cubicBezTo>
                    <a:pt x="1681" y="1098"/>
                    <a:pt x="1681" y="1098"/>
                    <a:pt x="1681" y="1098"/>
                  </a:cubicBezTo>
                  <a:cubicBezTo>
                    <a:pt x="1688" y="1095"/>
                    <a:pt x="1688" y="1095"/>
                    <a:pt x="1688" y="1095"/>
                  </a:cubicBezTo>
                  <a:cubicBezTo>
                    <a:pt x="1686" y="1119"/>
                    <a:pt x="1686" y="1119"/>
                    <a:pt x="1686" y="1119"/>
                  </a:cubicBezTo>
                  <a:cubicBezTo>
                    <a:pt x="1692" y="1135"/>
                    <a:pt x="1692" y="1135"/>
                    <a:pt x="1692" y="1135"/>
                  </a:cubicBezTo>
                  <a:cubicBezTo>
                    <a:pt x="1679" y="1132"/>
                    <a:pt x="1679" y="1132"/>
                    <a:pt x="1679" y="1132"/>
                  </a:cubicBezTo>
                  <a:cubicBezTo>
                    <a:pt x="1676" y="1124"/>
                    <a:pt x="1676" y="1124"/>
                    <a:pt x="1676" y="1124"/>
                  </a:cubicBezTo>
                  <a:cubicBezTo>
                    <a:pt x="1673" y="1129"/>
                    <a:pt x="1673" y="1129"/>
                    <a:pt x="1673" y="1129"/>
                  </a:cubicBezTo>
                  <a:cubicBezTo>
                    <a:pt x="1665" y="1129"/>
                    <a:pt x="1665" y="1129"/>
                    <a:pt x="1665" y="1129"/>
                  </a:cubicBezTo>
                  <a:cubicBezTo>
                    <a:pt x="1669" y="1118"/>
                    <a:pt x="1669" y="1118"/>
                    <a:pt x="1669" y="1118"/>
                  </a:cubicBezTo>
                  <a:cubicBezTo>
                    <a:pt x="1668" y="1109"/>
                    <a:pt x="1668" y="1109"/>
                    <a:pt x="1668" y="1109"/>
                  </a:cubicBezTo>
                  <a:cubicBezTo>
                    <a:pt x="1666" y="1099"/>
                    <a:pt x="1666" y="1099"/>
                    <a:pt x="1666" y="1099"/>
                  </a:cubicBezTo>
                  <a:cubicBezTo>
                    <a:pt x="1659" y="1112"/>
                    <a:pt x="1659" y="1112"/>
                    <a:pt x="1659" y="1112"/>
                  </a:cubicBezTo>
                  <a:cubicBezTo>
                    <a:pt x="1652" y="1119"/>
                    <a:pt x="1652" y="1119"/>
                    <a:pt x="1652" y="1119"/>
                  </a:cubicBezTo>
                  <a:cubicBezTo>
                    <a:pt x="1644" y="1126"/>
                    <a:pt x="1644" y="1126"/>
                    <a:pt x="1644" y="1126"/>
                  </a:cubicBezTo>
                  <a:cubicBezTo>
                    <a:pt x="1639" y="1130"/>
                    <a:pt x="1639" y="1130"/>
                    <a:pt x="1639" y="1130"/>
                  </a:cubicBezTo>
                  <a:cubicBezTo>
                    <a:pt x="1631" y="1127"/>
                    <a:pt x="1631" y="1127"/>
                    <a:pt x="1631" y="1127"/>
                  </a:cubicBezTo>
                  <a:cubicBezTo>
                    <a:pt x="1639" y="1121"/>
                    <a:pt x="1639" y="1121"/>
                    <a:pt x="1639" y="1121"/>
                  </a:cubicBezTo>
                  <a:cubicBezTo>
                    <a:pt x="1651" y="1108"/>
                    <a:pt x="1651" y="1108"/>
                    <a:pt x="1651" y="1108"/>
                  </a:cubicBezTo>
                  <a:cubicBezTo>
                    <a:pt x="1644" y="1108"/>
                    <a:pt x="1644" y="1108"/>
                    <a:pt x="1644" y="1108"/>
                  </a:cubicBezTo>
                  <a:cubicBezTo>
                    <a:pt x="1638" y="1114"/>
                    <a:pt x="1638" y="1114"/>
                    <a:pt x="1638" y="1114"/>
                  </a:cubicBezTo>
                  <a:cubicBezTo>
                    <a:pt x="1632" y="1112"/>
                    <a:pt x="1632" y="1112"/>
                    <a:pt x="1632" y="1112"/>
                  </a:cubicBezTo>
                  <a:cubicBezTo>
                    <a:pt x="1634" y="1102"/>
                    <a:pt x="1634" y="1102"/>
                    <a:pt x="1634" y="1102"/>
                  </a:cubicBezTo>
                  <a:cubicBezTo>
                    <a:pt x="1625" y="1107"/>
                    <a:pt x="1625" y="1107"/>
                    <a:pt x="1625" y="1107"/>
                  </a:cubicBezTo>
                  <a:cubicBezTo>
                    <a:pt x="1623" y="1102"/>
                    <a:pt x="1623" y="1102"/>
                    <a:pt x="1623" y="1102"/>
                  </a:cubicBezTo>
                  <a:cubicBezTo>
                    <a:pt x="1616" y="1109"/>
                    <a:pt x="1616" y="1109"/>
                    <a:pt x="1616" y="1109"/>
                  </a:cubicBezTo>
                  <a:cubicBezTo>
                    <a:pt x="1603" y="1107"/>
                    <a:pt x="1603" y="1107"/>
                    <a:pt x="1603" y="1107"/>
                  </a:cubicBezTo>
                  <a:lnTo>
                    <a:pt x="1573" y="1110"/>
                  </a:lnTo>
                  <a:close/>
                  <a:moveTo>
                    <a:pt x="1497" y="1044"/>
                  </a:moveTo>
                  <a:cubicBezTo>
                    <a:pt x="1506" y="1049"/>
                    <a:pt x="1506" y="1049"/>
                    <a:pt x="1506" y="1049"/>
                  </a:cubicBezTo>
                  <a:cubicBezTo>
                    <a:pt x="1516" y="1048"/>
                    <a:pt x="1516" y="1048"/>
                    <a:pt x="1516" y="1048"/>
                  </a:cubicBezTo>
                  <a:cubicBezTo>
                    <a:pt x="1521" y="1054"/>
                    <a:pt x="1521" y="1054"/>
                    <a:pt x="1521" y="1054"/>
                  </a:cubicBezTo>
                  <a:cubicBezTo>
                    <a:pt x="1532" y="1057"/>
                    <a:pt x="1532" y="1057"/>
                    <a:pt x="1532" y="1057"/>
                  </a:cubicBezTo>
                  <a:cubicBezTo>
                    <a:pt x="1537" y="1060"/>
                    <a:pt x="1537" y="1060"/>
                    <a:pt x="1537" y="1060"/>
                  </a:cubicBezTo>
                  <a:cubicBezTo>
                    <a:pt x="1535" y="1066"/>
                    <a:pt x="1535" y="1066"/>
                    <a:pt x="1535" y="1066"/>
                  </a:cubicBezTo>
                  <a:cubicBezTo>
                    <a:pt x="1520" y="1066"/>
                    <a:pt x="1520" y="1066"/>
                    <a:pt x="1520" y="1066"/>
                  </a:cubicBezTo>
                  <a:cubicBezTo>
                    <a:pt x="1502" y="1061"/>
                    <a:pt x="1502" y="1061"/>
                    <a:pt x="1502" y="1061"/>
                  </a:cubicBezTo>
                  <a:cubicBezTo>
                    <a:pt x="1501" y="1055"/>
                    <a:pt x="1501" y="1055"/>
                    <a:pt x="1501" y="1055"/>
                  </a:cubicBezTo>
                  <a:cubicBezTo>
                    <a:pt x="1485" y="1048"/>
                    <a:pt x="1485" y="1048"/>
                    <a:pt x="1485" y="1048"/>
                  </a:cubicBezTo>
                  <a:cubicBezTo>
                    <a:pt x="1486" y="1042"/>
                    <a:pt x="1486" y="1042"/>
                    <a:pt x="1486" y="1042"/>
                  </a:cubicBezTo>
                  <a:lnTo>
                    <a:pt x="1497" y="1044"/>
                  </a:lnTo>
                  <a:close/>
                  <a:moveTo>
                    <a:pt x="1477" y="1149"/>
                  </a:moveTo>
                  <a:cubicBezTo>
                    <a:pt x="1474" y="1151"/>
                    <a:pt x="1474" y="1151"/>
                    <a:pt x="1474" y="1151"/>
                  </a:cubicBezTo>
                  <a:cubicBezTo>
                    <a:pt x="1467" y="1154"/>
                    <a:pt x="1467" y="1154"/>
                    <a:pt x="1467" y="1154"/>
                  </a:cubicBezTo>
                  <a:cubicBezTo>
                    <a:pt x="1458" y="1159"/>
                    <a:pt x="1458" y="1159"/>
                    <a:pt x="1458" y="1159"/>
                  </a:cubicBezTo>
                  <a:cubicBezTo>
                    <a:pt x="1453" y="1158"/>
                    <a:pt x="1453" y="1158"/>
                    <a:pt x="1453" y="1158"/>
                  </a:cubicBezTo>
                  <a:cubicBezTo>
                    <a:pt x="1447" y="1159"/>
                    <a:pt x="1447" y="1159"/>
                    <a:pt x="1447" y="1159"/>
                  </a:cubicBezTo>
                  <a:cubicBezTo>
                    <a:pt x="1444" y="1161"/>
                    <a:pt x="1444" y="1161"/>
                    <a:pt x="1444" y="1161"/>
                  </a:cubicBezTo>
                  <a:cubicBezTo>
                    <a:pt x="1439" y="1163"/>
                    <a:pt x="1439" y="1163"/>
                    <a:pt x="1439" y="1163"/>
                  </a:cubicBezTo>
                  <a:cubicBezTo>
                    <a:pt x="1436" y="1160"/>
                    <a:pt x="1436" y="1160"/>
                    <a:pt x="1436" y="1160"/>
                  </a:cubicBezTo>
                  <a:cubicBezTo>
                    <a:pt x="1434" y="1152"/>
                    <a:pt x="1434" y="1152"/>
                    <a:pt x="1434" y="1152"/>
                  </a:cubicBezTo>
                  <a:cubicBezTo>
                    <a:pt x="1427" y="1151"/>
                    <a:pt x="1427" y="1151"/>
                    <a:pt x="1427" y="1151"/>
                  </a:cubicBezTo>
                  <a:cubicBezTo>
                    <a:pt x="1417" y="1114"/>
                    <a:pt x="1417" y="1114"/>
                    <a:pt x="1417" y="1114"/>
                  </a:cubicBezTo>
                  <a:cubicBezTo>
                    <a:pt x="1408" y="1106"/>
                    <a:pt x="1408" y="1106"/>
                    <a:pt x="1408" y="1106"/>
                  </a:cubicBezTo>
                  <a:cubicBezTo>
                    <a:pt x="1403" y="1107"/>
                    <a:pt x="1403" y="1107"/>
                    <a:pt x="1403" y="1107"/>
                  </a:cubicBezTo>
                  <a:cubicBezTo>
                    <a:pt x="1402" y="1110"/>
                    <a:pt x="1402" y="1110"/>
                    <a:pt x="1402" y="1110"/>
                  </a:cubicBezTo>
                  <a:cubicBezTo>
                    <a:pt x="1392" y="1114"/>
                    <a:pt x="1392" y="1114"/>
                    <a:pt x="1392" y="1114"/>
                  </a:cubicBezTo>
                  <a:cubicBezTo>
                    <a:pt x="1391" y="1108"/>
                    <a:pt x="1391" y="1108"/>
                    <a:pt x="1391" y="1108"/>
                  </a:cubicBezTo>
                  <a:cubicBezTo>
                    <a:pt x="1384" y="1108"/>
                    <a:pt x="1384" y="1108"/>
                    <a:pt x="1384" y="1108"/>
                  </a:cubicBezTo>
                  <a:cubicBezTo>
                    <a:pt x="1375" y="1135"/>
                    <a:pt x="1375" y="1135"/>
                    <a:pt x="1375" y="1135"/>
                  </a:cubicBezTo>
                  <a:cubicBezTo>
                    <a:pt x="1377" y="1137"/>
                    <a:pt x="1377" y="1137"/>
                    <a:pt x="1377" y="1137"/>
                  </a:cubicBezTo>
                  <a:cubicBezTo>
                    <a:pt x="1377" y="1141"/>
                    <a:pt x="1377" y="1141"/>
                    <a:pt x="1377" y="1141"/>
                  </a:cubicBezTo>
                  <a:cubicBezTo>
                    <a:pt x="1374" y="1143"/>
                    <a:pt x="1374" y="1143"/>
                    <a:pt x="1374" y="1143"/>
                  </a:cubicBezTo>
                  <a:cubicBezTo>
                    <a:pt x="1377" y="1155"/>
                    <a:pt x="1377" y="1155"/>
                    <a:pt x="1377" y="1155"/>
                  </a:cubicBezTo>
                  <a:cubicBezTo>
                    <a:pt x="1375" y="1157"/>
                    <a:pt x="1375" y="1157"/>
                    <a:pt x="1375" y="1157"/>
                  </a:cubicBezTo>
                  <a:cubicBezTo>
                    <a:pt x="1374" y="1160"/>
                    <a:pt x="1374" y="1160"/>
                    <a:pt x="1374" y="1160"/>
                  </a:cubicBezTo>
                  <a:cubicBezTo>
                    <a:pt x="1370" y="1166"/>
                    <a:pt x="1370" y="1166"/>
                    <a:pt x="1370" y="1166"/>
                  </a:cubicBezTo>
                  <a:cubicBezTo>
                    <a:pt x="1371" y="1169"/>
                    <a:pt x="1371" y="1169"/>
                    <a:pt x="1371" y="1169"/>
                  </a:cubicBezTo>
                  <a:cubicBezTo>
                    <a:pt x="1369" y="1173"/>
                    <a:pt x="1369" y="1173"/>
                    <a:pt x="1369" y="1173"/>
                  </a:cubicBezTo>
                  <a:cubicBezTo>
                    <a:pt x="1364" y="1174"/>
                    <a:pt x="1364" y="1174"/>
                    <a:pt x="1364" y="1174"/>
                  </a:cubicBezTo>
                  <a:cubicBezTo>
                    <a:pt x="1357" y="1177"/>
                    <a:pt x="1357" y="1177"/>
                    <a:pt x="1357" y="1177"/>
                  </a:cubicBezTo>
                  <a:cubicBezTo>
                    <a:pt x="1358" y="1181"/>
                    <a:pt x="1358" y="1181"/>
                    <a:pt x="1358" y="1181"/>
                  </a:cubicBezTo>
                  <a:cubicBezTo>
                    <a:pt x="1356" y="1185"/>
                    <a:pt x="1356" y="1185"/>
                    <a:pt x="1356" y="1185"/>
                  </a:cubicBezTo>
                  <a:cubicBezTo>
                    <a:pt x="1320" y="1192"/>
                    <a:pt x="1320" y="1192"/>
                    <a:pt x="1320" y="1192"/>
                  </a:cubicBezTo>
                  <a:cubicBezTo>
                    <a:pt x="1291" y="1197"/>
                    <a:pt x="1291" y="1197"/>
                    <a:pt x="1291" y="1197"/>
                  </a:cubicBezTo>
                  <a:cubicBezTo>
                    <a:pt x="1274" y="1213"/>
                    <a:pt x="1274" y="1213"/>
                    <a:pt x="1274" y="1213"/>
                  </a:cubicBezTo>
                  <a:cubicBezTo>
                    <a:pt x="1274" y="1217"/>
                    <a:pt x="1274" y="1217"/>
                    <a:pt x="1274" y="1217"/>
                  </a:cubicBezTo>
                  <a:cubicBezTo>
                    <a:pt x="1264" y="1226"/>
                    <a:pt x="1264" y="1226"/>
                    <a:pt x="1264" y="1226"/>
                  </a:cubicBezTo>
                  <a:cubicBezTo>
                    <a:pt x="1265" y="1229"/>
                    <a:pt x="1265" y="1229"/>
                    <a:pt x="1265" y="1229"/>
                  </a:cubicBezTo>
                  <a:cubicBezTo>
                    <a:pt x="1268" y="1231"/>
                    <a:pt x="1268" y="1231"/>
                    <a:pt x="1268" y="1231"/>
                  </a:cubicBezTo>
                  <a:cubicBezTo>
                    <a:pt x="1268" y="1234"/>
                    <a:pt x="1268" y="1234"/>
                    <a:pt x="1268" y="1234"/>
                  </a:cubicBezTo>
                  <a:cubicBezTo>
                    <a:pt x="1270" y="1237"/>
                    <a:pt x="1270" y="1237"/>
                    <a:pt x="1270" y="1237"/>
                  </a:cubicBezTo>
                  <a:cubicBezTo>
                    <a:pt x="1268" y="1242"/>
                    <a:pt x="1268" y="1242"/>
                    <a:pt x="1268" y="1242"/>
                  </a:cubicBezTo>
                  <a:cubicBezTo>
                    <a:pt x="1265" y="1244"/>
                    <a:pt x="1265" y="1244"/>
                    <a:pt x="1265" y="1244"/>
                  </a:cubicBezTo>
                  <a:cubicBezTo>
                    <a:pt x="1260" y="1248"/>
                    <a:pt x="1260" y="1248"/>
                    <a:pt x="1260" y="1248"/>
                  </a:cubicBezTo>
                  <a:cubicBezTo>
                    <a:pt x="1255" y="1250"/>
                    <a:pt x="1255" y="1250"/>
                    <a:pt x="1255" y="1250"/>
                  </a:cubicBezTo>
                  <a:cubicBezTo>
                    <a:pt x="1245" y="1253"/>
                    <a:pt x="1245" y="1253"/>
                    <a:pt x="1245" y="1253"/>
                  </a:cubicBezTo>
                  <a:cubicBezTo>
                    <a:pt x="1239" y="1252"/>
                    <a:pt x="1239" y="1252"/>
                    <a:pt x="1239" y="1252"/>
                  </a:cubicBezTo>
                  <a:cubicBezTo>
                    <a:pt x="1227" y="1252"/>
                    <a:pt x="1227" y="1252"/>
                    <a:pt x="1227" y="1252"/>
                  </a:cubicBezTo>
                  <a:cubicBezTo>
                    <a:pt x="1219" y="1254"/>
                    <a:pt x="1219" y="1254"/>
                    <a:pt x="1219" y="1254"/>
                  </a:cubicBezTo>
                  <a:cubicBezTo>
                    <a:pt x="1214" y="1259"/>
                    <a:pt x="1214" y="1259"/>
                    <a:pt x="1214" y="1259"/>
                  </a:cubicBezTo>
                  <a:cubicBezTo>
                    <a:pt x="1215" y="1262"/>
                    <a:pt x="1215" y="1262"/>
                    <a:pt x="1215" y="1262"/>
                  </a:cubicBezTo>
                  <a:cubicBezTo>
                    <a:pt x="1218" y="1266"/>
                    <a:pt x="1218" y="1266"/>
                    <a:pt x="1218" y="1266"/>
                  </a:cubicBezTo>
                  <a:cubicBezTo>
                    <a:pt x="1218" y="1272"/>
                    <a:pt x="1218" y="1272"/>
                    <a:pt x="1218" y="1272"/>
                  </a:cubicBezTo>
                  <a:cubicBezTo>
                    <a:pt x="1202" y="1287"/>
                    <a:pt x="1202" y="1287"/>
                    <a:pt x="1202" y="1287"/>
                  </a:cubicBezTo>
                  <a:cubicBezTo>
                    <a:pt x="1195" y="1292"/>
                    <a:pt x="1195" y="1292"/>
                    <a:pt x="1195" y="1292"/>
                  </a:cubicBezTo>
                  <a:cubicBezTo>
                    <a:pt x="1188" y="1297"/>
                    <a:pt x="1188" y="1297"/>
                    <a:pt x="1188" y="1297"/>
                  </a:cubicBezTo>
                  <a:cubicBezTo>
                    <a:pt x="1171" y="1305"/>
                    <a:pt x="1171" y="1305"/>
                    <a:pt x="1171" y="1305"/>
                  </a:cubicBezTo>
                  <a:cubicBezTo>
                    <a:pt x="1164" y="1312"/>
                    <a:pt x="1164" y="1312"/>
                    <a:pt x="1164" y="1312"/>
                  </a:cubicBezTo>
                  <a:cubicBezTo>
                    <a:pt x="1156" y="1311"/>
                    <a:pt x="1156" y="1311"/>
                    <a:pt x="1156" y="1311"/>
                  </a:cubicBezTo>
                  <a:cubicBezTo>
                    <a:pt x="1149" y="1317"/>
                    <a:pt x="1149" y="1317"/>
                    <a:pt x="1149" y="1317"/>
                  </a:cubicBezTo>
                  <a:cubicBezTo>
                    <a:pt x="1141" y="1313"/>
                    <a:pt x="1141" y="1313"/>
                    <a:pt x="1141" y="1313"/>
                  </a:cubicBezTo>
                  <a:cubicBezTo>
                    <a:pt x="1127" y="1310"/>
                    <a:pt x="1127" y="1310"/>
                    <a:pt x="1127" y="1310"/>
                  </a:cubicBezTo>
                  <a:cubicBezTo>
                    <a:pt x="1133" y="1299"/>
                    <a:pt x="1133" y="1299"/>
                    <a:pt x="1133" y="1299"/>
                  </a:cubicBezTo>
                  <a:cubicBezTo>
                    <a:pt x="1131" y="1296"/>
                    <a:pt x="1131" y="1296"/>
                    <a:pt x="1131" y="1296"/>
                  </a:cubicBezTo>
                  <a:cubicBezTo>
                    <a:pt x="1133" y="1292"/>
                    <a:pt x="1133" y="1292"/>
                    <a:pt x="1133" y="1292"/>
                  </a:cubicBezTo>
                  <a:cubicBezTo>
                    <a:pt x="1137" y="1290"/>
                    <a:pt x="1137" y="1290"/>
                    <a:pt x="1137" y="1290"/>
                  </a:cubicBezTo>
                  <a:cubicBezTo>
                    <a:pt x="1137" y="1284"/>
                    <a:pt x="1137" y="1284"/>
                    <a:pt x="1137" y="1284"/>
                  </a:cubicBezTo>
                  <a:cubicBezTo>
                    <a:pt x="1139" y="1281"/>
                    <a:pt x="1139" y="1281"/>
                    <a:pt x="1139" y="1281"/>
                  </a:cubicBezTo>
                  <a:cubicBezTo>
                    <a:pt x="1142" y="1282"/>
                    <a:pt x="1142" y="1282"/>
                    <a:pt x="1142" y="1282"/>
                  </a:cubicBezTo>
                  <a:cubicBezTo>
                    <a:pt x="1145" y="1280"/>
                    <a:pt x="1145" y="1280"/>
                    <a:pt x="1145" y="1280"/>
                  </a:cubicBezTo>
                  <a:cubicBezTo>
                    <a:pt x="1144" y="1278"/>
                    <a:pt x="1144" y="1278"/>
                    <a:pt x="1144" y="1278"/>
                  </a:cubicBezTo>
                  <a:cubicBezTo>
                    <a:pt x="1143" y="1266"/>
                    <a:pt x="1143" y="1266"/>
                    <a:pt x="1143" y="1266"/>
                  </a:cubicBezTo>
                  <a:cubicBezTo>
                    <a:pt x="1141" y="1258"/>
                    <a:pt x="1141" y="1258"/>
                    <a:pt x="1141" y="1258"/>
                  </a:cubicBezTo>
                  <a:cubicBezTo>
                    <a:pt x="1137" y="1250"/>
                    <a:pt x="1137" y="1250"/>
                    <a:pt x="1137" y="1250"/>
                  </a:cubicBezTo>
                  <a:cubicBezTo>
                    <a:pt x="1136" y="1245"/>
                    <a:pt x="1136" y="1245"/>
                    <a:pt x="1136" y="1245"/>
                  </a:cubicBezTo>
                  <a:cubicBezTo>
                    <a:pt x="1130" y="1243"/>
                    <a:pt x="1130" y="1243"/>
                    <a:pt x="1130" y="1243"/>
                  </a:cubicBezTo>
                  <a:cubicBezTo>
                    <a:pt x="1126" y="1246"/>
                    <a:pt x="1126" y="1246"/>
                    <a:pt x="1126" y="1246"/>
                  </a:cubicBezTo>
                  <a:cubicBezTo>
                    <a:pt x="1121" y="1252"/>
                    <a:pt x="1121" y="1252"/>
                    <a:pt x="1121" y="1252"/>
                  </a:cubicBezTo>
                  <a:cubicBezTo>
                    <a:pt x="1116" y="1258"/>
                    <a:pt x="1116" y="1258"/>
                    <a:pt x="1116" y="1258"/>
                  </a:cubicBezTo>
                  <a:cubicBezTo>
                    <a:pt x="1114" y="1257"/>
                    <a:pt x="1114" y="1257"/>
                    <a:pt x="1114" y="1257"/>
                  </a:cubicBezTo>
                  <a:cubicBezTo>
                    <a:pt x="1111" y="1255"/>
                    <a:pt x="1111" y="1255"/>
                    <a:pt x="1111" y="1255"/>
                  </a:cubicBezTo>
                  <a:cubicBezTo>
                    <a:pt x="1111" y="1251"/>
                    <a:pt x="1111" y="1251"/>
                    <a:pt x="1111" y="1251"/>
                  </a:cubicBezTo>
                  <a:cubicBezTo>
                    <a:pt x="1113" y="1247"/>
                    <a:pt x="1113" y="1247"/>
                    <a:pt x="1113" y="1247"/>
                  </a:cubicBezTo>
                  <a:cubicBezTo>
                    <a:pt x="1117" y="1244"/>
                    <a:pt x="1117" y="1244"/>
                    <a:pt x="1117" y="1244"/>
                  </a:cubicBezTo>
                  <a:cubicBezTo>
                    <a:pt x="1118" y="1241"/>
                    <a:pt x="1118" y="1241"/>
                    <a:pt x="1118" y="1241"/>
                  </a:cubicBezTo>
                  <a:cubicBezTo>
                    <a:pt x="1119" y="1238"/>
                    <a:pt x="1119" y="1238"/>
                    <a:pt x="1119" y="1238"/>
                  </a:cubicBezTo>
                  <a:cubicBezTo>
                    <a:pt x="1122" y="1235"/>
                    <a:pt x="1122" y="1235"/>
                    <a:pt x="1122" y="1235"/>
                  </a:cubicBezTo>
                  <a:cubicBezTo>
                    <a:pt x="1122" y="1227"/>
                    <a:pt x="1122" y="1227"/>
                    <a:pt x="1122" y="1227"/>
                  </a:cubicBezTo>
                  <a:cubicBezTo>
                    <a:pt x="1120" y="1223"/>
                    <a:pt x="1120" y="1223"/>
                    <a:pt x="1120" y="1223"/>
                  </a:cubicBezTo>
                  <a:cubicBezTo>
                    <a:pt x="1116" y="1219"/>
                    <a:pt x="1116" y="1219"/>
                    <a:pt x="1116" y="1219"/>
                  </a:cubicBezTo>
                  <a:cubicBezTo>
                    <a:pt x="1117" y="1217"/>
                    <a:pt x="1117" y="1217"/>
                    <a:pt x="1117" y="1217"/>
                  </a:cubicBezTo>
                  <a:cubicBezTo>
                    <a:pt x="1120" y="1215"/>
                    <a:pt x="1120" y="1215"/>
                    <a:pt x="1120" y="1215"/>
                  </a:cubicBezTo>
                  <a:cubicBezTo>
                    <a:pt x="1118" y="1210"/>
                    <a:pt x="1118" y="1210"/>
                    <a:pt x="1118" y="1210"/>
                  </a:cubicBezTo>
                  <a:cubicBezTo>
                    <a:pt x="1109" y="1206"/>
                    <a:pt x="1109" y="1206"/>
                    <a:pt x="1109" y="1206"/>
                  </a:cubicBezTo>
                  <a:cubicBezTo>
                    <a:pt x="1102" y="1204"/>
                    <a:pt x="1102" y="1204"/>
                    <a:pt x="1102" y="1204"/>
                  </a:cubicBezTo>
                  <a:cubicBezTo>
                    <a:pt x="1100" y="1202"/>
                    <a:pt x="1100" y="1202"/>
                    <a:pt x="1100" y="1202"/>
                  </a:cubicBezTo>
                  <a:cubicBezTo>
                    <a:pt x="1094" y="1201"/>
                    <a:pt x="1094" y="1201"/>
                    <a:pt x="1094" y="1201"/>
                  </a:cubicBezTo>
                  <a:cubicBezTo>
                    <a:pt x="1090" y="1199"/>
                    <a:pt x="1090" y="1199"/>
                    <a:pt x="1090" y="1199"/>
                  </a:cubicBezTo>
                  <a:cubicBezTo>
                    <a:pt x="1084" y="1201"/>
                    <a:pt x="1084" y="1201"/>
                    <a:pt x="1084" y="1201"/>
                  </a:cubicBezTo>
                  <a:cubicBezTo>
                    <a:pt x="1083" y="1207"/>
                    <a:pt x="1083" y="1207"/>
                    <a:pt x="1083" y="1207"/>
                  </a:cubicBezTo>
                  <a:cubicBezTo>
                    <a:pt x="1084" y="1210"/>
                    <a:pt x="1084" y="1210"/>
                    <a:pt x="1084" y="1210"/>
                  </a:cubicBezTo>
                  <a:cubicBezTo>
                    <a:pt x="1078" y="1215"/>
                    <a:pt x="1078" y="1215"/>
                    <a:pt x="1078" y="1215"/>
                  </a:cubicBezTo>
                  <a:cubicBezTo>
                    <a:pt x="1078" y="1221"/>
                    <a:pt x="1078" y="1221"/>
                    <a:pt x="1078" y="1221"/>
                  </a:cubicBezTo>
                  <a:cubicBezTo>
                    <a:pt x="1076" y="1225"/>
                    <a:pt x="1076" y="1225"/>
                    <a:pt x="1076" y="1225"/>
                  </a:cubicBezTo>
                  <a:cubicBezTo>
                    <a:pt x="1074" y="1226"/>
                    <a:pt x="1074" y="1226"/>
                    <a:pt x="1074" y="1226"/>
                  </a:cubicBezTo>
                  <a:cubicBezTo>
                    <a:pt x="1074" y="1220"/>
                    <a:pt x="1074" y="1220"/>
                    <a:pt x="1074" y="1220"/>
                  </a:cubicBezTo>
                  <a:cubicBezTo>
                    <a:pt x="1073" y="1216"/>
                    <a:pt x="1073" y="1216"/>
                    <a:pt x="1073" y="1216"/>
                  </a:cubicBezTo>
                  <a:cubicBezTo>
                    <a:pt x="1070" y="1222"/>
                    <a:pt x="1070" y="1222"/>
                    <a:pt x="1070" y="1222"/>
                  </a:cubicBezTo>
                  <a:cubicBezTo>
                    <a:pt x="1067" y="1223"/>
                    <a:pt x="1067" y="1223"/>
                    <a:pt x="1067" y="1223"/>
                  </a:cubicBezTo>
                  <a:cubicBezTo>
                    <a:pt x="1062" y="1231"/>
                    <a:pt x="1062" y="1231"/>
                    <a:pt x="1062" y="1231"/>
                  </a:cubicBezTo>
                  <a:cubicBezTo>
                    <a:pt x="1061" y="1243"/>
                    <a:pt x="1061" y="1243"/>
                    <a:pt x="1061" y="1243"/>
                  </a:cubicBezTo>
                  <a:cubicBezTo>
                    <a:pt x="1057" y="1250"/>
                    <a:pt x="1057" y="1250"/>
                    <a:pt x="1057" y="1250"/>
                  </a:cubicBezTo>
                  <a:cubicBezTo>
                    <a:pt x="1059" y="1256"/>
                    <a:pt x="1059" y="1256"/>
                    <a:pt x="1059" y="1256"/>
                  </a:cubicBezTo>
                  <a:cubicBezTo>
                    <a:pt x="1059" y="1262"/>
                    <a:pt x="1059" y="1262"/>
                    <a:pt x="1059" y="1262"/>
                  </a:cubicBezTo>
                  <a:cubicBezTo>
                    <a:pt x="1063" y="1271"/>
                    <a:pt x="1063" y="1271"/>
                    <a:pt x="1063" y="1271"/>
                  </a:cubicBezTo>
                  <a:cubicBezTo>
                    <a:pt x="1067" y="1280"/>
                    <a:pt x="1067" y="1280"/>
                    <a:pt x="1067" y="1280"/>
                  </a:cubicBezTo>
                  <a:cubicBezTo>
                    <a:pt x="1067" y="1288"/>
                    <a:pt x="1067" y="1288"/>
                    <a:pt x="1067" y="1288"/>
                  </a:cubicBezTo>
                  <a:cubicBezTo>
                    <a:pt x="1065" y="1300"/>
                    <a:pt x="1065" y="1300"/>
                    <a:pt x="1065" y="1300"/>
                  </a:cubicBezTo>
                  <a:cubicBezTo>
                    <a:pt x="1060" y="1309"/>
                    <a:pt x="1060" y="1309"/>
                    <a:pt x="1060" y="1309"/>
                  </a:cubicBezTo>
                  <a:cubicBezTo>
                    <a:pt x="1057" y="1314"/>
                    <a:pt x="1057" y="1314"/>
                    <a:pt x="1057" y="1314"/>
                  </a:cubicBezTo>
                  <a:cubicBezTo>
                    <a:pt x="1053" y="1316"/>
                    <a:pt x="1053" y="1316"/>
                    <a:pt x="1053" y="1316"/>
                  </a:cubicBezTo>
                  <a:cubicBezTo>
                    <a:pt x="1046" y="1317"/>
                    <a:pt x="1046" y="1317"/>
                    <a:pt x="1046" y="1317"/>
                  </a:cubicBezTo>
                  <a:cubicBezTo>
                    <a:pt x="1042" y="1315"/>
                    <a:pt x="1042" y="1315"/>
                    <a:pt x="1042" y="1315"/>
                  </a:cubicBezTo>
                  <a:cubicBezTo>
                    <a:pt x="1040" y="1314"/>
                    <a:pt x="1040" y="1314"/>
                    <a:pt x="1040" y="1314"/>
                  </a:cubicBezTo>
                  <a:cubicBezTo>
                    <a:pt x="1039" y="1307"/>
                    <a:pt x="1039" y="1307"/>
                    <a:pt x="1039" y="1307"/>
                  </a:cubicBezTo>
                  <a:cubicBezTo>
                    <a:pt x="1037" y="1304"/>
                    <a:pt x="1037" y="1304"/>
                    <a:pt x="1037" y="1304"/>
                  </a:cubicBezTo>
                  <a:cubicBezTo>
                    <a:pt x="1034" y="1301"/>
                    <a:pt x="1034" y="1301"/>
                    <a:pt x="1034" y="1301"/>
                  </a:cubicBezTo>
                  <a:cubicBezTo>
                    <a:pt x="1033" y="1294"/>
                    <a:pt x="1033" y="1294"/>
                    <a:pt x="1033" y="1294"/>
                  </a:cubicBezTo>
                  <a:cubicBezTo>
                    <a:pt x="1033" y="1286"/>
                    <a:pt x="1033" y="1286"/>
                    <a:pt x="1033" y="1286"/>
                  </a:cubicBezTo>
                  <a:cubicBezTo>
                    <a:pt x="1031" y="1278"/>
                    <a:pt x="1031" y="1278"/>
                    <a:pt x="1031" y="1278"/>
                  </a:cubicBezTo>
                  <a:cubicBezTo>
                    <a:pt x="1030" y="1270"/>
                    <a:pt x="1030" y="1270"/>
                    <a:pt x="1030" y="1270"/>
                  </a:cubicBezTo>
                  <a:cubicBezTo>
                    <a:pt x="1033" y="1262"/>
                    <a:pt x="1033" y="1262"/>
                    <a:pt x="1033" y="1262"/>
                  </a:cubicBezTo>
                  <a:cubicBezTo>
                    <a:pt x="1033" y="1250"/>
                    <a:pt x="1033" y="1250"/>
                    <a:pt x="1033" y="1250"/>
                  </a:cubicBezTo>
                  <a:cubicBezTo>
                    <a:pt x="1037" y="1247"/>
                    <a:pt x="1037" y="1247"/>
                    <a:pt x="1037" y="1247"/>
                  </a:cubicBezTo>
                  <a:cubicBezTo>
                    <a:pt x="1036" y="1238"/>
                    <a:pt x="1036" y="1238"/>
                    <a:pt x="1036" y="1238"/>
                  </a:cubicBezTo>
                  <a:cubicBezTo>
                    <a:pt x="1039" y="1234"/>
                    <a:pt x="1039" y="1234"/>
                    <a:pt x="1039" y="1234"/>
                  </a:cubicBezTo>
                  <a:cubicBezTo>
                    <a:pt x="1039" y="1230"/>
                    <a:pt x="1039" y="1230"/>
                    <a:pt x="1039" y="1230"/>
                  </a:cubicBezTo>
                  <a:cubicBezTo>
                    <a:pt x="1044" y="1221"/>
                    <a:pt x="1044" y="1221"/>
                    <a:pt x="1044" y="1221"/>
                  </a:cubicBezTo>
                  <a:cubicBezTo>
                    <a:pt x="1045" y="1217"/>
                    <a:pt x="1045" y="1217"/>
                    <a:pt x="1045" y="1217"/>
                  </a:cubicBezTo>
                  <a:cubicBezTo>
                    <a:pt x="1044" y="1214"/>
                    <a:pt x="1044" y="1214"/>
                    <a:pt x="1044" y="1214"/>
                  </a:cubicBezTo>
                  <a:cubicBezTo>
                    <a:pt x="1040" y="1219"/>
                    <a:pt x="1040" y="1219"/>
                    <a:pt x="1040" y="1219"/>
                  </a:cubicBezTo>
                  <a:cubicBezTo>
                    <a:pt x="1039" y="1223"/>
                    <a:pt x="1039" y="1223"/>
                    <a:pt x="1039" y="1223"/>
                  </a:cubicBezTo>
                  <a:cubicBezTo>
                    <a:pt x="1037" y="1227"/>
                    <a:pt x="1037" y="1227"/>
                    <a:pt x="1037" y="1227"/>
                  </a:cubicBezTo>
                  <a:cubicBezTo>
                    <a:pt x="1032" y="1230"/>
                    <a:pt x="1032" y="1230"/>
                    <a:pt x="1032" y="1230"/>
                  </a:cubicBezTo>
                  <a:cubicBezTo>
                    <a:pt x="1028" y="1237"/>
                    <a:pt x="1028" y="1237"/>
                    <a:pt x="1028" y="1237"/>
                  </a:cubicBezTo>
                  <a:cubicBezTo>
                    <a:pt x="1025" y="1236"/>
                    <a:pt x="1025" y="1236"/>
                    <a:pt x="1025" y="1236"/>
                  </a:cubicBezTo>
                  <a:cubicBezTo>
                    <a:pt x="1026" y="1231"/>
                    <a:pt x="1026" y="1231"/>
                    <a:pt x="1026" y="1231"/>
                  </a:cubicBezTo>
                  <a:cubicBezTo>
                    <a:pt x="1029" y="1225"/>
                    <a:pt x="1029" y="1225"/>
                    <a:pt x="1029" y="1225"/>
                  </a:cubicBezTo>
                  <a:cubicBezTo>
                    <a:pt x="1031" y="1221"/>
                    <a:pt x="1031" y="1221"/>
                    <a:pt x="1031" y="1221"/>
                  </a:cubicBezTo>
                  <a:cubicBezTo>
                    <a:pt x="1034" y="1221"/>
                    <a:pt x="1034" y="1221"/>
                    <a:pt x="1034" y="1221"/>
                  </a:cubicBezTo>
                  <a:cubicBezTo>
                    <a:pt x="1034" y="1217"/>
                    <a:pt x="1034" y="1217"/>
                    <a:pt x="1034" y="1217"/>
                  </a:cubicBezTo>
                  <a:cubicBezTo>
                    <a:pt x="1039" y="1209"/>
                    <a:pt x="1039" y="1209"/>
                    <a:pt x="1039" y="1209"/>
                  </a:cubicBezTo>
                  <a:cubicBezTo>
                    <a:pt x="1043" y="1202"/>
                    <a:pt x="1043" y="1202"/>
                    <a:pt x="1043" y="1202"/>
                  </a:cubicBezTo>
                  <a:cubicBezTo>
                    <a:pt x="1046" y="1203"/>
                    <a:pt x="1046" y="1203"/>
                    <a:pt x="1046" y="1203"/>
                  </a:cubicBezTo>
                  <a:cubicBezTo>
                    <a:pt x="1048" y="1199"/>
                    <a:pt x="1048" y="1199"/>
                    <a:pt x="1048" y="1199"/>
                  </a:cubicBezTo>
                  <a:cubicBezTo>
                    <a:pt x="1052" y="1200"/>
                    <a:pt x="1052" y="1200"/>
                    <a:pt x="1052" y="1200"/>
                  </a:cubicBezTo>
                  <a:cubicBezTo>
                    <a:pt x="1049" y="1204"/>
                    <a:pt x="1049" y="1204"/>
                    <a:pt x="1049" y="1204"/>
                  </a:cubicBezTo>
                  <a:cubicBezTo>
                    <a:pt x="1051" y="1206"/>
                    <a:pt x="1051" y="1206"/>
                    <a:pt x="1051" y="1206"/>
                  </a:cubicBezTo>
                  <a:cubicBezTo>
                    <a:pt x="1058" y="1199"/>
                    <a:pt x="1058" y="1199"/>
                    <a:pt x="1058" y="1199"/>
                  </a:cubicBezTo>
                  <a:cubicBezTo>
                    <a:pt x="1058" y="1197"/>
                    <a:pt x="1058" y="1197"/>
                    <a:pt x="1058" y="1197"/>
                  </a:cubicBezTo>
                  <a:cubicBezTo>
                    <a:pt x="1064" y="1197"/>
                    <a:pt x="1064" y="1197"/>
                    <a:pt x="1064" y="1197"/>
                  </a:cubicBezTo>
                  <a:cubicBezTo>
                    <a:pt x="1075" y="1191"/>
                    <a:pt x="1075" y="1191"/>
                    <a:pt x="1075" y="1191"/>
                  </a:cubicBezTo>
                  <a:cubicBezTo>
                    <a:pt x="1084" y="1193"/>
                    <a:pt x="1084" y="1193"/>
                    <a:pt x="1084" y="1193"/>
                  </a:cubicBezTo>
                  <a:cubicBezTo>
                    <a:pt x="1088" y="1195"/>
                    <a:pt x="1088" y="1195"/>
                    <a:pt x="1088" y="1195"/>
                  </a:cubicBezTo>
                  <a:cubicBezTo>
                    <a:pt x="1091" y="1192"/>
                    <a:pt x="1091" y="1192"/>
                    <a:pt x="1091" y="1192"/>
                  </a:cubicBezTo>
                  <a:cubicBezTo>
                    <a:pt x="1111" y="1192"/>
                    <a:pt x="1111" y="1192"/>
                    <a:pt x="1111" y="1192"/>
                  </a:cubicBezTo>
                  <a:cubicBezTo>
                    <a:pt x="1113" y="1190"/>
                    <a:pt x="1113" y="1190"/>
                    <a:pt x="1113" y="1190"/>
                  </a:cubicBezTo>
                  <a:cubicBezTo>
                    <a:pt x="1111" y="1188"/>
                    <a:pt x="1111" y="1188"/>
                    <a:pt x="1111" y="1188"/>
                  </a:cubicBezTo>
                  <a:cubicBezTo>
                    <a:pt x="1104" y="1188"/>
                    <a:pt x="1104" y="1188"/>
                    <a:pt x="1104" y="1188"/>
                  </a:cubicBezTo>
                  <a:cubicBezTo>
                    <a:pt x="1101" y="1187"/>
                    <a:pt x="1101" y="1187"/>
                    <a:pt x="1101" y="1187"/>
                  </a:cubicBezTo>
                  <a:cubicBezTo>
                    <a:pt x="1097" y="1180"/>
                    <a:pt x="1097" y="1180"/>
                    <a:pt x="1097" y="1180"/>
                  </a:cubicBezTo>
                  <a:cubicBezTo>
                    <a:pt x="1093" y="1179"/>
                    <a:pt x="1093" y="1179"/>
                    <a:pt x="1093" y="1179"/>
                  </a:cubicBezTo>
                  <a:cubicBezTo>
                    <a:pt x="1083" y="1180"/>
                    <a:pt x="1083" y="1180"/>
                    <a:pt x="1083" y="1180"/>
                  </a:cubicBezTo>
                  <a:cubicBezTo>
                    <a:pt x="1080" y="1175"/>
                    <a:pt x="1080" y="1175"/>
                    <a:pt x="1080" y="1175"/>
                  </a:cubicBezTo>
                  <a:cubicBezTo>
                    <a:pt x="1082" y="1172"/>
                    <a:pt x="1082" y="1172"/>
                    <a:pt x="1082" y="1172"/>
                  </a:cubicBezTo>
                  <a:cubicBezTo>
                    <a:pt x="1078" y="1171"/>
                    <a:pt x="1078" y="1171"/>
                    <a:pt x="1078" y="1171"/>
                  </a:cubicBezTo>
                  <a:cubicBezTo>
                    <a:pt x="1073" y="1174"/>
                    <a:pt x="1073" y="1174"/>
                    <a:pt x="1073" y="1174"/>
                  </a:cubicBezTo>
                  <a:cubicBezTo>
                    <a:pt x="1057" y="1176"/>
                    <a:pt x="1057" y="1176"/>
                    <a:pt x="1057" y="1176"/>
                  </a:cubicBezTo>
                  <a:cubicBezTo>
                    <a:pt x="1052" y="1179"/>
                    <a:pt x="1052" y="1179"/>
                    <a:pt x="1052" y="1179"/>
                  </a:cubicBezTo>
                  <a:cubicBezTo>
                    <a:pt x="1048" y="1183"/>
                    <a:pt x="1048" y="1183"/>
                    <a:pt x="1048" y="1183"/>
                  </a:cubicBezTo>
                  <a:cubicBezTo>
                    <a:pt x="1040" y="1180"/>
                    <a:pt x="1040" y="1180"/>
                    <a:pt x="1040" y="1180"/>
                  </a:cubicBezTo>
                  <a:cubicBezTo>
                    <a:pt x="1038" y="1181"/>
                    <a:pt x="1038" y="1181"/>
                    <a:pt x="1038" y="1181"/>
                  </a:cubicBezTo>
                  <a:cubicBezTo>
                    <a:pt x="1033" y="1181"/>
                    <a:pt x="1033" y="1181"/>
                    <a:pt x="1033" y="1181"/>
                  </a:cubicBezTo>
                  <a:cubicBezTo>
                    <a:pt x="1031" y="1176"/>
                    <a:pt x="1031" y="1176"/>
                    <a:pt x="1031" y="1176"/>
                  </a:cubicBezTo>
                  <a:cubicBezTo>
                    <a:pt x="1027" y="1174"/>
                    <a:pt x="1027" y="1174"/>
                    <a:pt x="1027" y="1174"/>
                  </a:cubicBezTo>
                  <a:cubicBezTo>
                    <a:pt x="1021" y="1171"/>
                    <a:pt x="1021" y="1171"/>
                    <a:pt x="1021" y="1171"/>
                  </a:cubicBezTo>
                  <a:cubicBezTo>
                    <a:pt x="1016" y="1172"/>
                    <a:pt x="1016" y="1172"/>
                    <a:pt x="1016" y="1172"/>
                  </a:cubicBezTo>
                  <a:cubicBezTo>
                    <a:pt x="1012" y="1175"/>
                    <a:pt x="1012" y="1175"/>
                    <a:pt x="1012" y="1175"/>
                  </a:cubicBezTo>
                  <a:cubicBezTo>
                    <a:pt x="1013" y="1168"/>
                    <a:pt x="1013" y="1168"/>
                    <a:pt x="1013" y="1168"/>
                  </a:cubicBezTo>
                  <a:cubicBezTo>
                    <a:pt x="1017" y="1166"/>
                    <a:pt x="1017" y="1166"/>
                    <a:pt x="1017" y="1166"/>
                  </a:cubicBezTo>
                  <a:cubicBezTo>
                    <a:pt x="1021" y="1159"/>
                    <a:pt x="1021" y="1159"/>
                    <a:pt x="1021" y="1159"/>
                  </a:cubicBezTo>
                  <a:cubicBezTo>
                    <a:pt x="1025" y="1156"/>
                    <a:pt x="1025" y="1156"/>
                    <a:pt x="1025" y="1156"/>
                  </a:cubicBezTo>
                  <a:cubicBezTo>
                    <a:pt x="1023" y="1155"/>
                    <a:pt x="1023" y="1155"/>
                    <a:pt x="1023" y="1155"/>
                  </a:cubicBezTo>
                  <a:cubicBezTo>
                    <a:pt x="1015" y="1157"/>
                    <a:pt x="1015" y="1157"/>
                    <a:pt x="1015" y="1157"/>
                  </a:cubicBezTo>
                  <a:cubicBezTo>
                    <a:pt x="1009" y="1163"/>
                    <a:pt x="1009" y="1163"/>
                    <a:pt x="1009" y="1163"/>
                  </a:cubicBezTo>
                  <a:cubicBezTo>
                    <a:pt x="1007" y="1163"/>
                    <a:pt x="1007" y="1163"/>
                    <a:pt x="1007" y="1163"/>
                  </a:cubicBezTo>
                  <a:cubicBezTo>
                    <a:pt x="1000" y="1171"/>
                    <a:pt x="1000" y="1171"/>
                    <a:pt x="1000" y="1171"/>
                  </a:cubicBezTo>
                  <a:cubicBezTo>
                    <a:pt x="990" y="1175"/>
                    <a:pt x="990" y="1175"/>
                    <a:pt x="990" y="1175"/>
                  </a:cubicBezTo>
                  <a:cubicBezTo>
                    <a:pt x="987" y="1176"/>
                    <a:pt x="987" y="1176"/>
                    <a:pt x="987" y="1176"/>
                  </a:cubicBezTo>
                  <a:cubicBezTo>
                    <a:pt x="983" y="1179"/>
                    <a:pt x="983" y="1179"/>
                    <a:pt x="983" y="1179"/>
                  </a:cubicBezTo>
                  <a:cubicBezTo>
                    <a:pt x="975" y="1183"/>
                    <a:pt x="975" y="1183"/>
                    <a:pt x="975" y="1183"/>
                  </a:cubicBezTo>
                  <a:cubicBezTo>
                    <a:pt x="972" y="1183"/>
                    <a:pt x="972" y="1183"/>
                    <a:pt x="972" y="1183"/>
                  </a:cubicBezTo>
                  <a:cubicBezTo>
                    <a:pt x="969" y="1181"/>
                    <a:pt x="969" y="1181"/>
                    <a:pt x="969" y="1181"/>
                  </a:cubicBezTo>
                  <a:cubicBezTo>
                    <a:pt x="964" y="1182"/>
                    <a:pt x="964" y="1182"/>
                    <a:pt x="964" y="1182"/>
                  </a:cubicBezTo>
                  <a:cubicBezTo>
                    <a:pt x="966" y="1175"/>
                    <a:pt x="966" y="1175"/>
                    <a:pt x="966" y="1175"/>
                  </a:cubicBezTo>
                  <a:cubicBezTo>
                    <a:pt x="963" y="1173"/>
                    <a:pt x="963" y="1173"/>
                    <a:pt x="963" y="1173"/>
                  </a:cubicBezTo>
                  <a:cubicBezTo>
                    <a:pt x="953" y="1179"/>
                    <a:pt x="953" y="1179"/>
                    <a:pt x="953" y="1179"/>
                  </a:cubicBezTo>
                  <a:cubicBezTo>
                    <a:pt x="948" y="1182"/>
                    <a:pt x="948" y="1182"/>
                    <a:pt x="948" y="1182"/>
                  </a:cubicBezTo>
                  <a:cubicBezTo>
                    <a:pt x="940" y="1181"/>
                    <a:pt x="940" y="1181"/>
                    <a:pt x="940" y="1181"/>
                  </a:cubicBezTo>
                  <a:cubicBezTo>
                    <a:pt x="951" y="1171"/>
                    <a:pt x="951" y="1171"/>
                    <a:pt x="951" y="1171"/>
                  </a:cubicBezTo>
                  <a:cubicBezTo>
                    <a:pt x="964" y="1157"/>
                    <a:pt x="964" y="1157"/>
                    <a:pt x="964" y="1157"/>
                  </a:cubicBezTo>
                  <a:cubicBezTo>
                    <a:pt x="970" y="1155"/>
                    <a:pt x="970" y="1155"/>
                    <a:pt x="970" y="1155"/>
                  </a:cubicBezTo>
                  <a:cubicBezTo>
                    <a:pt x="976" y="1150"/>
                    <a:pt x="976" y="1150"/>
                    <a:pt x="976" y="1150"/>
                  </a:cubicBezTo>
                  <a:cubicBezTo>
                    <a:pt x="980" y="1150"/>
                    <a:pt x="980" y="1150"/>
                    <a:pt x="980" y="1150"/>
                  </a:cubicBezTo>
                  <a:cubicBezTo>
                    <a:pt x="989" y="1143"/>
                    <a:pt x="989" y="1143"/>
                    <a:pt x="989" y="1143"/>
                  </a:cubicBezTo>
                  <a:cubicBezTo>
                    <a:pt x="983" y="1143"/>
                    <a:pt x="983" y="1143"/>
                    <a:pt x="983" y="1143"/>
                  </a:cubicBezTo>
                  <a:cubicBezTo>
                    <a:pt x="979" y="1140"/>
                    <a:pt x="979" y="1140"/>
                    <a:pt x="979" y="1140"/>
                  </a:cubicBezTo>
                  <a:cubicBezTo>
                    <a:pt x="966" y="1141"/>
                    <a:pt x="966" y="1141"/>
                    <a:pt x="966" y="1141"/>
                  </a:cubicBezTo>
                  <a:cubicBezTo>
                    <a:pt x="962" y="1138"/>
                    <a:pt x="962" y="1138"/>
                    <a:pt x="962" y="1138"/>
                  </a:cubicBezTo>
                  <a:cubicBezTo>
                    <a:pt x="953" y="1143"/>
                    <a:pt x="953" y="1143"/>
                    <a:pt x="953" y="1143"/>
                  </a:cubicBezTo>
                  <a:cubicBezTo>
                    <a:pt x="949" y="1143"/>
                    <a:pt x="949" y="1143"/>
                    <a:pt x="949" y="1143"/>
                  </a:cubicBezTo>
                  <a:cubicBezTo>
                    <a:pt x="944" y="1139"/>
                    <a:pt x="944" y="1139"/>
                    <a:pt x="944" y="1139"/>
                  </a:cubicBezTo>
                  <a:cubicBezTo>
                    <a:pt x="942" y="1138"/>
                    <a:pt x="942" y="1138"/>
                    <a:pt x="942" y="1138"/>
                  </a:cubicBezTo>
                  <a:cubicBezTo>
                    <a:pt x="938" y="1135"/>
                    <a:pt x="938" y="1135"/>
                    <a:pt x="938" y="1135"/>
                  </a:cubicBezTo>
                  <a:cubicBezTo>
                    <a:pt x="935" y="1138"/>
                    <a:pt x="935" y="1138"/>
                    <a:pt x="935" y="1138"/>
                  </a:cubicBezTo>
                  <a:cubicBezTo>
                    <a:pt x="932" y="1138"/>
                    <a:pt x="932" y="1138"/>
                    <a:pt x="932" y="1138"/>
                  </a:cubicBezTo>
                  <a:cubicBezTo>
                    <a:pt x="932" y="1135"/>
                    <a:pt x="932" y="1135"/>
                    <a:pt x="932" y="1135"/>
                  </a:cubicBezTo>
                  <a:cubicBezTo>
                    <a:pt x="929" y="1133"/>
                    <a:pt x="929" y="1133"/>
                    <a:pt x="929" y="1133"/>
                  </a:cubicBezTo>
                  <a:cubicBezTo>
                    <a:pt x="925" y="1130"/>
                    <a:pt x="925" y="1130"/>
                    <a:pt x="925" y="1130"/>
                  </a:cubicBezTo>
                  <a:cubicBezTo>
                    <a:pt x="914" y="1130"/>
                    <a:pt x="914" y="1130"/>
                    <a:pt x="914" y="1130"/>
                  </a:cubicBezTo>
                  <a:cubicBezTo>
                    <a:pt x="912" y="1131"/>
                    <a:pt x="912" y="1131"/>
                    <a:pt x="912" y="1131"/>
                  </a:cubicBezTo>
                  <a:cubicBezTo>
                    <a:pt x="907" y="1132"/>
                    <a:pt x="907" y="1132"/>
                    <a:pt x="907" y="1132"/>
                  </a:cubicBezTo>
                  <a:cubicBezTo>
                    <a:pt x="905" y="1130"/>
                    <a:pt x="905" y="1130"/>
                    <a:pt x="905" y="1130"/>
                  </a:cubicBezTo>
                  <a:cubicBezTo>
                    <a:pt x="898" y="1128"/>
                    <a:pt x="898" y="1128"/>
                    <a:pt x="898" y="1128"/>
                  </a:cubicBezTo>
                  <a:cubicBezTo>
                    <a:pt x="892" y="1127"/>
                    <a:pt x="892" y="1127"/>
                    <a:pt x="892" y="1127"/>
                  </a:cubicBezTo>
                  <a:cubicBezTo>
                    <a:pt x="889" y="1125"/>
                    <a:pt x="889" y="1125"/>
                    <a:pt x="889" y="1125"/>
                  </a:cubicBezTo>
                  <a:cubicBezTo>
                    <a:pt x="890" y="1122"/>
                    <a:pt x="890" y="1122"/>
                    <a:pt x="890" y="1122"/>
                  </a:cubicBezTo>
                  <a:cubicBezTo>
                    <a:pt x="888" y="1117"/>
                    <a:pt x="888" y="1117"/>
                    <a:pt x="888" y="1117"/>
                  </a:cubicBezTo>
                  <a:cubicBezTo>
                    <a:pt x="888" y="1112"/>
                    <a:pt x="888" y="1112"/>
                    <a:pt x="888" y="1112"/>
                  </a:cubicBezTo>
                  <a:cubicBezTo>
                    <a:pt x="882" y="1110"/>
                    <a:pt x="882" y="1110"/>
                    <a:pt x="882" y="1110"/>
                  </a:cubicBezTo>
                  <a:cubicBezTo>
                    <a:pt x="880" y="1119"/>
                    <a:pt x="880" y="1119"/>
                    <a:pt x="880" y="1119"/>
                  </a:cubicBezTo>
                  <a:cubicBezTo>
                    <a:pt x="842" y="1122"/>
                    <a:pt x="842" y="1122"/>
                    <a:pt x="842" y="1122"/>
                  </a:cubicBezTo>
                  <a:cubicBezTo>
                    <a:pt x="712" y="1122"/>
                    <a:pt x="712" y="1122"/>
                    <a:pt x="712" y="1122"/>
                  </a:cubicBezTo>
                  <a:cubicBezTo>
                    <a:pt x="597" y="1122"/>
                    <a:pt x="597" y="1122"/>
                    <a:pt x="597" y="1122"/>
                  </a:cubicBezTo>
                  <a:cubicBezTo>
                    <a:pt x="561" y="1120"/>
                    <a:pt x="561" y="1120"/>
                    <a:pt x="561" y="1120"/>
                  </a:cubicBezTo>
                  <a:cubicBezTo>
                    <a:pt x="489" y="1120"/>
                    <a:pt x="489" y="1120"/>
                    <a:pt x="489" y="1120"/>
                  </a:cubicBezTo>
                  <a:cubicBezTo>
                    <a:pt x="471" y="1120"/>
                    <a:pt x="471" y="1120"/>
                    <a:pt x="471" y="1120"/>
                  </a:cubicBezTo>
                  <a:cubicBezTo>
                    <a:pt x="417" y="1118"/>
                    <a:pt x="417" y="1118"/>
                    <a:pt x="417" y="1118"/>
                  </a:cubicBezTo>
                  <a:cubicBezTo>
                    <a:pt x="368" y="1117"/>
                    <a:pt x="368" y="1117"/>
                    <a:pt x="368" y="1117"/>
                  </a:cubicBezTo>
                  <a:cubicBezTo>
                    <a:pt x="363" y="1113"/>
                    <a:pt x="363" y="1113"/>
                    <a:pt x="363" y="1113"/>
                  </a:cubicBezTo>
                  <a:cubicBezTo>
                    <a:pt x="346" y="1103"/>
                    <a:pt x="346" y="1103"/>
                    <a:pt x="346" y="1103"/>
                  </a:cubicBezTo>
                  <a:cubicBezTo>
                    <a:pt x="341" y="1085"/>
                    <a:pt x="341" y="1085"/>
                    <a:pt x="341" y="1085"/>
                  </a:cubicBezTo>
                  <a:cubicBezTo>
                    <a:pt x="326" y="1083"/>
                    <a:pt x="326" y="1083"/>
                    <a:pt x="326" y="1083"/>
                  </a:cubicBezTo>
                  <a:cubicBezTo>
                    <a:pt x="316" y="1068"/>
                    <a:pt x="316" y="1068"/>
                    <a:pt x="316" y="1068"/>
                  </a:cubicBezTo>
                  <a:cubicBezTo>
                    <a:pt x="299" y="1058"/>
                    <a:pt x="299" y="1058"/>
                    <a:pt x="299" y="1058"/>
                  </a:cubicBezTo>
                  <a:cubicBezTo>
                    <a:pt x="268" y="1038"/>
                    <a:pt x="268" y="1038"/>
                    <a:pt x="268" y="1038"/>
                  </a:cubicBezTo>
                  <a:cubicBezTo>
                    <a:pt x="263" y="1015"/>
                    <a:pt x="263" y="1015"/>
                    <a:pt x="263" y="1015"/>
                  </a:cubicBezTo>
                  <a:cubicBezTo>
                    <a:pt x="243" y="1000"/>
                    <a:pt x="243" y="1000"/>
                    <a:pt x="243" y="1000"/>
                  </a:cubicBezTo>
                  <a:cubicBezTo>
                    <a:pt x="238" y="978"/>
                    <a:pt x="238" y="978"/>
                    <a:pt x="238" y="978"/>
                  </a:cubicBezTo>
                  <a:cubicBezTo>
                    <a:pt x="218" y="965"/>
                    <a:pt x="218" y="965"/>
                    <a:pt x="218" y="965"/>
                  </a:cubicBezTo>
                  <a:cubicBezTo>
                    <a:pt x="218" y="950"/>
                    <a:pt x="218" y="950"/>
                    <a:pt x="218" y="950"/>
                  </a:cubicBezTo>
                  <a:cubicBezTo>
                    <a:pt x="213" y="942"/>
                    <a:pt x="213" y="942"/>
                    <a:pt x="213" y="942"/>
                  </a:cubicBezTo>
                  <a:cubicBezTo>
                    <a:pt x="223" y="922"/>
                    <a:pt x="223" y="922"/>
                    <a:pt x="223" y="922"/>
                  </a:cubicBezTo>
                  <a:cubicBezTo>
                    <a:pt x="226" y="902"/>
                    <a:pt x="226" y="902"/>
                    <a:pt x="226" y="902"/>
                  </a:cubicBezTo>
                  <a:cubicBezTo>
                    <a:pt x="223" y="900"/>
                    <a:pt x="223" y="900"/>
                    <a:pt x="223" y="900"/>
                  </a:cubicBezTo>
                  <a:cubicBezTo>
                    <a:pt x="221" y="910"/>
                    <a:pt x="221" y="910"/>
                    <a:pt x="221" y="910"/>
                  </a:cubicBezTo>
                  <a:cubicBezTo>
                    <a:pt x="211" y="930"/>
                    <a:pt x="211" y="930"/>
                    <a:pt x="211" y="930"/>
                  </a:cubicBezTo>
                  <a:cubicBezTo>
                    <a:pt x="208" y="925"/>
                    <a:pt x="208" y="925"/>
                    <a:pt x="208" y="925"/>
                  </a:cubicBezTo>
                  <a:cubicBezTo>
                    <a:pt x="216" y="910"/>
                    <a:pt x="216" y="910"/>
                    <a:pt x="216" y="910"/>
                  </a:cubicBezTo>
                  <a:cubicBezTo>
                    <a:pt x="208" y="890"/>
                    <a:pt x="208" y="890"/>
                    <a:pt x="208" y="890"/>
                  </a:cubicBezTo>
                  <a:cubicBezTo>
                    <a:pt x="201" y="875"/>
                    <a:pt x="201" y="875"/>
                    <a:pt x="201" y="875"/>
                  </a:cubicBezTo>
                  <a:cubicBezTo>
                    <a:pt x="181" y="867"/>
                    <a:pt x="181" y="867"/>
                    <a:pt x="181" y="867"/>
                  </a:cubicBezTo>
                  <a:cubicBezTo>
                    <a:pt x="168" y="840"/>
                    <a:pt x="168" y="840"/>
                    <a:pt x="168" y="840"/>
                  </a:cubicBezTo>
                  <a:cubicBezTo>
                    <a:pt x="128" y="772"/>
                    <a:pt x="128" y="772"/>
                    <a:pt x="128" y="772"/>
                  </a:cubicBezTo>
                  <a:cubicBezTo>
                    <a:pt x="118" y="754"/>
                    <a:pt x="118" y="754"/>
                    <a:pt x="118" y="754"/>
                  </a:cubicBezTo>
                  <a:cubicBezTo>
                    <a:pt x="95" y="752"/>
                    <a:pt x="95" y="752"/>
                    <a:pt x="95" y="752"/>
                  </a:cubicBezTo>
                  <a:cubicBezTo>
                    <a:pt x="75" y="775"/>
                    <a:pt x="75" y="775"/>
                    <a:pt x="75" y="775"/>
                  </a:cubicBezTo>
                  <a:cubicBezTo>
                    <a:pt x="50" y="742"/>
                    <a:pt x="50" y="742"/>
                    <a:pt x="50" y="742"/>
                  </a:cubicBezTo>
                  <a:cubicBezTo>
                    <a:pt x="43" y="739"/>
                    <a:pt x="43" y="739"/>
                    <a:pt x="43" y="739"/>
                  </a:cubicBezTo>
                  <a:cubicBezTo>
                    <a:pt x="38" y="729"/>
                    <a:pt x="38" y="729"/>
                    <a:pt x="38" y="729"/>
                  </a:cubicBezTo>
                  <a:cubicBezTo>
                    <a:pt x="13" y="732"/>
                    <a:pt x="13" y="732"/>
                    <a:pt x="13" y="732"/>
                  </a:cubicBezTo>
                  <a:cubicBezTo>
                    <a:pt x="5" y="722"/>
                    <a:pt x="5" y="722"/>
                    <a:pt x="5" y="722"/>
                  </a:cubicBezTo>
                  <a:cubicBezTo>
                    <a:pt x="0" y="358"/>
                    <a:pt x="0" y="358"/>
                    <a:pt x="0" y="358"/>
                  </a:cubicBezTo>
                  <a:cubicBezTo>
                    <a:pt x="50" y="366"/>
                    <a:pt x="50" y="366"/>
                    <a:pt x="50" y="366"/>
                  </a:cubicBezTo>
                  <a:cubicBezTo>
                    <a:pt x="68" y="376"/>
                    <a:pt x="68" y="376"/>
                    <a:pt x="68" y="376"/>
                  </a:cubicBezTo>
                  <a:cubicBezTo>
                    <a:pt x="103" y="383"/>
                    <a:pt x="103" y="383"/>
                    <a:pt x="103" y="383"/>
                  </a:cubicBezTo>
                  <a:cubicBezTo>
                    <a:pt x="110" y="368"/>
                    <a:pt x="110" y="368"/>
                    <a:pt x="110" y="368"/>
                  </a:cubicBezTo>
                  <a:cubicBezTo>
                    <a:pt x="133" y="351"/>
                    <a:pt x="133" y="351"/>
                    <a:pt x="133" y="351"/>
                  </a:cubicBezTo>
                  <a:cubicBezTo>
                    <a:pt x="136" y="378"/>
                    <a:pt x="136" y="378"/>
                    <a:pt x="136" y="378"/>
                  </a:cubicBezTo>
                  <a:cubicBezTo>
                    <a:pt x="181" y="346"/>
                    <a:pt x="181" y="346"/>
                    <a:pt x="181" y="346"/>
                  </a:cubicBezTo>
                  <a:cubicBezTo>
                    <a:pt x="201" y="338"/>
                    <a:pt x="201" y="338"/>
                    <a:pt x="201" y="338"/>
                  </a:cubicBezTo>
                  <a:cubicBezTo>
                    <a:pt x="213" y="341"/>
                    <a:pt x="213" y="341"/>
                    <a:pt x="213" y="341"/>
                  </a:cubicBezTo>
                  <a:cubicBezTo>
                    <a:pt x="226" y="331"/>
                    <a:pt x="226" y="331"/>
                    <a:pt x="226" y="331"/>
                  </a:cubicBezTo>
                  <a:cubicBezTo>
                    <a:pt x="231" y="353"/>
                    <a:pt x="231" y="353"/>
                    <a:pt x="231" y="353"/>
                  </a:cubicBezTo>
                  <a:cubicBezTo>
                    <a:pt x="238" y="368"/>
                    <a:pt x="238" y="368"/>
                    <a:pt x="238" y="368"/>
                  </a:cubicBezTo>
                  <a:cubicBezTo>
                    <a:pt x="251" y="338"/>
                    <a:pt x="251" y="338"/>
                    <a:pt x="251" y="338"/>
                  </a:cubicBezTo>
                  <a:cubicBezTo>
                    <a:pt x="258" y="343"/>
                    <a:pt x="258" y="343"/>
                    <a:pt x="258" y="343"/>
                  </a:cubicBezTo>
                  <a:cubicBezTo>
                    <a:pt x="256" y="303"/>
                    <a:pt x="256" y="303"/>
                    <a:pt x="256" y="303"/>
                  </a:cubicBezTo>
                  <a:cubicBezTo>
                    <a:pt x="258" y="301"/>
                    <a:pt x="258" y="301"/>
                    <a:pt x="258" y="301"/>
                  </a:cubicBezTo>
                  <a:cubicBezTo>
                    <a:pt x="271" y="308"/>
                    <a:pt x="271" y="308"/>
                    <a:pt x="271" y="308"/>
                  </a:cubicBezTo>
                  <a:cubicBezTo>
                    <a:pt x="309" y="368"/>
                    <a:pt x="309" y="368"/>
                    <a:pt x="309" y="368"/>
                  </a:cubicBezTo>
                  <a:cubicBezTo>
                    <a:pt x="316" y="366"/>
                    <a:pt x="316" y="366"/>
                    <a:pt x="316" y="366"/>
                  </a:cubicBezTo>
                  <a:cubicBezTo>
                    <a:pt x="316" y="338"/>
                    <a:pt x="316" y="338"/>
                    <a:pt x="316" y="338"/>
                  </a:cubicBezTo>
                  <a:cubicBezTo>
                    <a:pt x="324" y="328"/>
                    <a:pt x="324" y="328"/>
                    <a:pt x="324" y="328"/>
                  </a:cubicBezTo>
                  <a:cubicBezTo>
                    <a:pt x="329" y="338"/>
                    <a:pt x="329" y="338"/>
                    <a:pt x="329" y="338"/>
                  </a:cubicBezTo>
                  <a:cubicBezTo>
                    <a:pt x="329" y="368"/>
                    <a:pt x="329" y="368"/>
                    <a:pt x="329" y="368"/>
                  </a:cubicBezTo>
                  <a:cubicBezTo>
                    <a:pt x="341" y="366"/>
                    <a:pt x="341" y="366"/>
                    <a:pt x="341" y="366"/>
                  </a:cubicBezTo>
                  <a:cubicBezTo>
                    <a:pt x="349" y="348"/>
                    <a:pt x="349" y="348"/>
                    <a:pt x="349" y="348"/>
                  </a:cubicBezTo>
                  <a:cubicBezTo>
                    <a:pt x="369" y="351"/>
                    <a:pt x="369" y="351"/>
                    <a:pt x="369" y="351"/>
                  </a:cubicBezTo>
                  <a:cubicBezTo>
                    <a:pt x="411" y="371"/>
                    <a:pt x="411" y="371"/>
                    <a:pt x="411" y="371"/>
                  </a:cubicBezTo>
                  <a:cubicBezTo>
                    <a:pt x="439" y="376"/>
                    <a:pt x="439" y="376"/>
                    <a:pt x="439" y="376"/>
                  </a:cubicBezTo>
                  <a:cubicBezTo>
                    <a:pt x="479" y="401"/>
                    <a:pt x="479" y="401"/>
                    <a:pt x="479" y="401"/>
                  </a:cubicBezTo>
                  <a:cubicBezTo>
                    <a:pt x="482" y="398"/>
                    <a:pt x="482" y="398"/>
                    <a:pt x="482" y="398"/>
                  </a:cubicBezTo>
                  <a:cubicBezTo>
                    <a:pt x="474" y="388"/>
                    <a:pt x="474" y="388"/>
                    <a:pt x="474" y="388"/>
                  </a:cubicBezTo>
                  <a:cubicBezTo>
                    <a:pt x="472" y="383"/>
                    <a:pt x="472" y="383"/>
                    <a:pt x="472" y="383"/>
                  </a:cubicBezTo>
                  <a:cubicBezTo>
                    <a:pt x="477" y="383"/>
                    <a:pt x="477" y="383"/>
                    <a:pt x="477" y="383"/>
                  </a:cubicBezTo>
                  <a:cubicBezTo>
                    <a:pt x="512" y="401"/>
                    <a:pt x="512" y="401"/>
                    <a:pt x="512" y="401"/>
                  </a:cubicBezTo>
                  <a:cubicBezTo>
                    <a:pt x="524" y="429"/>
                    <a:pt x="524" y="429"/>
                    <a:pt x="524" y="429"/>
                  </a:cubicBezTo>
                  <a:cubicBezTo>
                    <a:pt x="519" y="441"/>
                    <a:pt x="519" y="441"/>
                    <a:pt x="519" y="441"/>
                  </a:cubicBezTo>
                  <a:cubicBezTo>
                    <a:pt x="502" y="444"/>
                    <a:pt x="502" y="444"/>
                    <a:pt x="502" y="444"/>
                  </a:cubicBezTo>
                  <a:cubicBezTo>
                    <a:pt x="497" y="469"/>
                    <a:pt x="497" y="469"/>
                    <a:pt x="497" y="469"/>
                  </a:cubicBezTo>
                  <a:cubicBezTo>
                    <a:pt x="522" y="474"/>
                    <a:pt x="522" y="474"/>
                    <a:pt x="522" y="474"/>
                  </a:cubicBezTo>
                  <a:cubicBezTo>
                    <a:pt x="579" y="466"/>
                    <a:pt x="579" y="466"/>
                    <a:pt x="579" y="466"/>
                  </a:cubicBezTo>
                  <a:cubicBezTo>
                    <a:pt x="602" y="459"/>
                    <a:pt x="602" y="459"/>
                    <a:pt x="602" y="459"/>
                  </a:cubicBezTo>
                  <a:cubicBezTo>
                    <a:pt x="622" y="466"/>
                    <a:pt x="622" y="466"/>
                    <a:pt x="622" y="466"/>
                  </a:cubicBezTo>
                  <a:cubicBezTo>
                    <a:pt x="624" y="474"/>
                    <a:pt x="624" y="474"/>
                    <a:pt x="624" y="474"/>
                  </a:cubicBezTo>
                  <a:cubicBezTo>
                    <a:pt x="634" y="484"/>
                    <a:pt x="634" y="484"/>
                    <a:pt x="634" y="484"/>
                  </a:cubicBezTo>
                  <a:cubicBezTo>
                    <a:pt x="632" y="496"/>
                    <a:pt x="632" y="496"/>
                    <a:pt x="632" y="496"/>
                  </a:cubicBezTo>
                  <a:cubicBezTo>
                    <a:pt x="624" y="499"/>
                    <a:pt x="624" y="499"/>
                    <a:pt x="624" y="499"/>
                  </a:cubicBezTo>
                  <a:cubicBezTo>
                    <a:pt x="632" y="511"/>
                    <a:pt x="632" y="511"/>
                    <a:pt x="632" y="511"/>
                  </a:cubicBezTo>
                  <a:cubicBezTo>
                    <a:pt x="639" y="496"/>
                    <a:pt x="639" y="496"/>
                    <a:pt x="639" y="496"/>
                  </a:cubicBezTo>
                  <a:cubicBezTo>
                    <a:pt x="642" y="466"/>
                    <a:pt x="642" y="466"/>
                    <a:pt x="642" y="466"/>
                  </a:cubicBezTo>
                  <a:cubicBezTo>
                    <a:pt x="675" y="441"/>
                    <a:pt x="675" y="441"/>
                    <a:pt x="675" y="441"/>
                  </a:cubicBezTo>
                  <a:cubicBezTo>
                    <a:pt x="682" y="431"/>
                    <a:pt x="682" y="431"/>
                    <a:pt x="682" y="431"/>
                  </a:cubicBezTo>
                  <a:cubicBezTo>
                    <a:pt x="685" y="416"/>
                    <a:pt x="685" y="416"/>
                    <a:pt x="685" y="416"/>
                  </a:cubicBezTo>
                  <a:cubicBezTo>
                    <a:pt x="680" y="416"/>
                    <a:pt x="680" y="416"/>
                    <a:pt x="680" y="416"/>
                  </a:cubicBezTo>
                  <a:cubicBezTo>
                    <a:pt x="670" y="429"/>
                    <a:pt x="670" y="429"/>
                    <a:pt x="670" y="429"/>
                  </a:cubicBezTo>
                  <a:cubicBezTo>
                    <a:pt x="650" y="429"/>
                    <a:pt x="650" y="429"/>
                    <a:pt x="650" y="429"/>
                  </a:cubicBezTo>
                  <a:cubicBezTo>
                    <a:pt x="645" y="439"/>
                    <a:pt x="645" y="439"/>
                    <a:pt x="645" y="439"/>
                  </a:cubicBezTo>
                  <a:cubicBezTo>
                    <a:pt x="632" y="436"/>
                    <a:pt x="632" y="436"/>
                    <a:pt x="632" y="436"/>
                  </a:cubicBezTo>
                  <a:cubicBezTo>
                    <a:pt x="632" y="429"/>
                    <a:pt x="632" y="429"/>
                    <a:pt x="632" y="429"/>
                  </a:cubicBezTo>
                  <a:cubicBezTo>
                    <a:pt x="627" y="424"/>
                    <a:pt x="627" y="424"/>
                    <a:pt x="627" y="424"/>
                  </a:cubicBezTo>
                  <a:cubicBezTo>
                    <a:pt x="634" y="413"/>
                    <a:pt x="634" y="413"/>
                    <a:pt x="634" y="413"/>
                  </a:cubicBezTo>
                  <a:cubicBezTo>
                    <a:pt x="657" y="408"/>
                    <a:pt x="657" y="408"/>
                    <a:pt x="657" y="408"/>
                  </a:cubicBezTo>
                  <a:cubicBezTo>
                    <a:pt x="680" y="396"/>
                    <a:pt x="680" y="396"/>
                    <a:pt x="680" y="396"/>
                  </a:cubicBezTo>
                  <a:cubicBezTo>
                    <a:pt x="682" y="401"/>
                    <a:pt x="682" y="401"/>
                    <a:pt x="682" y="401"/>
                  </a:cubicBezTo>
                  <a:cubicBezTo>
                    <a:pt x="687" y="401"/>
                    <a:pt x="687" y="401"/>
                    <a:pt x="687" y="401"/>
                  </a:cubicBezTo>
                  <a:cubicBezTo>
                    <a:pt x="692" y="416"/>
                    <a:pt x="692" y="416"/>
                    <a:pt x="692" y="416"/>
                  </a:cubicBezTo>
                  <a:cubicBezTo>
                    <a:pt x="690" y="426"/>
                    <a:pt x="690" y="426"/>
                    <a:pt x="690" y="426"/>
                  </a:cubicBezTo>
                  <a:cubicBezTo>
                    <a:pt x="720" y="444"/>
                    <a:pt x="720" y="444"/>
                    <a:pt x="720" y="444"/>
                  </a:cubicBezTo>
                  <a:cubicBezTo>
                    <a:pt x="762" y="454"/>
                    <a:pt x="762" y="454"/>
                    <a:pt x="762" y="454"/>
                  </a:cubicBezTo>
                  <a:cubicBezTo>
                    <a:pt x="777" y="446"/>
                    <a:pt x="777" y="446"/>
                    <a:pt x="777" y="446"/>
                  </a:cubicBezTo>
                  <a:cubicBezTo>
                    <a:pt x="802" y="451"/>
                    <a:pt x="802" y="451"/>
                    <a:pt x="802" y="451"/>
                  </a:cubicBezTo>
                  <a:cubicBezTo>
                    <a:pt x="823" y="444"/>
                    <a:pt x="823" y="444"/>
                    <a:pt x="823" y="444"/>
                  </a:cubicBezTo>
                  <a:cubicBezTo>
                    <a:pt x="843" y="461"/>
                    <a:pt x="843" y="461"/>
                    <a:pt x="843" y="461"/>
                  </a:cubicBezTo>
                  <a:cubicBezTo>
                    <a:pt x="853" y="456"/>
                    <a:pt x="853" y="456"/>
                    <a:pt x="853" y="456"/>
                  </a:cubicBezTo>
                  <a:cubicBezTo>
                    <a:pt x="843" y="436"/>
                    <a:pt x="843" y="436"/>
                    <a:pt x="843" y="436"/>
                  </a:cubicBezTo>
                  <a:cubicBezTo>
                    <a:pt x="833" y="441"/>
                    <a:pt x="833" y="441"/>
                    <a:pt x="833" y="441"/>
                  </a:cubicBezTo>
                  <a:cubicBezTo>
                    <a:pt x="825" y="424"/>
                    <a:pt x="825" y="424"/>
                    <a:pt x="825" y="424"/>
                  </a:cubicBezTo>
                  <a:cubicBezTo>
                    <a:pt x="835" y="416"/>
                    <a:pt x="835" y="416"/>
                    <a:pt x="835" y="416"/>
                  </a:cubicBezTo>
                  <a:cubicBezTo>
                    <a:pt x="855" y="424"/>
                    <a:pt x="855" y="424"/>
                    <a:pt x="855" y="424"/>
                  </a:cubicBezTo>
                  <a:cubicBezTo>
                    <a:pt x="860" y="444"/>
                    <a:pt x="860" y="444"/>
                    <a:pt x="860" y="444"/>
                  </a:cubicBezTo>
                  <a:cubicBezTo>
                    <a:pt x="870" y="426"/>
                    <a:pt x="870" y="426"/>
                    <a:pt x="870" y="426"/>
                  </a:cubicBezTo>
                  <a:cubicBezTo>
                    <a:pt x="875" y="426"/>
                    <a:pt x="875" y="426"/>
                    <a:pt x="875" y="426"/>
                  </a:cubicBezTo>
                  <a:cubicBezTo>
                    <a:pt x="868" y="456"/>
                    <a:pt x="868" y="456"/>
                    <a:pt x="868" y="456"/>
                  </a:cubicBezTo>
                  <a:cubicBezTo>
                    <a:pt x="863" y="466"/>
                    <a:pt x="863" y="466"/>
                    <a:pt x="863" y="466"/>
                  </a:cubicBezTo>
                  <a:cubicBezTo>
                    <a:pt x="870" y="481"/>
                    <a:pt x="870" y="481"/>
                    <a:pt x="870" y="481"/>
                  </a:cubicBezTo>
                  <a:cubicBezTo>
                    <a:pt x="878" y="484"/>
                    <a:pt x="878" y="484"/>
                    <a:pt x="878" y="484"/>
                  </a:cubicBezTo>
                  <a:cubicBezTo>
                    <a:pt x="888" y="469"/>
                    <a:pt x="888" y="469"/>
                    <a:pt x="888" y="469"/>
                  </a:cubicBezTo>
                  <a:cubicBezTo>
                    <a:pt x="889" y="459"/>
                    <a:pt x="889" y="459"/>
                    <a:pt x="889" y="459"/>
                  </a:cubicBezTo>
                  <a:cubicBezTo>
                    <a:pt x="881" y="454"/>
                    <a:pt x="881" y="454"/>
                    <a:pt x="881" y="454"/>
                  </a:cubicBezTo>
                  <a:cubicBezTo>
                    <a:pt x="884" y="439"/>
                    <a:pt x="884" y="439"/>
                    <a:pt x="884" y="439"/>
                  </a:cubicBezTo>
                  <a:cubicBezTo>
                    <a:pt x="894" y="436"/>
                    <a:pt x="894" y="436"/>
                    <a:pt x="894" y="436"/>
                  </a:cubicBezTo>
                  <a:cubicBezTo>
                    <a:pt x="913" y="408"/>
                    <a:pt x="913" y="408"/>
                    <a:pt x="913" y="408"/>
                  </a:cubicBezTo>
                  <a:cubicBezTo>
                    <a:pt x="905" y="398"/>
                    <a:pt x="905" y="398"/>
                    <a:pt x="905" y="398"/>
                  </a:cubicBezTo>
                  <a:cubicBezTo>
                    <a:pt x="893" y="398"/>
                    <a:pt x="893" y="398"/>
                    <a:pt x="893" y="398"/>
                  </a:cubicBezTo>
                  <a:cubicBezTo>
                    <a:pt x="903" y="386"/>
                    <a:pt x="903" y="386"/>
                    <a:pt x="903" y="386"/>
                  </a:cubicBezTo>
                  <a:cubicBezTo>
                    <a:pt x="905" y="373"/>
                    <a:pt x="905" y="373"/>
                    <a:pt x="905" y="373"/>
                  </a:cubicBezTo>
                  <a:cubicBezTo>
                    <a:pt x="913" y="381"/>
                    <a:pt x="913" y="381"/>
                    <a:pt x="913" y="381"/>
                  </a:cubicBezTo>
                  <a:cubicBezTo>
                    <a:pt x="915" y="363"/>
                    <a:pt x="915" y="363"/>
                    <a:pt x="915" y="363"/>
                  </a:cubicBezTo>
                  <a:cubicBezTo>
                    <a:pt x="905" y="366"/>
                    <a:pt x="905" y="366"/>
                    <a:pt x="905" y="366"/>
                  </a:cubicBezTo>
                  <a:cubicBezTo>
                    <a:pt x="895" y="356"/>
                    <a:pt x="895" y="356"/>
                    <a:pt x="895" y="356"/>
                  </a:cubicBezTo>
                  <a:cubicBezTo>
                    <a:pt x="888" y="358"/>
                    <a:pt x="888" y="358"/>
                    <a:pt x="888" y="358"/>
                  </a:cubicBezTo>
                  <a:cubicBezTo>
                    <a:pt x="868" y="353"/>
                    <a:pt x="868" y="353"/>
                    <a:pt x="868" y="353"/>
                  </a:cubicBezTo>
                  <a:cubicBezTo>
                    <a:pt x="858" y="321"/>
                    <a:pt x="858" y="321"/>
                    <a:pt x="858" y="321"/>
                  </a:cubicBezTo>
                  <a:cubicBezTo>
                    <a:pt x="860" y="301"/>
                    <a:pt x="860" y="301"/>
                    <a:pt x="860" y="301"/>
                  </a:cubicBezTo>
                  <a:cubicBezTo>
                    <a:pt x="873" y="291"/>
                    <a:pt x="873" y="291"/>
                    <a:pt x="873" y="291"/>
                  </a:cubicBezTo>
                  <a:cubicBezTo>
                    <a:pt x="858" y="286"/>
                    <a:pt x="858" y="286"/>
                    <a:pt x="858" y="286"/>
                  </a:cubicBezTo>
                  <a:cubicBezTo>
                    <a:pt x="868" y="246"/>
                    <a:pt x="868" y="246"/>
                    <a:pt x="868" y="246"/>
                  </a:cubicBezTo>
                  <a:cubicBezTo>
                    <a:pt x="883" y="225"/>
                    <a:pt x="883" y="225"/>
                    <a:pt x="883" y="225"/>
                  </a:cubicBezTo>
                  <a:cubicBezTo>
                    <a:pt x="895" y="223"/>
                    <a:pt x="895" y="223"/>
                    <a:pt x="895" y="223"/>
                  </a:cubicBezTo>
                  <a:cubicBezTo>
                    <a:pt x="910" y="235"/>
                    <a:pt x="910" y="235"/>
                    <a:pt x="910" y="235"/>
                  </a:cubicBezTo>
                  <a:cubicBezTo>
                    <a:pt x="923" y="246"/>
                    <a:pt x="923" y="246"/>
                    <a:pt x="923" y="246"/>
                  </a:cubicBezTo>
                  <a:cubicBezTo>
                    <a:pt x="928" y="256"/>
                    <a:pt x="928" y="256"/>
                    <a:pt x="928" y="256"/>
                  </a:cubicBezTo>
                  <a:cubicBezTo>
                    <a:pt x="923" y="278"/>
                    <a:pt x="923" y="278"/>
                    <a:pt x="923" y="278"/>
                  </a:cubicBezTo>
                  <a:cubicBezTo>
                    <a:pt x="938" y="291"/>
                    <a:pt x="938" y="291"/>
                    <a:pt x="938" y="291"/>
                  </a:cubicBezTo>
                  <a:cubicBezTo>
                    <a:pt x="935" y="331"/>
                    <a:pt x="935" y="331"/>
                    <a:pt x="935" y="331"/>
                  </a:cubicBezTo>
                  <a:cubicBezTo>
                    <a:pt x="928" y="343"/>
                    <a:pt x="928" y="343"/>
                    <a:pt x="928" y="343"/>
                  </a:cubicBezTo>
                  <a:cubicBezTo>
                    <a:pt x="948" y="363"/>
                    <a:pt x="948" y="363"/>
                    <a:pt x="948" y="363"/>
                  </a:cubicBezTo>
                  <a:cubicBezTo>
                    <a:pt x="955" y="351"/>
                    <a:pt x="955" y="351"/>
                    <a:pt x="955" y="351"/>
                  </a:cubicBezTo>
                  <a:cubicBezTo>
                    <a:pt x="970" y="368"/>
                    <a:pt x="970" y="368"/>
                    <a:pt x="970" y="368"/>
                  </a:cubicBezTo>
                  <a:cubicBezTo>
                    <a:pt x="960" y="371"/>
                    <a:pt x="960" y="371"/>
                    <a:pt x="960" y="371"/>
                  </a:cubicBezTo>
                  <a:cubicBezTo>
                    <a:pt x="970" y="388"/>
                    <a:pt x="970" y="388"/>
                    <a:pt x="970" y="388"/>
                  </a:cubicBezTo>
                  <a:cubicBezTo>
                    <a:pt x="970" y="421"/>
                    <a:pt x="970" y="421"/>
                    <a:pt x="970" y="421"/>
                  </a:cubicBezTo>
                  <a:cubicBezTo>
                    <a:pt x="980" y="431"/>
                    <a:pt x="980" y="431"/>
                    <a:pt x="980" y="431"/>
                  </a:cubicBezTo>
                  <a:cubicBezTo>
                    <a:pt x="996" y="363"/>
                    <a:pt x="996" y="363"/>
                    <a:pt x="996" y="363"/>
                  </a:cubicBezTo>
                  <a:cubicBezTo>
                    <a:pt x="1016" y="386"/>
                    <a:pt x="1016" y="386"/>
                    <a:pt x="1016" y="386"/>
                  </a:cubicBezTo>
                  <a:cubicBezTo>
                    <a:pt x="1013" y="429"/>
                    <a:pt x="1013" y="429"/>
                    <a:pt x="1013" y="429"/>
                  </a:cubicBezTo>
                  <a:cubicBezTo>
                    <a:pt x="1028" y="476"/>
                    <a:pt x="1028" y="476"/>
                    <a:pt x="1028" y="476"/>
                  </a:cubicBezTo>
                  <a:cubicBezTo>
                    <a:pt x="1036" y="476"/>
                    <a:pt x="1036" y="476"/>
                    <a:pt x="1036" y="476"/>
                  </a:cubicBezTo>
                  <a:cubicBezTo>
                    <a:pt x="1058" y="444"/>
                    <a:pt x="1058" y="444"/>
                    <a:pt x="1058" y="444"/>
                  </a:cubicBezTo>
                  <a:cubicBezTo>
                    <a:pt x="1066" y="403"/>
                    <a:pt x="1066" y="403"/>
                    <a:pt x="1066" y="403"/>
                  </a:cubicBezTo>
                  <a:cubicBezTo>
                    <a:pt x="1078" y="401"/>
                    <a:pt x="1078" y="401"/>
                    <a:pt x="1078" y="401"/>
                  </a:cubicBezTo>
                  <a:cubicBezTo>
                    <a:pt x="1081" y="383"/>
                    <a:pt x="1081" y="383"/>
                    <a:pt x="1081" y="383"/>
                  </a:cubicBezTo>
                  <a:cubicBezTo>
                    <a:pt x="1076" y="378"/>
                    <a:pt x="1076" y="378"/>
                    <a:pt x="1076" y="378"/>
                  </a:cubicBezTo>
                  <a:cubicBezTo>
                    <a:pt x="1086" y="376"/>
                    <a:pt x="1103" y="373"/>
                    <a:pt x="1116" y="373"/>
                  </a:cubicBezTo>
                  <a:cubicBezTo>
                    <a:pt x="1133" y="378"/>
                    <a:pt x="1151" y="381"/>
                    <a:pt x="1151" y="381"/>
                  </a:cubicBezTo>
                  <a:cubicBezTo>
                    <a:pt x="1141" y="398"/>
                    <a:pt x="1141" y="398"/>
                    <a:pt x="1141" y="398"/>
                  </a:cubicBezTo>
                  <a:cubicBezTo>
                    <a:pt x="1153" y="403"/>
                    <a:pt x="1153" y="403"/>
                    <a:pt x="1153" y="403"/>
                  </a:cubicBezTo>
                  <a:cubicBezTo>
                    <a:pt x="1146" y="416"/>
                    <a:pt x="1146" y="416"/>
                    <a:pt x="1146" y="416"/>
                  </a:cubicBezTo>
                  <a:cubicBezTo>
                    <a:pt x="1131" y="416"/>
                    <a:pt x="1131" y="416"/>
                    <a:pt x="1131" y="416"/>
                  </a:cubicBezTo>
                  <a:cubicBezTo>
                    <a:pt x="1143" y="459"/>
                    <a:pt x="1143" y="459"/>
                    <a:pt x="1143" y="459"/>
                  </a:cubicBezTo>
                  <a:cubicBezTo>
                    <a:pt x="1158" y="469"/>
                    <a:pt x="1158" y="469"/>
                    <a:pt x="1158" y="469"/>
                  </a:cubicBezTo>
                  <a:cubicBezTo>
                    <a:pt x="1151" y="499"/>
                    <a:pt x="1151" y="499"/>
                    <a:pt x="1151" y="499"/>
                  </a:cubicBezTo>
                  <a:cubicBezTo>
                    <a:pt x="1138" y="504"/>
                    <a:pt x="1138" y="504"/>
                    <a:pt x="1138" y="504"/>
                  </a:cubicBezTo>
                  <a:cubicBezTo>
                    <a:pt x="1133" y="519"/>
                    <a:pt x="1133" y="519"/>
                    <a:pt x="1133" y="519"/>
                  </a:cubicBezTo>
                  <a:cubicBezTo>
                    <a:pt x="1111" y="534"/>
                    <a:pt x="1111" y="534"/>
                    <a:pt x="1111" y="534"/>
                  </a:cubicBezTo>
                  <a:cubicBezTo>
                    <a:pt x="1081" y="541"/>
                    <a:pt x="1081" y="541"/>
                    <a:pt x="1081" y="541"/>
                  </a:cubicBezTo>
                  <a:cubicBezTo>
                    <a:pt x="1071" y="526"/>
                    <a:pt x="1071" y="526"/>
                    <a:pt x="1071" y="526"/>
                  </a:cubicBezTo>
                  <a:cubicBezTo>
                    <a:pt x="1048" y="526"/>
                    <a:pt x="1048" y="526"/>
                    <a:pt x="1048" y="526"/>
                  </a:cubicBezTo>
                  <a:cubicBezTo>
                    <a:pt x="1061" y="546"/>
                    <a:pt x="1061" y="546"/>
                    <a:pt x="1061" y="546"/>
                  </a:cubicBezTo>
                  <a:cubicBezTo>
                    <a:pt x="1036" y="551"/>
                    <a:pt x="1036" y="551"/>
                    <a:pt x="1036" y="551"/>
                  </a:cubicBezTo>
                  <a:cubicBezTo>
                    <a:pt x="1028" y="589"/>
                    <a:pt x="1028" y="589"/>
                    <a:pt x="1028" y="589"/>
                  </a:cubicBezTo>
                  <a:cubicBezTo>
                    <a:pt x="1028" y="610"/>
                    <a:pt x="1028" y="610"/>
                    <a:pt x="1028" y="610"/>
                  </a:cubicBezTo>
                  <a:cubicBezTo>
                    <a:pt x="1015" y="628"/>
                    <a:pt x="1015" y="628"/>
                    <a:pt x="1015" y="628"/>
                  </a:cubicBezTo>
                  <a:cubicBezTo>
                    <a:pt x="1015" y="646"/>
                    <a:pt x="1015" y="646"/>
                    <a:pt x="1015" y="646"/>
                  </a:cubicBezTo>
                  <a:cubicBezTo>
                    <a:pt x="995" y="657"/>
                    <a:pt x="995" y="657"/>
                    <a:pt x="995" y="657"/>
                  </a:cubicBezTo>
                  <a:cubicBezTo>
                    <a:pt x="976" y="669"/>
                    <a:pt x="976" y="669"/>
                    <a:pt x="976" y="669"/>
                  </a:cubicBezTo>
                  <a:cubicBezTo>
                    <a:pt x="952" y="682"/>
                    <a:pt x="952" y="682"/>
                    <a:pt x="952" y="682"/>
                  </a:cubicBezTo>
                  <a:cubicBezTo>
                    <a:pt x="945" y="709"/>
                    <a:pt x="945" y="709"/>
                    <a:pt x="945" y="709"/>
                  </a:cubicBezTo>
                  <a:cubicBezTo>
                    <a:pt x="912" y="731"/>
                    <a:pt x="912" y="731"/>
                    <a:pt x="912" y="731"/>
                  </a:cubicBezTo>
                  <a:cubicBezTo>
                    <a:pt x="898" y="756"/>
                    <a:pt x="898" y="756"/>
                    <a:pt x="898" y="756"/>
                  </a:cubicBezTo>
                  <a:cubicBezTo>
                    <a:pt x="898" y="787"/>
                    <a:pt x="898" y="787"/>
                    <a:pt x="898" y="787"/>
                  </a:cubicBezTo>
                  <a:cubicBezTo>
                    <a:pt x="918" y="797"/>
                    <a:pt x="918" y="797"/>
                    <a:pt x="918" y="797"/>
                  </a:cubicBezTo>
                  <a:cubicBezTo>
                    <a:pt x="917" y="813"/>
                    <a:pt x="917" y="813"/>
                    <a:pt x="917" y="813"/>
                  </a:cubicBezTo>
                  <a:cubicBezTo>
                    <a:pt x="923" y="836"/>
                    <a:pt x="923" y="836"/>
                    <a:pt x="923" y="836"/>
                  </a:cubicBezTo>
                  <a:cubicBezTo>
                    <a:pt x="932" y="855"/>
                    <a:pt x="932" y="855"/>
                    <a:pt x="932" y="855"/>
                  </a:cubicBezTo>
                  <a:cubicBezTo>
                    <a:pt x="945" y="855"/>
                    <a:pt x="945" y="855"/>
                    <a:pt x="945" y="855"/>
                  </a:cubicBezTo>
                  <a:cubicBezTo>
                    <a:pt x="966" y="845"/>
                    <a:pt x="966" y="845"/>
                    <a:pt x="966" y="845"/>
                  </a:cubicBezTo>
                  <a:cubicBezTo>
                    <a:pt x="976" y="854"/>
                    <a:pt x="976" y="854"/>
                    <a:pt x="976" y="854"/>
                  </a:cubicBezTo>
                  <a:cubicBezTo>
                    <a:pt x="997" y="863"/>
                    <a:pt x="997" y="863"/>
                    <a:pt x="997" y="863"/>
                  </a:cubicBezTo>
                  <a:cubicBezTo>
                    <a:pt x="1029" y="891"/>
                    <a:pt x="1029" y="891"/>
                    <a:pt x="1029" y="891"/>
                  </a:cubicBezTo>
                  <a:cubicBezTo>
                    <a:pt x="1059" y="902"/>
                    <a:pt x="1059" y="902"/>
                    <a:pt x="1059" y="902"/>
                  </a:cubicBezTo>
                  <a:cubicBezTo>
                    <a:pt x="1077" y="914"/>
                    <a:pt x="1077" y="914"/>
                    <a:pt x="1077" y="914"/>
                  </a:cubicBezTo>
                  <a:cubicBezTo>
                    <a:pt x="1091" y="921"/>
                    <a:pt x="1091" y="921"/>
                    <a:pt x="1091" y="921"/>
                  </a:cubicBezTo>
                  <a:cubicBezTo>
                    <a:pt x="1126" y="928"/>
                    <a:pt x="1126" y="928"/>
                    <a:pt x="1126" y="928"/>
                  </a:cubicBezTo>
                  <a:cubicBezTo>
                    <a:pt x="1125" y="961"/>
                    <a:pt x="1125" y="961"/>
                    <a:pt x="1125" y="961"/>
                  </a:cubicBezTo>
                  <a:cubicBezTo>
                    <a:pt x="1126" y="978"/>
                    <a:pt x="1126" y="978"/>
                    <a:pt x="1126" y="978"/>
                  </a:cubicBezTo>
                  <a:cubicBezTo>
                    <a:pt x="1130" y="990"/>
                    <a:pt x="1130" y="990"/>
                    <a:pt x="1130" y="990"/>
                  </a:cubicBezTo>
                  <a:cubicBezTo>
                    <a:pt x="1133" y="1010"/>
                    <a:pt x="1133" y="1010"/>
                    <a:pt x="1133" y="1010"/>
                  </a:cubicBezTo>
                  <a:cubicBezTo>
                    <a:pt x="1136" y="1012"/>
                    <a:pt x="1136" y="1012"/>
                    <a:pt x="1136" y="1012"/>
                  </a:cubicBezTo>
                  <a:cubicBezTo>
                    <a:pt x="1146" y="1026"/>
                    <a:pt x="1146" y="1026"/>
                    <a:pt x="1146" y="1026"/>
                  </a:cubicBezTo>
                  <a:cubicBezTo>
                    <a:pt x="1158" y="1045"/>
                    <a:pt x="1158" y="1045"/>
                    <a:pt x="1158" y="1045"/>
                  </a:cubicBezTo>
                  <a:cubicBezTo>
                    <a:pt x="1173" y="1055"/>
                    <a:pt x="1173" y="1055"/>
                    <a:pt x="1173" y="1055"/>
                  </a:cubicBezTo>
                  <a:cubicBezTo>
                    <a:pt x="1199" y="1046"/>
                    <a:pt x="1199" y="1046"/>
                    <a:pt x="1199" y="1046"/>
                  </a:cubicBezTo>
                  <a:cubicBezTo>
                    <a:pt x="1199" y="1022"/>
                    <a:pt x="1199" y="1022"/>
                    <a:pt x="1199" y="1022"/>
                  </a:cubicBezTo>
                  <a:cubicBezTo>
                    <a:pt x="1196" y="1006"/>
                    <a:pt x="1196" y="1006"/>
                    <a:pt x="1196" y="1006"/>
                  </a:cubicBezTo>
                  <a:cubicBezTo>
                    <a:pt x="1194" y="984"/>
                    <a:pt x="1194" y="984"/>
                    <a:pt x="1194" y="984"/>
                  </a:cubicBezTo>
                  <a:cubicBezTo>
                    <a:pt x="1189" y="966"/>
                    <a:pt x="1189" y="966"/>
                    <a:pt x="1189" y="966"/>
                  </a:cubicBezTo>
                  <a:cubicBezTo>
                    <a:pt x="1221" y="946"/>
                    <a:pt x="1221" y="946"/>
                    <a:pt x="1221" y="946"/>
                  </a:cubicBezTo>
                  <a:cubicBezTo>
                    <a:pt x="1224" y="925"/>
                    <a:pt x="1224" y="925"/>
                    <a:pt x="1224" y="925"/>
                  </a:cubicBezTo>
                  <a:cubicBezTo>
                    <a:pt x="1211" y="910"/>
                    <a:pt x="1211" y="910"/>
                    <a:pt x="1211" y="910"/>
                  </a:cubicBezTo>
                  <a:cubicBezTo>
                    <a:pt x="1217" y="884"/>
                    <a:pt x="1217" y="884"/>
                    <a:pt x="1217" y="884"/>
                  </a:cubicBezTo>
                  <a:cubicBezTo>
                    <a:pt x="1227" y="863"/>
                    <a:pt x="1227" y="863"/>
                    <a:pt x="1227" y="863"/>
                  </a:cubicBezTo>
                  <a:cubicBezTo>
                    <a:pt x="1213" y="818"/>
                    <a:pt x="1213" y="818"/>
                    <a:pt x="1213" y="818"/>
                  </a:cubicBezTo>
                  <a:cubicBezTo>
                    <a:pt x="1194" y="792"/>
                    <a:pt x="1194" y="792"/>
                    <a:pt x="1194" y="792"/>
                  </a:cubicBezTo>
                  <a:cubicBezTo>
                    <a:pt x="1194" y="777"/>
                    <a:pt x="1194" y="777"/>
                    <a:pt x="1194" y="777"/>
                  </a:cubicBezTo>
                  <a:cubicBezTo>
                    <a:pt x="1211" y="752"/>
                    <a:pt x="1211" y="752"/>
                    <a:pt x="1211" y="752"/>
                  </a:cubicBezTo>
                  <a:cubicBezTo>
                    <a:pt x="1219" y="746"/>
                    <a:pt x="1219" y="746"/>
                    <a:pt x="1219" y="746"/>
                  </a:cubicBezTo>
                  <a:cubicBezTo>
                    <a:pt x="1216" y="737"/>
                    <a:pt x="1216" y="737"/>
                    <a:pt x="1216" y="737"/>
                  </a:cubicBezTo>
                  <a:cubicBezTo>
                    <a:pt x="1209" y="709"/>
                    <a:pt x="1209" y="709"/>
                    <a:pt x="1209" y="709"/>
                  </a:cubicBezTo>
                  <a:cubicBezTo>
                    <a:pt x="1201" y="709"/>
                    <a:pt x="1201" y="709"/>
                    <a:pt x="1201" y="709"/>
                  </a:cubicBezTo>
                  <a:cubicBezTo>
                    <a:pt x="1209" y="684"/>
                    <a:pt x="1209" y="684"/>
                    <a:pt x="1209" y="684"/>
                  </a:cubicBezTo>
                  <a:cubicBezTo>
                    <a:pt x="1214" y="674"/>
                    <a:pt x="1214" y="674"/>
                    <a:pt x="1214" y="674"/>
                  </a:cubicBezTo>
                  <a:cubicBezTo>
                    <a:pt x="1206" y="662"/>
                    <a:pt x="1206" y="662"/>
                    <a:pt x="1206" y="662"/>
                  </a:cubicBezTo>
                  <a:cubicBezTo>
                    <a:pt x="1209" y="632"/>
                    <a:pt x="1209" y="632"/>
                    <a:pt x="1209" y="632"/>
                  </a:cubicBezTo>
                  <a:cubicBezTo>
                    <a:pt x="1249" y="634"/>
                    <a:pt x="1249" y="634"/>
                    <a:pt x="1249" y="634"/>
                  </a:cubicBezTo>
                  <a:cubicBezTo>
                    <a:pt x="1269" y="639"/>
                    <a:pt x="1269" y="639"/>
                    <a:pt x="1269" y="639"/>
                  </a:cubicBezTo>
                  <a:cubicBezTo>
                    <a:pt x="1296" y="634"/>
                    <a:pt x="1296" y="634"/>
                    <a:pt x="1296" y="634"/>
                  </a:cubicBezTo>
                  <a:cubicBezTo>
                    <a:pt x="1314" y="659"/>
                    <a:pt x="1314" y="659"/>
                    <a:pt x="1314" y="659"/>
                  </a:cubicBezTo>
                  <a:cubicBezTo>
                    <a:pt x="1329" y="674"/>
                    <a:pt x="1329" y="674"/>
                    <a:pt x="1329" y="674"/>
                  </a:cubicBezTo>
                  <a:cubicBezTo>
                    <a:pt x="1329" y="689"/>
                    <a:pt x="1329" y="689"/>
                    <a:pt x="1329" y="689"/>
                  </a:cubicBezTo>
                  <a:cubicBezTo>
                    <a:pt x="1357" y="702"/>
                    <a:pt x="1357" y="702"/>
                    <a:pt x="1357" y="702"/>
                  </a:cubicBezTo>
                  <a:cubicBezTo>
                    <a:pt x="1372" y="699"/>
                    <a:pt x="1372" y="699"/>
                    <a:pt x="1372" y="699"/>
                  </a:cubicBezTo>
                  <a:cubicBezTo>
                    <a:pt x="1369" y="732"/>
                    <a:pt x="1369" y="732"/>
                    <a:pt x="1369" y="732"/>
                  </a:cubicBezTo>
                  <a:cubicBezTo>
                    <a:pt x="1354" y="734"/>
                    <a:pt x="1354" y="734"/>
                    <a:pt x="1354" y="734"/>
                  </a:cubicBezTo>
                  <a:cubicBezTo>
                    <a:pt x="1367" y="747"/>
                    <a:pt x="1367" y="747"/>
                    <a:pt x="1367" y="747"/>
                  </a:cubicBezTo>
                  <a:cubicBezTo>
                    <a:pt x="1367" y="762"/>
                    <a:pt x="1367" y="762"/>
                    <a:pt x="1367" y="762"/>
                  </a:cubicBezTo>
                  <a:cubicBezTo>
                    <a:pt x="1372" y="772"/>
                    <a:pt x="1372" y="772"/>
                    <a:pt x="1372" y="772"/>
                  </a:cubicBezTo>
                  <a:cubicBezTo>
                    <a:pt x="1392" y="777"/>
                    <a:pt x="1392" y="777"/>
                    <a:pt x="1392" y="777"/>
                  </a:cubicBezTo>
                  <a:cubicBezTo>
                    <a:pt x="1397" y="792"/>
                    <a:pt x="1397" y="792"/>
                    <a:pt x="1397" y="792"/>
                  </a:cubicBezTo>
                  <a:cubicBezTo>
                    <a:pt x="1412" y="802"/>
                    <a:pt x="1412" y="802"/>
                    <a:pt x="1412" y="802"/>
                  </a:cubicBezTo>
                  <a:cubicBezTo>
                    <a:pt x="1422" y="795"/>
                    <a:pt x="1422" y="795"/>
                    <a:pt x="1422" y="795"/>
                  </a:cubicBezTo>
                  <a:cubicBezTo>
                    <a:pt x="1434" y="780"/>
                    <a:pt x="1434" y="780"/>
                    <a:pt x="1434" y="780"/>
                  </a:cubicBezTo>
                  <a:cubicBezTo>
                    <a:pt x="1449" y="767"/>
                    <a:pt x="1449" y="767"/>
                    <a:pt x="1449" y="767"/>
                  </a:cubicBezTo>
                  <a:cubicBezTo>
                    <a:pt x="1452" y="757"/>
                    <a:pt x="1452" y="757"/>
                    <a:pt x="1452" y="757"/>
                  </a:cubicBezTo>
                  <a:cubicBezTo>
                    <a:pt x="1452" y="747"/>
                    <a:pt x="1452" y="747"/>
                    <a:pt x="1452" y="747"/>
                  </a:cubicBezTo>
                  <a:cubicBezTo>
                    <a:pt x="1462" y="724"/>
                    <a:pt x="1462" y="724"/>
                    <a:pt x="1462" y="724"/>
                  </a:cubicBezTo>
                  <a:cubicBezTo>
                    <a:pt x="1477" y="757"/>
                    <a:pt x="1477" y="757"/>
                    <a:pt x="1477" y="757"/>
                  </a:cubicBezTo>
                  <a:cubicBezTo>
                    <a:pt x="1492" y="782"/>
                    <a:pt x="1492" y="782"/>
                    <a:pt x="1492" y="782"/>
                  </a:cubicBezTo>
                  <a:cubicBezTo>
                    <a:pt x="1484" y="797"/>
                    <a:pt x="1484" y="797"/>
                    <a:pt x="1484" y="797"/>
                  </a:cubicBezTo>
                  <a:cubicBezTo>
                    <a:pt x="1504" y="800"/>
                    <a:pt x="1504" y="800"/>
                    <a:pt x="1504" y="800"/>
                  </a:cubicBezTo>
                  <a:cubicBezTo>
                    <a:pt x="1509" y="820"/>
                    <a:pt x="1509" y="820"/>
                    <a:pt x="1509" y="820"/>
                  </a:cubicBezTo>
                  <a:cubicBezTo>
                    <a:pt x="1509" y="837"/>
                    <a:pt x="1509" y="837"/>
                    <a:pt x="1509" y="837"/>
                  </a:cubicBezTo>
                  <a:cubicBezTo>
                    <a:pt x="1520" y="847"/>
                    <a:pt x="1520" y="847"/>
                    <a:pt x="1520" y="847"/>
                  </a:cubicBezTo>
                  <a:cubicBezTo>
                    <a:pt x="1528" y="855"/>
                    <a:pt x="1528" y="855"/>
                    <a:pt x="1528" y="855"/>
                  </a:cubicBezTo>
                  <a:cubicBezTo>
                    <a:pt x="1540" y="856"/>
                    <a:pt x="1540" y="856"/>
                    <a:pt x="1540" y="856"/>
                  </a:cubicBezTo>
                  <a:cubicBezTo>
                    <a:pt x="1545" y="869"/>
                    <a:pt x="1545" y="869"/>
                    <a:pt x="1545" y="869"/>
                  </a:cubicBezTo>
                  <a:cubicBezTo>
                    <a:pt x="1550" y="880"/>
                    <a:pt x="1550" y="880"/>
                    <a:pt x="1550" y="880"/>
                  </a:cubicBezTo>
                  <a:cubicBezTo>
                    <a:pt x="1561" y="887"/>
                    <a:pt x="1561" y="887"/>
                    <a:pt x="1561" y="887"/>
                  </a:cubicBezTo>
                  <a:cubicBezTo>
                    <a:pt x="1566" y="893"/>
                    <a:pt x="1566" y="893"/>
                    <a:pt x="1566" y="893"/>
                  </a:cubicBezTo>
                  <a:cubicBezTo>
                    <a:pt x="1579" y="897"/>
                    <a:pt x="1579" y="897"/>
                    <a:pt x="1579" y="897"/>
                  </a:cubicBezTo>
                  <a:cubicBezTo>
                    <a:pt x="1586" y="911"/>
                    <a:pt x="1586" y="911"/>
                    <a:pt x="1586" y="911"/>
                  </a:cubicBezTo>
                  <a:cubicBezTo>
                    <a:pt x="1560" y="916"/>
                    <a:pt x="1560" y="916"/>
                    <a:pt x="1560" y="916"/>
                  </a:cubicBezTo>
                  <a:cubicBezTo>
                    <a:pt x="1554" y="932"/>
                    <a:pt x="1554" y="932"/>
                    <a:pt x="1554" y="932"/>
                  </a:cubicBezTo>
                  <a:cubicBezTo>
                    <a:pt x="1581" y="921"/>
                    <a:pt x="1581" y="921"/>
                    <a:pt x="1581" y="921"/>
                  </a:cubicBezTo>
                  <a:cubicBezTo>
                    <a:pt x="1595" y="914"/>
                    <a:pt x="1595" y="914"/>
                    <a:pt x="1595" y="914"/>
                  </a:cubicBezTo>
                  <a:cubicBezTo>
                    <a:pt x="1605" y="912"/>
                    <a:pt x="1605" y="912"/>
                    <a:pt x="1605" y="912"/>
                  </a:cubicBezTo>
                  <a:cubicBezTo>
                    <a:pt x="1605" y="932"/>
                    <a:pt x="1605" y="932"/>
                    <a:pt x="1605" y="932"/>
                  </a:cubicBezTo>
                  <a:cubicBezTo>
                    <a:pt x="1616" y="923"/>
                    <a:pt x="1616" y="923"/>
                    <a:pt x="1616" y="923"/>
                  </a:cubicBezTo>
                  <a:cubicBezTo>
                    <a:pt x="1629" y="932"/>
                    <a:pt x="1629" y="932"/>
                    <a:pt x="1629" y="932"/>
                  </a:cubicBezTo>
                  <a:cubicBezTo>
                    <a:pt x="1634" y="959"/>
                    <a:pt x="1634" y="959"/>
                    <a:pt x="1634" y="959"/>
                  </a:cubicBezTo>
                  <a:cubicBezTo>
                    <a:pt x="1634" y="978"/>
                    <a:pt x="1634" y="978"/>
                    <a:pt x="1634" y="978"/>
                  </a:cubicBezTo>
                  <a:cubicBezTo>
                    <a:pt x="1613" y="994"/>
                    <a:pt x="1613" y="994"/>
                    <a:pt x="1613" y="994"/>
                  </a:cubicBezTo>
                  <a:cubicBezTo>
                    <a:pt x="1596" y="997"/>
                    <a:pt x="1596" y="997"/>
                    <a:pt x="1596" y="997"/>
                  </a:cubicBezTo>
                  <a:cubicBezTo>
                    <a:pt x="1578" y="1004"/>
                    <a:pt x="1578" y="1004"/>
                    <a:pt x="1578" y="1004"/>
                  </a:cubicBezTo>
                  <a:cubicBezTo>
                    <a:pt x="1546" y="1031"/>
                    <a:pt x="1546" y="1031"/>
                    <a:pt x="1546" y="1031"/>
                  </a:cubicBezTo>
                  <a:cubicBezTo>
                    <a:pt x="1525" y="1037"/>
                    <a:pt x="1525" y="1037"/>
                    <a:pt x="1525" y="1037"/>
                  </a:cubicBezTo>
                  <a:cubicBezTo>
                    <a:pt x="1517" y="1031"/>
                    <a:pt x="1517" y="1031"/>
                    <a:pt x="1517" y="1031"/>
                  </a:cubicBezTo>
                  <a:cubicBezTo>
                    <a:pt x="1494" y="1032"/>
                    <a:pt x="1494" y="1032"/>
                    <a:pt x="1494" y="1032"/>
                  </a:cubicBezTo>
                  <a:cubicBezTo>
                    <a:pt x="1472" y="1031"/>
                    <a:pt x="1472" y="1031"/>
                    <a:pt x="1472" y="1031"/>
                  </a:cubicBezTo>
                  <a:cubicBezTo>
                    <a:pt x="1437" y="1029"/>
                    <a:pt x="1437" y="1029"/>
                    <a:pt x="1437" y="1029"/>
                  </a:cubicBezTo>
                  <a:cubicBezTo>
                    <a:pt x="1423" y="1041"/>
                    <a:pt x="1423" y="1041"/>
                    <a:pt x="1423" y="1041"/>
                  </a:cubicBezTo>
                  <a:cubicBezTo>
                    <a:pt x="1421" y="1048"/>
                    <a:pt x="1421" y="1048"/>
                    <a:pt x="1421" y="1048"/>
                  </a:cubicBezTo>
                  <a:cubicBezTo>
                    <a:pt x="1408" y="1051"/>
                    <a:pt x="1408" y="1051"/>
                    <a:pt x="1408" y="1051"/>
                  </a:cubicBezTo>
                  <a:cubicBezTo>
                    <a:pt x="1394" y="1070"/>
                    <a:pt x="1394" y="1070"/>
                    <a:pt x="1394" y="1070"/>
                  </a:cubicBezTo>
                  <a:cubicBezTo>
                    <a:pt x="1386" y="1083"/>
                    <a:pt x="1386" y="1083"/>
                    <a:pt x="1386" y="1083"/>
                  </a:cubicBezTo>
                  <a:cubicBezTo>
                    <a:pt x="1381" y="1085"/>
                    <a:pt x="1381" y="1085"/>
                    <a:pt x="1381" y="1085"/>
                  </a:cubicBezTo>
                  <a:cubicBezTo>
                    <a:pt x="1380" y="1098"/>
                    <a:pt x="1380" y="1098"/>
                    <a:pt x="1380" y="1098"/>
                  </a:cubicBezTo>
                  <a:cubicBezTo>
                    <a:pt x="1364" y="1119"/>
                    <a:pt x="1364" y="1119"/>
                    <a:pt x="1364" y="1119"/>
                  </a:cubicBezTo>
                  <a:cubicBezTo>
                    <a:pt x="1365" y="1121"/>
                    <a:pt x="1365" y="1121"/>
                    <a:pt x="1365" y="1121"/>
                  </a:cubicBezTo>
                  <a:cubicBezTo>
                    <a:pt x="1378" y="1108"/>
                    <a:pt x="1378" y="1108"/>
                    <a:pt x="1378" y="1108"/>
                  </a:cubicBezTo>
                  <a:cubicBezTo>
                    <a:pt x="1391" y="1086"/>
                    <a:pt x="1391" y="1086"/>
                    <a:pt x="1391" y="1086"/>
                  </a:cubicBezTo>
                  <a:cubicBezTo>
                    <a:pt x="1417" y="1063"/>
                    <a:pt x="1417" y="1063"/>
                    <a:pt x="1417" y="1063"/>
                  </a:cubicBezTo>
                  <a:cubicBezTo>
                    <a:pt x="1447" y="1048"/>
                    <a:pt x="1447" y="1048"/>
                    <a:pt x="1447" y="1048"/>
                  </a:cubicBezTo>
                  <a:cubicBezTo>
                    <a:pt x="1453" y="1048"/>
                    <a:pt x="1453" y="1048"/>
                    <a:pt x="1453" y="1048"/>
                  </a:cubicBezTo>
                  <a:cubicBezTo>
                    <a:pt x="1463" y="1046"/>
                    <a:pt x="1463" y="1046"/>
                    <a:pt x="1463" y="1046"/>
                  </a:cubicBezTo>
                  <a:cubicBezTo>
                    <a:pt x="1476" y="1051"/>
                    <a:pt x="1476" y="1051"/>
                    <a:pt x="1476" y="1051"/>
                  </a:cubicBezTo>
                  <a:cubicBezTo>
                    <a:pt x="1480" y="1062"/>
                    <a:pt x="1480" y="1062"/>
                    <a:pt x="1480" y="1062"/>
                  </a:cubicBezTo>
                  <a:cubicBezTo>
                    <a:pt x="1466" y="1078"/>
                    <a:pt x="1466" y="1078"/>
                    <a:pt x="1466" y="1078"/>
                  </a:cubicBezTo>
                  <a:cubicBezTo>
                    <a:pt x="1449" y="1077"/>
                    <a:pt x="1449" y="1077"/>
                    <a:pt x="1449" y="1077"/>
                  </a:cubicBezTo>
                  <a:cubicBezTo>
                    <a:pt x="1446" y="1080"/>
                    <a:pt x="1446" y="1080"/>
                    <a:pt x="1446" y="1080"/>
                  </a:cubicBezTo>
                  <a:cubicBezTo>
                    <a:pt x="1457" y="1083"/>
                    <a:pt x="1457" y="1083"/>
                    <a:pt x="1457" y="1083"/>
                  </a:cubicBezTo>
                  <a:cubicBezTo>
                    <a:pt x="1461" y="1088"/>
                    <a:pt x="1461" y="1088"/>
                    <a:pt x="1461" y="1088"/>
                  </a:cubicBezTo>
                  <a:cubicBezTo>
                    <a:pt x="1470" y="1082"/>
                    <a:pt x="1470" y="1082"/>
                    <a:pt x="1470" y="1082"/>
                  </a:cubicBezTo>
                  <a:cubicBezTo>
                    <a:pt x="1476" y="1084"/>
                    <a:pt x="1476" y="1084"/>
                    <a:pt x="1476" y="1084"/>
                  </a:cubicBezTo>
                  <a:cubicBezTo>
                    <a:pt x="1476" y="1090"/>
                    <a:pt x="1476" y="1090"/>
                    <a:pt x="1476" y="1090"/>
                  </a:cubicBezTo>
                  <a:cubicBezTo>
                    <a:pt x="1476" y="1095"/>
                    <a:pt x="1476" y="1095"/>
                    <a:pt x="1476" y="1095"/>
                  </a:cubicBezTo>
                  <a:cubicBezTo>
                    <a:pt x="1473" y="1101"/>
                    <a:pt x="1473" y="1101"/>
                    <a:pt x="1473" y="1101"/>
                  </a:cubicBezTo>
                  <a:cubicBezTo>
                    <a:pt x="1475" y="1102"/>
                    <a:pt x="1475" y="1102"/>
                    <a:pt x="1475" y="1102"/>
                  </a:cubicBezTo>
                  <a:cubicBezTo>
                    <a:pt x="1479" y="1101"/>
                    <a:pt x="1479" y="1101"/>
                    <a:pt x="1479" y="1101"/>
                  </a:cubicBezTo>
                  <a:cubicBezTo>
                    <a:pt x="1481" y="1106"/>
                    <a:pt x="1481" y="1106"/>
                    <a:pt x="1481" y="1106"/>
                  </a:cubicBezTo>
                  <a:cubicBezTo>
                    <a:pt x="1474" y="1125"/>
                    <a:pt x="1474" y="1125"/>
                    <a:pt x="1474" y="1125"/>
                  </a:cubicBezTo>
                  <a:cubicBezTo>
                    <a:pt x="1486" y="1144"/>
                    <a:pt x="1486" y="1144"/>
                    <a:pt x="1486" y="1144"/>
                  </a:cubicBezTo>
                  <a:cubicBezTo>
                    <a:pt x="1496" y="1156"/>
                    <a:pt x="1496" y="1156"/>
                    <a:pt x="1496" y="1156"/>
                  </a:cubicBezTo>
                  <a:cubicBezTo>
                    <a:pt x="1515" y="1151"/>
                    <a:pt x="1515" y="1151"/>
                    <a:pt x="1515" y="1151"/>
                  </a:cubicBezTo>
                  <a:cubicBezTo>
                    <a:pt x="1516" y="1156"/>
                    <a:pt x="1516" y="1156"/>
                    <a:pt x="1516" y="1156"/>
                  </a:cubicBezTo>
                  <a:cubicBezTo>
                    <a:pt x="1526" y="1154"/>
                    <a:pt x="1526" y="1154"/>
                    <a:pt x="1526" y="1154"/>
                  </a:cubicBezTo>
                  <a:cubicBezTo>
                    <a:pt x="1524" y="1146"/>
                    <a:pt x="1524" y="1146"/>
                    <a:pt x="1524" y="1146"/>
                  </a:cubicBezTo>
                  <a:cubicBezTo>
                    <a:pt x="1538" y="1121"/>
                    <a:pt x="1538" y="1121"/>
                    <a:pt x="1538" y="1121"/>
                  </a:cubicBezTo>
                  <a:cubicBezTo>
                    <a:pt x="1544" y="1120"/>
                    <a:pt x="1544" y="1120"/>
                    <a:pt x="1544" y="1120"/>
                  </a:cubicBezTo>
                  <a:cubicBezTo>
                    <a:pt x="1543" y="1141"/>
                    <a:pt x="1543" y="1141"/>
                    <a:pt x="1543" y="1141"/>
                  </a:cubicBezTo>
                  <a:cubicBezTo>
                    <a:pt x="1552" y="1141"/>
                    <a:pt x="1552" y="1141"/>
                    <a:pt x="1552" y="1141"/>
                  </a:cubicBezTo>
                  <a:cubicBezTo>
                    <a:pt x="1554" y="1148"/>
                    <a:pt x="1554" y="1148"/>
                    <a:pt x="1554" y="1148"/>
                  </a:cubicBezTo>
                  <a:cubicBezTo>
                    <a:pt x="1541" y="1158"/>
                    <a:pt x="1541" y="1158"/>
                    <a:pt x="1541" y="1158"/>
                  </a:cubicBezTo>
                  <a:cubicBezTo>
                    <a:pt x="1527" y="1159"/>
                    <a:pt x="1527" y="1159"/>
                    <a:pt x="1527" y="1159"/>
                  </a:cubicBezTo>
                  <a:cubicBezTo>
                    <a:pt x="1529" y="1167"/>
                    <a:pt x="1529" y="1167"/>
                    <a:pt x="1529" y="1167"/>
                  </a:cubicBezTo>
                  <a:cubicBezTo>
                    <a:pt x="1521" y="1170"/>
                    <a:pt x="1521" y="1170"/>
                    <a:pt x="1521" y="1170"/>
                  </a:cubicBezTo>
                  <a:cubicBezTo>
                    <a:pt x="1506" y="1178"/>
                    <a:pt x="1506" y="1178"/>
                    <a:pt x="1506" y="1178"/>
                  </a:cubicBezTo>
                  <a:cubicBezTo>
                    <a:pt x="1484" y="1183"/>
                    <a:pt x="1484" y="1183"/>
                    <a:pt x="1484" y="1183"/>
                  </a:cubicBezTo>
                  <a:cubicBezTo>
                    <a:pt x="1459" y="1206"/>
                    <a:pt x="1459" y="1206"/>
                    <a:pt x="1459" y="1206"/>
                  </a:cubicBezTo>
                  <a:cubicBezTo>
                    <a:pt x="1451" y="1209"/>
                    <a:pt x="1451" y="1209"/>
                    <a:pt x="1451" y="1209"/>
                  </a:cubicBezTo>
                  <a:cubicBezTo>
                    <a:pt x="1448" y="1214"/>
                    <a:pt x="1448" y="1214"/>
                    <a:pt x="1448" y="1214"/>
                  </a:cubicBezTo>
                  <a:cubicBezTo>
                    <a:pt x="1443" y="1213"/>
                    <a:pt x="1443" y="1213"/>
                    <a:pt x="1443" y="1213"/>
                  </a:cubicBezTo>
                  <a:cubicBezTo>
                    <a:pt x="1437" y="1203"/>
                    <a:pt x="1437" y="1203"/>
                    <a:pt x="1437" y="1203"/>
                  </a:cubicBezTo>
                  <a:cubicBezTo>
                    <a:pt x="1436" y="1188"/>
                    <a:pt x="1436" y="1188"/>
                    <a:pt x="1436" y="1188"/>
                  </a:cubicBezTo>
                  <a:cubicBezTo>
                    <a:pt x="1443" y="1183"/>
                    <a:pt x="1443" y="1183"/>
                    <a:pt x="1443" y="1183"/>
                  </a:cubicBezTo>
                  <a:cubicBezTo>
                    <a:pt x="1457" y="1171"/>
                    <a:pt x="1457" y="1171"/>
                    <a:pt x="1457" y="1171"/>
                  </a:cubicBezTo>
                  <a:cubicBezTo>
                    <a:pt x="1466" y="1167"/>
                    <a:pt x="1466" y="1167"/>
                    <a:pt x="1466" y="1167"/>
                  </a:cubicBezTo>
                  <a:cubicBezTo>
                    <a:pt x="1473" y="1173"/>
                    <a:pt x="1473" y="1173"/>
                    <a:pt x="1473" y="1173"/>
                  </a:cubicBezTo>
                  <a:cubicBezTo>
                    <a:pt x="1483" y="1167"/>
                    <a:pt x="1483" y="1167"/>
                    <a:pt x="1483" y="1167"/>
                  </a:cubicBezTo>
                  <a:cubicBezTo>
                    <a:pt x="1481" y="1159"/>
                    <a:pt x="1481" y="1159"/>
                    <a:pt x="1481" y="1159"/>
                  </a:cubicBezTo>
                  <a:cubicBezTo>
                    <a:pt x="1482" y="1151"/>
                    <a:pt x="1482" y="1151"/>
                    <a:pt x="1482" y="1151"/>
                  </a:cubicBezTo>
                  <a:lnTo>
                    <a:pt x="1477" y="1149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8001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69" name="Central African Republic">
              <a:extLst>
                <a:ext uri="{FF2B5EF4-FFF2-40B4-BE49-F238E27FC236}">
                  <a16:creationId xmlns="" xmlns:a16="http://schemas.microsoft.com/office/drawing/2014/main" id="{A7F70F66-18DE-4B4E-8EE3-09EF06CC2615}"/>
                </a:ext>
              </a:extLst>
            </p:cNvPr>
            <p:cNvSpPr>
              <a:spLocks/>
            </p:cNvSpPr>
            <p:nvPr/>
          </p:nvSpPr>
          <p:spPr bwMode="gray">
            <a:xfrm>
              <a:off x="6248056" y="4208703"/>
              <a:ext cx="411936" cy="277285"/>
            </a:xfrm>
            <a:custGeom>
              <a:avLst/>
              <a:gdLst/>
              <a:ahLst/>
              <a:cxnLst>
                <a:cxn ang="0">
                  <a:pos x="62" y="335"/>
                </a:cxn>
                <a:cxn ang="0">
                  <a:pos x="58" y="307"/>
                </a:cxn>
                <a:cxn ang="0">
                  <a:pos x="34" y="291"/>
                </a:cxn>
                <a:cxn ang="0">
                  <a:pos x="24" y="261"/>
                </a:cxn>
                <a:cxn ang="0">
                  <a:pos x="0" y="241"/>
                </a:cxn>
                <a:cxn ang="0">
                  <a:pos x="0" y="181"/>
                </a:cxn>
                <a:cxn ang="0">
                  <a:pos x="48" y="139"/>
                </a:cxn>
                <a:cxn ang="0">
                  <a:pos x="70" y="141"/>
                </a:cxn>
                <a:cxn ang="0">
                  <a:pos x="84" y="129"/>
                </a:cxn>
                <a:cxn ang="0">
                  <a:pos x="98" y="141"/>
                </a:cxn>
                <a:cxn ang="0">
                  <a:pos x="132" y="127"/>
                </a:cxn>
                <a:cxn ang="0">
                  <a:pos x="160" y="125"/>
                </a:cxn>
                <a:cxn ang="0">
                  <a:pos x="184" y="101"/>
                </a:cxn>
                <a:cxn ang="0">
                  <a:pos x="180" y="84"/>
                </a:cxn>
                <a:cxn ang="0">
                  <a:pos x="208" y="84"/>
                </a:cxn>
                <a:cxn ang="0">
                  <a:pos x="235" y="80"/>
                </a:cxn>
                <a:cxn ang="0">
                  <a:pos x="261" y="48"/>
                </a:cxn>
                <a:cxn ang="0">
                  <a:pos x="269" y="14"/>
                </a:cxn>
                <a:cxn ang="0">
                  <a:pos x="331" y="0"/>
                </a:cxn>
                <a:cxn ang="0">
                  <a:pos x="337" y="22"/>
                </a:cxn>
                <a:cxn ang="0">
                  <a:pos x="355" y="40"/>
                </a:cxn>
                <a:cxn ang="0">
                  <a:pos x="357" y="68"/>
                </a:cxn>
                <a:cxn ang="0">
                  <a:pos x="347" y="84"/>
                </a:cxn>
                <a:cxn ang="0">
                  <a:pos x="373" y="97"/>
                </a:cxn>
                <a:cxn ang="0">
                  <a:pos x="393" y="95"/>
                </a:cxn>
                <a:cxn ang="0">
                  <a:pos x="391" y="111"/>
                </a:cxn>
                <a:cxn ang="0">
                  <a:pos x="425" y="133"/>
                </a:cxn>
                <a:cxn ang="0">
                  <a:pos x="423" y="145"/>
                </a:cxn>
                <a:cxn ang="0">
                  <a:pos x="461" y="169"/>
                </a:cxn>
                <a:cxn ang="0">
                  <a:pos x="459" y="181"/>
                </a:cxn>
                <a:cxn ang="0">
                  <a:pos x="499" y="207"/>
                </a:cxn>
                <a:cxn ang="0">
                  <a:pos x="505" y="243"/>
                </a:cxn>
                <a:cxn ang="0">
                  <a:pos x="425" y="215"/>
                </a:cxn>
                <a:cxn ang="0">
                  <a:pos x="415" y="223"/>
                </a:cxn>
                <a:cxn ang="0">
                  <a:pos x="409" y="233"/>
                </a:cxn>
                <a:cxn ang="0">
                  <a:pos x="391" y="223"/>
                </a:cxn>
                <a:cxn ang="0">
                  <a:pos x="371" y="235"/>
                </a:cxn>
                <a:cxn ang="0">
                  <a:pos x="339" y="241"/>
                </a:cxn>
                <a:cxn ang="0">
                  <a:pos x="323" y="239"/>
                </a:cxn>
                <a:cxn ang="0">
                  <a:pos x="301" y="261"/>
                </a:cxn>
                <a:cxn ang="0">
                  <a:pos x="259" y="247"/>
                </a:cxn>
                <a:cxn ang="0">
                  <a:pos x="235" y="247"/>
                </a:cxn>
                <a:cxn ang="0">
                  <a:pos x="208" y="231"/>
                </a:cxn>
                <a:cxn ang="0">
                  <a:pos x="192" y="231"/>
                </a:cxn>
                <a:cxn ang="0">
                  <a:pos x="176" y="249"/>
                </a:cxn>
                <a:cxn ang="0">
                  <a:pos x="166" y="249"/>
                </a:cxn>
                <a:cxn ang="0">
                  <a:pos x="158" y="279"/>
                </a:cxn>
                <a:cxn ang="0">
                  <a:pos x="124" y="277"/>
                </a:cxn>
                <a:cxn ang="0">
                  <a:pos x="110" y="285"/>
                </a:cxn>
                <a:cxn ang="0">
                  <a:pos x="94" y="285"/>
                </a:cxn>
                <a:cxn ang="0">
                  <a:pos x="62" y="335"/>
                </a:cxn>
              </a:cxnLst>
              <a:rect l="0" t="0" r="r" b="b"/>
              <a:pathLst>
                <a:path w="505" h="335">
                  <a:moveTo>
                    <a:pt x="62" y="335"/>
                  </a:moveTo>
                  <a:lnTo>
                    <a:pt x="58" y="307"/>
                  </a:lnTo>
                  <a:lnTo>
                    <a:pt x="34" y="291"/>
                  </a:lnTo>
                  <a:lnTo>
                    <a:pt x="24" y="261"/>
                  </a:lnTo>
                  <a:lnTo>
                    <a:pt x="0" y="241"/>
                  </a:lnTo>
                  <a:lnTo>
                    <a:pt x="0" y="181"/>
                  </a:lnTo>
                  <a:lnTo>
                    <a:pt x="48" y="139"/>
                  </a:lnTo>
                  <a:lnTo>
                    <a:pt x="70" y="141"/>
                  </a:lnTo>
                  <a:lnTo>
                    <a:pt x="84" y="129"/>
                  </a:lnTo>
                  <a:lnTo>
                    <a:pt x="98" y="141"/>
                  </a:lnTo>
                  <a:lnTo>
                    <a:pt x="132" y="127"/>
                  </a:lnTo>
                  <a:lnTo>
                    <a:pt x="160" y="125"/>
                  </a:lnTo>
                  <a:lnTo>
                    <a:pt x="184" y="101"/>
                  </a:lnTo>
                  <a:lnTo>
                    <a:pt x="180" y="84"/>
                  </a:lnTo>
                  <a:lnTo>
                    <a:pt x="208" y="84"/>
                  </a:lnTo>
                  <a:lnTo>
                    <a:pt x="235" y="80"/>
                  </a:lnTo>
                  <a:lnTo>
                    <a:pt x="261" y="48"/>
                  </a:lnTo>
                  <a:lnTo>
                    <a:pt x="269" y="14"/>
                  </a:lnTo>
                  <a:lnTo>
                    <a:pt x="331" y="0"/>
                  </a:lnTo>
                  <a:lnTo>
                    <a:pt x="337" y="22"/>
                  </a:lnTo>
                  <a:lnTo>
                    <a:pt x="355" y="40"/>
                  </a:lnTo>
                  <a:lnTo>
                    <a:pt x="357" y="68"/>
                  </a:lnTo>
                  <a:lnTo>
                    <a:pt x="347" y="84"/>
                  </a:lnTo>
                  <a:lnTo>
                    <a:pt x="373" y="97"/>
                  </a:lnTo>
                  <a:lnTo>
                    <a:pt x="393" y="95"/>
                  </a:lnTo>
                  <a:lnTo>
                    <a:pt x="391" y="111"/>
                  </a:lnTo>
                  <a:lnTo>
                    <a:pt x="425" y="133"/>
                  </a:lnTo>
                  <a:lnTo>
                    <a:pt x="423" y="145"/>
                  </a:lnTo>
                  <a:lnTo>
                    <a:pt x="461" y="169"/>
                  </a:lnTo>
                  <a:lnTo>
                    <a:pt x="459" y="181"/>
                  </a:lnTo>
                  <a:lnTo>
                    <a:pt x="499" y="207"/>
                  </a:lnTo>
                  <a:lnTo>
                    <a:pt x="505" y="243"/>
                  </a:lnTo>
                  <a:lnTo>
                    <a:pt x="425" y="215"/>
                  </a:lnTo>
                  <a:lnTo>
                    <a:pt x="415" y="223"/>
                  </a:lnTo>
                  <a:lnTo>
                    <a:pt x="409" y="233"/>
                  </a:lnTo>
                  <a:lnTo>
                    <a:pt x="391" y="223"/>
                  </a:lnTo>
                  <a:lnTo>
                    <a:pt x="371" y="235"/>
                  </a:lnTo>
                  <a:lnTo>
                    <a:pt x="339" y="241"/>
                  </a:lnTo>
                  <a:lnTo>
                    <a:pt x="323" y="239"/>
                  </a:lnTo>
                  <a:lnTo>
                    <a:pt x="301" y="261"/>
                  </a:lnTo>
                  <a:lnTo>
                    <a:pt x="259" y="247"/>
                  </a:lnTo>
                  <a:lnTo>
                    <a:pt x="235" y="247"/>
                  </a:lnTo>
                  <a:lnTo>
                    <a:pt x="208" y="231"/>
                  </a:lnTo>
                  <a:lnTo>
                    <a:pt x="192" y="231"/>
                  </a:lnTo>
                  <a:lnTo>
                    <a:pt x="176" y="249"/>
                  </a:lnTo>
                  <a:lnTo>
                    <a:pt x="166" y="249"/>
                  </a:lnTo>
                  <a:lnTo>
                    <a:pt x="158" y="279"/>
                  </a:lnTo>
                  <a:lnTo>
                    <a:pt x="124" y="277"/>
                  </a:lnTo>
                  <a:lnTo>
                    <a:pt x="110" y="285"/>
                  </a:lnTo>
                  <a:lnTo>
                    <a:pt x="94" y="285"/>
                  </a:lnTo>
                  <a:lnTo>
                    <a:pt x="62" y="335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70" name="Chad">
              <a:extLst>
                <a:ext uri="{FF2B5EF4-FFF2-40B4-BE49-F238E27FC236}">
                  <a16:creationId xmlns="" xmlns:a16="http://schemas.microsoft.com/office/drawing/2014/main" id="{69D04014-F2C7-4E8B-BD8B-18718ACFE983}"/>
                </a:ext>
              </a:extLst>
            </p:cNvPr>
            <p:cNvSpPr>
              <a:spLocks/>
            </p:cNvSpPr>
            <p:nvPr/>
          </p:nvSpPr>
          <p:spPr bwMode="gray">
            <a:xfrm>
              <a:off x="6216819" y="3795726"/>
              <a:ext cx="324082" cy="530970"/>
            </a:xfrm>
            <a:custGeom>
              <a:avLst/>
              <a:gdLst/>
              <a:ahLst/>
              <a:cxnLst>
                <a:cxn ang="0">
                  <a:pos x="34" y="432"/>
                </a:cxn>
                <a:cxn ang="0">
                  <a:pos x="6" y="384"/>
                </a:cxn>
                <a:cxn ang="0">
                  <a:pos x="0" y="360"/>
                </a:cxn>
                <a:cxn ang="0">
                  <a:pos x="72" y="280"/>
                </a:cxn>
                <a:cxn ang="0">
                  <a:pos x="82" y="150"/>
                </a:cxn>
                <a:cxn ang="0">
                  <a:pos x="104" y="120"/>
                </a:cxn>
                <a:cxn ang="0">
                  <a:pos x="80" y="86"/>
                </a:cxn>
                <a:cxn ang="0">
                  <a:pos x="84" y="46"/>
                </a:cxn>
                <a:cxn ang="0">
                  <a:pos x="66" y="14"/>
                </a:cxn>
                <a:cxn ang="0">
                  <a:pos x="110" y="0"/>
                </a:cxn>
                <a:cxn ang="0">
                  <a:pos x="399" y="170"/>
                </a:cxn>
                <a:cxn ang="0">
                  <a:pos x="397" y="322"/>
                </a:cxn>
                <a:cxn ang="0">
                  <a:pos x="359" y="330"/>
                </a:cxn>
                <a:cxn ang="0">
                  <a:pos x="359" y="354"/>
                </a:cxn>
                <a:cxn ang="0">
                  <a:pos x="343" y="364"/>
                </a:cxn>
                <a:cxn ang="0">
                  <a:pos x="355" y="384"/>
                </a:cxn>
                <a:cxn ang="0">
                  <a:pos x="323" y="400"/>
                </a:cxn>
                <a:cxn ang="0">
                  <a:pos x="333" y="414"/>
                </a:cxn>
                <a:cxn ang="0">
                  <a:pos x="329" y="428"/>
                </a:cxn>
                <a:cxn ang="0">
                  <a:pos x="345" y="438"/>
                </a:cxn>
                <a:cxn ang="0">
                  <a:pos x="365" y="490"/>
                </a:cxn>
                <a:cxn ang="0">
                  <a:pos x="375" y="496"/>
                </a:cxn>
                <a:cxn ang="0">
                  <a:pos x="371" y="506"/>
                </a:cxn>
                <a:cxn ang="0">
                  <a:pos x="309" y="520"/>
                </a:cxn>
                <a:cxn ang="0">
                  <a:pos x="301" y="554"/>
                </a:cxn>
                <a:cxn ang="0">
                  <a:pos x="275" y="586"/>
                </a:cxn>
                <a:cxn ang="0">
                  <a:pos x="248" y="590"/>
                </a:cxn>
                <a:cxn ang="0">
                  <a:pos x="220" y="590"/>
                </a:cxn>
                <a:cxn ang="0">
                  <a:pos x="224" y="607"/>
                </a:cxn>
                <a:cxn ang="0">
                  <a:pos x="200" y="631"/>
                </a:cxn>
                <a:cxn ang="0">
                  <a:pos x="172" y="633"/>
                </a:cxn>
                <a:cxn ang="0">
                  <a:pos x="138" y="647"/>
                </a:cxn>
                <a:cxn ang="0">
                  <a:pos x="124" y="635"/>
                </a:cxn>
                <a:cxn ang="0">
                  <a:pos x="110" y="647"/>
                </a:cxn>
                <a:cxn ang="0">
                  <a:pos x="88" y="645"/>
                </a:cxn>
                <a:cxn ang="0">
                  <a:pos x="82" y="605"/>
                </a:cxn>
                <a:cxn ang="0">
                  <a:pos x="64" y="603"/>
                </a:cxn>
                <a:cxn ang="0">
                  <a:pos x="34" y="566"/>
                </a:cxn>
                <a:cxn ang="0">
                  <a:pos x="44" y="554"/>
                </a:cxn>
                <a:cxn ang="0">
                  <a:pos x="58" y="556"/>
                </a:cxn>
                <a:cxn ang="0">
                  <a:pos x="84" y="550"/>
                </a:cxn>
                <a:cxn ang="0">
                  <a:pos x="66" y="518"/>
                </a:cxn>
                <a:cxn ang="0">
                  <a:pos x="68" y="480"/>
                </a:cxn>
                <a:cxn ang="0">
                  <a:pos x="52" y="434"/>
                </a:cxn>
                <a:cxn ang="0">
                  <a:pos x="34" y="432"/>
                </a:cxn>
              </a:cxnLst>
              <a:rect l="0" t="0" r="r" b="b"/>
              <a:pathLst>
                <a:path w="399" h="647">
                  <a:moveTo>
                    <a:pt x="34" y="432"/>
                  </a:moveTo>
                  <a:lnTo>
                    <a:pt x="6" y="384"/>
                  </a:lnTo>
                  <a:lnTo>
                    <a:pt x="0" y="360"/>
                  </a:lnTo>
                  <a:lnTo>
                    <a:pt x="72" y="280"/>
                  </a:lnTo>
                  <a:lnTo>
                    <a:pt x="82" y="150"/>
                  </a:lnTo>
                  <a:lnTo>
                    <a:pt x="104" y="120"/>
                  </a:lnTo>
                  <a:lnTo>
                    <a:pt x="80" y="86"/>
                  </a:lnTo>
                  <a:lnTo>
                    <a:pt x="84" y="46"/>
                  </a:lnTo>
                  <a:lnTo>
                    <a:pt x="66" y="14"/>
                  </a:lnTo>
                  <a:lnTo>
                    <a:pt x="110" y="0"/>
                  </a:lnTo>
                  <a:lnTo>
                    <a:pt x="399" y="170"/>
                  </a:lnTo>
                  <a:lnTo>
                    <a:pt x="397" y="322"/>
                  </a:lnTo>
                  <a:lnTo>
                    <a:pt x="359" y="330"/>
                  </a:lnTo>
                  <a:lnTo>
                    <a:pt x="359" y="354"/>
                  </a:lnTo>
                  <a:lnTo>
                    <a:pt x="343" y="364"/>
                  </a:lnTo>
                  <a:lnTo>
                    <a:pt x="355" y="384"/>
                  </a:lnTo>
                  <a:lnTo>
                    <a:pt x="323" y="400"/>
                  </a:lnTo>
                  <a:lnTo>
                    <a:pt x="333" y="414"/>
                  </a:lnTo>
                  <a:lnTo>
                    <a:pt x="329" y="428"/>
                  </a:lnTo>
                  <a:lnTo>
                    <a:pt x="345" y="438"/>
                  </a:lnTo>
                  <a:lnTo>
                    <a:pt x="365" y="490"/>
                  </a:lnTo>
                  <a:lnTo>
                    <a:pt x="375" y="496"/>
                  </a:lnTo>
                  <a:lnTo>
                    <a:pt x="371" y="506"/>
                  </a:lnTo>
                  <a:lnTo>
                    <a:pt x="309" y="520"/>
                  </a:lnTo>
                  <a:lnTo>
                    <a:pt x="301" y="554"/>
                  </a:lnTo>
                  <a:lnTo>
                    <a:pt x="275" y="586"/>
                  </a:lnTo>
                  <a:lnTo>
                    <a:pt x="248" y="590"/>
                  </a:lnTo>
                  <a:lnTo>
                    <a:pt x="220" y="590"/>
                  </a:lnTo>
                  <a:lnTo>
                    <a:pt x="224" y="607"/>
                  </a:lnTo>
                  <a:lnTo>
                    <a:pt x="200" y="631"/>
                  </a:lnTo>
                  <a:lnTo>
                    <a:pt x="172" y="633"/>
                  </a:lnTo>
                  <a:lnTo>
                    <a:pt x="138" y="647"/>
                  </a:lnTo>
                  <a:lnTo>
                    <a:pt x="124" y="635"/>
                  </a:lnTo>
                  <a:lnTo>
                    <a:pt x="110" y="647"/>
                  </a:lnTo>
                  <a:lnTo>
                    <a:pt x="88" y="645"/>
                  </a:lnTo>
                  <a:lnTo>
                    <a:pt x="82" y="605"/>
                  </a:lnTo>
                  <a:lnTo>
                    <a:pt x="64" y="603"/>
                  </a:lnTo>
                  <a:lnTo>
                    <a:pt x="34" y="566"/>
                  </a:lnTo>
                  <a:lnTo>
                    <a:pt x="44" y="554"/>
                  </a:lnTo>
                  <a:lnTo>
                    <a:pt x="58" y="556"/>
                  </a:lnTo>
                  <a:lnTo>
                    <a:pt x="84" y="550"/>
                  </a:lnTo>
                  <a:lnTo>
                    <a:pt x="66" y="518"/>
                  </a:lnTo>
                  <a:lnTo>
                    <a:pt x="68" y="480"/>
                  </a:lnTo>
                  <a:lnTo>
                    <a:pt x="52" y="434"/>
                  </a:lnTo>
                  <a:lnTo>
                    <a:pt x="34" y="432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71" name="Chile">
              <a:extLst>
                <a:ext uri="{FF2B5EF4-FFF2-40B4-BE49-F238E27FC236}">
                  <a16:creationId xmlns="" xmlns:a16="http://schemas.microsoft.com/office/drawing/2014/main" id="{145A11A9-2233-46E5-97AC-33CC5975500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364501" y="5191983"/>
              <a:ext cx="271371" cy="1571281"/>
            </a:xfrm>
            <a:custGeom>
              <a:avLst/>
              <a:gdLst/>
              <a:ahLst/>
              <a:cxnLst>
                <a:cxn ang="0">
                  <a:pos x="90" y="878"/>
                </a:cxn>
                <a:cxn ang="0">
                  <a:pos x="75" y="883"/>
                </a:cxn>
                <a:cxn ang="0">
                  <a:pos x="45" y="870"/>
                </a:cxn>
                <a:cxn ang="0">
                  <a:pos x="60" y="856"/>
                </a:cxn>
                <a:cxn ang="0">
                  <a:pos x="45" y="831"/>
                </a:cxn>
                <a:cxn ang="0">
                  <a:pos x="39" y="818"/>
                </a:cxn>
                <a:cxn ang="0">
                  <a:pos x="31" y="769"/>
                </a:cxn>
                <a:cxn ang="0">
                  <a:pos x="31" y="723"/>
                </a:cxn>
                <a:cxn ang="0">
                  <a:pos x="32" y="707"/>
                </a:cxn>
                <a:cxn ang="0">
                  <a:pos x="13" y="685"/>
                </a:cxn>
                <a:cxn ang="0">
                  <a:pos x="15" y="661"/>
                </a:cxn>
                <a:cxn ang="0">
                  <a:pos x="41" y="675"/>
                </a:cxn>
                <a:cxn ang="0">
                  <a:pos x="49" y="617"/>
                </a:cxn>
                <a:cxn ang="0">
                  <a:pos x="59" y="552"/>
                </a:cxn>
                <a:cxn ang="0">
                  <a:pos x="50" y="487"/>
                </a:cxn>
                <a:cxn ang="0">
                  <a:pos x="61" y="402"/>
                </a:cxn>
                <a:cxn ang="0">
                  <a:pos x="80" y="291"/>
                </a:cxn>
                <a:cxn ang="0">
                  <a:pos x="91" y="205"/>
                </a:cxn>
                <a:cxn ang="0">
                  <a:pos x="99" y="118"/>
                </a:cxn>
                <a:cxn ang="0">
                  <a:pos x="102" y="17"/>
                </a:cxn>
                <a:cxn ang="0">
                  <a:pos x="138" y="74"/>
                </a:cxn>
                <a:cxn ang="0">
                  <a:pos x="141" y="147"/>
                </a:cxn>
                <a:cxn ang="0">
                  <a:pos x="129" y="215"/>
                </a:cxn>
                <a:cxn ang="0">
                  <a:pos x="104" y="280"/>
                </a:cxn>
                <a:cxn ang="0">
                  <a:pos x="105" y="382"/>
                </a:cxn>
                <a:cxn ang="0">
                  <a:pos x="91" y="476"/>
                </a:cxn>
                <a:cxn ang="0">
                  <a:pos x="78" y="563"/>
                </a:cxn>
                <a:cxn ang="0">
                  <a:pos x="86" y="630"/>
                </a:cxn>
                <a:cxn ang="0">
                  <a:pos x="78" y="657"/>
                </a:cxn>
                <a:cxn ang="0">
                  <a:pos x="61" y="726"/>
                </a:cxn>
                <a:cxn ang="0">
                  <a:pos x="46" y="804"/>
                </a:cxn>
                <a:cxn ang="0">
                  <a:pos x="130" y="843"/>
                </a:cxn>
                <a:cxn ang="0">
                  <a:pos x="132" y="858"/>
                </a:cxn>
                <a:cxn ang="0">
                  <a:pos x="106" y="871"/>
                </a:cxn>
                <a:cxn ang="0">
                  <a:pos x="123" y="891"/>
                </a:cxn>
                <a:cxn ang="0">
                  <a:pos x="125" y="920"/>
                </a:cxn>
                <a:cxn ang="0">
                  <a:pos x="100" y="923"/>
                </a:cxn>
                <a:cxn ang="0">
                  <a:pos x="92" y="931"/>
                </a:cxn>
                <a:cxn ang="0">
                  <a:pos x="165" y="935"/>
                </a:cxn>
                <a:cxn ang="0">
                  <a:pos x="159" y="949"/>
                </a:cxn>
                <a:cxn ang="0">
                  <a:pos x="130" y="947"/>
                </a:cxn>
                <a:cxn ang="0">
                  <a:pos x="142" y="945"/>
                </a:cxn>
                <a:cxn ang="0">
                  <a:pos x="111" y="944"/>
                </a:cxn>
                <a:cxn ang="0">
                  <a:pos x="96" y="938"/>
                </a:cxn>
                <a:cxn ang="0">
                  <a:pos x="117" y="936"/>
                </a:cxn>
                <a:cxn ang="0">
                  <a:pos x="62" y="905"/>
                </a:cxn>
                <a:cxn ang="0">
                  <a:pos x="28" y="876"/>
                </a:cxn>
                <a:cxn ang="0">
                  <a:pos x="38" y="874"/>
                </a:cxn>
                <a:cxn ang="0">
                  <a:pos x="77" y="911"/>
                </a:cxn>
                <a:cxn ang="0">
                  <a:pos x="88" y="912"/>
                </a:cxn>
                <a:cxn ang="0">
                  <a:pos x="98" y="890"/>
                </a:cxn>
                <a:cxn ang="0">
                  <a:pos x="25" y="822"/>
                </a:cxn>
                <a:cxn ang="0">
                  <a:pos x="18" y="814"/>
                </a:cxn>
                <a:cxn ang="0">
                  <a:pos x="14" y="745"/>
                </a:cxn>
                <a:cxn ang="0">
                  <a:pos x="19" y="764"/>
                </a:cxn>
                <a:cxn ang="0">
                  <a:pos x="12" y="738"/>
                </a:cxn>
                <a:cxn ang="0">
                  <a:pos x="6" y="784"/>
                </a:cxn>
                <a:cxn ang="0">
                  <a:pos x="18" y="841"/>
                </a:cxn>
                <a:cxn ang="0">
                  <a:pos x="55" y="882"/>
                </a:cxn>
                <a:cxn ang="0">
                  <a:pos x="61" y="869"/>
                </a:cxn>
                <a:cxn ang="0">
                  <a:pos x="53" y="630"/>
                </a:cxn>
                <a:cxn ang="0">
                  <a:pos x="26" y="593"/>
                </a:cxn>
                <a:cxn ang="0">
                  <a:pos x="34" y="558"/>
                </a:cxn>
              </a:cxnLst>
              <a:rect l="0" t="0" r="r" b="b"/>
              <a:pathLst>
                <a:path w="167" h="959">
                  <a:moveTo>
                    <a:pt x="121" y="848"/>
                  </a:moveTo>
                  <a:cubicBezTo>
                    <a:pt x="116" y="856"/>
                    <a:pt x="116" y="856"/>
                    <a:pt x="116" y="856"/>
                  </a:cubicBezTo>
                  <a:cubicBezTo>
                    <a:pt x="109" y="858"/>
                    <a:pt x="109" y="858"/>
                    <a:pt x="109" y="858"/>
                  </a:cubicBezTo>
                  <a:cubicBezTo>
                    <a:pt x="101" y="863"/>
                    <a:pt x="101" y="863"/>
                    <a:pt x="101" y="863"/>
                  </a:cubicBezTo>
                  <a:cubicBezTo>
                    <a:pt x="93" y="863"/>
                    <a:pt x="93" y="863"/>
                    <a:pt x="93" y="863"/>
                  </a:cubicBezTo>
                  <a:cubicBezTo>
                    <a:pt x="93" y="870"/>
                    <a:pt x="93" y="870"/>
                    <a:pt x="93" y="870"/>
                  </a:cubicBezTo>
                  <a:cubicBezTo>
                    <a:pt x="90" y="878"/>
                    <a:pt x="90" y="878"/>
                    <a:pt x="90" y="878"/>
                  </a:cubicBezTo>
                  <a:cubicBezTo>
                    <a:pt x="89" y="891"/>
                    <a:pt x="89" y="891"/>
                    <a:pt x="89" y="891"/>
                  </a:cubicBezTo>
                  <a:cubicBezTo>
                    <a:pt x="86" y="900"/>
                    <a:pt x="86" y="900"/>
                    <a:pt x="86" y="900"/>
                  </a:cubicBezTo>
                  <a:cubicBezTo>
                    <a:pt x="78" y="898"/>
                    <a:pt x="78" y="898"/>
                    <a:pt x="78" y="898"/>
                  </a:cubicBezTo>
                  <a:cubicBezTo>
                    <a:pt x="69" y="893"/>
                    <a:pt x="69" y="893"/>
                    <a:pt x="69" y="893"/>
                  </a:cubicBezTo>
                  <a:cubicBezTo>
                    <a:pt x="63" y="881"/>
                    <a:pt x="63" y="881"/>
                    <a:pt x="63" y="881"/>
                  </a:cubicBezTo>
                  <a:cubicBezTo>
                    <a:pt x="70" y="880"/>
                    <a:pt x="70" y="880"/>
                    <a:pt x="70" y="880"/>
                  </a:cubicBezTo>
                  <a:cubicBezTo>
                    <a:pt x="75" y="883"/>
                    <a:pt x="75" y="883"/>
                    <a:pt x="75" y="883"/>
                  </a:cubicBezTo>
                  <a:cubicBezTo>
                    <a:pt x="81" y="879"/>
                    <a:pt x="81" y="879"/>
                    <a:pt x="81" y="879"/>
                  </a:cubicBezTo>
                  <a:cubicBezTo>
                    <a:pt x="85" y="869"/>
                    <a:pt x="85" y="869"/>
                    <a:pt x="85" y="869"/>
                  </a:cubicBezTo>
                  <a:cubicBezTo>
                    <a:pt x="78" y="858"/>
                    <a:pt x="78" y="858"/>
                    <a:pt x="78" y="858"/>
                  </a:cubicBezTo>
                  <a:cubicBezTo>
                    <a:pt x="62" y="861"/>
                    <a:pt x="62" y="861"/>
                    <a:pt x="62" y="861"/>
                  </a:cubicBezTo>
                  <a:cubicBezTo>
                    <a:pt x="53" y="866"/>
                    <a:pt x="53" y="866"/>
                    <a:pt x="53" y="866"/>
                  </a:cubicBezTo>
                  <a:cubicBezTo>
                    <a:pt x="50" y="873"/>
                    <a:pt x="50" y="873"/>
                    <a:pt x="50" y="873"/>
                  </a:cubicBezTo>
                  <a:cubicBezTo>
                    <a:pt x="45" y="870"/>
                    <a:pt x="45" y="870"/>
                    <a:pt x="45" y="870"/>
                  </a:cubicBezTo>
                  <a:cubicBezTo>
                    <a:pt x="41" y="865"/>
                    <a:pt x="41" y="865"/>
                    <a:pt x="41" y="865"/>
                  </a:cubicBezTo>
                  <a:cubicBezTo>
                    <a:pt x="41" y="857"/>
                    <a:pt x="41" y="857"/>
                    <a:pt x="41" y="857"/>
                  </a:cubicBezTo>
                  <a:cubicBezTo>
                    <a:pt x="40" y="847"/>
                    <a:pt x="40" y="847"/>
                    <a:pt x="40" y="847"/>
                  </a:cubicBezTo>
                  <a:cubicBezTo>
                    <a:pt x="48" y="846"/>
                    <a:pt x="48" y="846"/>
                    <a:pt x="48" y="846"/>
                  </a:cubicBezTo>
                  <a:cubicBezTo>
                    <a:pt x="54" y="846"/>
                    <a:pt x="54" y="846"/>
                    <a:pt x="54" y="846"/>
                  </a:cubicBezTo>
                  <a:cubicBezTo>
                    <a:pt x="52" y="856"/>
                    <a:pt x="52" y="856"/>
                    <a:pt x="52" y="856"/>
                  </a:cubicBezTo>
                  <a:cubicBezTo>
                    <a:pt x="60" y="856"/>
                    <a:pt x="60" y="856"/>
                    <a:pt x="60" y="856"/>
                  </a:cubicBezTo>
                  <a:cubicBezTo>
                    <a:pt x="60" y="847"/>
                    <a:pt x="60" y="847"/>
                    <a:pt x="60" y="847"/>
                  </a:cubicBezTo>
                  <a:cubicBezTo>
                    <a:pt x="58" y="839"/>
                    <a:pt x="58" y="839"/>
                    <a:pt x="58" y="839"/>
                  </a:cubicBezTo>
                  <a:cubicBezTo>
                    <a:pt x="58" y="829"/>
                    <a:pt x="58" y="829"/>
                    <a:pt x="58" y="829"/>
                  </a:cubicBezTo>
                  <a:cubicBezTo>
                    <a:pt x="50" y="825"/>
                    <a:pt x="50" y="825"/>
                    <a:pt x="50" y="825"/>
                  </a:cubicBezTo>
                  <a:cubicBezTo>
                    <a:pt x="51" y="839"/>
                    <a:pt x="51" y="839"/>
                    <a:pt x="51" y="839"/>
                  </a:cubicBezTo>
                  <a:cubicBezTo>
                    <a:pt x="46" y="839"/>
                    <a:pt x="46" y="839"/>
                    <a:pt x="46" y="839"/>
                  </a:cubicBezTo>
                  <a:cubicBezTo>
                    <a:pt x="45" y="831"/>
                    <a:pt x="45" y="831"/>
                    <a:pt x="45" y="831"/>
                  </a:cubicBezTo>
                  <a:cubicBezTo>
                    <a:pt x="42" y="841"/>
                    <a:pt x="42" y="841"/>
                    <a:pt x="42" y="841"/>
                  </a:cubicBezTo>
                  <a:cubicBezTo>
                    <a:pt x="38" y="831"/>
                    <a:pt x="38" y="831"/>
                    <a:pt x="38" y="831"/>
                  </a:cubicBezTo>
                  <a:cubicBezTo>
                    <a:pt x="33" y="835"/>
                    <a:pt x="33" y="835"/>
                    <a:pt x="33" y="835"/>
                  </a:cubicBezTo>
                  <a:cubicBezTo>
                    <a:pt x="30" y="833"/>
                    <a:pt x="30" y="833"/>
                    <a:pt x="30" y="833"/>
                  </a:cubicBezTo>
                  <a:cubicBezTo>
                    <a:pt x="34" y="826"/>
                    <a:pt x="34" y="826"/>
                    <a:pt x="34" y="826"/>
                  </a:cubicBezTo>
                  <a:cubicBezTo>
                    <a:pt x="39" y="825"/>
                    <a:pt x="39" y="825"/>
                    <a:pt x="39" y="825"/>
                  </a:cubicBezTo>
                  <a:cubicBezTo>
                    <a:pt x="39" y="818"/>
                    <a:pt x="39" y="818"/>
                    <a:pt x="39" y="818"/>
                  </a:cubicBezTo>
                  <a:cubicBezTo>
                    <a:pt x="33" y="814"/>
                    <a:pt x="33" y="814"/>
                    <a:pt x="33" y="814"/>
                  </a:cubicBezTo>
                  <a:cubicBezTo>
                    <a:pt x="33" y="805"/>
                    <a:pt x="33" y="805"/>
                    <a:pt x="33" y="805"/>
                  </a:cubicBezTo>
                  <a:cubicBezTo>
                    <a:pt x="27" y="801"/>
                    <a:pt x="27" y="801"/>
                    <a:pt x="27" y="801"/>
                  </a:cubicBezTo>
                  <a:cubicBezTo>
                    <a:pt x="21" y="792"/>
                    <a:pt x="21" y="792"/>
                    <a:pt x="21" y="792"/>
                  </a:cubicBezTo>
                  <a:cubicBezTo>
                    <a:pt x="25" y="786"/>
                    <a:pt x="25" y="786"/>
                    <a:pt x="25" y="786"/>
                  </a:cubicBezTo>
                  <a:cubicBezTo>
                    <a:pt x="27" y="779"/>
                    <a:pt x="27" y="779"/>
                    <a:pt x="27" y="779"/>
                  </a:cubicBezTo>
                  <a:cubicBezTo>
                    <a:pt x="31" y="769"/>
                    <a:pt x="31" y="769"/>
                    <a:pt x="31" y="769"/>
                  </a:cubicBezTo>
                  <a:cubicBezTo>
                    <a:pt x="34" y="763"/>
                    <a:pt x="34" y="763"/>
                    <a:pt x="34" y="763"/>
                  </a:cubicBezTo>
                  <a:cubicBezTo>
                    <a:pt x="38" y="758"/>
                    <a:pt x="38" y="758"/>
                    <a:pt x="38" y="758"/>
                  </a:cubicBezTo>
                  <a:cubicBezTo>
                    <a:pt x="36" y="749"/>
                    <a:pt x="36" y="749"/>
                    <a:pt x="36" y="749"/>
                  </a:cubicBezTo>
                  <a:cubicBezTo>
                    <a:pt x="29" y="756"/>
                    <a:pt x="29" y="756"/>
                    <a:pt x="29" y="756"/>
                  </a:cubicBezTo>
                  <a:cubicBezTo>
                    <a:pt x="29" y="735"/>
                    <a:pt x="29" y="735"/>
                    <a:pt x="29" y="735"/>
                  </a:cubicBezTo>
                  <a:cubicBezTo>
                    <a:pt x="24" y="723"/>
                    <a:pt x="24" y="723"/>
                    <a:pt x="24" y="723"/>
                  </a:cubicBezTo>
                  <a:cubicBezTo>
                    <a:pt x="31" y="723"/>
                    <a:pt x="31" y="723"/>
                    <a:pt x="31" y="723"/>
                  </a:cubicBezTo>
                  <a:cubicBezTo>
                    <a:pt x="45" y="726"/>
                    <a:pt x="45" y="726"/>
                    <a:pt x="45" y="726"/>
                  </a:cubicBezTo>
                  <a:cubicBezTo>
                    <a:pt x="45" y="721"/>
                    <a:pt x="45" y="721"/>
                    <a:pt x="45" y="721"/>
                  </a:cubicBezTo>
                  <a:cubicBezTo>
                    <a:pt x="42" y="715"/>
                    <a:pt x="42" y="715"/>
                    <a:pt x="42" y="715"/>
                  </a:cubicBezTo>
                  <a:cubicBezTo>
                    <a:pt x="27" y="718"/>
                    <a:pt x="27" y="718"/>
                    <a:pt x="27" y="718"/>
                  </a:cubicBezTo>
                  <a:cubicBezTo>
                    <a:pt x="23" y="711"/>
                    <a:pt x="23" y="711"/>
                    <a:pt x="23" y="711"/>
                  </a:cubicBezTo>
                  <a:cubicBezTo>
                    <a:pt x="30" y="713"/>
                    <a:pt x="30" y="713"/>
                    <a:pt x="30" y="713"/>
                  </a:cubicBezTo>
                  <a:cubicBezTo>
                    <a:pt x="32" y="707"/>
                    <a:pt x="32" y="707"/>
                    <a:pt x="32" y="707"/>
                  </a:cubicBezTo>
                  <a:cubicBezTo>
                    <a:pt x="25" y="706"/>
                    <a:pt x="25" y="706"/>
                    <a:pt x="25" y="706"/>
                  </a:cubicBezTo>
                  <a:cubicBezTo>
                    <a:pt x="27" y="700"/>
                    <a:pt x="27" y="700"/>
                    <a:pt x="27" y="700"/>
                  </a:cubicBezTo>
                  <a:cubicBezTo>
                    <a:pt x="32" y="697"/>
                    <a:pt x="32" y="697"/>
                    <a:pt x="32" y="697"/>
                  </a:cubicBezTo>
                  <a:cubicBezTo>
                    <a:pt x="32" y="690"/>
                    <a:pt x="32" y="690"/>
                    <a:pt x="32" y="690"/>
                  </a:cubicBezTo>
                  <a:cubicBezTo>
                    <a:pt x="25" y="686"/>
                    <a:pt x="25" y="686"/>
                    <a:pt x="25" y="686"/>
                  </a:cubicBezTo>
                  <a:cubicBezTo>
                    <a:pt x="19" y="690"/>
                    <a:pt x="19" y="690"/>
                    <a:pt x="19" y="690"/>
                  </a:cubicBezTo>
                  <a:cubicBezTo>
                    <a:pt x="13" y="685"/>
                    <a:pt x="13" y="685"/>
                    <a:pt x="13" y="685"/>
                  </a:cubicBezTo>
                  <a:cubicBezTo>
                    <a:pt x="8" y="686"/>
                    <a:pt x="8" y="686"/>
                    <a:pt x="8" y="686"/>
                  </a:cubicBezTo>
                  <a:cubicBezTo>
                    <a:pt x="9" y="693"/>
                    <a:pt x="9" y="693"/>
                    <a:pt x="9" y="693"/>
                  </a:cubicBezTo>
                  <a:cubicBezTo>
                    <a:pt x="2" y="692"/>
                    <a:pt x="2" y="692"/>
                    <a:pt x="2" y="692"/>
                  </a:cubicBezTo>
                  <a:cubicBezTo>
                    <a:pt x="0" y="683"/>
                    <a:pt x="0" y="683"/>
                    <a:pt x="0" y="683"/>
                  </a:cubicBezTo>
                  <a:cubicBezTo>
                    <a:pt x="9" y="678"/>
                    <a:pt x="9" y="678"/>
                    <a:pt x="9" y="678"/>
                  </a:cubicBezTo>
                  <a:cubicBezTo>
                    <a:pt x="17" y="672"/>
                    <a:pt x="17" y="672"/>
                    <a:pt x="17" y="672"/>
                  </a:cubicBezTo>
                  <a:cubicBezTo>
                    <a:pt x="15" y="661"/>
                    <a:pt x="15" y="661"/>
                    <a:pt x="15" y="661"/>
                  </a:cubicBezTo>
                  <a:cubicBezTo>
                    <a:pt x="27" y="658"/>
                    <a:pt x="27" y="658"/>
                    <a:pt x="27" y="658"/>
                  </a:cubicBezTo>
                  <a:cubicBezTo>
                    <a:pt x="29" y="665"/>
                    <a:pt x="29" y="665"/>
                    <a:pt x="29" y="665"/>
                  </a:cubicBezTo>
                  <a:cubicBezTo>
                    <a:pt x="23" y="672"/>
                    <a:pt x="23" y="672"/>
                    <a:pt x="23" y="672"/>
                  </a:cubicBezTo>
                  <a:cubicBezTo>
                    <a:pt x="25" y="677"/>
                    <a:pt x="25" y="677"/>
                    <a:pt x="25" y="677"/>
                  </a:cubicBezTo>
                  <a:cubicBezTo>
                    <a:pt x="36" y="672"/>
                    <a:pt x="36" y="672"/>
                    <a:pt x="36" y="672"/>
                  </a:cubicBezTo>
                  <a:cubicBezTo>
                    <a:pt x="37" y="681"/>
                    <a:pt x="37" y="681"/>
                    <a:pt x="37" y="681"/>
                  </a:cubicBezTo>
                  <a:cubicBezTo>
                    <a:pt x="41" y="675"/>
                    <a:pt x="41" y="675"/>
                    <a:pt x="41" y="675"/>
                  </a:cubicBezTo>
                  <a:cubicBezTo>
                    <a:pt x="45" y="670"/>
                    <a:pt x="45" y="670"/>
                    <a:pt x="45" y="670"/>
                  </a:cubicBezTo>
                  <a:cubicBezTo>
                    <a:pt x="45" y="660"/>
                    <a:pt x="45" y="660"/>
                    <a:pt x="45" y="660"/>
                  </a:cubicBezTo>
                  <a:cubicBezTo>
                    <a:pt x="50" y="649"/>
                    <a:pt x="50" y="649"/>
                    <a:pt x="50" y="649"/>
                  </a:cubicBezTo>
                  <a:cubicBezTo>
                    <a:pt x="45" y="639"/>
                    <a:pt x="45" y="639"/>
                    <a:pt x="45" y="639"/>
                  </a:cubicBezTo>
                  <a:cubicBezTo>
                    <a:pt x="59" y="633"/>
                    <a:pt x="59" y="633"/>
                    <a:pt x="59" y="633"/>
                  </a:cubicBezTo>
                  <a:cubicBezTo>
                    <a:pt x="59" y="623"/>
                    <a:pt x="59" y="623"/>
                    <a:pt x="59" y="623"/>
                  </a:cubicBezTo>
                  <a:cubicBezTo>
                    <a:pt x="49" y="617"/>
                    <a:pt x="49" y="617"/>
                    <a:pt x="49" y="617"/>
                  </a:cubicBezTo>
                  <a:cubicBezTo>
                    <a:pt x="57" y="608"/>
                    <a:pt x="57" y="608"/>
                    <a:pt x="57" y="608"/>
                  </a:cubicBezTo>
                  <a:cubicBezTo>
                    <a:pt x="54" y="595"/>
                    <a:pt x="54" y="595"/>
                    <a:pt x="54" y="595"/>
                  </a:cubicBezTo>
                  <a:cubicBezTo>
                    <a:pt x="58" y="590"/>
                    <a:pt x="58" y="590"/>
                    <a:pt x="58" y="590"/>
                  </a:cubicBezTo>
                  <a:cubicBezTo>
                    <a:pt x="61" y="582"/>
                    <a:pt x="61" y="582"/>
                    <a:pt x="61" y="582"/>
                  </a:cubicBezTo>
                  <a:cubicBezTo>
                    <a:pt x="58" y="578"/>
                    <a:pt x="58" y="578"/>
                    <a:pt x="58" y="578"/>
                  </a:cubicBezTo>
                  <a:cubicBezTo>
                    <a:pt x="65" y="562"/>
                    <a:pt x="65" y="562"/>
                    <a:pt x="65" y="562"/>
                  </a:cubicBezTo>
                  <a:cubicBezTo>
                    <a:pt x="59" y="552"/>
                    <a:pt x="59" y="552"/>
                    <a:pt x="59" y="552"/>
                  </a:cubicBezTo>
                  <a:cubicBezTo>
                    <a:pt x="63" y="543"/>
                    <a:pt x="63" y="543"/>
                    <a:pt x="63" y="543"/>
                  </a:cubicBezTo>
                  <a:cubicBezTo>
                    <a:pt x="55" y="545"/>
                    <a:pt x="55" y="545"/>
                    <a:pt x="55" y="545"/>
                  </a:cubicBezTo>
                  <a:cubicBezTo>
                    <a:pt x="47" y="549"/>
                    <a:pt x="47" y="549"/>
                    <a:pt x="47" y="549"/>
                  </a:cubicBezTo>
                  <a:cubicBezTo>
                    <a:pt x="40" y="546"/>
                    <a:pt x="40" y="546"/>
                    <a:pt x="40" y="546"/>
                  </a:cubicBezTo>
                  <a:cubicBezTo>
                    <a:pt x="35" y="534"/>
                    <a:pt x="35" y="534"/>
                    <a:pt x="35" y="534"/>
                  </a:cubicBezTo>
                  <a:cubicBezTo>
                    <a:pt x="41" y="507"/>
                    <a:pt x="41" y="507"/>
                    <a:pt x="41" y="507"/>
                  </a:cubicBezTo>
                  <a:cubicBezTo>
                    <a:pt x="50" y="487"/>
                    <a:pt x="50" y="487"/>
                    <a:pt x="50" y="487"/>
                  </a:cubicBezTo>
                  <a:cubicBezTo>
                    <a:pt x="44" y="454"/>
                    <a:pt x="44" y="454"/>
                    <a:pt x="44" y="454"/>
                  </a:cubicBezTo>
                  <a:cubicBezTo>
                    <a:pt x="39" y="451"/>
                    <a:pt x="39" y="451"/>
                    <a:pt x="39" y="451"/>
                  </a:cubicBezTo>
                  <a:cubicBezTo>
                    <a:pt x="38" y="436"/>
                    <a:pt x="38" y="436"/>
                    <a:pt x="38" y="436"/>
                  </a:cubicBezTo>
                  <a:cubicBezTo>
                    <a:pt x="48" y="437"/>
                    <a:pt x="48" y="437"/>
                    <a:pt x="48" y="437"/>
                  </a:cubicBezTo>
                  <a:cubicBezTo>
                    <a:pt x="52" y="428"/>
                    <a:pt x="52" y="428"/>
                    <a:pt x="52" y="428"/>
                  </a:cubicBezTo>
                  <a:cubicBezTo>
                    <a:pt x="54" y="416"/>
                    <a:pt x="54" y="416"/>
                    <a:pt x="54" y="416"/>
                  </a:cubicBezTo>
                  <a:cubicBezTo>
                    <a:pt x="61" y="402"/>
                    <a:pt x="61" y="402"/>
                    <a:pt x="61" y="402"/>
                  </a:cubicBezTo>
                  <a:cubicBezTo>
                    <a:pt x="61" y="393"/>
                    <a:pt x="61" y="393"/>
                    <a:pt x="61" y="393"/>
                  </a:cubicBezTo>
                  <a:cubicBezTo>
                    <a:pt x="68" y="384"/>
                    <a:pt x="68" y="384"/>
                    <a:pt x="68" y="384"/>
                  </a:cubicBezTo>
                  <a:cubicBezTo>
                    <a:pt x="76" y="351"/>
                    <a:pt x="76" y="351"/>
                    <a:pt x="76" y="351"/>
                  </a:cubicBezTo>
                  <a:cubicBezTo>
                    <a:pt x="82" y="351"/>
                    <a:pt x="82" y="351"/>
                    <a:pt x="82" y="351"/>
                  </a:cubicBezTo>
                  <a:cubicBezTo>
                    <a:pt x="81" y="333"/>
                    <a:pt x="81" y="333"/>
                    <a:pt x="81" y="333"/>
                  </a:cubicBezTo>
                  <a:cubicBezTo>
                    <a:pt x="85" y="321"/>
                    <a:pt x="85" y="321"/>
                    <a:pt x="85" y="321"/>
                  </a:cubicBezTo>
                  <a:cubicBezTo>
                    <a:pt x="80" y="291"/>
                    <a:pt x="80" y="291"/>
                    <a:pt x="80" y="291"/>
                  </a:cubicBezTo>
                  <a:cubicBezTo>
                    <a:pt x="83" y="272"/>
                    <a:pt x="83" y="272"/>
                    <a:pt x="83" y="272"/>
                  </a:cubicBezTo>
                  <a:cubicBezTo>
                    <a:pt x="87" y="259"/>
                    <a:pt x="87" y="259"/>
                    <a:pt x="87" y="259"/>
                  </a:cubicBezTo>
                  <a:cubicBezTo>
                    <a:pt x="83" y="244"/>
                    <a:pt x="83" y="244"/>
                    <a:pt x="83" y="244"/>
                  </a:cubicBezTo>
                  <a:cubicBezTo>
                    <a:pt x="87" y="237"/>
                    <a:pt x="87" y="237"/>
                    <a:pt x="87" y="237"/>
                  </a:cubicBezTo>
                  <a:cubicBezTo>
                    <a:pt x="87" y="219"/>
                    <a:pt x="87" y="219"/>
                    <a:pt x="87" y="219"/>
                  </a:cubicBezTo>
                  <a:cubicBezTo>
                    <a:pt x="91" y="213"/>
                    <a:pt x="91" y="213"/>
                    <a:pt x="91" y="213"/>
                  </a:cubicBezTo>
                  <a:cubicBezTo>
                    <a:pt x="91" y="205"/>
                    <a:pt x="91" y="205"/>
                    <a:pt x="91" y="205"/>
                  </a:cubicBezTo>
                  <a:cubicBezTo>
                    <a:pt x="99" y="190"/>
                    <a:pt x="99" y="190"/>
                    <a:pt x="99" y="190"/>
                  </a:cubicBezTo>
                  <a:cubicBezTo>
                    <a:pt x="97" y="171"/>
                    <a:pt x="97" y="171"/>
                    <a:pt x="97" y="171"/>
                  </a:cubicBezTo>
                  <a:cubicBezTo>
                    <a:pt x="102" y="166"/>
                    <a:pt x="102" y="166"/>
                    <a:pt x="102" y="166"/>
                  </a:cubicBezTo>
                  <a:cubicBezTo>
                    <a:pt x="100" y="153"/>
                    <a:pt x="100" y="153"/>
                    <a:pt x="100" y="153"/>
                  </a:cubicBezTo>
                  <a:cubicBezTo>
                    <a:pt x="101" y="137"/>
                    <a:pt x="101" y="137"/>
                    <a:pt x="101" y="137"/>
                  </a:cubicBezTo>
                  <a:cubicBezTo>
                    <a:pt x="105" y="125"/>
                    <a:pt x="105" y="125"/>
                    <a:pt x="105" y="125"/>
                  </a:cubicBezTo>
                  <a:cubicBezTo>
                    <a:pt x="99" y="118"/>
                    <a:pt x="99" y="118"/>
                    <a:pt x="99" y="118"/>
                  </a:cubicBezTo>
                  <a:cubicBezTo>
                    <a:pt x="105" y="111"/>
                    <a:pt x="105" y="111"/>
                    <a:pt x="105" y="111"/>
                  </a:cubicBezTo>
                  <a:cubicBezTo>
                    <a:pt x="106" y="102"/>
                    <a:pt x="106" y="102"/>
                    <a:pt x="106" y="102"/>
                  </a:cubicBezTo>
                  <a:cubicBezTo>
                    <a:pt x="108" y="96"/>
                    <a:pt x="108" y="96"/>
                    <a:pt x="108" y="96"/>
                  </a:cubicBezTo>
                  <a:cubicBezTo>
                    <a:pt x="108" y="79"/>
                    <a:pt x="108" y="79"/>
                    <a:pt x="108" y="79"/>
                  </a:cubicBezTo>
                  <a:cubicBezTo>
                    <a:pt x="108" y="41"/>
                    <a:pt x="108" y="41"/>
                    <a:pt x="108" y="41"/>
                  </a:cubicBezTo>
                  <a:cubicBezTo>
                    <a:pt x="101" y="26"/>
                    <a:pt x="101" y="26"/>
                    <a:pt x="101" y="26"/>
                  </a:cubicBezTo>
                  <a:cubicBezTo>
                    <a:pt x="102" y="17"/>
                    <a:pt x="102" y="17"/>
                    <a:pt x="102" y="17"/>
                  </a:cubicBezTo>
                  <a:cubicBezTo>
                    <a:pt x="96" y="14"/>
                    <a:pt x="96" y="14"/>
                    <a:pt x="96" y="14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30" y="38"/>
                    <a:pt x="130" y="38"/>
                    <a:pt x="130" y="38"/>
                  </a:cubicBezTo>
                  <a:cubicBezTo>
                    <a:pt x="130" y="46"/>
                    <a:pt x="130" y="46"/>
                    <a:pt x="130" y="46"/>
                  </a:cubicBezTo>
                  <a:cubicBezTo>
                    <a:pt x="133" y="51"/>
                    <a:pt x="133" y="51"/>
                    <a:pt x="133" y="51"/>
                  </a:cubicBezTo>
                  <a:cubicBezTo>
                    <a:pt x="133" y="71"/>
                    <a:pt x="133" y="71"/>
                    <a:pt x="133" y="71"/>
                  </a:cubicBezTo>
                  <a:cubicBezTo>
                    <a:pt x="138" y="74"/>
                    <a:pt x="138" y="74"/>
                    <a:pt x="138" y="74"/>
                  </a:cubicBezTo>
                  <a:cubicBezTo>
                    <a:pt x="141" y="80"/>
                    <a:pt x="141" y="80"/>
                    <a:pt x="141" y="80"/>
                  </a:cubicBezTo>
                  <a:cubicBezTo>
                    <a:pt x="144" y="106"/>
                    <a:pt x="144" y="106"/>
                    <a:pt x="144" y="106"/>
                  </a:cubicBezTo>
                  <a:cubicBezTo>
                    <a:pt x="165" y="115"/>
                    <a:pt x="165" y="115"/>
                    <a:pt x="165" y="115"/>
                  </a:cubicBezTo>
                  <a:cubicBezTo>
                    <a:pt x="161" y="130"/>
                    <a:pt x="161" y="130"/>
                    <a:pt x="161" y="130"/>
                  </a:cubicBezTo>
                  <a:cubicBezTo>
                    <a:pt x="156" y="136"/>
                    <a:pt x="156" y="136"/>
                    <a:pt x="156" y="136"/>
                  </a:cubicBezTo>
                  <a:cubicBezTo>
                    <a:pt x="144" y="144"/>
                    <a:pt x="144" y="144"/>
                    <a:pt x="144" y="144"/>
                  </a:cubicBezTo>
                  <a:cubicBezTo>
                    <a:pt x="141" y="147"/>
                    <a:pt x="141" y="147"/>
                    <a:pt x="141" y="147"/>
                  </a:cubicBezTo>
                  <a:cubicBezTo>
                    <a:pt x="141" y="155"/>
                    <a:pt x="141" y="155"/>
                    <a:pt x="141" y="155"/>
                  </a:cubicBezTo>
                  <a:cubicBezTo>
                    <a:pt x="136" y="166"/>
                    <a:pt x="136" y="166"/>
                    <a:pt x="136" y="166"/>
                  </a:cubicBezTo>
                  <a:cubicBezTo>
                    <a:pt x="138" y="175"/>
                    <a:pt x="138" y="175"/>
                    <a:pt x="138" y="175"/>
                  </a:cubicBezTo>
                  <a:cubicBezTo>
                    <a:pt x="138" y="192"/>
                    <a:pt x="138" y="192"/>
                    <a:pt x="138" y="192"/>
                  </a:cubicBezTo>
                  <a:cubicBezTo>
                    <a:pt x="142" y="200"/>
                    <a:pt x="142" y="200"/>
                    <a:pt x="142" y="200"/>
                  </a:cubicBezTo>
                  <a:cubicBezTo>
                    <a:pt x="134" y="207"/>
                    <a:pt x="134" y="207"/>
                    <a:pt x="134" y="207"/>
                  </a:cubicBezTo>
                  <a:cubicBezTo>
                    <a:pt x="129" y="215"/>
                    <a:pt x="129" y="215"/>
                    <a:pt x="129" y="215"/>
                  </a:cubicBezTo>
                  <a:cubicBezTo>
                    <a:pt x="127" y="223"/>
                    <a:pt x="127" y="223"/>
                    <a:pt x="127" y="223"/>
                  </a:cubicBezTo>
                  <a:cubicBezTo>
                    <a:pt x="120" y="229"/>
                    <a:pt x="120" y="229"/>
                    <a:pt x="120" y="229"/>
                  </a:cubicBezTo>
                  <a:cubicBezTo>
                    <a:pt x="113" y="243"/>
                    <a:pt x="113" y="243"/>
                    <a:pt x="113" y="243"/>
                  </a:cubicBezTo>
                  <a:cubicBezTo>
                    <a:pt x="112" y="253"/>
                    <a:pt x="112" y="253"/>
                    <a:pt x="112" y="253"/>
                  </a:cubicBezTo>
                  <a:cubicBezTo>
                    <a:pt x="113" y="273"/>
                    <a:pt x="113" y="273"/>
                    <a:pt x="113" y="273"/>
                  </a:cubicBezTo>
                  <a:cubicBezTo>
                    <a:pt x="109" y="279"/>
                    <a:pt x="109" y="279"/>
                    <a:pt x="109" y="279"/>
                  </a:cubicBezTo>
                  <a:cubicBezTo>
                    <a:pt x="104" y="280"/>
                    <a:pt x="104" y="280"/>
                    <a:pt x="104" y="280"/>
                  </a:cubicBezTo>
                  <a:cubicBezTo>
                    <a:pt x="105" y="291"/>
                    <a:pt x="105" y="291"/>
                    <a:pt x="105" y="291"/>
                  </a:cubicBezTo>
                  <a:cubicBezTo>
                    <a:pt x="100" y="294"/>
                    <a:pt x="100" y="294"/>
                    <a:pt x="100" y="294"/>
                  </a:cubicBezTo>
                  <a:cubicBezTo>
                    <a:pt x="101" y="306"/>
                    <a:pt x="101" y="306"/>
                    <a:pt x="101" y="306"/>
                  </a:cubicBezTo>
                  <a:cubicBezTo>
                    <a:pt x="109" y="326"/>
                    <a:pt x="109" y="326"/>
                    <a:pt x="109" y="326"/>
                  </a:cubicBezTo>
                  <a:cubicBezTo>
                    <a:pt x="112" y="342"/>
                    <a:pt x="112" y="342"/>
                    <a:pt x="112" y="342"/>
                  </a:cubicBezTo>
                  <a:cubicBezTo>
                    <a:pt x="111" y="361"/>
                    <a:pt x="111" y="361"/>
                    <a:pt x="111" y="361"/>
                  </a:cubicBezTo>
                  <a:cubicBezTo>
                    <a:pt x="105" y="382"/>
                    <a:pt x="105" y="382"/>
                    <a:pt x="105" y="382"/>
                  </a:cubicBezTo>
                  <a:cubicBezTo>
                    <a:pt x="100" y="404"/>
                    <a:pt x="100" y="404"/>
                    <a:pt x="100" y="404"/>
                  </a:cubicBezTo>
                  <a:cubicBezTo>
                    <a:pt x="95" y="409"/>
                    <a:pt x="95" y="409"/>
                    <a:pt x="95" y="409"/>
                  </a:cubicBezTo>
                  <a:cubicBezTo>
                    <a:pt x="94" y="416"/>
                    <a:pt x="94" y="416"/>
                    <a:pt x="94" y="416"/>
                  </a:cubicBezTo>
                  <a:cubicBezTo>
                    <a:pt x="89" y="420"/>
                    <a:pt x="89" y="420"/>
                    <a:pt x="89" y="420"/>
                  </a:cubicBezTo>
                  <a:cubicBezTo>
                    <a:pt x="89" y="439"/>
                    <a:pt x="89" y="439"/>
                    <a:pt x="89" y="439"/>
                  </a:cubicBezTo>
                  <a:cubicBezTo>
                    <a:pt x="92" y="463"/>
                    <a:pt x="92" y="463"/>
                    <a:pt x="92" y="463"/>
                  </a:cubicBezTo>
                  <a:cubicBezTo>
                    <a:pt x="91" y="476"/>
                    <a:pt x="91" y="476"/>
                    <a:pt x="91" y="476"/>
                  </a:cubicBezTo>
                  <a:cubicBezTo>
                    <a:pt x="86" y="476"/>
                    <a:pt x="86" y="476"/>
                    <a:pt x="86" y="476"/>
                  </a:cubicBezTo>
                  <a:cubicBezTo>
                    <a:pt x="80" y="488"/>
                    <a:pt x="80" y="488"/>
                    <a:pt x="80" y="488"/>
                  </a:cubicBezTo>
                  <a:cubicBezTo>
                    <a:pt x="75" y="507"/>
                    <a:pt x="75" y="507"/>
                    <a:pt x="75" y="507"/>
                  </a:cubicBezTo>
                  <a:cubicBezTo>
                    <a:pt x="77" y="514"/>
                    <a:pt x="77" y="514"/>
                    <a:pt x="77" y="514"/>
                  </a:cubicBezTo>
                  <a:cubicBezTo>
                    <a:pt x="73" y="523"/>
                    <a:pt x="73" y="523"/>
                    <a:pt x="73" y="523"/>
                  </a:cubicBezTo>
                  <a:cubicBezTo>
                    <a:pt x="75" y="546"/>
                    <a:pt x="75" y="546"/>
                    <a:pt x="75" y="546"/>
                  </a:cubicBezTo>
                  <a:cubicBezTo>
                    <a:pt x="78" y="563"/>
                    <a:pt x="78" y="563"/>
                    <a:pt x="78" y="563"/>
                  </a:cubicBezTo>
                  <a:cubicBezTo>
                    <a:pt x="67" y="568"/>
                    <a:pt x="67" y="568"/>
                    <a:pt x="67" y="568"/>
                  </a:cubicBezTo>
                  <a:cubicBezTo>
                    <a:pt x="66" y="573"/>
                    <a:pt x="66" y="573"/>
                    <a:pt x="66" y="573"/>
                  </a:cubicBezTo>
                  <a:cubicBezTo>
                    <a:pt x="73" y="583"/>
                    <a:pt x="73" y="583"/>
                    <a:pt x="73" y="583"/>
                  </a:cubicBezTo>
                  <a:cubicBezTo>
                    <a:pt x="75" y="598"/>
                    <a:pt x="75" y="598"/>
                    <a:pt x="75" y="598"/>
                  </a:cubicBezTo>
                  <a:cubicBezTo>
                    <a:pt x="74" y="618"/>
                    <a:pt x="74" y="618"/>
                    <a:pt x="74" y="618"/>
                  </a:cubicBezTo>
                  <a:cubicBezTo>
                    <a:pt x="86" y="624"/>
                    <a:pt x="86" y="624"/>
                    <a:pt x="86" y="624"/>
                  </a:cubicBezTo>
                  <a:cubicBezTo>
                    <a:pt x="86" y="630"/>
                    <a:pt x="86" y="630"/>
                    <a:pt x="86" y="630"/>
                  </a:cubicBezTo>
                  <a:cubicBezTo>
                    <a:pt x="74" y="629"/>
                    <a:pt x="74" y="629"/>
                    <a:pt x="74" y="629"/>
                  </a:cubicBezTo>
                  <a:cubicBezTo>
                    <a:pt x="71" y="633"/>
                    <a:pt x="71" y="633"/>
                    <a:pt x="71" y="633"/>
                  </a:cubicBezTo>
                  <a:cubicBezTo>
                    <a:pt x="72" y="634"/>
                    <a:pt x="72" y="634"/>
                    <a:pt x="72" y="634"/>
                  </a:cubicBezTo>
                  <a:cubicBezTo>
                    <a:pt x="79" y="636"/>
                    <a:pt x="79" y="636"/>
                    <a:pt x="79" y="636"/>
                  </a:cubicBezTo>
                  <a:cubicBezTo>
                    <a:pt x="84" y="642"/>
                    <a:pt x="84" y="642"/>
                    <a:pt x="84" y="642"/>
                  </a:cubicBezTo>
                  <a:cubicBezTo>
                    <a:pt x="76" y="652"/>
                    <a:pt x="76" y="652"/>
                    <a:pt x="76" y="652"/>
                  </a:cubicBezTo>
                  <a:cubicBezTo>
                    <a:pt x="78" y="657"/>
                    <a:pt x="78" y="657"/>
                    <a:pt x="78" y="657"/>
                  </a:cubicBezTo>
                  <a:cubicBezTo>
                    <a:pt x="76" y="662"/>
                    <a:pt x="76" y="662"/>
                    <a:pt x="76" y="662"/>
                  </a:cubicBezTo>
                  <a:cubicBezTo>
                    <a:pt x="76" y="679"/>
                    <a:pt x="76" y="679"/>
                    <a:pt x="76" y="679"/>
                  </a:cubicBezTo>
                  <a:cubicBezTo>
                    <a:pt x="73" y="682"/>
                    <a:pt x="73" y="682"/>
                    <a:pt x="73" y="682"/>
                  </a:cubicBezTo>
                  <a:cubicBezTo>
                    <a:pt x="72" y="695"/>
                    <a:pt x="72" y="695"/>
                    <a:pt x="72" y="695"/>
                  </a:cubicBezTo>
                  <a:cubicBezTo>
                    <a:pt x="58" y="709"/>
                    <a:pt x="58" y="709"/>
                    <a:pt x="58" y="709"/>
                  </a:cubicBezTo>
                  <a:cubicBezTo>
                    <a:pt x="58" y="715"/>
                    <a:pt x="58" y="715"/>
                    <a:pt x="58" y="715"/>
                  </a:cubicBezTo>
                  <a:cubicBezTo>
                    <a:pt x="61" y="726"/>
                    <a:pt x="61" y="726"/>
                    <a:pt x="61" y="726"/>
                  </a:cubicBezTo>
                  <a:cubicBezTo>
                    <a:pt x="57" y="737"/>
                    <a:pt x="57" y="737"/>
                    <a:pt x="57" y="737"/>
                  </a:cubicBezTo>
                  <a:cubicBezTo>
                    <a:pt x="53" y="746"/>
                    <a:pt x="53" y="746"/>
                    <a:pt x="53" y="746"/>
                  </a:cubicBezTo>
                  <a:cubicBezTo>
                    <a:pt x="41" y="765"/>
                    <a:pt x="41" y="765"/>
                    <a:pt x="41" y="765"/>
                  </a:cubicBezTo>
                  <a:cubicBezTo>
                    <a:pt x="37" y="781"/>
                    <a:pt x="37" y="781"/>
                    <a:pt x="37" y="781"/>
                  </a:cubicBezTo>
                  <a:cubicBezTo>
                    <a:pt x="38" y="788"/>
                    <a:pt x="38" y="788"/>
                    <a:pt x="38" y="788"/>
                  </a:cubicBezTo>
                  <a:cubicBezTo>
                    <a:pt x="43" y="795"/>
                    <a:pt x="43" y="795"/>
                    <a:pt x="43" y="795"/>
                  </a:cubicBezTo>
                  <a:cubicBezTo>
                    <a:pt x="46" y="804"/>
                    <a:pt x="46" y="804"/>
                    <a:pt x="46" y="804"/>
                  </a:cubicBezTo>
                  <a:cubicBezTo>
                    <a:pt x="53" y="799"/>
                    <a:pt x="53" y="799"/>
                    <a:pt x="53" y="799"/>
                  </a:cubicBezTo>
                  <a:cubicBezTo>
                    <a:pt x="60" y="799"/>
                    <a:pt x="60" y="799"/>
                    <a:pt x="60" y="799"/>
                  </a:cubicBezTo>
                  <a:cubicBezTo>
                    <a:pt x="60" y="814"/>
                    <a:pt x="60" y="814"/>
                    <a:pt x="60" y="814"/>
                  </a:cubicBezTo>
                  <a:cubicBezTo>
                    <a:pt x="62" y="821"/>
                    <a:pt x="62" y="821"/>
                    <a:pt x="62" y="821"/>
                  </a:cubicBezTo>
                  <a:cubicBezTo>
                    <a:pt x="61" y="828"/>
                    <a:pt x="61" y="828"/>
                    <a:pt x="61" y="828"/>
                  </a:cubicBezTo>
                  <a:cubicBezTo>
                    <a:pt x="70" y="843"/>
                    <a:pt x="70" y="843"/>
                    <a:pt x="70" y="843"/>
                  </a:cubicBezTo>
                  <a:cubicBezTo>
                    <a:pt x="130" y="843"/>
                    <a:pt x="130" y="843"/>
                    <a:pt x="130" y="843"/>
                  </a:cubicBezTo>
                  <a:cubicBezTo>
                    <a:pt x="136" y="851"/>
                    <a:pt x="136" y="851"/>
                    <a:pt x="136" y="851"/>
                  </a:cubicBezTo>
                  <a:cubicBezTo>
                    <a:pt x="128" y="848"/>
                    <a:pt x="128" y="848"/>
                    <a:pt x="128" y="848"/>
                  </a:cubicBezTo>
                  <a:lnTo>
                    <a:pt x="121" y="848"/>
                  </a:lnTo>
                  <a:close/>
                  <a:moveTo>
                    <a:pt x="136" y="932"/>
                  </a:moveTo>
                  <a:cubicBezTo>
                    <a:pt x="136" y="903"/>
                    <a:pt x="136" y="903"/>
                    <a:pt x="136" y="903"/>
                  </a:cubicBezTo>
                  <a:cubicBezTo>
                    <a:pt x="137" y="864"/>
                    <a:pt x="137" y="864"/>
                    <a:pt x="137" y="864"/>
                  </a:cubicBezTo>
                  <a:cubicBezTo>
                    <a:pt x="132" y="858"/>
                    <a:pt x="132" y="858"/>
                    <a:pt x="132" y="858"/>
                  </a:cubicBezTo>
                  <a:cubicBezTo>
                    <a:pt x="125" y="860"/>
                    <a:pt x="125" y="860"/>
                    <a:pt x="125" y="860"/>
                  </a:cubicBezTo>
                  <a:cubicBezTo>
                    <a:pt x="122" y="857"/>
                    <a:pt x="122" y="857"/>
                    <a:pt x="122" y="857"/>
                  </a:cubicBezTo>
                  <a:cubicBezTo>
                    <a:pt x="117" y="857"/>
                    <a:pt x="117" y="857"/>
                    <a:pt x="117" y="857"/>
                  </a:cubicBezTo>
                  <a:cubicBezTo>
                    <a:pt x="112" y="867"/>
                    <a:pt x="112" y="867"/>
                    <a:pt x="112" y="867"/>
                  </a:cubicBezTo>
                  <a:cubicBezTo>
                    <a:pt x="104" y="865"/>
                    <a:pt x="104" y="865"/>
                    <a:pt x="104" y="865"/>
                  </a:cubicBezTo>
                  <a:cubicBezTo>
                    <a:pt x="101" y="867"/>
                    <a:pt x="101" y="867"/>
                    <a:pt x="101" y="867"/>
                  </a:cubicBezTo>
                  <a:cubicBezTo>
                    <a:pt x="106" y="871"/>
                    <a:pt x="106" y="871"/>
                    <a:pt x="106" y="871"/>
                  </a:cubicBezTo>
                  <a:cubicBezTo>
                    <a:pt x="103" y="875"/>
                    <a:pt x="103" y="875"/>
                    <a:pt x="103" y="875"/>
                  </a:cubicBezTo>
                  <a:cubicBezTo>
                    <a:pt x="100" y="874"/>
                    <a:pt x="100" y="874"/>
                    <a:pt x="100" y="874"/>
                  </a:cubicBezTo>
                  <a:cubicBezTo>
                    <a:pt x="99" y="884"/>
                    <a:pt x="99" y="884"/>
                    <a:pt x="99" y="884"/>
                  </a:cubicBezTo>
                  <a:cubicBezTo>
                    <a:pt x="105" y="887"/>
                    <a:pt x="105" y="887"/>
                    <a:pt x="105" y="887"/>
                  </a:cubicBezTo>
                  <a:cubicBezTo>
                    <a:pt x="113" y="887"/>
                    <a:pt x="113" y="887"/>
                    <a:pt x="113" y="887"/>
                  </a:cubicBezTo>
                  <a:cubicBezTo>
                    <a:pt x="122" y="887"/>
                    <a:pt x="122" y="887"/>
                    <a:pt x="122" y="887"/>
                  </a:cubicBezTo>
                  <a:cubicBezTo>
                    <a:pt x="123" y="891"/>
                    <a:pt x="123" y="891"/>
                    <a:pt x="123" y="891"/>
                  </a:cubicBezTo>
                  <a:cubicBezTo>
                    <a:pt x="117" y="893"/>
                    <a:pt x="117" y="893"/>
                    <a:pt x="117" y="893"/>
                  </a:cubicBezTo>
                  <a:cubicBezTo>
                    <a:pt x="109" y="894"/>
                    <a:pt x="109" y="894"/>
                    <a:pt x="109" y="894"/>
                  </a:cubicBezTo>
                  <a:cubicBezTo>
                    <a:pt x="106" y="896"/>
                    <a:pt x="106" y="896"/>
                    <a:pt x="106" y="896"/>
                  </a:cubicBezTo>
                  <a:cubicBezTo>
                    <a:pt x="108" y="905"/>
                    <a:pt x="108" y="905"/>
                    <a:pt x="108" y="905"/>
                  </a:cubicBezTo>
                  <a:cubicBezTo>
                    <a:pt x="114" y="911"/>
                    <a:pt x="114" y="911"/>
                    <a:pt x="114" y="911"/>
                  </a:cubicBezTo>
                  <a:cubicBezTo>
                    <a:pt x="129" y="916"/>
                    <a:pt x="129" y="916"/>
                    <a:pt x="129" y="916"/>
                  </a:cubicBezTo>
                  <a:cubicBezTo>
                    <a:pt x="125" y="920"/>
                    <a:pt x="125" y="920"/>
                    <a:pt x="125" y="920"/>
                  </a:cubicBezTo>
                  <a:cubicBezTo>
                    <a:pt x="117" y="918"/>
                    <a:pt x="117" y="918"/>
                    <a:pt x="117" y="918"/>
                  </a:cubicBezTo>
                  <a:cubicBezTo>
                    <a:pt x="112" y="915"/>
                    <a:pt x="112" y="915"/>
                    <a:pt x="112" y="915"/>
                  </a:cubicBezTo>
                  <a:cubicBezTo>
                    <a:pt x="108" y="915"/>
                    <a:pt x="108" y="915"/>
                    <a:pt x="108" y="915"/>
                  </a:cubicBezTo>
                  <a:cubicBezTo>
                    <a:pt x="106" y="917"/>
                    <a:pt x="106" y="917"/>
                    <a:pt x="106" y="917"/>
                  </a:cubicBezTo>
                  <a:cubicBezTo>
                    <a:pt x="97" y="916"/>
                    <a:pt x="97" y="916"/>
                    <a:pt x="97" y="916"/>
                  </a:cubicBezTo>
                  <a:cubicBezTo>
                    <a:pt x="105" y="924"/>
                    <a:pt x="105" y="924"/>
                    <a:pt x="105" y="924"/>
                  </a:cubicBezTo>
                  <a:cubicBezTo>
                    <a:pt x="100" y="923"/>
                    <a:pt x="100" y="923"/>
                    <a:pt x="100" y="923"/>
                  </a:cubicBezTo>
                  <a:cubicBezTo>
                    <a:pt x="94" y="919"/>
                    <a:pt x="94" y="919"/>
                    <a:pt x="94" y="919"/>
                  </a:cubicBezTo>
                  <a:cubicBezTo>
                    <a:pt x="91" y="921"/>
                    <a:pt x="91" y="921"/>
                    <a:pt x="91" y="921"/>
                  </a:cubicBezTo>
                  <a:cubicBezTo>
                    <a:pt x="84" y="919"/>
                    <a:pt x="84" y="919"/>
                    <a:pt x="84" y="919"/>
                  </a:cubicBezTo>
                  <a:cubicBezTo>
                    <a:pt x="72" y="921"/>
                    <a:pt x="72" y="921"/>
                    <a:pt x="72" y="921"/>
                  </a:cubicBezTo>
                  <a:cubicBezTo>
                    <a:pt x="72" y="924"/>
                    <a:pt x="72" y="924"/>
                    <a:pt x="72" y="924"/>
                  </a:cubicBezTo>
                  <a:cubicBezTo>
                    <a:pt x="92" y="927"/>
                    <a:pt x="92" y="927"/>
                    <a:pt x="92" y="927"/>
                  </a:cubicBezTo>
                  <a:cubicBezTo>
                    <a:pt x="92" y="931"/>
                    <a:pt x="92" y="931"/>
                    <a:pt x="92" y="931"/>
                  </a:cubicBezTo>
                  <a:cubicBezTo>
                    <a:pt x="102" y="931"/>
                    <a:pt x="102" y="931"/>
                    <a:pt x="102" y="931"/>
                  </a:cubicBezTo>
                  <a:cubicBezTo>
                    <a:pt x="104" y="932"/>
                    <a:pt x="104" y="932"/>
                    <a:pt x="104" y="932"/>
                  </a:cubicBezTo>
                  <a:cubicBezTo>
                    <a:pt x="123" y="933"/>
                    <a:pt x="123" y="933"/>
                    <a:pt x="123" y="933"/>
                  </a:cubicBezTo>
                  <a:cubicBezTo>
                    <a:pt x="131" y="935"/>
                    <a:pt x="131" y="935"/>
                    <a:pt x="131" y="935"/>
                  </a:cubicBezTo>
                  <a:lnTo>
                    <a:pt x="136" y="932"/>
                  </a:lnTo>
                  <a:close/>
                  <a:moveTo>
                    <a:pt x="167" y="940"/>
                  </a:moveTo>
                  <a:cubicBezTo>
                    <a:pt x="165" y="935"/>
                    <a:pt x="165" y="935"/>
                    <a:pt x="165" y="935"/>
                  </a:cubicBezTo>
                  <a:cubicBezTo>
                    <a:pt x="157" y="933"/>
                    <a:pt x="157" y="933"/>
                    <a:pt x="157" y="933"/>
                  </a:cubicBezTo>
                  <a:cubicBezTo>
                    <a:pt x="156" y="936"/>
                    <a:pt x="156" y="936"/>
                    <a:pt x="156" y="936"/>
                  </a:cubicBezTo>
                  <a:cubicBezTo>
                    <a:pt x="144" y="939"/>
                    <a:pt x="144" y="939"/>
                    <a:pt x="144" y="939"/>
                  </a:cubicBezTo>
                  <a:cubicBezTo>
                    <a:pt x="146" y="944"/>
                    <a:pt x="146" y="944"/>
                    <a:pt x="146" y="944"/>
                  </a:cubicBezTo>
                  <a:cubicBezTo>
                    <a:pt x="152" y="947"/>
                    <a:pt x="152" y="947"/>
                    <a:pt x="152" y="947"/>
                  </a:cubicBezTo>
                  <a:cubicBezTo>
                    <a:pt x="158" y="945"/>
                    <a:pt x="158" y="945"/>
                    <a:pt x="158" y="945"/>
                  </a:cubicBezTo>
                  <a:cubicBezTo>
                    <a:pt x="159" y="949"/>
                    <a:pt x="159" y="949"/>
                    <a:pt x="159" y="949"/>
                  </a:cubicBezTo>
                  <a:cubicBezTo>
                    <a:pt x="163" y="949"/>
                    <a:pt x="163" y="949"/>
                    <a:pt x="163" y="949"/>
                  </a:cubicBezTo>
                  <a:lnTo>
                    <a:pt x="167" y="940"/>
                  </a:lnTo>
                  <a:close/>
                  <a:moveTo>
                    <a:pt x="120" y="955"/>
                  </a:moveTo>
                  <a:cubicBezTo>
                    <a:pt x="124" y="954"/>
                    <a:pt x="124" y="954"/>
                    <a:pt x="124" y="954"/>
                  </a:cubicBezTo>
                  <a:cubicBezTo>
                    <a:pt x="121" y="949"/>
                    <a:pt x="121" y="949"/>
                    <a:pt x="121" y="949"/>
                  </a:cubicBezTo>
                  <a:cubicBezTo>
                    <a:pt x="124" y="947"/>
                    <a:pt x="124" y="947"/>
                    <a:pt x="124" y="947"/>
                  </a:cubicBezTo>
                  <a:cubicBezTo>
                    <a:pt x="130" y="947"/>
                    <a:pt x="130" y="947"/>
                    <a:pt x="130" y="947"/>
                  </a:cubicBezTo>
                  <a:cubicBezTo>
                    <a:pt x="132" y="955"/>
                    <a:pt x="132" y="955"/>
                    <a:pt x="132" y="955"/>
                  </a:cubicBezTo>
                  <a:cubicBezTo>
                    <a:pt x="140" y="955"/>
                    <a:pt x="140" y="955"/>
                    <a:pt x="140" y="955"/>
                  </a:cubicBezTo>
                  <a:cubicBezTo>
                    <a:pt x="147" y="959"/>
                    <a:pt x="147" y="959"/>
                    <a:pt x="147" y="959"/>
                  </a:cubicBezTo>
                  <a:cubicBezTo>
                    <a:pt x="149" y="957"/>
                    <a:pt x="149" y="957"/>
                    <a:pt x="149" y="957"/>
                  </a:cubicBezTo>
                  <a:cubicBezTo>
                    <a:pt x="144" y="952"/>
                    <a:pt x="144" y="952"/>
                    <a:pt x="144" y="952"/>
                  </a:cubicBezTo>
                  <a:cubicBezTo>
                    <a:pt x="136" y="949"/>
                    <a:pt x="136" y="949"/>
                    <a:pt x="136" y="949"/>
                  </a:cubicBezTo>
                  <a:cubicBezTo>
                    <a:pt x="142" y="945"/>
                    <a:pt x="142" y="945"/>
                    <a:pt x="142" y="945"/>
                  </a:cubicBezTo>
                  <a:cubicBezTo>
                    <a:pt x="133" y="944"/>
                    <a:pt x="133" y="944"/>
                    <a:pt x="133" y="944"/>
                  </a:cubicBezTo>
                  <a:cubicBezTo>
                    <a:pt x="132" y="942"/>
                    <a:pt x="132" y="942"/>
                    <a:pt x="132" y="942"/>
                  </a:cubicBezTo>
                  <a:cubicBezTo>
                    <a:pt x="138" y="942"/>
                    <a:pt x="138" y="942"/>
                    <a:pt x="138" y="942"/>
                  </a:cubicBezTo>
                  <a:cubicBezTo>
                    <a:pt x="140" y="938"/>
                    <a:pt x="140" y="938"/>
                    <a:pt x="140" y="938"/>
                  </a:cubicBezTo>
                  <a:cubicBezTo>
                    <a:pt x="126" y="938"/>
                    <a:pt x="126" y="938"/>
                    <a:pt x="126" y="938"/>
                  </a:cubicBezTo>
                  <a:cubicBezTo>
                    <a:pt x="126" y="938"/>
                    <a:pt x="118" y="944"/>
                    <a:pt x="117" y="944"/>
                  </a:cubicBezTo>
                  <a:cubicBezTo>
                    <a:pt x="116" y="944"/>
                    <a:pt x="111" y="944"/>
                    <a:pt x="111" y="944"/>
                  </a:cubicBezTo>
                  <a:lnTo>
                    <a:pt x="120" y="955"/>
                  </a:lnTo>
                  <a:close/>
                  <a:moveTo>
                    <a:pt x="88" y="938"/>
                  </a:moveTo>
                  <a:cubicBezTo>
                    <a:pt x="92" y="942"/>
                    <a:pt x="92" y="942"/>
                    <a:pt x="92" y="942"/>
                  </a:cubicBezTo>
                  <a:cubicBezTo>
                    <a:pt x="98" y="942"/>
                    <a:pt x="98" y="942"/>
                    <a:pt x="98" y="942"/>
                  </a:cubicBezTo>
                  <a:cubicBezTo>
                    <a:pt x="102" y="942"/>
                    <a:pt x="102" y="942"/>
                    <a:pt x="102" y="942"/>
                  </a:cubicBezTo>
                  <a:cubicBezTo>
                    <a:pt x="100" y="937"/>
                    <a:pt x="100" y="937"/>
                    <a:pt x="100" y="937"/>
                  </a:cubicBezTo>
                  <a:cubicBezTo>
                    <a:pt x="96" y="938"/>
                    <a:pt x="96" y="938"/>
                    <a:pt x="96" y="938"/>
                  </a:cubicBezTo>
                  <a:cubicBezTo>
                    <a:pt x="91" y="936"/>
                    <a:pt x="91" y="936"/>
                    <a:pt x="91" y="936"/>
                  </a:cubicBezTo>
                  <a:cubicBezTo>
                    <a:pt x="85" y="932"/>
                    <a:pt x="85" y="932"/>
                    <a:pt x="85" y="932"/>
                  </a:cubicBezTo>
                  <a:cubicBezTo>
                    <a:pt x="82" y="935"/>
                    <a:pt x="82" y="935"/>
                    <a:pt x="82" y="935"/>
                  </a:cubicBezTo>
                  <a:lnTo>
                    <a:pt x="88" y="938"/>
                  </a:lnTo>
                  <a:close/>
                  <a:moveTo>
                    <a:pt x="117" y="941"/>
                  </a:moveTo>
                  <a:cubicBezTo>
                    <a:pt x="122" y="937"/>
                    <a:pt x="122" y="937"/>
                    <a:pt x="122" y="937"/>
                  </a:cubicBezTo>
                  <a:cubicBezTo>
                    <a:pt x="117" y="936"/>
                    <a:pt x="117" y="936"/>
                    <a:pt x="117" y="936"/>
                  </a:cubicBezTo>
                  <a:cubicBezTo>
                    <a:pt x="108" y="938"/>
                    <a:pt x="108" y="938"/>
                    <a:pt x="108" y="938"/>
                  </a:cubicBezTo>
                  <a:lnTo>
                    <a:pt x="117" y="941"/>
                  </a:lnTo>
                  <a:close/>
                  <a:moveTo>
                    <a:pt x="41" y="900"/>
                  </a:moveTo>
                  <a:cubicBezTo>
                    <a:pt x="45" y="902"/>
                    <a:pt x="45" y="902"/>
                    <a:pt x="45" y="902"/>
                  </a:cubicBezTo>
                  <a:cubicBezTo>
                    <a:pt x="49" y="908"/>
                    <a:pt x="49" y="908"/>
                    <a:pt x="49" y="908"/>
                  </a:cubicBezTo>
                  <a:cubicBezTo>
                    <a:pt x="58" y="909"/>
                    <a:pt x="58" y="909"/>
                    <a:pt x="58" y="909"/>
                  </a:cubicBezTo>
                  <a:cubicBezTo>
                    <a:pt x="62" y="905"/>
                    <a:pt x="62" y="905"/>
                    <a:pt x="62" y="905"/>
                  </a:cubicBezTo>
                  <a:cubicBezTo>
                    <a:pt x="65" y="897"/>
                    <a:pt x="65" y="897"/>
                    <a:pt x="65" y="897"/>
                  </a:cubicBezTo>
                  <a:cubicBezTo>
                    <a:pt x="55" y="888"/>
                    <a:pt x="55" y="888"/>
                    <a:pt x="55" y="888"/>
                  </a:cubicBezTo>
                  <a:cubicBezTo>
                    <a:pt x="50" y="890"/>
                    <a:pt x="50" y="890"/>
                    <a:pt x="50" y="890"/>
                  </a:cubicBezTo>
                  <a:cubicBezTo>
                    <a:pt x="46" y="888"/>
                    <a:pt x="46" y="888"/>
                    <a:pt x="46" y="888"/>
                  </a:cubicBezTo>
                  <a:cubicBezTo>
                    <a:pt x="36" y="892"/>
                    <a:pt x="36" y="892"/>
                    <a:pt x="36" y="892"/>
                  </a:cubicBezTo>
                  <a:lnTo>
                    <a:pt x="41" y="900"/>
                  </a:lnTo>
                  <a:close/>
                  <a:moveTo>
                    <a:pt x="28" y="876"/>
                  </a:moveTo>
                  <a:cubicBezTo>
                    <a:pt x="32" y="878"/>
                    <a:pt x="32" y="878"/>
                    <a:pt x="32" y="878"/>
                  </a:cubicBezTo>
                  <a:cubicBezTo>
                    <a:pt x="39" y="882"/>
                    <a:pt x="39" y="882"/>
                    <a:pt x="39" y="882"/>
                  </a:cubicBezTo>
                  <a:cubicBezTo>
                    <a:pt x="46" y="886"/>
                    <a:pt x="46" y="886"/>
                    <a:pt x="46" y="886"/>
                  </a:cubicBezTo>
                  <a:cubicBezTo>
                    <a:pt x="50" y="885"/>
                    <a:pt x="50" y="885"/>
                    <a:pt x="50" y="885"/>
                  </a:cubicBezTo>
                  <a:cubicBezTo>
                    <a:pt x="46" y="879"/>
                    <a:pt x="46" y="879"/>
                    <a:pt x="46" y="879"/>
                  </a:cubicBezTo>
                  <a:cubicBezTo>
                    <a:pt x="40" y="878"/>
                    <a:pt x="40" y="878"/>
                    <a:pt x="40" y="878"/>
                  </a:cubicBezTo>
                  <a:cubicBezTo>
                    <a:pt x="38" y="874"/>
                    <a:pt x="38" y="874"/>
                    <a:pt x="38" y="874"/>
                  </a:cubicBezTo>
                  <a:cubicBezTo>
                    <a:pt x="33" y="873"/>
                    <a:pt x="33" y="873"/>
                    <a:pt x="33" y="873"/>
                  </a:cubicBezTo>
                  <a:cubicBezTo>
                    <a:pt x="21" y="865"/>
                    <a:pt x="21" y="865"/>
                    <a:pt x="21" y="865"/>
                  </a:cubicBezTo>
                  <a:cubicBezTo>
                    <a:pt x="21" y="871"/>
                    <a:pt x="21" y="871"/>
                    <a:pt x="21" y="871"/>
                  </a:cubicBezTo>
                  <a:lnTo>
                    <a:pt x="28" y="876"/>
                  </a:lnTo>
                  <a:close/>
                  <a:moveTo>
                    <a:pt x="69" y="910"/>
                  </a:moveTo>
                  <a:cubicBezTo>
                    <a:pt x="74" y="915"/>
                    <a:pt x="74" y="915"/>
                    <a:pt x="74" y="915"/>
                  </a:cubicBezTo>
                  <a:cubicBezTo>
                    <a:pt x="77" y="911"/>
                    <a:pt x="77" y="911"/>
                    <a:pt x="77" y="911"/>
                  </a:cubicBezTo>
                  <a:cubicBezTo>
                    <a:pt x="75" y="908"/>
                    <a:pt x="75" y="908"/>
                    <a:pt x="75" y="908"/>
                  </a:cubicBezTo>
                  <a:cubicBezTo>
                    <a:pt x="75" y="902"/>
                    <a:pt x="75" y="902"/>
                    <a:pt x="75" y="902"/>
                  </a:cubicBezTo>
                  <a:cubicBezTo>
                    <a:pt x="71" y="902"/>
                    <a:pt x="71" y="902"/>
                    <a:pt x="71" y="902"/>
                  </a:cubicBezTo>
                  <a:cubicBezTo>
                    <a:pt x="67" y="904"/>
                    <a:pt x="67" y="904"/>
                    <a:pt x="67" y="904"/>
                  </a:cubicBezTo>
                  <a:lnTo>
                    <a:pt x="69" y="910"/>
                  </a:lnTo>
                  <a:close/>
                  <a:moveTo>
                    <a:pt x="84" y="916"/>
                  </a:moveTo>
                  <a:cubicBezTo>
                    <a:pt x="88" y="912"/>
                    <a:pt x="88" y="912"/>
                    <a:pt x="88" y="912"/>
                  </a:cubicBezTo>
                  <a:cubicBezTo>
                    <a:pt x="81" y="906"/>
                    <a:pt x="81" y="906"/>
                    <a:pt x="81" y="906"/>
                  </a:cubicBezTo>
                  <a:cubicBezTo>
                    <a:pt x="78" y="906"/>
                    <a:pt x="78" y="906"/>
                    <a:pt x="78" y="906"/>
                  </a:cubicBezTo>
                  <a:lnTo>
                    <a:pt x="84" y="916"/>
                  </a:lnTo>
                  <a:close/>
                  <a:moveTo>
                    <a:pt x="100" y="907"/>
                  </a:moveTo>
                  <a:cubicBezTo>
                    <a:pt x="103" y="904"/>
                    <a:pt x="103" y="904"/>
                    <a:pt x="103" y="904"/>
                  </a:cubicBezTo>
                  <a:cubicBezTo>
                    <a:pt x="101" y="896"/>
                    <a:pt x="101" y="896"/>
                    <a:pt x="101" y="896"/>
                  </a:cubicBezTo>
                  <a:cubicBezTo>
                    <a:pt x="98" y="890"/>
                    <a:pt x="98" y="890"/>
                    <a:pt x="98" y="890"/>
                  </a:cubicBezTo>
                  <a:cubicBezTo>
                    <a:pt x="97" y="900"/>
                    <a:pt x="97" y="900"/>
                    <a:pt x="97" y="900"/>
                  </a:cubicBezTo>
                  <a:cubicBezTo>
                    <a:pt x="93" y="901"/>
                    <a:pt x="93" y="901"/>
                    <a:pt x="93" y="901"/>
                  </a:cubicBezTo>
                  <a:cubicBezTo>
                    <a:pt x="92" y="909"/>
                    <a:pt x="92" y="909"/>
                    <a:pt x="92" y="909"/>
                  </a:cubicBezTo>
                  <a:cubicBezTo>
                    <a:pt x="100" y="913"/>
                    <a:pt x="100" y="913"/>
                    <a:pt x="100" y="913"/>
                  </a:cubicBezTo>
                  <a:lnTo>
                    <a:pt x="100" y="907"/>
                  </a:lnTo>
                  <a:close/>
                  <a:moveTo>
                    <a:pt x="18" y="824"/>
                  </a:moveTo>
                  <a:cubicBezTo>
                    <a:pt x="25" y="822"/>
                    <a:pt x="25" y="822"/>
                    <a:pt x="25" y="822"/>
                  </a:cubicBezTo>
                  <a:cubicBezTo>
                    <a:pt x="24" y="815"/>
                    <a:pt x="24" y="815"/>
                    <a:pt x="24" y="815"/>
                  </a:cubicBezTo>
                  <a:cubicBezTo>
                    <a:pt x="25" y="812"/>
                    <a:pt x="25" y="812"/>
                    <a:pt x="25" y="812"/>
                  </a:cubicBezTo>
                  <a:cubicBezTo>
                    <a:pt x="25" y="804"/>
                    <a:pt x="25" y="804"/>
                    <a:pt x="25" y="804"/>
                  </a:cubicBezTo>
                  <a:cubicBezTo>
                    <a:pt x="20" y="804"/>
                    <a:pt x="20" y="804"/>
                    <a:pt x="20" y="804"/>
                  </a:cubicBezTo>
                  <a:cubicBezTo>
                    <a:pt x="16" y="800"/>
                    <a:pt x="16" y="800"/>
                    <a:pt x="16" y="800"/>
                  </a:cubicBezTo>
                  <a:cubicBezTo>
                    <a:pt x="15" y="813"/>
                    <a:pt x="15" y="813"/>
                    <a:pt x="15" y="813"/>
                  </a:cubicBezTo>
                  <a:cubicBezTo>
                    <a:pt x="18" y="814"/>
                    <a:pt x="18" y="814"/>
                    <a:pt x="18" y="814"/>
                  </a:cubicBezTo>
                  <a:lnTo>
                    <a:pt x="18" y="824"/>
                  </a:lnTo>
                  <a:close/>
                  <a:moveTo>
                    <a:pt x="17" y="781"/>
                  </a:moveTo>
                  <a:cubicBezTo>
                    <a:pt x="24" y="779"/>
                    <a:pt x="24" y="779"/>
                    <a:pt x="24" y="779"/>
                  </a:cubicBezTo>
                  <a:cubicBezTo>
                    <a:pt x="24" y="755"/>
                    <a:pt x="24" y="755"/>
                    <a:pt x="24" y="755"/>
                  </a:cubicBezTo>
                  <a:cubicBezTo>
                    <a:pt x="22" y="744"/>
                    <a:pt x="22" y="744"/>
                    <a:pt x="22" y="744"/>
                  </a:cubicBezTo>
                  <a:cubicBezTo>
                    <a:pt x="17" y="743"/>
                    <a:pt x="17" y="743"/>
                    <a:pt x="17" y="743"/>
                  </a:cubicBezTo>
                  <a:cubicBezTo>
                    <a:pt x="14" y="745"/>
                    <a:pt x="14" y="745"/>
                    <a:pt x="14" y="745"/>
                  </a:cubicBezTo>
                  <a:cubicBezTo>
                    <a:pt x="18" y="753"/>
                    <a:pt x="18" y="753"/>
                    <a:pt x="18" y="753"/>
                  </a:cubicBezTo>
                  <a:cubicBezTo>
                    <a:pt x="16" y="759"/>
                    <a:pt x="16" y="759"/>
                    <a:pt x="16" y="759"/>
                  </a:cubicBezTo>
                  <a:cubicBezTo>
                    <a:pt x="10" y="760"/>
                    <a:pt x="10" y="760"/>
                    <a:pt x="10" y="760"/>
                  </a:cubicBezTo>
                  <a:cubicBezTo>
                    <a:pt x="8" y="765"/>
                    <a:pt x="8" y="765"/>
                    <a:pt x="8" y="765"/>
                  </a:cubicBezTo>
                  <a:cubicBezTo>
                    <a:pt x="12" y="774"/>
                    <a:pt x="12" y="774"/>
                    <a:pt x="12" y="774"/>
                  </a:cubicBezTo>
                  <a:cubicBezTo>
                    <a:pt x="15" y="765"/>
                    <a:pt x="15" y="765"/>
                    <a:pt x="15" y="765"/>
                  </a:cubicBezTo>
                  <a:cubicBezTo>
                    <a:pt x="19" y="764"/>
                    <a:pt x="19" y="764"/>
                    <a:pt x="19" y="764"/>
                  </a:cubicBezTo>
                  <a:cubicBezTo>
                    <a:pt x="17" y="772"/>
                    <a:pt x="17" y="772"/>
                    <a:pt x="17" y="772"/>
                  </a:cubicBezTo>
                  <a:lnTo>
                    <a:pt x="17" y="781"/>
                  </a:lnTo>
                  <a:close/>
                  <a:moveTo>
                    <a:pt x="12" y="738"/>
                  </a:moveTo>
                  <a:cubicBezTo>
                    <a:pt x="10" y="728"/>
                    <a:pt x="10" y="728"/>
                    <a:pt x="10" y="728"/>
                  </a:cubicBezTo>
                  <a:cubicBezTo>
                    <a:pt x="7" y="728"/>
                    <a:pt x="7" y="728"/>
                    <a:pt x="7" y="728"/>
                  </a:cubicBezTo>
                  <a:cubicBezTo>
                    <a:pt x="5" y="738"/>
                    <a:pt x="5" y="738"/>
                    <a:pt x="5" y="738"/>
                  </a:cubicBezTo>
                  <a:lnTo>
                    <a:pt x="12" y="738"/>
                  </a:lnTo>
                  <a:close/>
                  <a:moveTo>
                    <a:pt x="22" y="741"/>
                  </a:moveTo>
                  <a:cubicBezTo>
                    <a:pt x="23" y="731"/>
                    <a:pt x="23" y="731"/>
                    <a:pt x="23" y="731"/>
                  </a:cubicBezTo>
                  <a:cubicBezTo>
                    <a:pt x="20" y="729"/>
                    <a:pt x="20" y="729"/>
                    <a:pt x="20" y="729"/>
                  </a:cubicBezTo>
                  <a:cubicBezTo>
                    <a:pt x="19" y="733"/>
                    <a:pt x="19" y="733"/>
                    <a:pt x="19" y="733"/>
                  </a:cubicBezTo>
                  <a:cubicBezTo>
                    <a:pt x="14" y="735"/>
                    <a:pt x="14" y="735"/>
                    <a:pt x="14" y="735"/>
                  </a:cubicBezTo>
                  <a:lnTo>
                    <a:pt x="22" y="741"/>
                  </a:lnTo>
                  <a:close/>
                  <a:moveTo>
                    <a:pt x="6" y="784"/>
                  </a:moveTo>
                  <a:cubicBezTo>
                    <a:pt x="6" y="790"/>
                    <a:pt x="6" y="790"/>
                    <a:pt x="6" y="790"/>
                  </a:cubicBezTo>
                  <a:cubicBezTo>
                    <a:pt x="11" y="792"/>
                    <a:pt x="11" y="792"/>
                    <a:pt x="11" y="792"/>
                  </a:cubicBezTo>
                  <a:cubicBezTo>
                    <a:pt x="15" y="787"/>
                    <a:pt x="15" y="787"/>
                    <a:pt x="15" y="787"/>
                  </a:cubicBezTo>
                  <a:cubicBezTo>
                    <a:pt x="14" y="784"/>
                    <a:pt x="14" y="784"/>
                    <a:pt x="14" y="784"/>
                  </a:cubicBezTo>
                  <a:cubicBezTo>
                    <a:pt x="10" y="787"/>
                    <a:pt x="10" y="787"/>
                    <a:pt x="10" y="787"/>
                  </a:cubicBezTo>
                  <a:lnTo>
                    <a:pt x="6" y="784"/>
                  </a:lnTo>
                  <a:close/>
                  <a:moveTo>
                    <a:pt x="18" y="841"/>
                  </a:moveTo>
                  <a:cubicBezTo>
                    <a:pt x="19" y="833"/>
                    <a:pt x="19" y="833"/>
                    <a:pt x="19" y="833"/>
                  </a:cubicBezTo>
                  <a:cubicBezTo>
                    <a:pt x="16" y="831"/>
                    <a:pt x="16" y="831"/>
                    <a:pt x="16" y="831"/>
                  </a:cubicBezTo>
                  <a:cubicBezTo>
                    <a:pt x="14" y="836"/>
                    <a:pt x="14" y="836"/>
                    <a:pt x="14" y="836"/>
                  </a:cubicBezTo>
                  <a:cubicBezTo>
                    <a:pt x="14" y="845"/>
                    <a:pt x="14" y="845"/>
                    <a:pt x="14" y="845"/>
                  </a:cubicBezTo>
                  <a:lnTo>
                    <a:pt x="18" y="841"/>
                  </a:lnTo>
                  <a:close/>
                  <a:moveTo>
                    <a:pt x="51" y="880"/>
                  </a:moveTo>
                  <a:cubicBezTo>
                    <a:pt x="55" y="882"/>
                    <a:pt x="55" y="882"/>
                    <a:pt x="55" y="882"/>
                  </a:cubicBezTo>
                  <a:cubicBezTo>
                    <a:pt x="61" y="876"/>
                    <a:pt x="61" y="876"/>
                    <a:pt x="61" y="876"/>
                  </a:cubicBezTo>
                  <a:cubicBezTo>
                    <a:pt x="64" y="872"/>
                    <a:pt x="64" y="872"/>
                    <a:pt x="64" y="872"/>
                  </a:cubicBezTo>
                  <a:cubicBezTo>
                    <a:pt x="70" y="872"/>
                    <a:pt x="70" y="872"/>
                    <a:pt x="70" y="872"/>
                  </a:cubicBezTo>
                  <a:cubicBezTo>
                    <a:pt x="78" y="867"/>
                    <a:pt x="78" y="867"/>
                    <a:pt x="78" y="867"/>
                  </a:cubicBezTo>
                  <a:cubicBezTo>
                    <a:pt x="77" y="864"/>
                    <a:pt x="77" y="864"/>
                    <a:pt x="77" y="864"/>
                  </a:cubicBezTo>
                  <a:cubicBezTo>
                    <a:pt x="67" y="863"/>
                    <a:pt x="67" y="863"/>
                    <a:pt x="67" y="863"/>
                  </a:cubicBezTo>
                  <a:cubicBezTo>
                    <a:pt x="61" y="869"/>
                    <a:pt x="61" y="869"/>
                    <a:pt x="61" y="869"/>
                  </a:cubicBezTo>
                  <a:cubicBezTo>
                    <a:pt x="54" y="870"/>
                    <a:pt x="54" y="870"/>
                    <a:pt x="54" y="870"/>
                  </a:cubicBezTo>
                  <a:cubicBezTo>
                    <a:pt x="54" y="877"/>
                    <a:pt x="54" y="877"/>
                    <a:pt x="54" y="877"/>
                  </a:cubicBezTo>
                  <a:lnTo>
                    <a:pt x="51" y="880"/>
                  </a:lnTo>
                  <a:close/>
                  <a:moveTo>
                    <a:pt x="36" y="626"/>
                  </a:moveTo>
                  <a:cubicBezTo>
                    <a:pt x="36" y="635"/>
                    <a:pt x="36" y="635"/>
                    <a:pt x="36" y="635"/>
                  </a:cubicBezTo>
                  <a:cubicBezTo>
                    <a:pt x="44" y="636"/>
                    <a:pt x="44" y="636"/>
                    <a:pt x="44" y="636"/>
                  </a:cubicBezTo>
                  <a:cubicBezTo>
                    <a:pt x="53" y="630"/>
                    <a:pt x="53" y="630"/>
                    <a:pt x="53" y="630"/>
                  </a:cubicBezTo>
                  <a:cubicBezTo>
                    <a:pt x="53" y="624"/>
                    <a:pt x="53" y="624"/>
                    <a:pt x="53" y="624"/>
                  </a:cubicBezTo>
                  <a:cubicBezTo>
                    <a:pt x="45" y="620"/>
                    <a:pt x="45" y="620"/>
                    <a:pt x="45" y="620"/>
                  </a:cubicBezTo>
                  <a:lnTo>
                    <a:pt x="36" y="626"/>
                  </a:lnTo>
                  <a:close/>
                  <a:moveTo>
                    <a:pt x="34" y="558"/>
                  </a:moveTo>
                  <a:cubicBezTo>
                    <a:pt x="31" y="564"/>
                    <a:pt x="31" y="564"/>
                    <a:pt x="31" y="564"/>
                  </a:cubicBezTo>
                  <a:cubicBezTo>
                    <a:pt x="31" y="581"/>
                    <a:pt x="31" y="581"/>
                    <a:pt x="31" y="581"/>
                  </a:cubicBezTo>
                  <a:cubicBezTo>
                    <a:pt x="26" y="593"/>
                    <a:pt x="26" y="593"/>
                    <a:pt x="26" y="593"/>
                  </a:cubicBezTo>
                  <a:cubicBezTo>
                    <a:pt x="39" y="594"/>
                    <a:pt x="39" y="594"/>
                    <a:pt x="39" y="594"/>
                  </a:cubicBezTo>
                  <a:cubicBezTo>
                    <a:pt x="44" y="582"/>
                    <a:pt x="44" y="582"/>
                    <a:pt x="44" y="582"/>
                  </a:cubicBezTo>
                  <a:cubicBezTo>
                    <a:pt x="40" y="568"/>
                    <a:pt x="40" y="568"/>
                    <a:pt x="40" y="568"/>
                  </a:cubicBezTo>
                  <a:cubicBezTo>
                    <a:pt x="45" y="566"/>
                    <a:pt x="45" y="566"/>
                    <a:pt x="45" y="566"/>
                  </a:cubicBezTo>
                  <a:cubicBezTo>
                    <a:pt x="48" y="553"/>
                    <a:pt x="48" y="553"/>
                    <a:pt x="48" y="553"/>
                  </a:cubicBezTo>
                  <a:cubicBezTo>
                    <a:pt x="35" y="553"/>
                    <a:pt x="35" y="553"/>
                    <a:pt x="35" y="553"/>
                  </a:cubicBezTo>
                  <a:lnTo>
                    <a:pt x="34" y="558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72" name="China">
              <a:extLst>
                <a:ext uri="{FF2B5EF4-FFF2-40B4-BE49-F238E27FC236}">
                  <a16:creationId xmlns="" xmlns:a16="http://schemas.microsoft.com/office/drawing/2014/main" id="{5C9BC0A4-4456-4529-8B12-B90E3DAF240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075413" y="2533195"/>
              <a:ext cx="1878117" cy="1427723"/>
            </a:xfrm>
            <a:custGeom>
              <a:avLst/>
              <a:gdLst/>
              <a:ahLst/>
              <a:cxnLst>
                <a:cxn ang="0">
                  <a:pos x="40" y="938"/>
                </a:cxn>
                <a:cxn ang="0">
                  <a:pos x="40" y="882"/>
                </a:cxn>
                <a:cxn ang="0">
                  <a:pos x="0" y="794"/>
                </a:cxn>
                <a:cxn ang="0">
                  <a:pos x="68" y="742"/>
                </a:cxn>
                <a:cxn ang="0">
                  <a:pos x="238" y="686"/>
                </a:cxn>
                <a:cxn ang="0">
                  <a:pos x="234" y="498"/>
                </a:cxn>
                <a:cxn ang="0">
                  <a:pos x="340" y="388"/>
                </a:cxn>
                <a:cxn ang="0">
                  <a:pos x="472" y="282"/>
                </a:cxn>
                <a:cxn ang="0">
                  <a:pos x="550" y="324"/>
                </a:cxn>
                <a:cxn ang="0">
                  <a:pos x="644" y="476"/>
                </a:cxn>
                <a:cxn ang="0">
                  <a:pos x="826" y="560"/>
                </a:cxn>
                <a:cxn ang="0">
                  <a:pos x="1068" y="644"/>
                </a:cxn>
                <a:cxn ang="0">
                  <a:pos x="1188" y="694"/>
                </a:cxn>
                <a:cxn ang="0">
                  <a:pos x="1402" y="610"/>
                </a:cxn>
                <a:cxn ang="0">
                  <a:pos x="1452" y="494"/>
                </a:cxn>
                <a:cxn ang="0">
                  <a:pos x="1644" y="462"/>
                </a:cxn>
                <a:cxn ang="0">
                  <a:pos x="1740" y="424"/>
                </a:cxn>
                <a:cxn ang="0">
                  <a:pos x="1648" y="372"/>
                </a:cxn>
                <a:cxn ang="0">
                  <a:pos x="1610" y="262"/>
                </a:cxn>
                <a:cxn ang="0">
                  <a:pos x="1714" y="234"/>
                </a:cxn>
                <a:cxn ang="0">
                  <a:pos x="1754" y="48"/>
                </a:cxn>
                <a:cxn ang="0">
                  <a:pos x="1928" y="30"/>
                </a:cxn>
                <a:cxn ang="0">
                  <a:pos x="2076" y="254"/>
                </a:cxn>
                <a:cxn ang="0">
                  <a:pos x="2162" y="350"/>
                </a:cxn>
                <a:cxn ang="0">
                  <a:pos x="2310" y="330"/>
                </a:cxn>
                <a:cxn ang="0">
                  <a:pos x="2172" y="522"/>
                </a:cxn>
                <a:cxn ang="0">
                  <a:pos x="2128" y="624"/>
                </a:cxn>
                <a:cxn ang="0">
                  <a:pos x="2076" y="694"/>
                </a:cxn>
                <a:cxn ang="0">
                  <a:pos x="1984" y="742"/>
                </a:cxn>
                <a:cxn ang="0">
                  <a:pos x="1858" y="800"/>
                </a:cxn>
                <a:cxn ang="0">
                  <a:pos x="1808" y="798"/>
                </a:cxn>
                <a:cxn ang="0">
                  <a:pos x="1788" y="746"/>
                </a:cxn>
                <a:cxn ang="0">
                  <a:pos x="1666" y="874"/>
                </a:cxn>
                <a:cxn ang="0">
                  <a:pos x="1730" y="920"/>
                </a:cxn>
                <a:cxn ang="0">
                  <a:pos x="1814" y="934"/>
                </a:cxn>
                <a:cxn ang="0">
                  <a:pos x="1772" y="1058"/>
                </a:cxn>
                <a:cxn ang="0">
                  <a:pos x="1788" y="1176"/>
                </a:cxn>
                <a:cxn ang="0">
                  <a:pos x="1806" y="1332"/>
                </a:cxn>
                <a:cxn ang="0">
                  <a:pos x="1744" y="1442"/>
                </a:cxn>
                <a:cxn ang="0">
                  <a:pos x="1566" y="1566"/>
                </a:cxn>
                <a:cxn ang="0">
                  <a:pos x="1442" y="1602"/>
                </a:cxn>
                <a:cxn ang="0">
                  <a:pos x="1370" y="1668"/>
                </a:cxn>
                <a:cxn ang="0">
                  <a:pos x="1288" y="1606"/>
                </a:cxn>
                <a:cxn ang="0">
                  <a:pos x="1230" y="1568"/>
                </a:cxn>
                <a:cxn ang="0">
                  <a:pos x="1062" y="1584"/>
                </a:cxn>
                <a:cxn ang="0">
                  <a:pos x="1012" y="1624"/>
                </a:cxn>
                <a:cxn ang="0">
                  <a:pos x="964" y="1550"/>
                </a:cxn>
                <a:cxn ang="0">
                  <a:pos x="904" y="1468"/>
                </a:cxn>
                <a:cxn ang="0">
                  <a:pos x="886" y="1340"/>
                </a:cxn>
                <a:cxn ang="0">
                  <a:pos x="818" y="1308"/>
                </a:cxn>
                <a:cxn ang="0">
                  <a:pos x="644" y="1348"/>
                </a:cxn>
                <a:cxn ang="0">
                  <a:pos x="576" y="1356"/>
                </a:cxn>
                <a:cxn ang="0">
                  <a:pos x="430" y="1336"/>
                </a:cxn>
                <a:cxn ang="0">
                  <a:pos x="274" y="1246"/>
                </a:cxn>
                <a:cxn ang="0">
                  <a:pos x="186" y="1166"/>
                </a:cxn>
                <a:cxn ang="0">
                  <a:pos x="206" y="1112"/>
                </a:cxn>
                <a:cxn ang="0">
                  <a:pos x="194" y="994"/>
                </a:cxn>
                <a:cxn ang="0">
                  <a:pos x="1330" y="1712"/>
                </a:cxn>
                <a:cxn ang="0">
                  <a:pos x="1376" y="1732"/>
                </a:cxn>
                <a:cxn ang="0">
                  <a:pos x="1408" y="1674"/>
                </a:cxn>
              </a:cxnLst>
              <a:rect l="0" t="0" r="r" b="b"/>
              <a:pathLst>
                <a:path w="2314" h="1744">
                  <a:moveTo>
                    <a:pt x="146" y="968"/>
                  </a:moveTo>
                  <a:lnTo>
                    <a:pt x="128" y="966"/>
                  </a:lnTo>
                  <a:lnTo>
                    <a:pt x="94" y="962"/>
                  </a:lnTo>
                  <a:lnTo>
                    <a:pt x="62" y="936"/>
                  </a:lnTo>
                  <a:lnTo>
                    <a:pt x="40" y="938"/>
                  </a:lnTo>
                  <a:lnTo>
                    <a:pt x="30" y="932"/>
                  </a:lnTo>
                  <a:lnTo>
                    <a:pt x="38" y="922"/>
                  </a:lnTo>
                  <a:lnTo>
                    <a:pt x="48" y="912"/>
                  </a:lnTo>
                  <a:lnTo>
                    <a:pt x="38" y="902"/>
                  </a:lnTo>
                  <a:lnTo>
                    <a:pt x="40" y="882"/>
                  </a:lnTo>
                  <a:lnTo>
                    <a:pt x="34" y="864"/>
                  </a:lnTo>
                  <a:lnTo>
                    <a:pt x="20" y="858"/>
                  </a:lnTo>
                  <a:lnTo>
                    <a:pt x="0" y="858"/>
                  </a:lnTo>
                  <a:lnTo>
                    <a:pt x="0" y="808"/>
                  </a:lnTo>
                  <a:lnTo>
                    <a:pt x="0" y="794"/>
                  </a:lnTo>
                  <a:lnTo>
                    <a:pt x="6" y="770"/>
                  </a:lnTo>
                  <a:lnTo>
                    <a:pt x="28" y="760"/>
                  </a:lnTo>
                  <a:lnTo>
                    <a:pt x="40" y="748"/>
                  </a:lnTo>
                  <a:lnTo>
                    <a:pt x="56" y="750"/>
                  </a:lnTo>
                  <a:lnTo>
                    <a:pt x="68" y="742"/>
                  </a:lnTo>
                  <a:lnTo>
                    <a:pt x="78" y="760"/>
                  </a:lnTo>
                  <a:lnTo>
                    <a:pt x="98" y="758"/>
                  </a:lnTo>
                  <a:lnTo>
                    <a:pt x="114" y="730"/>
                  </a:lnTo>
                  <a:lnTo>
                    <a:pt x="158" y="718"/>
                  </a:lnTo>
                  <a:lnTo>
                    <a:pt x="238" y="686"/>
                  </a:lnTo>
                  <a:lnTo>
                    <a:pt x="250" y="638"/>
                  </a:lnTo>
                  <a:lnTo>
                    <a:pt x="262" y="596"/>
                  </a:lnTo>
                  <a:lnTo>
                    <a:pt x="240" y="518"/>
                  </a:lnTo>
                  <a:lnTo>
                    <a:pt x="224" y="512"/>
                  </a:lnTo>
                  <a:lnTo>
                    <a:pt x="234" y="498"/>
                  </a:lnTo>
                  <a:lnTo>
                    <a:pt x="290" y="492"/>
                  </a:lnTo>
                  <a:lnTo>
                    <a:pt x="310" y="500"/>
                  </a:lnTo>
                  <a:lnTo>
                    <a:pt x="322" y="486"/>
                  </a:lnTo>
                  <a:lnTo>
                    <a:pt x="308" y="478"/>
                  </a:lnTo>
                  <a:lnTo>
                    <a:pt x="340" y="388"/>
                  </a:lnTo>
                  <a:lnTo>
                    <a:pt x="380" y="400"/>
                  </a:lnTo>
                  <a:lnTo>
                    <a:pt x="424" y="380"/>
                  </a:lnTo>
                  <a:lnTo>
                    <a:pt x="426" y="348"/>
                  </a:lnTo>
                  <a:lnTo>
                    <a:pt x="470" y="308"/>
                  </a:lnTo>
                  <a:lnTo>
                    <a:pt x="472" y="282"/>
                  </a:lnTo>
                  <a:lnTo>
                    <a:pt x="502" y="280"/>
                  </a:lnTo>
                  <a:lnTo>
                    <a:pt x="512" y="294"/>
                  </a:lnTo>
                  <a:lnTo>
                    <a:pt x="530" y="308"/>
                  </a:lnTo>
                  <a:lnTo>
                    <a:pt x="536" y="310"/>
                  </a:lnTo>
                  <a:lnTo>
                    <a:pt x="550" y="324"/>
                  </a:lnTo>
                  <a:lnTo>
                    <a:pt x="582" y="330"/>
                  </a:lnTo>
                  <a:lnTo>
                    <a:pt x="610" y="348"/>
                  </a:lnTo>
                  <a:lnTo>
                    <a:pt x="646" y="404"/>
                  </a:lnTo>
                  <a:lnTo>
                    <a:pt x="670" y="424"/>
                  </a:lnTo>
                  <a:lnTo>
                    <a:pt x="644" y="476"/>
                  </a:lnTo>
                  <a:lnTo>
                    <a:pt x="656" y="490"/>
                  </a:lnTo>
                  <a:lnTo>
                    <a:pt x="724" y="498"/>
                  </a:lnTo>
                  <a:lnTo>
                    <a:pt x="784" y="520"/>
                  </a:lnTo>
                  <a:lnTo>
                    <a:pt x="814" y="552"/>
                  </a:lnTo>
                  <a:lnTo>
                    <a:pt x="826" y="560"/>
                  </a:lnTo>
                  <a:lnTo>
                    <a:pt x="864" y="636"/>
                  </a:lnTo>
                  <a:lnTo>
                    <a:pt x="894" y="636"/>
                  </a:lnTo>
                  <a:lnTo>
                    <a:pt x="920" y="646"/>
                  </a:lnTo>
                  <a:lnTo>
                    <a:pt x="1012" y="648"/>
                  </a:lnTo>
                  <a:lnTo>
                    <a:pt x="1068" y="644"/>
                  </a:lnTo>
                  <a:lnTo>
                    <a:pt x="1090" y="668"/>
                  </a:lnTo>
                  <a:lnTo>
                    <a:pt x="1120" y="670"/>
                  </a:lnTo>
                  <a:lnTo>
                    <a:pt x="1142" y="686"/>
                  </a:lnTo>
                  <a:lnTo>
                    <a:pt x="1170" y="682"/>
                  </a:lnTo>
                  <a:lnTo>
                    <a:pt x="1188" y="694"/>
                  </a:lnTo>
                  <a:lnTo>
                    <a:pt x="1212" y="686"/>
                  </a:lnTo>
                  <a:lnTo>
                    <a:pt x="1228" y="666"/>
                  </a:lnTo>
                  <a:lnTo>
                    <a:pt x="1300" y="640"/>
                  </a:lnTo>
                  <a:lnTo>
                    <a:pt x="1384" y="638"/>
                  </a:lnTo>
                  <a:lnTo>
                    <a:pt x="1402" y="610"/>
                  </a:lnTo>
                  <a:lnTo>
                    <a:pt x="1438" y="592"/>
                  </a:lnTo>
                  <a:lnTo>
                    <a:pt x="1448" y="568"/>
                  </a:lnTo>
                  <a:lnTo>
                    <a:pt x="1418" y="546"/>
                  </a:lnTo>
                  <a:lnTo>
                    <a:pt x="1418" y="528"/>
                  </a:lnTo>
                  <a:lnTo>
                    <a:pt x="1452" y="494"/>
                  </a:lnTo>
                  <a:lnTo>
                    <a:pt x="1466" y="492"/>
                  </a:lnTo>
                  <a:lnTo>
                    <a:pt x="1502" y="514"/>
                  </a:lnTo>
                  <a:lnTo>
                    <a:pt x="1564" y="478"/>
                  </a:lnTo>
                  <a:lnTo>
                    <a:pt x="1604" y="484"/>
                  </a:lnTo>
                  <a:lnTo>
                    <a:pt x="1644" y="462"/>
                  </a:lnTo>
                  <a:lnTo>
                    <a:pt x="1666" y="460"/>
                  </a:lnTo>
                  <a:lnTo>
                    <a:pt x="1678" y="448"/>
                  </a:lnTo>
                  <a:lnTo>
                    <a:pt x="1698" y="446"/>
                  </a:lnTo>
                  <a:lnTo>
                    <a:pt x="1718" y="458"/>
                  </a:lnTo>
                  <a:lnTo>
                    <a:pt x="1740" y="424"/>
                  </a:lnTo>
                  <a:lnTo>
                    <a:pt x="1710" y="388"/>
                  </a:lnTo>
                  <a:lnTo>
                    <a:pt x="1708" y="372"/>
                  </a:lnTo>
                  <a:lnTo>
                    <a:pt x="1676" y="352"/>
                  </a:lnTo>
                  <a:lnTo>
                    <a:pt x="1664" y="354"/>
                  </a:lnTo>
                  <a:lnTo>
                    <a:pt x="1648" y="372"/>
                  </a:lnTo>
                  <a:lnTo>
                    <a:pt x="1630" y="362"/>
                  </a:lnTo>
                  <a:lnTo>
                    <a:pt x="1598" y="360"/>
                  </a:lnTo>
                  <a:lnTo>
                    <a:pt x="1586" y="338"/>
                  </a:lnTo>
                  <a:lnTo>
                    <a:pt x="1606" y="296"/>
                  </a:lnTo>
                  <a:lnTo>
                    <a:pt x="1610" y="262"/>
                  </a:lnTo>
                  <a:lnTo>
                    <a:pt x="1622" y="242"/>
                  </a:lnTo>
                  <a:lnTo>
                    <a:pt x="1648" y="240"/>
                  </a:lnTo>
                  <a:lnTo>
                    <a:pt x="1666" y="258"/>
                  </a:lnTo>
                  <a:lnTo>
                    <a:pt x="1698" y="234"/>
                  </a:lnTo>
                  <a:lnTo>
                    <a:pt x="1714" y="234"/>
                  </a:lnTo>
                  <a:lnTo>
                    <a:pt x="1724" y="214"/>
                  </a:lnTo>
                  <a:lnTo>
                    <a:pt x="1712" y="194"/>
                  </a:lnTo>
                  <a:lnTo>
                    <a:pt x="1766" y="104"/>
                  </a:lnTo>
                  <a:lnTo>
                    <a:pt x="1774" y="66"/>
                  </a:lnTo>
                  <a:lnTo>
                    <a:pt x="1754" y="48"/>
                  </a:lnTo>
                  <a:lnTo>
                    <a:pt x="1780" y="16"/>
                  </a:lnTo>
                  <a:lnTo>
                    <a:pt x="1804" y="10"/>
                  </a:lnTo>
                  <a:lnTo>
                    <a:pt x="1858" y="0"/>
                  </a:lnTo>
                  <a:lnTo>
                    <a:pt x="1906" y="14"/>
                  </a:lnTo>
                  <a:lnTo>
                    <a:pt x="1928" y="30"/>
                  </a:lnTo>
                  <a:lnTo>
                    <a:pt x="1962" y="32"/>
                  </a:lnTo>
                  <a:lnTo>
                    <a:pt x="1984" y="74"/>
                  </a:lnTo>
                  <a:lnTo>
                    <a:pt x="1992" y="110"/>
                  </a:lnTo>
                  <a:lnTo>
                    <a:pt x="2044" y="254"/>
                  </a:lnTo>
                  <a:lnTo>
                    <a:pt x="2076" y="254"/>
                  </a:lnTo>
                  <a:lnTo>
                    <a:pt x="2100" y="268"/>
                  </a:lnTo>
                  <a:lnTo>
                    <a:pt x="2114" y="264"/>
                  </a:lnTo>
                  <a:lnTo>
                    <a:pt x="2130" y="292"/>
                  </a:lnTo>
                  <a:lnTo>
                    <a:pt x="2152" y="298"/>
                  </a:lnTo>
                  <a:lnTo>
                    <a:pt x="2162" y="350"/>
                  </a:lnTo>
                  <a:lnTo>
                    <a:pt x="2186" y="364"/>
                  </a:lnTo>
                  <a:lnTo>
                    <a:pt x="2238" y="364"/>
                  </a:lnTo>
                  <a:lnTo>
                    <a:pt x="2260" y="340"/>
                  </a:lnTo>
                  <a:lnTo>
                    <a:pt x="2288" y="328"/>
                  </a:lnTo>
                  <a:lnTo>
                    <a:pt x="2310" y="330"/>
                  </a:lnTo>
                  <a:lnTo>
                    <a:pt x="2314" y="376"/>
                  </a:lnTo>
                  <a:lnTo>
                    <a:pt x="2282" y="446"/>
                  </a:lnTo>
                  <a:lnTo>
                    <a:pt x="2234" y="510"/>
                  </a:lnTo>
                  <a:lnTo>
                    <a:pt x="2204" y="506"/>
                  </a:lnTo>
                  <a:lnTo>
                    <a:pt x="2172" y="522"/>
                  </a:lnTo>
                  <a:lnTo>
                    <a:pt x="2178" y="586"/>
                  </a:lnTo>
                  <a:lnTo>
                    <a:pt x="2170" y="614"/>
                  </a:lnTo>
                  <a:lnTo>
                    <a:pt x="2154" y="622"/>
                  </a:lnTo>
                  <a:lnTo>
                    <a:pt x="2154" y="634"/>
                  </a:lnTo>
                  <a:lnTo>
                    <a:pt x="2128" y="624"/>
                  </a:lnTo>
                  <a:lnTo>
                    <a:pt x="2120" y="636"/>
                  </a:lnTo>
                  <a:lnTo>
                    <a:pt x="2104" y="642"/>
                  </a:lnTo>
                  <a:lnTo>
                    <a:pt x="2090" y="666"/>
                  </a:lnTo>
                  <a:lnTo>
                    <a:pt x="2068" y="674"/>
                  </a:lnTo>
                  <a:lnTo>
                    <a:pt x="2076" y="694"/>
                  </a:lnTo>
                  <a:lnTo>
                    <a:pt x="2070" y="708"/>
                  </a:lnTo>
                  <a:lnTo>
                    <a:pt x="2046" y="702"/>
                  </a:lnTo>
                  <a:lnTo>
                    <a:pt x="2030" y="688"/>
                  </a:lnTo>
                  <a:lnTo>
                    <a:pt x="2008" y="696"/>
                  </a:lnTo>
                  <a:lnTo>
                    <a:pt x="1984" y="742"/>
                  </a:lnTo>
                  <a:lnTo>
                    <a:pt x="1966" y="746"/>
                  </a:lnTo>
                  <a:lnTo>
                    <a:pt x="1954" y="756"/>
                  </a:lnTo>
                  <a:lnTo>
                    <a:pt x="1942" y="754"/>
                  </a:lnTo>
                  <a:lnTo>
                    <a:pt x="1906" y="788"/>
                  </a:lnTo>
                  <a:lnTo>
                    <a:pt x="1858" y="800"/>
                  </a:lnTo>
                  <a:lnTo>
                    <a:pt x="1816" y="838"/>
                  </a:lnTo>
                  <a:lnTo>
                    <a:pt x="1796" y="838"/>
                  </a:lnTo>
                  <a:lnTo>
                    <a:pt x="1820" y="808"/>
                  </a:lnTo>
                  <a:lnTo>
                    <a:pt x="1808" y="808"/>
                  </a:lnTo>
                  <a:lnTo>
                    <a:pt x="1808" y="798"/>
                  </a:lnTo>
                  <a:lnTo>
                    <a:pt x="1822" y="776"/>
                  </a:lnTo>
                  <a:lnTo>
                    <a:pt x="1828" y="748"/>
                  </a:lnTo>
                  <a:lnTo>
                    <a:pt x="1814" y="728"/>
                  </a:lnTo>
                  <a:lnTo>
                    <a:pt x="1788" y="732"/>
                  </a:lnTo>
                  <a:lnTo>
                    <a:pt x="1788" y="746"/>
                  </a:lnTo>
                  <a:lnTo>
                    <a:pt x="1758" y="780"/>
                  </a:lnTo>
                  <a:lnTo>
                    <a:pt x="1742" y="784"/>
                  </a:lnTo>
                  <a:lnTo>
                    <a:pt x="1712" y="830"/>
                  </a:lnTo>
                  <a:lnTo>
                    <a:pt x="1658" y="832"/>
                  </a:lnTo>
                  <a:lnTo>
                    <a:pt x="1666" y="874"/>
                  </a:lnTo>
                  <a:lnTo>
                    <a:pt x="1688" y="892"/>
                  </a:lnTo>
                  <a:lnTo>
                    <a:pt x="1696" y="884"/>
                  </a:lnTo>
                  <a:lnTo>
                    <a:pt x="1710" y="892"/>
                  </a:lnTo>
                  <a:lnTo>
                    <a:pt x="1710" y="906"/>
                  </a:lnTo>
                  <a:lnTo>
                    <a:pt x="1730" y="920"/>
                  </a:lnTo>
                  <a:lnTo>
                    <a:pt x="1776" y="894"/>
                  </a:lnTo>
                  <a:lnTo>
                    <a:pt x="1806" y="906"/>
                  </a:lnTo>
                  <a:lnTo>
                    <a:pt x="1854" y="914"/>
                  </a:lnTo>
                  <a:lnTo>
                    <a:pt x="1844" y="940"/>
                  </a:lnTo>
                  <a:lnTo>
                    <a:pt x="1814" y="934"/>
                  </a:lnTo>
                  <a:lnTo>
                    <a:pt x="1794" y="940"/>
                  </a:lnTo>
                  <a:lnTo>
                    <a:pt x="1752" y="972"/>
                  </a:lnTo>
                  <a:lnTo>
                    <a:pt x="1730" y="1038"/>
                  </a:lnTo>
                  <a:lnTo>
                    <a:pt x="1778" y="1042"/>
                  </a:lnTo>
                  <a:lnTo>
                    <a:pt x="1772" y="1058"/>
                  </a:lnTo>
                  <a:lnTo>
                    <a:pt x="1786" y="1078"/>
                  </a:lnTo>
                  <a:lnTo>
                    <a:pt x="1784" y="1092"/>
                  </a:lnTo>
                  <a:lnTo>
                    <a:pt x="1790" y="1132"/>
                  </a:lnTo>
                  <a:lnTo>
                    <a:pt x="1816" y="1154"/>
                  </a:lnTo>
                  <a:lnTo>
                    <a:pt x="1788" y="1176"/>
                  </a:lnTo>
                  <a:lnTo>
                    <a:pt x="1812" y="1202"/>
                  </a:lnTo>
                  <a:lnTo>
                    <a:pt x="1780" y="1248"/>
                  </a:lnTo>
                  <a:lnTo>
                    <a:pt x="1800" y="1258"/>
                  </a:lnTo>
                  <a:lnTo>
                    <a:pt x="1812" y="1286"/>
                  </a:lnTo>
                  <a:lnTo>
                    <a:pt x="1806" y="1332"/>
                  </a:lnTo>
                  <a:lnTo>
                    <a:pt x="1782" y="1358"/>
                  </a:lnTo>
                  <a:lnTo>
                    <a:pt x="1786" y="1374"/>
                  </a:lnTo>
                  <a:lnTo>
                    <a:pt x="1748" y="1396"/>
                  </a:lnTo>
                  <a:lnTo>
                    <a:pt x="1738" y="1410"/>
                  </a:lnTo>
                  <a:lnTo>
                    <a:pt x="1744" y="1442"/>
                  </a:lnTo>
                  <a:lnTo>
                    <a:pt x="1692" y="1492"/>
                  </a:lnTo>
                  <a:lnTo>
                    <a:pt x="1682" y="1486"/>
                  </a:lnTo>
                  <a:lnTo>
                    <a:pt x="1630" y="1532"/>
                  </a:lnTo>
                  <a:lnTo>
                    <a:pt x="1624" y="1556"/>
                  </a:lnTo>
                  <a:lnTo>
                    <a:pt x="1566" y="1566"/>
                  </a:lnTo>
                  <a:lnTo>
                    <a:pt x="1526" y="1582"/>
                  </a:lnTo>
                  <a:lnTo>
                    <a:pt x="1516" y="1560"/>
                  </a:lnTo>
                  <a:lnTo>
                    <a:pt x="1502" y="1560"/>
                  </a:lnTo>
                  <a:lnTo>
                    <a:pt x="1472" y="1604"/>
                  </a:lnTo>
                  <a:lnTo>
                    <a:pt x="1442" y="1602"/>
                  </a:lnTo>
                  <a:lnTo>
                    <a:pt x="1430" y="1618"/>
                  </a:lnTo>
                  <a:lnTo>
                    <a:pt x="1398" y="1622"/>
                  </a:lnTo>
                  <a:lnTo>
                    <a:pt x="1386" y="1636"/>
                  </a:lnTo>
                  <a:lnTo>
                    <a:pt x="1400" y="1648"/>
                  </a:lnTo>
                  <a:lnTo>
                    <a:pt x="1370" y="1668"/>
                  </a:lnTo>
                  <a:lnTo>
                    <a:pt x="1364" y="1644"/>
                  </a:lnTo>
                  <a:lnTo>
                    <a:pt x="1370" y="1614"/>
                  </a:lnTo>
                  <a:lnTo>
                    <a:pt x="1356" y="1606"/>
                  </a:lnTo>
                  <a:lnTo>
                    <a:pt x="1350" y="1618"/>
                  </a:lnTo>
                  <a:lnTo>
                    <a:pt x="1288" y="1606"/>
                  </a:lnTo>
                  <a:lnTo>
                    <a:pt x="1256" y="1608"/>
                  </a:lnTo>
                  <a:lnTo>
                    <a:pt x="1242" y="1598"/>
                  </a:lnTo>
                  <a:lnTo>
                    <a:pt x="1258" y="1578"/>
                  </a:lnTo>
                  <a:lnTo>
                    <a:pt x="1246" y="1568"/>
                  </a:lnTo>
                  <a:lnTo>
                    <a:pt x="1230" y="1568"/>
                  </a:lnTo>
                  <a:lnTo>
                    <a:pt x="1198" y="1550"/>
                  </a:lnTo>
                  <a:lnTo>
                    <a:pt x="1148" y="1578"/>
                  </a:lnTo>
                  <a:lnTo>
                    <a:pt x="1090" y="1576"/>
                  </a:lnTo>
                  <a:lnTo>
                    <a:pt x="1076" y="1584"/>
                  </a:lnTo>
                  <a:lnTo>
                    <a:pt x="1062" y="1584"/>
                  </a:lnTo>
                  <a:lnTo>
                    <a:pt x="1064" y="1622"/>
                  </a:lnTo>
                  <a:lnTo>
                    <a:pt x="1052" y="1640"/>
                  </a:lnTo>
                  <a:lnTo>
                    <a:pt x="1042" y="1622"/>
                  </a:lnTo>
                  <a:lnTo>
                    <a:pt x="1036" y="1608"/>
                  </a:lnTo>
                  <a:lnTo>
                    <a:pt x="1012" y="1624"/>
                  </a:lnTo>
                  <a:lnTo>
                    <a:pt x="990" y="1606"/>
                  </a:lnTo>
                  <a:lnTo>
                    <a:pt x="972" y="1608"/>
                  </a:lnTo>
                  <a:lnTo>
                    <a:pt x="958" y="1594"/>
                  </a:lnTo>
                  <a:lnTo>
                    <a:pt x="982" y="1554"/>
                  </a:lnTo>
                  <a:lnTo>
                    <a:pt x="964" y="1550"/>
                  </a:lnTo>
                  <a:lnTo>
                    <a:pt x="948" y="1518"/>
                  </a:lnTo>
                  <a:lnTo>
                    <a:pt x="904" y="1520"/>
                  </a:lnTo>
                  <a:lnTo>
                    <a:pt x="914" y="1498"/>
                  </a:lnTo>
                  <a:lnTo>
                    <a:pt x="898" y="1480"/>
                  </a:lnTo>
                  <a:lnTo>
                    <a:pt x="904" y="1468"/>
                  </a:lnTo>
                  <a:lnTo>
                    <a:pt x="940" y="1430"/>
                  </a:lnTo>
                  <a:lnTo>
                    <a:pt x="930" y="1360"/>
                  </a:lnTo>
                  <a:lnTo>
                    <a:pt x="912" y="1342"/>
                  </a:lnTo>
                  <a:lnTo>
                    <a:pt x="894" y="1336"/>
                  </a:lnTo>
                  <a:lnTo>
                    <a:pt x="886" y="1340"/>
                  </a:lnTo>
                  <a:lnTo>
                    <a:pt x="868" y="1336"/>
                  </a:lnTo>
                  <a:lnTo>
                    <a:pt x="856" y="1342"/>
                  </a:lnTo>
                  <a:lnTo>
                    <a:pt x="850" y="1314"/>
                  </a:lnTo>
                  <a:lnTo>
                    <a:pt x="834" y="1302"/>
                  </a:lnTo>
                  <a:lnTo>
                    <a:pt x="818" y="1308"/>
                  </a:lnTo>
                  <a:lnTo>
                    <a:pt x="782" y="1294"/>
                  </a:lnTo>
                  <a:lnTo>
                    <a:pt x="738" y="1320"/>
                  </a:lnTo>
                  <a:lnTo>
                    <a:pt x="726" y="1336"/>
                  </a:lnTo>
                  <a:lnTo>
                    <a:pt x="686" y="1346"/>
                  </a:lnTo>
                  <a:lnTo>
                    <a:pt x="644" y="1348"/>
                  </a:lnTo>
                  <a:lnTo>
                    <a:pt x="618" y="1342"/>
                  </a:lnTo>
                  <a:lnTo>
                    <a:pt x="600" y="1358"/>
                  </a:lnTo>
                  <a:lnTo>
                    <a:pt x="584" y="1384"/>
                  </a:lnTo>
                  <a:lnTo>
                    <a:pt x="574" y="1368"/>
                  </a:lnTo>
                  <a:lnTo>
                    <a:pt x="576" y="1356"/>
                  </a:lnTo>
                  <a:lnTo>
                    <a:pt x="564" y="1350"/>
                  </a:lnTo>
                  <a:lnTo>
                    <a:pt x="548" y="1354"/>
                  </a:lnTo>
                  <a:lnTo>
                    <a:pt x="486" y="1348"/>
                  </a:lnTo>
                  <a:lnTo>
                    <a:pt x="474" y="1354"/>
                  </a:lnTo>
                  <a:lnTo>
                    <a:pt x="430" y="1336"/>
                  </a:lnTo>
                  <a:lnTo>
                    <a:pt x="386" y="1296"/>
                  </a:lnTo>
                  <a:lnTo>
                    <a:pt x="374" y="1304"/>
                  </a:lnTo>
                  <a:lnTo>
                    <a:pt x="326" y="1274"/>
                  </a:lnTo>
                  <a:lnTo>
                    <a:pt x="288" y="1240"/>
                  </a:lnTo>
                  <a:lnTo>
                    <a:pt x="274" y="1246"/>
                  </a:lnTo>
                  <a:lnTo>
                    <a:pt x="258" y="1230"/>
                  </a:lnTo>
                  <a:lnTo>
                    <a:pt x="234" y="1212"/>
                  </a:lnTo>
                  <a:lnTo>
                    <a:pt x="202" y="1204"/>
                  </a:lnTo>
                  <a:lnTo>
                    <a:pt x="198" y="1180"/>
                  </a:lnTo>
                  <a:lnTo>
                    <a:pt x="186" y="1166"/>
                  </a:lnTo>
                  <a:lnTo>
                    <a:pt x="180" y="1144"/>
                  </a:lnTo>
                  <a:lnTo>
                    <a:pt x="206" y="1152"/>
                  </a:lnTo>
                  <a:lnTo>
                    <a:pt x="220" y="1140"/>
                  </a:lnTo>
                  <a:lnTo>
                    <a:pt x="206" y="1128"/>
                  </a:lnTo>
                  <a:lnTo>
                    <a:pt x="206" y="1112"/>
                  </a:lnTo>
                  <a:lnTo>
                    <a:pt x="194" y="1102"/>
                  </a:lnTo>
                  <a:lnTo>
                    <a:pt x="198" y="1066"/>
                  </a:lnTo>
                  <a:lnTo>
                    <a:pt x="204" y="1034"/>
                  </a:lnTo>
                  <a:lnTo>
                    <a:pt x="194" y="1020"/>
                  </a:lnTo>
                  <a:lnTo>
                    <a:pt x="194" y="994"/>
                  </a:lnTo>
                  <a:lnTo>
                    <a:pt x="170" y="982"/>
                  </a:lnTo>
                  <a:lnTo>
                    <a:pt x="146" y="968"/>
                  </a:lnTo>
                  <a:close/>
                  <a:moveTo>
                    <a:pt x="1344" y="1694"/>
                  </a:moveTo>
                  <a:lnTo>
                    <a:pt x="1346" y="1700"/>
                  </a:lnTo>
                  <a:lnTo>
                    <a:pt x="1330" y="1712"/>
                  </a:lnTo>
                  <a:lnTo>
                    <a:pt x="1334" y="1722"/>
                  </a:lnTo>
                  <a:lnTo>
                    <a:pt x="1332" y="1736"/>
                  </a:lnTo>
                  <a:lnTo>
                    <a:pt x="1360" y="1744"/>
                  </a:lnTo>
                  <a:lnTo>
                    <a:pt x="1368" y="1736"/>
                  </a:lnTo>
                  <a:lnTo>
                    <a:pt x="1376" y="1732"/>
                  </a:lnTo>
                  <a:lnTo>
                    <a:pt x="1386" y="1734"/>
                  </a:lnTo>
                  <a:lnTo>
                    <a:pt x="1400" y="1720"/>
                  </a:lnTo>
                  <a:lnTo>
                    <a:pt x="1400" y="1710"/>
                  </a:lnTo>
                  <a:lnTo>
                    <a:pt x="1416" y="1690"/>
                  </a:lnTo>
                  <a:lnTo>
                    <a:pt x="1408" y="1674"/>
                  </a:lnTo>
                  <a:lnTo>
                    <a:pt x="1394" y="1682"/>
                  </a:lnTo>
                  <a:lnTo>
                    <a:pt x="1352" y="1686"/>
                  </a:lnTo>
                  <a:lnTo>
                    <a:pt x="1344" y="1694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73" name="Colombia">
              <a:extLst>
                <a:ext uri="{FF2B5EF4-FFF2-40B4-BE49-F238E27FC236}">
                  <a16:creationId xmlns="" xmlns:a16="http://schemas.microsoft.com/office/drawing/2014/main" id="{A579955F-6AF7-4FBF-9116-936A318F5E70}"/>
                </a:ext>
              </a:extLst>
            </p:cNvPr>
            <p:cNvSpPr>
              <a:spLocks/>
            </p:cNvSpPr>
            <p:nvPr/>
          </p:nvSpPr>
          <p:spPr bwMode="gray">
            <a:xfrm>
              <a:off x="3261030" y="4251969"/>
              <a:ext cx="368985" cy="501472"/>
            </a:xfrm>
            <a:custGeom>
              <a:avLst/>
              <a:gdLst/>
              <a:ahLst/>
              <a:cxnLst>
                <a:cxn ang="0">
                  <a:pos x="50" y="183"/>
                </a:cxn>
                <a:cxn ang="0">
                  <a:pos x="48" y="161"/>
                </a:cxn>
                <a:cxn ang="0">
                  <a:pos x="60" y="143"/>
                </a:cxn>
                <a:cxn ang="0">
                  <a:pos x="76" y="137"/>
                </a:cxn>
                <a:cxn ang="0">
                  <a:pos x="86" y="116"/>
                </a:cxn>
                <a:cxn ang="0">
                  <a:pos x="133" y="88"/>
                </a:cxn>
                <a:cxn ang="0">
                  <a:pos x="155" y="28"/>
                </a:cxn>
                <a:cxn ang="0">
                  <a:pos x="185" y="14"/>
                </a:cxn>
                <a:cxn ang="0">
                  <a:pos x="243" y="0"/>
                </a:cxn>
                <a:cxn ang="0">
                  <a:pos x="255" y="20"/>
                </a:cxn>
                <a:cxn ang="0">
                  <a:pos x="223" y="84"/>
                </a:cxn>
                <a:cxn ang="0">
                  <a:pos x="239" y="139"/>
                </a:cxn>
                <a:cxn ang="0">
                  <a:pos x="279" y="181"/>
                </a:cxn>
                <a:cxn ang="0">
                  <a:pos x="367" y="215"/>
                </a:cxn>
                <a:cxn ang="0">
                  <a:pos x="441" y="221"/>
                </a:cxn>
                <a:cxn ang="0">
                  <a:pos x="429" y="293"/>
                </a:cxn>
                <a:cxn ang="0">
                  <a:pos x="421" y="329"/>
                </a:cxn>
                <a:cxn ang="0">
                  <a:pos x="435" y="341"/>
                </a:cxn>
                <a:cxn ang="0">
                  <a:pos x="453" y="381"/>
                </a:cxn>
                <a:cxn ang="0">
                  <a:pos x="435" y="369"/>
                </a:cxn>
                <a:cxn ang="0">
                  <a:pos x="401" y="371"/>
                </a:cxn>
                <a:cxn ang="0">
                  <a:pos x="341" y="379"/>
                </a:cxn>
                <a:cxn ang="0">
                  <a:pos x="367" y="409"/>
                </a:cxn>
                <a:cxn ang="0">
                  <a:pos x="339" y="421"/>
                </a:cxn>
                <a:cxn ang="0">
                  <a:pos x="361" y="451"/>
                </a:cxn>
                <a:cxn ang="0">
                  <a:pos x="363" y="499"/>
                </a:cxn>
                <a:cxn ang="0">
                  <a:pos x="317" y="601"/>
                </a:cxn>
                <a:cxn ang="0">
                  <a:pos x="299" y="535"/>
                </a:cxn>
                <a:cxn ang="0">
                  <a:pos x="247" y="519"/>
                </a:cxn>
                <a:cxn ang="0">
                  <a:pos x="195" y="499"/>
                </a:cxn>
                <a:cxn ang="0">
                  <a:pos x="32" y="419"/>
                </a:cxn>
                <a:cxn ang="0">
                  <a:pos x="0" y="385"/>
                </a:cxn>
                <a:cxn ang="0">
                  <a:pos x="14" y="369"/>
                </a:cxn>
                <a:cxn ang="0">
                  <a:pos x="44" y="351"/>
                </a:cxn>
                <a:cxn ang="0">
                  <a:pos x="60" y="297"/>
                </a:cxn>
                <a:cxn ang="0">
                  <a:pos x="70" y="225"/>
                </a:cxn>
                <a:cxn ang="0">
                  <a:pos x="64" y="197"/>
                </a:cxn>
              </a:cxnLst>
              <a:rect l="0" t="0" r="r" b="b"/>
              <a:pathLst>
                <a:path w="453" h="613">
                  <a:moveTo>
                    <a:pt x="64" y="197"/>
                  </a:moveTo>
                  <a:lnTo>
                    <a:pt x="50" y="183"/>
                  </a:lnTo>
                  <a:lnTo>
                    <a:pt x="50" y="173"/>
                  </a:lnTo>
                  <a:lnTo>
                    <a:pt x="48" y="161"/>
                  </a:lnTo>
                  <a:lnTo>
                    <a:pt x="60" y="153"/>
                  </a:lnTo>
                  <a:lnTo>
                    <a:pt x="60" y="143"/>
                  </a:lnTo>
                  <a:lnTo>
                    <a:pt x="58" y="118"/>
                  </a:lnTo>
                  <a:lnTo>
                    <a:pt x="76" y="137"/>
                  </a:lnTo>
                  <a:lnTo>
                    <a:pt x="88" y="145"/>
                  </a:lnTo>
                  <a:lnTo>
                    <a:pt x="86" y="116"/>
                  </a:lnTo>
                  <a:lnTo>
                    <a:pt x="115" y="92"/>
                  </a:lnTo>
                  <a:lnTo>
                    <a:pt x="133" y="88"/>
                  </a:lnTo>
                  <a:lnTo>
                    <a:pt x="135" y="50"/>
                  </a:lnTo>
                  <a:lnTo>
                    <a:pt x="155" y="28"/>
                  </a:lnTo>
                  <a:lnTo>
                    <a:pt x="185" y="30"/>
                  </a:lnTo>
                  <a:lnTo>
                    <a:pt x="185" y="14"/>
                  </a:lnTo>
                  <a:lnTo>
                    <a:pt x="219" y="18"/>
                  </a:lnTo>
                  <a:lnTo>
                    <a:pt x="243" y="0"/>
                  </a:lnTo>
                  <a:lnTo>
                    <a:pt x="261" y="0"/>
                  </a:lnTo>
                  <a:lnTo>
                    <a:pt x="255" y="20"/>
                  </a:lnTo>
                  <a:lnTo>
                    <a:pt x="225" y="52"/>
                  </a:lnTo>
                  <a:lnTo>
                    <a:pt x="223" y="84"/>
                  </a:lnTo>
                  <a:lnTo>
                    <a:pt x="235" y="100"/>
                  </a:lnTo>
                  <a:lnTo>
                    <a:pt x="239" y="139"/>
                  </a:lnTo>
                  <a:lnTo>
                    <a:pt x="251" y="169"/>
                  </a:lnTo>
                  <a:lnTo>
                    <a:pt x="279" y="181"/>
                  </a:lnTo>
                  <a:lnTo>
                    <a:pt x="329" y="181"/>
                  </a:lnTo>
                  <a:lnTo>
                    <a:pt x="367" y="215"/>
                  </a:lnTo>
                  <a:lnTo>
                    <a:pt x="429" y="211"/>
                  </a:lnTo>
                  <a:lnTo>
                    <a:pt x="441" y="221"/>
                  </a:lnTo>
                  <a:lnTo>
                    <a:pt x="427" y="251"/>
                  </a:lnTo>
                  <a:lnTo>
                    <a:pt x="429" y="293"/>
                  </a:lnTo>
                  <a:lnTo>
                    <a:pt x="439" y="321"/>
                  </a:lnTo>
                  <a:lnTo>
                    <a:pt x="421" y="329"/>
                  </a:lnTo>
                  <a:lnTo>
                    <a:pt x="417" y="341"/>
                  </a:lnTo>
                  <a:lnTo>
                    <a:pt x="435" y="341"/>
                  </a:lnTo>
                  <a:lnTo>
                    <a:pt x="449" y="361"/>
                  </a:lnTo>
                  <a:lnTo>
                    <a:pt x="453" y="381"/>
                  </a:lnTo>
                  <a:lnTo>
                    <a:pt x="445" y="385"/>
                  </a:lnTo>
                  <a:lnTo>
                    <a:pt x="435" y="369"/>
                  </a:lnTo>
                  <a:lnTo>
                    <a:pt x="417" y="375"/>
                  </a:lnTo>
                  <a:lnTo>
                    <a:pt x="401" y="371"/>
                  </a:lnTo>
                  <a:lnTo>
                    <a:pt x="389" y="379"/>
                  </a:lnTo>
                  <a:lnTo>
                    <a:pt x="341" y="379"/>
                  </a:lnTo>
                  <a:lnTo>
                    <a:pt x="341" y="403"/>
                  </a:lnTo>
                  <a:lnTo>
                    <a:pt x="367" y="409"/>
                  </a:lnTo>
                  <a:lnTo>
                    <a:pt x="367" y="421"/>
                  </a:lnTo>
                  <a:lnTo>
                    <a:pt x="339" y="421"/>
                  </a:lnTo>
                  <a:lnTo>
                    <a:pt x="335" y="443"/>
                  </a:lnTo>
                  <a:lnTo>
                    <a:pt x="361" y="451"/>
                  </a:lnTo>
                  <a:lnTo>
                    <a:pt x="359" y="473"/>
                  </a:lnTo>
                  <a:lnTo>
                    <a:pt x="363" y="499"/>
                  </a:lnTo>
                  <a:lnTo>
                    <a:pt x="343" y="613"/>
                  </a:lnTo>
                  <a:lnTo>
                    <a:pt x="317" y="601"/>
                  </a:lnTo>
                  <a:lnTo>
                    <a:pt x="339" y="539"/>
                  </a:lnTo>
                  <a:lnTo>
                    <a:pt x="299" y="535"/>
                  </a:lnTo>
                  <a:lnTo>
                    <a:pt x="259" y="529"/>
                  </a:lnTo>
                  <a:lnTo>
                    <a:pt x="247" y="519"/>
                  </a:lnTo>
                  <a:lnTo>
                    <a:pt x="235" y="517"/>
                  </a:lnTo>
                  <a:lnTo>
                    <a:pt x="195" y="499"/>
                  </a:lnTo>
                  <a:lnTo>
                    <a:pt x="139" y="453"/>
                  </a:lnTo>
                  <a:lnTo>
                    <a:pt x="32" y="419"/>
                  </a:lnTo>
                  <a:lnTo>
                    <a:pt x="6" y="403"/>
                  </a:lnTo>
                  <a:lnTo>
                    <a:pt x="0" y="385"/>
                  </a:lnTo>
                  <a:lnTo>
                    <a:pt x="16" y="383"/>
                  </a:lnTo>
                  <a:lnTo>
                    <a:pt x="14" y="369"/>
                  </a:lnTo>
                  <a:lnTo>
                    <a:pt x="20" y="353"/>
                  </a:lnTo>
                  <a:lnTo>
                    <a:pt x="44" y="351"/>
                  </a:lnTo>
                  <a:lnTo>
                    <a:pt x="76" y="307"/>
                  </a:lnTo>
                  <a:lnTo>
                    <a:pt x="60" y="297"/>
                  </a:lnTo>
                  <a:lnTo>
                    <a:pt x="64" y="243"/>
                  </a:lnTo>
                  <a:lnTo>
                    <a:pt x="70" y="225"/>
                  </a:lnTo>
                  <a:lnTo>
                    <a:pt x="60" y="215"/>
                  </a:lnTo>
                  <a:lnTo>
                    <a:pt x="64" y="197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74" name="Congo">
              <a:extLst>
                <a:ext uri="{FF2B5EF4-FFF2-40B4-BE49-F238E27FC236}">
                  <a16:creationId xmlns="" xmlns:a16="http://schemas.microsoft.com/office/drawing/2014/main" id="{D581AFAE-FC5E-44B5-98DA-A0FD369CDC8B}"/>
                </a:ext>
              </a:extLst>
            </p:cNvPr>
            <p:cNvSpPr>
              <a:spLocks/>
            </p:cNvSpPr>
            <p:nvPr/>
          </p:nvSpPr>
          <p:spPr bwMode="gray">
            <a:xfrm>
              <a:off x="6134823" y="4436824"/>
              <a:ext cx="244038" cy="293017"/>
            </a:xfrm>
            <a:custGeom>
              <a:avLst/>
              <a:gdLst/>
              <a:ahLst/>
              <a:cxnLst>
                <a:cxn ang="0">
                  <a:pos x="0" y="294"/>
                </a:cxn>
                <a:cxn ang="0">
                  <a:pos x="20" y="282"/>
                </a:cxn>
                <a:cxn ang="0">
                  <a:pos x="32" y="294"/>
                </a:cxn>
                <a:cxn ang="0">
                  <a:pos x="46" y="284"/>
                </a:cxn>
                <a:cxn ang="0">
                  <a:pos x="32" y="260"/>
                </a:cxn>
                <a:cxn ang="0">
                  <a:pos x="42" y="252"/>
                </a:cxn>
                <a:cxn ang="0">
                  <a:pos x="72" y="248"/>
                </a:cxn>
                <a:cxn ang="0">
                  <a:pos x="86" y="232"/>
                </a:cxn>
                <a:cxn ang="0">
                  <a:pos x="96" y="248"/>
                </a:cxn>
                <a:cxn ang="0">
                  <a:pos x="128" y="250"/>
                </a:cxn>
                <a:cxn ang="0">
                  <a:pos x="136" y="254"/>
                </a:cxn>
                <a:cxn ang="0">
                  <a:pos x="148" y="244"/>
                </a:cxn>
                <a:cxn ang="0">
                  <a:pos x="158" y="188"/>
                </a:cxn>
                <a:cxn ang="0">
                  <a:pos x="132" y="166"/>
                </a:cxn>
                <a:cxn ang="0">
                  <a:pos x="134" y="150"/>
                </a:cxn>
                <a:cxn ang="0">
                  <a:pos x="150" y="136"/>
                </a:cxn>
                <a:cxn ang="0">
                  <a:pos x="146" y="116"/>
                </a:cxn>
                <a:cxn ang="0">
                  <a:pos x="126" y="106"/>
                </a:cxn>
                <a:cxn ang="0">
                  <a:pos x="108" y="114"/>
                </a:cxn>
                <a:cxn ang="0">
                  <a:pos x="94" y="114"/>
                </a:cxn>
                <a:cxn ang="0">
                  <a:pos x="100" y="82"/>
                </a:cxn>
                <a:cxn ang="0">
                  <a:pos x="182" y="86"/>
                </a:cxn>
                <a:cxn ang="0">
                  <a:pos x="200" y="92"/>
                </a:cxn>
                <a:cxn ang="0">
                  <a:pos x="202" y="58"/>
                </a:cxn>
                <a:cxn ang="0">
                  <a:pos x="234" y="8"/>
                </a:cxn>
                <a:cxn ang="0">
                  <a:pos x="250" y="8"/>
                </a:cxn>
                <a:cxn ang="0">
                  <a:pos x="264" y="0"/>
                </a:cxn>
                <a:cxn ang="0">
                  <a:pos x="298" y="2"/>
                </a:cxn>
                <a:cxn ang="0">
                  <a:pos x="302" y="20"/>
                </a:cxn>
                <a:cxn ang="0">
                  <a:pos x="284" y="86"/>
                </a:cxn>
                <a:cxn ang="0">
                  <a:pos x="278" y="114"/>
                </a:cxn>
                <a:cxn ang="0">
                  <a:pos x="278" y="138"/>
                </a:cxn>
                <a:cxn ang="0">
                  <a:pos x="270" y="152"/>
                </a:cxn>
                <a:cxn ang="0">
                  <a:pos x="272" y="184"/>
                </a:cxn>
                <a:cxn ang="0">
                  <a:pos x="238" y="206"/>
                </a:cxn>
                <a:cxn ang="0">
                  <a:pos x="218" y="232"/>
                </a:cxn>
                <a:cxn ang="0">
                  <a:pos x="212" y="264"/>
                </a:cxn>
                <a:cxn ang="0">
                  <a:pos x="208" y="296"/>
                </a:cxn>
                <a:cxn ang="0">
                  <a:pos x="194" y="320"/>
                </a:cxn>
                <a:cxn ang="0">
                  <a:pos x="144" y="352"/>
                </a:cxn>
                <a:cxn ang="0">
                  <a:pos x="138" y="326"/>
                </a:cxn>
                <a:cxn ang="0">
                  <a:pos x="108" y="330"/>
                </a:cxn>
                <a:cxn ang="0">
                  <a:pos x="96" y="340"/>
                </a:cxn>
                <a:cxn ang="0">
                  <a:pos x="82" y="328"/>
                </a:cxn>
                <a:cxn ang="0">
                  <a:pos x="64" y="346"/>
                </a:cxn>
                <a:cxn ang="0">
                  <a:pos x="48" y="358"/>
                </a:cxn>
                <a:cxn ang="0">
                  <a:pos x="34" y="330"/>
                </a:cxn>
                <a:cxn ang="0">
                  <a:pos x="8" y="304"/>
                </a:cxn>
                <a:cxn ang="0">
                  <a:pos x="0" y="294"/>
                </a:cxn>
              </a:cxnLst>
              <a:rect l="0" t="0" r="r" b="b"/>
              <a:pathLst>
                <a:path w="302" h="358">
                  <a:moveTo>
                    <a:pt x="0" y="294"/>
                  </a:moveTo>
                  <a:lnTo>
                    <a:pt x="20" y="282"/>
                  </a:lnTo>
                  <a:lnTo>
                    <a:pt x="32" y="294"/>
                  </a:lnTo>
                  <a:lnTo>
                    <a:pt x="46" y="284"/>
                  </a:lnTo>
                  <a:lnTo>
                    <a:pt x="32" y="260"/>
                  </a:lnTo>
                  <a:lnTo>
                    <a:pt x="42" y="252"/>
                  </a:lnTo>
                  <a:lnTo>
                    <a:pt x="72" y="248"/>
                  </a:lnTo>
                  <a:lnTo>
                    <a:pt x="86" y="232"/>
                  </a:lnTo>
                  <a:lnTo>
                    <a:pt x="96" y="248"/>
                  </a:lnTo>
                  <a:lnTo>
                    <a:pt x="128" y="250"/>
                  </a:lnTo>
                  <a:lnTo>
                    <a:pt x="136" y="254"/>
                  </a:lnTo>
                  <a:lnTo>
                    <a:pt x="148" y="244"/>
                  </a:lnTo>
                  <a:lnTo>
                    <a:pt x="158" y="188"/>
                  </a:lnTo>
                  <a:lnTo>
                    <a:pt x="132" y="166"/>
                  </a:lnTo>
                  <a:lnTo>
                    <a:pt x="134" y="150"/>
                  </a:lnTo>
                  <a:lnTo>
                    <a:pt x="150" y="136"/>
                  </a:lnTo>
                  <a:lnTo>
                    <a:pt x="146" y="116"/>
                  </a:lnTo>
                  <a:lnTo>
                    <a:pt x="126" y="106"/>
                  </a:lnTo>
                  <a:lnTo>
                    <a:pt x="108" y="114"/>
                  </a:lnTo>
                  <a:lnTo>
                    <a:pt x="94" y="114"/>
                  </a:lnTo>
                  <a:lnTo>
                    <a:pt x="100" y="82"/>
                  </a:lnTo>
                  <a:lnTo>
                    <a:pt x="182" y="86"/>
                  </a:lnTo>
                  <a:lnTo>
                    <a:pt x="200" y="92"/>
                  </a:lnTo>
                  <a:lnTo>
                    <a:pt x="202" y="58"/>
                  </a:lnTo>
                  <a:lnTo>
                    <a:pt x="234" y="8"/>
                  </a:lnTo>
                  <a:lnTo>
                    <a:pt x="250" y="8"/>
                  </a:lnTo>
                  <a:lnTo>
                    <a:pt x="264" y="0"/>
                  </a:lnTo>
                  <a:lnTo>
                    <a:pt x="298" y="2"/>
                  </a:lnTo>
                  <a:lnTo>
                    <a:pt x="302" y="20"/>
                  </a:lnTo>
                  <a:lnTo>
                    <a:pt x="284" y="86"/>
                  </a:lnTo>
                  <a:lnTo>
                    <a:pt x="278" y="114"/>
                  </a:lnTo>
                  <a:lnTo>
                    <a:pt x="278" y="138"/>
                  </a:lnTo>
                  <a:lnTo>
                    <a:pt x="270" y="152"/>
                  </a:lnTo>
                  <a:lnTo>
                    <a:pt x="272" y="184"/>
                  </a:lnTo>
                  <a:lnTo>
                    <a:pt x="238" y="206"/>
                  </a:lnTo>
                  <a:lnTo>
                    <a:pt x="218" y="232"/>
                  </a:lnTo>
                  <a:lnTo>
                    <a:pt x="212" y="264"/>
                  </a:lnTo>
                  <a:lnTo>
                    <a:pt x="208" y="296"/>
                  </a:lnTo>
                  <a:lnTo>
                    <a:pt x="194" y="320"/>
                  </a:lnTo>
                  <a:lnTo>
                    <a:pt x="144" y="352"/>
                  </a:lnTo>
                  <a:lnTo>
                    <a:pt x="138" y="326"/>
                  </a:lnTo>
                  <a:lnTo>
                    <a:pt x="108" y="330"/>
                  </a:lnTo>
                  <a:lnTo>
                    <a:pt x="96" y="340"/>
                  </a:lnTo>
                  <a:lnTo>
                    <a:pt x="82" y="328"/>
                  </a:lnTo>
                  <a:lnTo>
                    <a:pt x="64" y="346"/>
                  </a:lnTo>
                  <a:lnTo>
                    <a:pt x="48" y="358"/>
                  </a:lnTo>
                  <a:lnTo>
                    <a:pt x="34" y="330"/>
                  </a:lnTo>
                  <a:lnTo>
                    <a:pt x="8" y="304"/>
                  </a:lnTo>
                  <a:lnTo>
                    <a:pt x="0" y="294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75" name="Congo DR">
              <a:extLst>
                <a:ext uri="{FF2B5EF4-FFF2-40B4-BE49-F238E27FC236}">
                  <a16:creationId xmlns="" xmlns:a16="http://schemas.microsoft.com/office/drawing/2014/main" id="{E3AC4A85-BB49-4DE5-BDB8-089FDF92924A}"/>
                </a:ext>
              </a:extLst>
            </p:cNvPr>
            <p:cNvSpPr>
              <a:spLocks/>
            </p:cNvSpPr>
            <p:nvPr/>
          </p:nvSpPr>
          <p:spPr bwMode="gray">
            <a:xfrm>
              <a:off x="6179724" y="4385694"/>
              <a:ext cx="591549" cy="603733"/>
            </a:xfrm>
            <a:custGeom>
              <a:avLst/>
              <a:gdLst/>
              <a:ahLst/>
              <a:cxnLst>
                <a:cxn ang="0">
                  <a:pos x="26" y="446"/>
                </a:cxn>
                <a:cxn ang="0">
                  <a:pos x="124" y="446"/>
                </a:cxn>
                <a:cxn ang="0">
                  <a:pos x="192" y="488"/>
                </a:cxn>
                <a:cxn ang="0">
                  <a:pos x="216" y="538"/>
                </a:cxn>
                <a:cxn ang="0">
                  <a:pos x="288" y="498"/>
                </a:cxn>
                <a:cxn ang="0">
                  <a:pos x="331" y="506"/>
                </a:cxn>
                <a:cxn ang="0">
                  <a:pos x="377" y="586"/>
                </a:cxn>
                <a:cxn ang="0">
                  <a:pos x="391" y="652"/>
                </a:cxn>
                <a:cxn ang="0">
                  <a:pos x="479" y="640"/>
                </a:cxn>
                <a:cxn ang="0">
                  <a:pos x="505" y="662"/>
                </a:cxn>
                <a:cxn ang="0">
                  <a:pos x="563" y="682"/>
                </a:cxn>
                <a:cxn ang="0">
                  <a:pos x="585" y="696"/>
                </a:cxn>
                <a:cxn ang="0">
                  <a:pos x="637" y="730"/>
                </a:cxn>
                <a:cxn ang="0">
                  <a:pos x="675" y="737"/>
                </a:cxn>
                <a:cxn ang="0">
                  <a:pos x="659" y="700"/>
                </a:cxn>
                <a:cxn ang="0">
                  <a:pos x="625" y="664"/>
                </a:cxn>
                <a:cxn ang="0">
                  <a:pos x="631" y="632"/>
                </a:cxn>
                <a:cxn ang="0">
                  <a:pos x="619" y="590"/>
                </a:cxn>
                <a:cxn ang="0">
                  <a:pos x="717" y="546"/>
                </a:cxn>
                <a:cxn ang="0">
                  <a:pos x="671" y="456"/>
                </a:cxn>
                <a:cxn ang="0">
                  <a:pos x="663" y="364"/>
                </a:cxn>
                <a:cxn ang="0">
                  <a:pos x="655" y="312"/>
                </a:cxn>
                <a:cxn ang="0">
                  <a:pos x="665" y="280"/>
                </a:cxn>
                <a:cxn ang="0">
                  <a:pos x="671" y="250"/>
                </a:cxn>
                <a:cxn ang="0">
                  <a:pos x="681" y="192"/>
                </a:cxn>
                <a:cxn ang="0">
                  <a:pos x="729" y="130"/>
                </a:cxn>
                <a:cxn ang="0">
                  <a:pos x="719" y="116"/>
                </a:cxn>
                <a:cxn ang="0">
                  <a:pos x="723" y="84"/>
                </a:cxn>
                <a:cxn ang="0">
                  <a:pos x="657" y="46"/>
                </a:cxn>
                <a:cxn ang="0">
                  <a:pos x="623" y="46"/>
                </a:cxn>
                <a:cxn ang="0">
                  <a:pos x="511" y="0"/>
                </a:cxn>
                <a:cxn ang="0">
                  <a:pos x="495" y="18"/>
                </a:cxn>
                <a:cxn ang="0">
                  <a:pos x="457" y="20"/>
                </a:cxn>
                <a:cxn ang="0">
                  <a:pos x="409" y="24"/>
                </a:cxn>
                <a:cxn ang="0">
                  <a:pos x="345" y="32"/>
                </a:cxn>
                <a:cxn ang="0">
                  <a:pos x="294" y="16"/>
                </a:cxn>
                <a:cxn ang="0">
                  <a:pos x="262" y="34"/>
                </a:cxn>
                <a:cxn ang="0">
                  <a:pos x="244" y="64"/>
                </a:cxn>
                <a:cxn ang="0">
                  <a:pos x="230" y="148"/>
                </a:cxn>
                <a:cxn ang="0">
                  <a:pos x="224" y="200"/>
                </a:cxn>
                <a:cxn ang="0">
                  <a:pos x="218" y="246"/>
                </a:cxn>
                <a:cxn ang="0">
                  <a:pos x="164" y="294"/>
                </a:cxn>
                <a:cxn ang="0">
                  <a:pos x="154" y="358"/>
                </a:cxn>
                <a:cxn ang="0">
                  <a:pos x="90" y="414"/>
                </a:cxn>
                <a:cxn ang="0">
                  <a:pos x="54" y="392"/>
                </a:cxn>
                <a:cxn ang="0">
                  <a:pos x="30" y="418"/>
                </a:cxn>
                <a:cxn ang="0">
                  <a:pos x="14" y="436"/>
                </a:cxn>
                <a:cxn ang="0">
                  <a:pos x="4" y="454"/>
                </a:cxn>
              </a:cxnLst>
              <a:rect l="0" t="0" r="r" b="b"/>
              <a:pathLst>
                <a:path w="729" h="737">
                  <a:moveTo>
                    <a:pt x="4" y="454"/>
                  </a:moveTo>
                  <a:lnTo>
                    <a:pt x="26" y="446"/>
                  </a:lnTo>
                  <a:lnTo>
                    <a:pt x="44" y="444"/>
                  </a:lnTo>
                  <a:lnTo>
                    <a:pt x="124" y="446"/>
                  </a:lnTo>
                  <a:lnTo>
                    <a:pt x="180" y="444"/>
                  </a:lnTo>
                  <a:lnTo>
                    <a:pt x="192" y="488"/>
                  </a:lnTo>
                  <a:lnTo>
                    <a:pt x="196" y="508"/>
                  </a:lnTo>
                  <a:lnTo>
                    <a:pt x="216" y="538"/>
                  </a:lnTo>
                  <a:lnTo>
                    <a:pt x="278" y="534"/>
                  </a:lnTo>
                  <a:lnTo>
                    <a:pt x="288" y="498"/>
                  </a:lnTo>
                  <a:lnTo>
                    <a:pt x="331" y="494"/>
                  </a:lnTo>
                  <a:lnTo>
                    <a:pt x="331" y="506"/>
                  </a:lnTo>
                  <a:lnTo>
                    <a:pt x="379" y="506"/>
                  </a:lnTo>
                  <a:lnTo>
                    <a:pt x="377" y="586"/>
                  </a:lnTo>
                  <a:lnTo>
                    <a:pt x="391" y="614"/>
                  </a:lnTo>
                  <a:lnTo>
                    <a:pt x="391" y="652"/>
                  </a:lnTo>
                  <a:lnTo>
                    <a:pt x="461" y="642"/>
                  </a:lnTo>
                  <a:lnTo>
                    <a:pt x="479" y="640"/>
                  </a:lnTo>
                  <a:lnTo>
                    <a:pt x="479" y="660"/>
                  </a:lnTo>
                  <a:lnTo>
                    <a:pt x="505" y="662"/>
                  </a:lnTo>
                  <a:lnTo>
                    <a:pt x="521" y="678"/>
                  </a:lnTo>
                  <a:lnTo>
                    <a:pt x="563" y="682"/>
                  </a:lnTo>
                  <a:lnTo>
                    <a:pt x="571" y="666"/>
                  </a:lnTo>
                  <a:lnTo>
                    <a:pt x="585" y="696"/>
                  </a:lnTo>
                  <a:lnTo>
                    <a:pt x="605" y="692"/>
                  </a:lnTo>
                  <a:lnTo>
                    <a:pt x="637" y="730"/>
                  </a:lnTo>
                  <a:lnTo>
                    <a:pt x="659" y="726"/>
                  </a:lnTo>
                  <a:lnTo>
                    <a:pt x="675" y="737"/>
                  </a:lnTo>
                  <a:lnTo>
                    <a:pt x="675" y="682"/>
                  </a:lnTo>
                  <a:lnTo>
                    <a:pt x="659" y="700"/>
                  </a:lnTo>
                  <a:lnTo>
                    <a:pt x="647" y="700"/>
                  </a:lnTo>
                  <a:lnTo>
                    <a:pt x="625" y="664"/>
                  </a:lnTo>
                  <a:lnTo>
                    <a:pt x="627" y="642"/>
                  </a:lnTo>
                  <a:lnTo>
                    <a:pt x="631" y="632"/>
                  </a:lnTo>
                  <a:lnTo>
                    <a:pt x="629" y="598"/>
                  </a:lnTo>
                  <a:lnTo>
                    <a:pt x="619" y="590"/>
                  </a:lnTo>
                  <a:lnTo>
                    <a:pt x="639" y="556"/>
                  </a:lnTo>
                  <a:lnTo>
                    <a:pt x="717" y="546"/>
                  </a:lnTo>
                  <a:lnTo>
                    <a:pt x="699" y="500"/>
                  </a:lnTo>
                  <a:lnTo>
                    <a:pt x="671" y="456"/>
                  </a:lnTo>
                  <a:lnTo>
                    <a:pt x="663" y="396"/>
                  </a:lnTo>
                  <a:lnTo>
                    <a:pt x="663" y="364"/>
                  </a:lnTo>
                  <a:lnTo>
                    <a:pt x="669" y="332"/>
                  </a:lnTo>
                  <a:lnTo>
                    <a:pt x="655" y="312"/>
                  </a:lnTo>
                  <a:lnTo>
                    <a:pt x="663" y="300"/>
                  </a:lnTo>
                  <a:lnTo>
                    <a:pt x="665" y="280"/>
                  </a:lnTo>
                  <a:lnTo>
                    <a:pt x="683" y="268"/>
                  </a:lnTo>
                  <a:lnTo>
                    <a:pt x="671" y="250"/>
                  </a:lnTo>
                  <a:lnTo>
                    <a:pt x="679" y="224"/>
                  </a:lnTo>
                  <a:lnTo>
                    <a:pt x="681" y="192"/>
                  </a:lnTo>
                  <a:lnTo>
                    <a:pt x="707" y="164"/>
                  </a:lnTo>
                  <a:lnTo>
                    <a:pt x="729" y="130"/>
                  </a:lnTo>
                  <a:lnTo>
                    <a:pt x="711" y="128"/>
                  </a:lnTo>
                  <a:lnTo>
                    <a:pt x="719" y="116"/>
                  </a:lnTo>
                  <a:lnTo>
                    <a:pt x="719" y="100"/>
                  </a:lnTo>
                  <a:lnTo>
                    <a:pt x="723" y="84"/>
                  </a:lnTo>
                  <a:lnTo>
                    <a:pt x="677" y="36"/>
                  </a:lnTo>
                  <a:lnTo>
                    <a:pt x="657" y="46"/>
                  </a:lnTo>
                  <a:lnTo>
                    <a:pt x="641" y="38"/>
                  </a:lnTo>
                  <a:lnTo>
                    <a:pt x="623" y="46"/>
                  </a:lnTo>
                  <a:lnTo>
                    <a:pt x="591" y="28"/>
                  </a:lnTo>
                  <a:lnTo>
                    <a:pt x="511" y="0"/>
                  </a:lnTo>
                  <a:lnTo>
                    <a:pt x="501" y="8"/>
                  </a:lnTo>
                  <a:lnTo>
                    <a:pt x="495" y="18"/>
                  </a:lnTo>
                  <a:lnTo>
                    <a:pt x="477" y="8"/>
                  </a:lnTo>
                  <a:lnTo>
                    <a:pt x="457" y="20"/>
                  </a:lnTo>
                  <a:lnTo>
                    <a:pt x="425" y="26"/>
                  </a:lnTo>
                  <a:lnTo>
                    <a:pt x="409" y="24"/>
                  </a:lnTo>
                  <a:lnTo>
                    <a:pt x="387" y="46"/>
                  </a:lnTo>
                  <a:lnTo>
                    <a:pt x="345" y="32"/>
                  </a:lnTo>
                  <a:lnTo>
                    <a:pt x="321" y="32"/>
                  </a:lnTo>
                  <a:lnTo>
                    <a:pt x="294" y="16"/>
                  </a:lnTo>
                  <a:lnTo>
                    <a:pt x="278" y="16"/>
                  </a:lnTo>
                  <a:lnTo>
                    <a:pt x="262" y="34"/>
                  </a:lnTo>
                  <a:lnTo>
                    <a:pt x="252" y="34"/>
                  </a:lnTo>
                  <a:lnTo>
                    <a:pt x="244" y="64"/>
                  </a:lnTo>
                  <a:lnTo>
                    <a:pt x="248" y="82"/>
                  </a:lnTo>
                  <a:lnTo>
                    <a:pt x="230" y="148"/>
                  </a:lnTo>
                  <a:lnTo>
                    <a:pt x="224" y="176"/>
                  </a:lnTo>
                  <a:lnTo>
                    <a:pt x="224" y="200"/>
                  </a:lnTo>
                  <a:lnTo>
                    <a:pt x="216" y="214"/>
                  </a:lnTo>
                  <a:lnTo>
                    <a:pt x="218" y="246"/>
                  </a:lnTo>
                  <a:lnTo>
                    <a:pt x="184" y="268"/>
                  </a:lnTo>
                  <a:lnTo>
                    <a:pt x="164" y="294"/>
                  </a:lnTo>
                  <a:lnTo>
                    <a:pt x="158" y="326"/>
                  </a:lnTo>
                  <a:lnTo>
                    <a:pt x="154" y="358"/>
                  </a:lnTo>
                  <a:lnTo>
                    <a:pt x="140" y="382"/>
                  </a:lnTo>
                  <a:lnTo>
                    <a:pt x="90" y="414"/>
                  </a:lnTo>
                  <a:lnTo>
                    <a:pt x="84" y="388"/>
                  </a:lnTo>
                  <a:lnTo>
                    <a:pt x="54" y="392"/>
                  </a:lnTo>
                  <a:lnTo>
                    <a:pt x="42" y="402"/>
                  </a:lnTo>
                  <a:lnTo>
                    <a:pt x="30" y="418"/>
                  </a:lnTo>
                  <a:lnTo>
                    <a:pt x="16" y="420"/>
                  </a:lnTo>
                  <a:lnTo>
                    <a:pt x="14" y="436"/>
                  </a:lnTo>
                  <a:lnTo>
                    <a:pt x="0" y="442"/>
                  </a:lnTo>
                  <a:lnTo>
                    <a:pt x="4" y="454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76" name="Costa Rica">
              <a:extLst>
                <a:ext uri="{FF2B5EF4-FFF2-40B4-BE49-F238E27FC236}">
                  <a16:creationId xmlns="" xmlns:a16="http://schemas.microsoft.com/office/drawing/2014/main" id="{A05A42E7-D628-4AFB-813E-A7E0463174AF}"/>
                </a:ext>
              </a:extLst>
            </p:cNvPr>
            <p:cNvSpPr>
              <a:spLocks/>
            </p:cNvSpPr>
            <p:nvPr/>
          </p:nvSpPr>
          <p:spPr bwMode="gray">
            <a:xfrm>
              <a:off x="3050182" y="4271633"/>
              <a:ext cx="101519" cy="94394"/>
            </a:xfrm>
            <a:custGeom>
              <a:avLst/>
              <a:gdLst/>
              <a:ahLst/>
              <a:cxnLst>
                <a:cxn ang="0">
                  <a:pos x="98" y="105"/>
                </a:cxn>
                <a:cxn ang="0">
                  <a:pos x="98" y="117"/>
                </a:cxn>
                <a:cxn ang="0">
                  <a:pos x="94" y="117"/>
                </a:cxn>
                <a:cxn ang="0">
                  <a:pos x="80" y="105"/>
                </a:cxn>
                <a:cxn ang="0">
                  <a:pos x="84" y="94"/>
                </a:cxn>
                <a:cxn ang="0">
                  <a:pos x="84" y="82"/>
                </a:cxn>
                <a:cxn ang="0">
                  <a:pos x="68" y="72"/>
                </a:cxn>
                <a:cxn ang="0">
                  <a:pos x="54" y="72"/>
                </a:cxn>
                <a:cxn ang="0">
                  <a:pos x="46" y="64"/>
                </a:cxn>
                <a:cxn ang="0">
                  <a:pos x="46" y="52"/>
                </a:cxn>
                <a:cxn ang="0">
                  <a:pos x="30" y="40"/>
                </a:cxn>
                <a:cxn ang="0">
                  <a:pos x="22" y="42"/>
                </a:cxn>
                <a:cxn ang="0">
                  <a:pos x="22" y="48"/>
                </a:cxn>
                <a:cxn ang="0">
                  <a:pos x="34" y="52"/>
                </a:cxn>
                <a:cxn ang="0">
                  <a:pos x="32" y="60"/>
                </a:cxn>
                <a:cxn ang="0">
                  <a:pos x="28" y="66"/>
                </a:cxn>
                <a:cxn ang="0">
                  <a:pos x="10" y="54"/>
                </a:cxn>
                <a:cxn ang="0">
                  <a:pos x="2" y="40"/>
                </a:cxn>
                <a:cxn ang="0">
                  <a:pos x="4" y="18"/>
                </a:cxn>
                <a:cxn ang="0">
                  <a:pos x="0" y="4"/>
                </a:cxn>
                <a:cxn ang="0">
                  <a:pos x="24" y="2"/>
                </a:cxn>
                <a:cxn ang="0">
                  <a:pos x="42" y="0"/>
                </a:cxn>
                <a:cxn ang="0">
                  <a:pos x="62" y="20"/>
                </a:cxn>
                <a:cxn ang="0">
                  <a:pos x="68" y="18"/>
                </a:cxn>
                <a:cxn ang="0">
                  <a:pos x="76" y="10"/>
                </a:cxn>
                <a:cxn ang="0">
                  <a:pos x="84" y="12"/>
                </a:cxn>
                <a:cxn ang="0">
                  <a:pos x="86" y="26"/>
                </a:cxn>
                <a:cxn ang="0">
                  <a:pos x="96" y="32"/>
                </a:cxn>
                <a:cxn ang="0">
                  <a:pos x="98" y="44"/>
                </a:cxn>
                <a:cxn ang="0">
                  <a:pos x="114" y="50"/>
                </a:cxn>
                <a:cxn ang="0">
                  <a:pos x="126" y="64"/>
                </a:cxn>
                <a:cxn ang="0">
                  <a:pos x="102" y="70"/>
                </a:cxn>
                <a:cxn ang="0">
                  <a:pos x="98" y="74"/>
                </a:cxn>
                <a:cxn ang="0">
                  <a:pos x="100" y="94"/>
                </a:cxn>
                <a:cxn ang="0">
                  <a:pos x="90" y="96"/>
                </a:cxn>
                <a:cxn ang="0">
                  <a:pos x="90" y="101"/>
                </a:cxn>
                <a:cxn ang="0">
                  <a:pos x="98" y="105"/>
                </a:cxn>
              </a:cxnLst>
              <a:rect l="0" t="0" r="r" b="b"/>
              <a:pathLst>
                <a:path w="126" h="117">
                  <a:moveTo>
                    <a:pt x="98" y="105"/>
                  </a:moveTo>
                  <a:lnTo>
                    <a:pt x="98" y="117"/>
                  </a:lnTo>
                  <a:lnTo>
                    <a:pt x="94" y="117"/>
                  </a:lnTo>
                  <a:lnTo>
                    <a:pt x="80" y="105"/>
                  </a:lnTo>
                  <a:lnTo>
                    <a:pt x="84" y="94"/>
                  </a:lnTo>
                  <a:lnTo>
                    <a:pt x="84" y="82"/>
                  </a:lnTo>
                  <a:lnTo>
                    <a:pt x="68" y="72"/>
                  </a:lnTo>
                  <a:lnTo>
                    <a:pt x="54" y="72"/>
                  </a:lnTo>
                  <a:lnTo>
                    <a:pt x="46" y="64"/>
                  </a:lnTo>
                  <a:lnTo>
                    <a:pt x="46" y="52"/>
                  </a:lnTo>
                  <a:lnTo>
                    <a:pt x="30" y="40"/>
                  </a:lnTo>
                  <a:lnTo>
                    <a:pt x="22" y="42"/>
                  </a:lnTo>
                  <a:lnTo>
                    <a:pt x="22" y="48"/>
                  </a:lnTo>
                  <a:lnTo>
                    <a:pt x="34" y="52"/>
                  </a:lnTo>
                  <a:lnTo>
                    <a:pt x="32" y="60"/>
                  </a:lnTo>
                  <a:lnTo>
                    <a:pt x="28" y="66"/>
                  </a:lnTo>
                  <a:lnTo>
                    <a:pt x="10" y="54"/>
                  </a:lnTo>
                  <a:lnTo>
                    <a:pt x="2" y="40"/>
                  </a:lnTo>
                  <a:lnTo>
                    <a:pt x="4" y="18"/>
                  </a:lnTo>
                  <a:lnTo>
                    <a:pt x="0" y="4"/>
                  </a:lnTo>
                  <a:lnTo>
                    <a:pt x="24" y="2"/>
                  </a:lnTo>
                  <a:lnTo>
                    <a:pt x="42" y="0"/>
                  </a:lnTo>
                  <a:lnTo>
                    <a:pt x="62" y="20"/>
                  </a:lnTo>
                  <a:lnTo>
                    <a:pt x="68" y="18"/>
                  </a:lnTo>
                  <a:lnTo>
                    <a:pt x="76" y="10"/>
                  </a:lnTo>
                  <a:lnTo>
                    <a:pt x="84" y="12"/>
                  </a:lnTo>
                  <a:lnTo>
                    <a:pt x="86" y="26"/>
                  </a:lnTo>
                  <a:lnTo>
                    <a:pt x="96" y="32"/>
                  </a:lnTo>
                  <a:lnTo>
                    <a:pt x="98" y="44"/>
                  </a:lnTo>
                  <a:lnTo>
                    <a:pt x="114" y="50"/>
                  </a:lnTo>
                  <a:lnTo>
                    <a:pt x="126" y="64"/>
                  </a:lnTo>
                  <a:lnTo>
                    <a:pt x="102" y="70"/>
                  </a:lnTo>
                  <a:lnTo>
                    <a:pt x="98" y="74"/>
                  </a:lnTo>
                  <a:lnTo>
                    <a:pt x="100" y="94"/>
                  </a:lnTo>
                  <a:lnTo>
                    <a:pt x="90" y="96"/>
                  </a:lnTo>
                  <a:lnTo>
                    <a:pt x="90" y="101"/>
                  </a:lnTo>
                  <a:lnTo>
                    <a:pt x="98" y="105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77" name="Croatia">
              <a:extLst>
                <a:ext uri="{FF2B5EF4-FFF2-40B4-BE49-F238E27FC236}">
                  <a16:creationId xmlns="" xmlns:a16="http://schemas.microsoft.com/office/drawing/2014/main" id="{433F5637-A3F6-4F66-8261-54A48707A7AD}"/>
                </a:ext>
              </a:extLst>
            </p:cNvPr>
            <p:cNvSpPr>
              <a:spLocks/>
            </p:cNvSpPr>
            <p:nvPr/>
          </p:nvSpPr>
          <p:spPr bwMode="gray">
            <a:xfrm>
              <a:off x="6214866" y="2891109"/>
              <a:ext cx="183517" cy="151425"/>
            </a:xfrm>
            <a:custGeom>
              <a:avLst/>
              <a:gdLst/>
              <a:ahLst/>
              <a:cxnLst>
                <a:cxn ang="0">
                  <a:pos x="0" y="56"/>
                </a:cxn>
                <a:cxn ang="0">
                  <a:pos x="20" y="44"/>
                </a:cxn>
                <a:cxn ang="0">
                  <a:pos x="40" y="44"/>
                </a:cxn>
                <a:cxn ang="0">
                  <a:pos x="56" y="42"/>
                </a:cxn>
                <a:cxn ang="0">
                  <a:pos x="70" y="48"/>
                </a:cxn>
                <a:cxn ang="0">
                  <a:pos x="84" y="46"/>
                </a:cxn>
                <a:cxn ang="0">
                  <a:pos x="82" y="34"/>
                </a:cxn>
                <a:cxn ang="0">
                  <a:pos x="92" y="24"/>
                </a:cxn>
                <a:cxn ang="0">
                  <a:pos x="92" y="8"/>
                </a:cxn>
                <a:cxn ang="0">
                  <a:pos x="106" y="0"/>
                </a:cxn>
                <a:cxn ang="0">
                  <a:pos x="114" y="4"/>
                </a:cxn>
                <a:cxn ang="0">
                  <a:pos x="118" y="16"/>
                </a:cxn>
                <a:cxn ang="0">
                  <a:pos x="168" y="36"/>
                </a:cxn>
                <a:cxn ang="0">
                  <a:pos x="202" y="32"/>
                </a:cxn>
                <a:cxn ang="0">
                  <a:pos x="210" y="50"/>
                </a:cxn>
                <a:cxn ang="0">
                  <a:pos x="226" y="60"/>
                </a:cxn>
                <a:cxn ang="0">
                  <a:pos x="214" y="80"/>
                </a:cxn>
                <a:cxn ang="0">
                  <a:pos x="202" y="74"/>
                </a:cxn>
                <a:cxn ang="0">
                  <a:pos x="150" y="74"/>
                </a:cxn>
                <a:cxn ang="0">
                  <a:pos x="136" y="66"/>
                </a:cxn>
                <a:cxn ang="0">
                  <a:pos x="120" y="70"/>
                </a:cxn>
                <a:cxn ang="0">
                  <a:pos x="100" y="58"/>
                </a:cxn>
                <a:cxn ang="0">
                  <a:pos x="98" y="80"/>
                </a:cxn>
                <a:cxn ang="0">
                  <a:pos x="114" y="102"/>
                </a:cxn>
                <a:cxn ang="0">
                  <a:pos x="134" y="132"/>
                </a:cxn>
                <a:cxn ang="0">
                  <a:pos x="160" y="148"/>
                </a:cxn>
                <a:cxn ang="0">
                  <a:pos x="164" y="160"/>
                </a:cxn>
                <a:cxn ang="0">
                  <a:pos x="172" y="184"/>
                </a:cxn>
                <a:cxn ang="0">
                  <a:pos x="144" y="172"/>
                </a:cxn>
                <a:cxn ang="0">
                  <a:pos x="126" y="154"/>
                </a:cxn>
                <a:cxn ang="0">
                  <a:pos x="104" y="156"/>
                </a:cxn>
                <a:cxn ang="0">
                  <a:pos x="84" y="136"/>
                </a:cxn>
                <a:cxn ang="0">
                  <a:pos x="62" y="118"/>
                </a:cxn>
                <a:cxn ang="0">
                  <a:pos x="56" y="100"/>
                </a:cxn>
                <a:cxn ang="0">
                  <a:pos x="56" y="82"/>
                </a:cxn>
                <a:cxn ang="0">
                  <a:pos x="52" y="68"/>
                </a:cxn>
                <a:cxn ang="0">
                  <a:pos x="42" y="58"/>
                </a:cxn>
                <a:cxn ang="0">
                  <a:pos x="32" y="58"/>
                </a:cxn>
                <a:cxn ang="0">
                  <a:pos x="30" y="72"/>
                </a:cxn>
                <a:cxn ang="0">
                  <a:pos x="22" y="90"/>
                </a:cxn>
                <a:cxn ang="0">
                  <a:pos x="8" y="76"/>
                </a:cxn>
                <a:cxn ang="0">
                  <a:pos x="0" y="56"/>
                </a:cxn>
              </a:cxnLst>
              <a:rect l="0" t="0" r="r" b="b"/>
              <a:pathLst>
                <a:path w="226" h="184">
                  <a:moveTo>
                    <a:pt x="0" y="56"/>
                  </a:moveTo>
                  <a:lnTo>
                    <a:pt x="20" y="44"/>
                  </a:lnTo>
                  <a:lnTo>
                    <a:pt x="40" y="44"/>
                  </a:lnTo>
                  <a:lnTo>
                    <a:pt x="56" y="42"/>
                  </a:lnTo>
                  <a:lnTo>
                    <a:pt x="70" y="48"/>
                  </a:lnTo>
                  <a:lnTo>
                    <a:pt x="84" y="46"/>
                  </a:lnTo>
                  <a:lnTo>
                    <a:pt x="82" y="34"/>
                  </a:lnTo>
                  <a:lnTo>
                    <a:pt x="92" y="24"/>
                  </a:lnTo>
                  <a:lnTo>
                    <a:pt x="92" y="8"/>
                  </a:lnTo>
                  <a:lnTo>
                    <a:pt x="106" y="0"/>
                  </a:lnTo>
                  <a:lnTo>
                    <a:pt x="114" y="4"/>
                  </a:lnTo>
                  <a:lnTo>
                    <a:pt x="118" y="16"/>
                  </a:lnTo>
                  <a:lnTo>
                    <a:pt x="168" y="36"/>
                  </a:lnTo>
                  <a:lnTo>
                    <a:pt x="202" y="32"/>
                  </a:lnTo>
                  <a:lnTo>
                    <a:pt x="210" y="50"/>
                  </a:lnTo>
                  <a:lnTo>
                    <a:pt x="226" y="60"/>
                  </a:lnTo>
                  <a:lnTo>
                    <a:pt x="214" y="80"/>
                  </a:lnTo>
                  <a:lnTo>
                    <a:pt x="202" y="74"/>
                  </a:lnTo>
                  <a:lnTo>
                    <a:pt x="150" y="74"/>
                  </a:lnTo>
                  <a:lnTo>
                    <a:pt x="136" y="66"/>
                  </a:lnTo>
                  <a:lnTo>
                    <a:pt x="120" y="70"/>
                  </a:lnTo>
                  <a:lnTo>
                    <a:pt x="100" y="58"/>
                  </a:lnTo>
                  <a:lnTo>
                    <a:pt x="98" y="80"/>
                  </a:lnTo>
                  <a:lnTo>
                    <a:pt x="114" y="102"/>
                  </a:lnTo>
                  <a:lnTo>
                    <a:pt x="134" y="132"/>
                  </a:lnTo>
                  <a:lnTo>
                    <a:pt x="160" y="148"/>
                  </a:lnTo>
                  <a:lnTo>
                    <a:pt x="164" y="160"/>
                  </a:lnTo>
                  <a:lnTo>
                    <a:pt x="172" y="184"/>
                  </a:lnTo>
                  <a:lnTo>
                    <a:pt x="144" y="172"/>
                  </a:lnTo>
                  <a:lnTo>
                    <a:pt x="126" y="154"/>
                  </a:lnTo>
                  <a:lnTo>
                    <a:pt x="104" y="156"/>
                  </a:lnTo>
                  <a:lnTo>
                    <a:pt x="84" y="136"/>
                  </a:lnTo>
                  <a:lnTo>
                    <a:pt x="62" y="118"/>
                  </a:lnTo>
                  <a:lnTo>
                    <a:pt x="56" y="100"/>
                  </a:lnTo>
                  <a:lnTo>
                    <a:pt x="56" y="82"/>
                  </a:lnTo>
                  <a:lnTo>
                    <a:pt x="52" y="68"/>
                  </a:lnTo>
                  <a:lnTo>
                    <a:pt x="42" y="58"/>
                  </a:lnTo>
                  <a:lnTo>
                    <a:pt x="32" y="58"/>
                  </a:lnTo>
                  <a:lnTo>
                    <a:pt x="30" y="72"/>
                  </a:lnTo>
                  <a:lnTo>
                    <a:pt x="22" y="90"/>
                  </a:lnTo>
                  <a:lnTo>
                    <a:pt x="8" y="76"/>
                  </a:lnTo>
                  <a:lnTo>
                    <a:pt x="0" y="56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78" name="Cuba">
              <a:extLst>
                <a:ext uri="{FF2B5EF4-FFF2-40B4-BE49-F238E27FC236}">
                  <a16:creationId xmlns="" xmlns:a16="http://schemas.microsoft.com/office/drawing/2014/main" id="{4C97DE6C-18D5-4764-92AB-564FAE34EC87}"/>
                </a:ext>
              </a:extLst>
            </p:cNvPr>
            <p:cNvSpPr>
              <a:spLocks/>
            </p:cNvSpPr>
            <p:nvPr/>
          </p:nvSpPr>
          <p:spPr bwMode="gray">
            <a:xfrm>
              <a:off x="3151702" y="3870455"/>
              <a:ext cx="324082" cy="114060"/>
            </a:xfrm>
            <a:custGeom>
              <a:avLst/>
              <a:gdLst/>
              <a:ahLst/>
              <a:cxnLst>
                <a:cxn ang="0">
                  <a:pos x="0" y="50"/>
                </a:cxn>
                <a:cxn ang="0">
                  <a:pos x="14" y="28"/>
                </a:cxn>
                <a:cxn ang="0">
                  <a:pos x="64" y="8"/>
                </a:cxn>
                <a:cxn ang="0">
                  <a:pos x="110" y="10"/>
                </a:cxn>
                <a:cxn ang="0">
                  <a:pos x="130" y="0"/>
                </a:cxn>
                <a:cxn ang="0">
                  <a:pos x="154" y="8"/>
                </a:cxn>
                <a:cxn ang="0">
                  <a:pos x="174" y="16"/>
                </a:cxn>
                <a:cxn ang="0">
                  <a:pos x="206" y="38"/>
                </a:cxn>
                <a:cxn ang="0">
                  <a:pos x="230" y="40"/>
                </a:cxn>
                <a:cxn ang="0">
                  <a:pos x="268" y="70"/>
                </a:cxn>
                <a:cxn ang="0">
                  <a:pos x="302" y="82"/>
                </a:cxn>
                <a:cxn ang="0">
                  <a:pos x="343" y="88"/>
                </a:cxn>
                <a:cxn ang="0">
                  <a:pos x="343" y="104"/>
                </a:cxn>
                <a:cxn ang="0">
                  <a:pos x="369" y="102"/>
                </a:cxn>
                <a:cxn ang="0">
                  <a:pos x="401" y="126"/>
                </a:cxn>
                <a:cxn ang="0">
                  <a:pos x="347" y="136"/>
                </a:cxn>
                <a:cxn ang="0">
                  <a:pos x="318" y="134"/>
                </a:cxn>
                <a:cxn ang="0">
                  <a:pos x="262" y="140"/>
                </a:cxn>
                <a:cxn ang="0">
                  <a:pos x="280" y="124"/>
                </a:cxn>
                <a:cxn ang="0">
                  <a:pos x="280" y="106"/>
                </a:cxn>
                <a:cxn ang="0">
                  <a:pos x="248" y="106"/>
                </a:cxn>
                <a:cxn ang="0">
                  <a:pos x="228" y="90"/>
                </a:cxn>
                <a:cxn ang="0">
                  <a:pos x="220" y="72"/>
                </a:cxn>
                <a:cxn ang="0">
                  <a:pos x="202" y="72"/>
                </a:cxn>
                <a:cxn ang="0">
                  <a:pos x="176" y="58"/>
                </a:cxn>
                <a:cxn ang="0">
                  <a:pos x="158" y="44"/>
                </a:cxn>
                <a:cxn ang="0">
                  <a:pos x="138" y="38"/>
                </a:cxn>
                <a:cxn ang="0">
                  <a:pos x="124" y="48"/>
                </a:cxn>
                <a:cxn ang="0">
                  <a:pos x="104" y="40"/>
                </a:cxn>
                <a:cxn ang="0">
                  <a:pos x="112" y="26"/>
                </a:cxn>
                <a:cxn ang="0">
                  <a:pos x="74" y="24"/>
                </a:cxn>
                <a:cxn ang="0">
                  <a:pos x="46" y="42"/>
                </a:cxn>
                <a:cxn ang="0">
                  <a:pos x="34" y="44"/>
                </a:cxn>
                <a:cxn ang="0">
                  <a:pos x="30" y="56"/>
                </a:cxn>
                <a:cxn ang="0">
                  <a:pos x="8" y="60"/>
                </a:cxn>
                <a:cxn ang="0">
                  <a:pos x="0" y="50"/>
                </a:cxn>
              </a:cxnLst>
              <a:rect l="0" t="0" r="r" b="b"/>
              <a:pathLst>
                <a:path w="401" h="140">
                  <a:moveTo>
                    <a:pt x="0" y="50"/>
                  </a:moveTo>
                  <a:lnTo>
                    <a:pt x="14" y="28"/>
                  </a:lnTo>
                  <a:lnTo>
                    <a:pt x="64" y="8"/>
                  </a:lnTo>
                  <a:lnTo>
                    <a:pt x="110" y="10"/>
                  </a:lnTo>
                  <a:lnTo>
                    <a:pt x="130" y="0"/>
                  </a:lnTo>
                  <a:lnTo>
                    <a:pt x="154" y="8"/>
                  </a:lnTo>
                  <a:lnTo>
                    <a:pt x="174" y="16"/>
                  </a:lnTo>
                  <a:lnTo>
                    <a:pt x="206" y="38"/>
                  </a:lnTo>
                  <a:lnTo>
                    <a:pt x="230" y="40"/>
                  </a:lnTo>
                  <a:lnTo>
                    <a:pt x="268" y="70"/>
                  </a:lnTo>
                  <a:lnTo>
                    <a:pt x="302" y="82"/>
                  </a:lnTo>
                  <a:lnTo>
                    <a:pt x="343" y="88"/>
                  </a:lnTo>
                  <a:lnTo>
                    <a:pt x="343" y="104"/>
                  </a:lnTo>
                  <a:lnTo>
                    <a:pt x="369" y="102"/>
                  </a:lnTo>
                  <a:lnTo>
                    <a:pt x="401" y="126"/>
                  </a:lnTo>
                  <a:lnTo>
                    <a:pt x="347" y="136"/>
                  </a:lnTo>
                  <a:lnTo>
                    <a:pt x="318" y="134"/>
                  </a:lnTo>
                  <a:lnTo>
                    <a:pt x="262" y="140"/>
                  </a:lnTo>
                  <a:lnTo>
                    <a:pt x="280" y="124"/>
                  </a:lnTo>
                  <a:lnTo>
                    <a:pt x="280" y="106"/>
                  </a:lnTo>
                  <a:lnTo>
                    <a:pt x="248" y="106"/>
                  </a:lnTo>
                  <a:lnTo>
                    <a:pt x="228" y="90"/>
                  </a:lnTo>
                  <a:lnTo>
                    <a:pt x="220" y="72"/>
                  </a:lnTo>
                  <a:lnTo>
                    <a:pt x="202" y="72"/>
                  </a:lnTo>
                  <a:lnTo>
                    <a:pt x="176" y="58"/>
                  </a:lnTo>
                  <a:lnTo>
                    <a:pt x="158" y="44"/>
                  </a:lnTo>
                  <a:lnTo>
                    <a:pt x="138" y="38"/>
                  </a:lnTo>
                  <a:lnTo>
                    <a:pt x="124" y="48"/>
                  </a:lnTo>
                  <a:lnTo>
                    <a:pt x="104" y="40"/>
                  </a:lnTo>
                  <a:lnTo>
                    <a:pt x="112" y="26"/>
                  </a:lnTo>
                  <a:lnTo>
                    <a:pt x="74" y="24"/>
                  </a:lnTo>
                  <a:lnTo>
                    <a:pt x="46" y="42"/>
                  </a:lnTo>
                  <a:lnTo>
                    <a:pt x="34" y="44"/>
                  </a:lnTo>
                  <a:lnTo>
                    <a:pt x="30" y="56"/>
                  </a:lnTo>
                  <a:lnTo>
                    <a:pt x="8" y="60"/>
                  </a:lnTo>
                  <a:lnTo>
                    <a:pt x="0" y="50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79" name="Cyprus">
              <a:extLst>
                <a:ext uri="{FF2B5EF4-FFF2-40B4-BE49-F238E27FC236}">
                  <a16:creationId xmlns="" xmlns:a16="http://schemas.microsoft.com/office/drawing/2014/main" id="{6556E453-D01B-4504-A2B9-C22BF80CE2C5}"/>
                </a:ext>
              </a:extLst>
            </p:cNvPr>
            <p:cNvSpPr>
              <a:spLocks/>
            </p:cNvSpPr>
            <p:nvPr/>
          </p:nvSpPr>
          <p:spPr bwMode="gray">
            <a:xfrm>
              <a:off x="6792748" y="3345384"/>
              <a:ext cx="70282" cy="43264"/>
            </a:xfrm>
            <a:custGeom>
              <a:avLst/>
              <a:gdLst/>
              <a:ahLst/>
              <a:cxnLst>
                <a:cxn ang="0">
                  <a:pos x="2" y="36"/>
                </a:cxn>
                <a:cxn ang="0">
                  <a:pos x="24" y="28"/>
                </a:cxn>
                <a:cxn ang="0">
                  <a:pos x="44" y="24"/>
                </a:cxn>
                <a:cxn ang="0">
                  <a:pos x="84" y="0"/>
                </a:cxn>
                <a:cxn ang="0">
                  <a:pos x="88" y="8"/>
                </a:cxn>
                <a:cxn ang="0">
                  <a:pos x="68" y="24"/>
                </a:cxn>
                <a:cxn ang="0">
                  <a:pos x="72" y="36"/>
                </a:cxn>
                <a:cxn ang="0">
                  <a:pos x="48" y="42"/>
                </a:cxn>
                <a:cxn ang="0">
                  <a:pos x="38" y="52"/>
                </a:cxn>
                <a:cxn ang="0">
                  <a:pos x="0" y="46"/>
                </a:cxn>
                <a:cxn ang="0">
                  <a:pos x="2" y="36"/>
                </a:cxn>
              </a:cxnLst>
              <a:rect l="0" t="0" r="r" b="b"/>
              <a:pathLst>
                <a:path w="88" h="52">
                  <a:moveTo>
                    <a:pt x="2" y="36"/>
                  </a:moveTo>
                  <a:lnTo>
                    <a:pt x="24" y="28"/>
                  </a:lnTo>
                  <a:lnTo>
                    <a:pt x="44" y="24"/>
                  </a:lnTo>
                  <a:lnTo>
                    <a:pt x="84" y="0"/>
                  </a:lnTo>
                  <a:lnTo>
                    <a:pt x="88" y="8"/>
                  </a:lnTo>
                  <a:lnTo>
                    <a:pt x="68" y="24"/>
                  </a:lnTo>
                  <a:lnTo>
                    <a:pt x="72" y="36"/>
                  </a:lnTo>
                  <a:lnTo>
                    <a:pt x="48" y="42"/>
                  </a:lnTo>
                  <a:lnTo>
                    <a:pt x="38" y="52"/>
                  </a:lnTo>
                  <a:lnTo>
                    <a:pt x="0" y="46"/>
                  </a:lnTo>
                  <a:lnTo>
                    <a:pt x="2" y="36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80" name="Czech Republic">
              <a:extLst>
                <a:ext uri="{FF2B5EF4-FFF2-40B4-BE49-F238E27FC236}">
                  <a16:creationId xmlns="" xmlns:a16="http://schemas.microsoft.com/office/drawing/2014/main" id="{856FB322-EF31-4353-B4F8-5193121A58AA}"/>
                </a:ext>
              </a:extLst>
            </p:cNvPr>
            <p:cNvSpPr>
              <a:spLocks/>
            </p:cNvSpPr>
            <p:nvPr/>
          </p:nvSpPr>
          <p:spPr bwMode="gray">
            <a:xfrm>
              <a:off x="6175819" y="2662987"/>
              <a:ext cx="199135" cy="125860"/>
            </a:xfrm>
            <a:custGeom>
              <a:avLst/>
              <a:gdLst/>
              <a:ahLst/>
              <a:cxnLst>
                <a:cxn ang="0">
                  <a:pos x="248" y="94"/>
                </a:cxn>
                <a:cxn ang="0">
                  <a:pos x="242" y="104"/>
                </a:cxn>
                <a:cxn ang="0">
                  <a:pos x="240" y="120"/>
                </a:cxn>
                <a:cxn ang="0">
                  <a:pos x="226" y="124"/>
                </a:cxn>
                <a:cxn ang="0">
                  <a:pos x="218" y="136"/>
                </a:cxn>
                <a:cxn ang="0">
                  <a:pos x="202" y="134"/>
                </a:cxn>
                <a:cxn ang="0">
                  <a:pos x="190" y="144"/>
                </a:cxn>
                <a:cxn ang="0">
                  <a:pos x="174" y="134"/>
                </a:cxn>
                <a:cxn ang="0">
                  <a:pos x="156" y="134"/>
                </a:cxn>
                <a:cxn ang="0">
                  <a:pos x="134" y="130"/>
                </a:cxn>
                <a:cxn ang="0">
                  <a:pos x="112" y="126"/>
                </a:cxn>
                <a:cxn ang="0">
                  <a:pos x="96" y="150"/>
                </a:cxn>
                <a:cxn ang="0">
                  <a:pos x="80" y="152"/>
                </a:cxn>
                <a:cxn ang="0">
                  <a:pos x="76" y="146"/>
                </a:cxn>
                <a:cxn ang="0">
                  <a:pos x="62" y="124"/>
                </a:cxn>
                <a:cxn ang="0">
                  <a:pos x="52" y="124"/>
                </a:cxn>
                <a:cxn ang="0">
                  <a:pos x="42" y="110"/>
                </a:cxn>
                <a:cxn ang="0">
                  <a:pos x="16" y="98"/>
                </a:cxn>
                <a:cxn ang="0">
                  <a:pos x="12" y="72"/>
                </a:cxn>
                <a:cxn ang="0">
                  <a:pos x="0" y="60"/>
                </a:cxn>
                <a:cxn ang="0">
                  <a:pos x="2" y="54"/>
                </a:cxn>
                <a:cxn ang="0">
                  <a:pos x="20" y="52"/>
                </a:cxn>
                <a:cxn ang="0">
                  <a:pos x="46" y="38"/>
                </a:cxn>
                <a:cxn ang="0">
                  <a:pos x="68" y="24"/>
                </a:cxn>
                <a:cxn ang="0">
                  <a:pos x="86" y="20"/>
                </a:cxn>
                <a:cxn ang="0">
                  <a:pos x="94" y="6"/>
                </a:cxn>
                <a:cxn ang="0">
                  <a:pos x="108" y="10"/>
                </a:cxn>
                <a:cxn ang="0">
                  <a:pos x="116" y="0"/>
                </a:cxn>
                <a:cxn ang="0">
                  <a:pos x="130" y="22"/>
                </a:cxn>
                <a:cxn ang="0">
                  <a:pos x="154" y="30"/>
                </a:cxn>
                <a:cxn ang="0">
                  <a:pos x="160" y="48"/>
                </a:cxn>
                <a:cxn ang="0">
                  <a:pos x="180" y="62"/>
                </a:cxn>
                <a:cxn ang="0">
                  <a:pos x="184" y="42"/>
                </a:cxn>
                <a:cxn ang="0">
                  <a:pos x="204" y="48"/>
                </a:cxn>
                <a:cxn ang="0">
                  <a:pos x="218" y="62"/>
                </a:cxn>
                <a:cxn ang="0">
                  <a:pos x="242" y="68"/>
                </a:cxn>
                <a:cxn ang="0">
                  <a:pos x="248" y="94"/>
                </a:cxn>
              </a:cxnLst>
              <a:rect l="0" t="0" r="r" b="b"/>
              <a:pathLst>
                <a:path w="248" h="152">
                  <a:moveTo>
                    <a:pt x="248" y="94"/>
                  </a:moveTo>
                  <a:lnTo>
                    <a:pt x="242" y="104"/>
                  </a:lnTo>
                  <a:lnTo>
                    <a:pt x="240" y="120"/>
                  </a:lnTo>
                  <a:lnTo>
                    <a:pt x="226" y="124"/>
                  </a:lnTo>
                  <a:lnTo>
                    <a:pt x="218" y="136"/>
                  </a:lnTo>
                  <a:lnTo>
                    <a:pt x="202" y="134"/>
                  </a:lnTo>
                  <a:lnTo>
                    <a:pt x="190" y="144"/>
                  </a:lnTo>
                  <a:lnTo>
                    <a:pt x="174" y="134"/>
                  </a:lnTo>
                  <a:lnTo>
                    <a:pt x="156" y="134"/>
                  </a:lnTo>
                  <a:lnTo>
                    <a:pt x="134" y="130"/>
                  </a:lnTo>
                  <a:lnTo>
                    <a:pt x="112" y="126"/>
                  </a:lnTo>
                  <a:lnTo>
                    <a:pt x="96" y="150"/>
                  </a:lnTo>
                  <a:lnTo>
                    <a:pt x="80" y="152"/>
                  </a:lnTo>
                  <a:lnTo>
                    <a:pt x="76" y="146"/>
                  </a:lnTo>
                  <a:lnTo>
                    <a:pt x="62" y="124"/>
                  </a:lnTo>
                  <a:lnTo>
                    <a:pt x="52" y="124"/>
                  </a:lnTo>
                  <a:lnTo>
                    <a:pt x="42" y="110"/>
                  </a:lnTo>
                  <a:lnTo>
                    <a:pt x="16" y="98"/>
                  </a:lnTo>
                  <a:lnTo>
                    <a:pt x="12" y="72"/>
                  </a:lnTo>
                  <a:lnTo>
                    <a:pt x="0" y="60"/>
                  </a:lnTo>
                  <a:lnTo>
                    <a:pt x="2" y="54"/>
                  </a:lnTo>
                  <a:lnTo>
                    <a:pt x="20" y="52"/>
                  </a:lnTo>
                  <a:lnTo>
                    <a:pt x="46" y="38"/>
                  </a:lnTo>
                  <a:lnTo>
                    <a:pt x="68" y="24"/>
                  </a:lnTo>
                  <a:lnTo>
                    <a:pt x="86" y="20"/>
                  </a:lnTo>
                  <a:lnTo>
                    <a:pt x="94" y="6"/>
                  </a:lnTo>
                  <a:lnTo>
                    <a:pt x="108" y="10"/>
                  </a:lnTo>
                  <a:lnTo>
                    <a:pt x="116" y="0"/>
                  </a:lnTo>
                  <a:lnTo>
                    <a:pt x="130" y="22"/>
                  </a:lnTo>
                  <a:lnTo>
                    <a:pt x="154" y="30"/>
                  </a:lnTo>
                  <a:lnTo>
                    <a:pt x="160" y="48"/>
                  </a:lnTo>
                  <a:lnTo>
                    <a:pt x="180" y="62"/>
                  </a:lnTo>
                  <a:lnTo>
                    <a:pt x="184" y="42"/>
                  </a:lnTo>
                  <a:lnTo>
                    <a:pt x="204" y="48"/>
                  </a:lnTo>
                  <a:lnTo>
                    <a:pt x="218" y="62"/>
                  </a:lnTo>
                  <a:lnTo>
                    <a:pt x="242" y="68"/>
                  </a:lnTo>
                  <a:lnTo>
                    <a:pt x="248" y="94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81" name="Denmark">
              <a:extLst>
                <a:ext uri="{FF2B5EF4-FFF2-40B4-BE49-F238E27FC236}">
                  <a16:creationId xmlns="" xmlns:a16="http://schemas.microsoft.com/office/drawing/2014/main" id="{1E22982D-7152-4C59-8035-42785382D9C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060634" y="2295242"/>
              <a:ext cx="121043" cy="182891"/>
            </a:xfrm>
            <a:custGeom>
              <a:avLst/>
              <a:gdLst/>
              <a:ahLst/>
              <a:cxnLst>
                <a:cxn ang="0">
                  <a:pos x="16" y="54"/>
                </a:cxn>
                <a:cxn ang="0">
                  <a:pos x="56" y="32"/>
                </a:cxn>
                <a:cxn ang="0">
                  <a:pos x="62" y="6"/>
                </a:cxn>
                <a:cxn ang="0">
                  <a:pos x="74" y="0"/>
                </a:cxn>
                <a:cxn ang="0">
                  <a:pos x="78" y="34"/>
                </a:cxn>
                <a:cxn ang="0">
                  <a:pos x="66" y="52"/>
                </a:cxn>
                <a:cxn ang="0">
                  <a:pos x="70" y="72"/>
                </a:cxn>
                <a:cxn ang="0">
                  <a:pos x="84" y="96"/>
                </a:cxn>
                <a:cxn ang="0">
                  <a:pos x="84" y="110"/>
                </a:cxn>
                <a:cxn ang="0">
                  <a:pos x="74" y="122"/>
                </a:cxn>
                <a:cxn ang="0">
                  <a:pos x="62" y="118"/>
                </a:cxn>
                <a:cxn ang="0">
                  <a:pos x="60" y="148"/>
                </a:cxn>
                <a:cxn ang="0">
                  <a:pos x="46" y="172"/>
                </a:cxn>
                <a:cxn ang="0">
                  <a:pos x="42" y="192"/>
                </a:cxn>
                <a:cxn ang="0">
                  <a:pos x="50" y="214"/>
                </a:cxn>
                <a:cxn ang="0">
                  <a:pos x="12" y="206"/>
                </a:cxn>
                <a:cxn ang="0">
                  <a:pos x="12" y="168"/>
                </a:cxn>
                <a:cxn ang="0">
                  <a:pos x="4" y="166"/>
                </a:cxn>
                <a:cxn ang="0">
                  <a:pos x="8" y="124"/>
                </a:cxn>
                <a:cxn ang="0">
                  <a:pos x="0" y="112"/>
                </a:cxn>
                <a:cxn ang="0">
                  <a:pos x="6" y="96"/>
                </a:cxn>
                <a:cxn ang="0">
                  <a:pos x="2" y="74"/>
                </a:cxn>
                <a:cxn ang="0">
                  <a:pos x="16" y="54"/>
                </a:cxn>
                <a:cxn ang="0">
                  <a:pos x="90" y="168"/>
                </a:cxn>
                <a:cxn ang="0">
                  <a:pos x="100" y="186"/>
                </a:cxn>
                <a:cxn ang="0">
                  <a:pos x="114" y="186"/>
                </a:cxn>
                <a:cxn ang="0">
                  <a:pos x="122" y="200"/>
                </a:cxn>
                <a:cxn ang="0">
                  <a:pos x="120" y="212"/>
                </a:cxn>
                <a:cxn ang="0">
                  <a:pos x="102" y="216"/>
                </a:cxn>
                <a:cxn ang="0">
                  <a:pos x="96" y="206"/>
                </a:cxn>
                <a:cxn ang="0">
                  <a:pos x="86" y="206"/>
                </a:cxn>
                <a:cxn ang="0">
                  <a:pos x="84" y="220"/>
                </a:cxn>
                <a:cxn ang="0">
                  <a:pos x="110" y="226"/>
                </a:cxn>
                <a:cxn ang="0">
                  <a:pos x="118" y="218"/>
                </a:cxn>
                <a:cxn ang="0">
                  <a:pos x="128" y="226"/>
                </a:cxn>
                <a:cxn ang="0">
                  <a:pos x="132" y="206"/>
                </a:cxn>
                <a:cxn ang="0">
                  <a:pos x="134" y="190"/>
                </a:cxn>
                <a:cxn ang="0">
                  <a:pos x="142" y="180"/>
                </a:cxn>
                <a:cxn ang="0">
                  <a:pos x="148" y="160"/>
                </a:cxn>
                <a:cxn ang="0">
                  <a:pos x="144" y="124"/>
                </a:cxn>
                <a:cxn ang="0">
                  <a:pos x="116" y="132"/>
                </a:cxn>
                <a:cxn ang="0">
                  <a:pos x="90" y="152"/>
                </a:cxn>
                <a:cxn ang="0">
                  <a:pos x="90" y="168"/>
                </a:cxn>
                <a:cxn ang="0">
                  <a:pos x="60" y="202"/>
                </a:cxn>
                <a:cxn ang="0">
                  <a:pos x="74" y="200"/>
                </a:cxn>
                <a:cxn ang="0">
                  <a:pos x="88" y="188"/>
                </a:cxn>
                <a:cxn ang="0">
                  <a:pos x="76" y="170"/>
                </a:cxn>
                <a:cxn ang="0">
                  <a:pos x="54" y="172"/>
                </a:cxn>
                <a:cxn ang="0">
                  <a:pos x="60" y="202"/>
                </a:cxn>
              </a:cxnLst>
              <a:rect l="0" t="0" r="r" b="b"/>
              <a:pathLst>
                <a:path w="148" h="226">
                  <a:moveTo>
                    <a:pt x="16" y="54"/>
                  </a:moveTo>
                  <a:lnTo>
                    <a:pt x="56" y="32"/>
                  </a:lnTo>
                  <a:lnTo>
                    <a:pt x="62" y="6"/>
                  </a:lnTo>
                  <a:lnTo>
                    <a:pt x="74" y="0"/>
                  </a:lnTo>
                  <a:lnTo>
                    <a:pt x="78" y="34"/>
                  </a:lnTo>
                  <a:lnTo>
                    <a:pt x="66" y="52"/>
                  </a:lnTo>
                  <a:lnTo>
                    <a:pt x="70" y="72"/>
                  </a:lnTo>
                  <a:lnTo>
                    <a:pt x="84" y="96"/>
                  </a:lnTo>
                  <a:lnTo>
                    <a:pt x="84" y="110"/>
                  </a:lnTo>
                  <a:lnTo>
                    <a:pt x="74" y="122"/>
                  </a:lnTo>
                  <a:lnTo>
                    <a:pt x="62" y="118"/>
                  </a:lnTo>
                  <a:lnTo>
                    <a:pt x="60" y="148"/>
                  </a:lnTo>
                  <a:lnTo>
                    <a:pt x="46" y="172"/>
                  </a:lnTo>
                  <a:lnTo>
                    <a:pt x="42" y="192"/>
                  </a:lnTo>
                  <a:lnTo>
                    <a:pt x="50" y="214"/>
                  </a:lnTo>
                  <a:lnTo>
                    <a:pt x="12" y="206"/>
                  </a:lnTo>
                  <a:lnTo>
                    <a:pt x="12" y="168"/>
                  </a:lnTo>
                  <a:lnTo>
                    <a:pt x="4" y="166"/>
                  </a:lnTo>
                  <a:lnTo>
                    <a:pt x="8" y="124"/>
                  </a:lnTo>
                  <a:lnTo>
                    <a:pt x="0" y="112"/>
                  </a:lnTo>
                  <a:lnTo>
                    <a:pt x="6" y="96"/>
                  </a:lnTo>
                  <a:lnTo>
                    <a:pt x="2" y="74"/>
                  </a:lnTo>
                  <a:lnTo>
                    <a:pt x="16" y="54"/>
                  </a:lnTo>
                  <a:close/>
                  <a:moveTo>
                    <a:pt x="90" y="168"/>
                  </a:moveTo>
                  <a:lnTo>
                    <a:pt x="100" y="186"/>
                  </a:lnTo>
                  <a:lnTo>
                    <a:pt x="114" y="186"/>
                  </a:lnTo>
                  <a:lnTo>
                    <a:pt x="122" y="200"/>
                  </a:lnTo>
                  <a:lnTo>
                    <a:pt x="120" y="212"/>
                  </a:lnTo>
                  <a:lnTo>
                    <a:pt x="102" y="216"/>
                  </a:lnTo>
                  <a:lnTo>
                    <a:pt x="96" y="206"/>
                  </a:lnTo>
                  <a:lnTo>
                    <a:pt x="86" y="206"/>
                  </a:lnTo>
                  <a:lnTo>
                    <a:pt x="84" y="220"/>
                  </a:lnTo>
                  <a:lnTo>
                    <a:pt x="110" y="226"/>
                  </a:lnTo>
                  <a:lnTo>
                    <a:pt x="118" y="218"/>
                  </a:lnTo>
                  <a:lnTo>
                    <a:pt x="128" y="226"/>
                  </a:lnTo>
                  <a:lnTo>
                    <a:pt x="132" y="206"/>
                  </a:lnTo>
                  <a:lnTo>
                    <a:pt x="134" y="190"/>
                  </a:lnTo>
                  <a:lnTo>
                    <a:pt x="142" y="180"/>
                  </a:lnTo>
                  <a:lnTo>
                    <a:pt x="148" y="160"/>
                  </a:lnTo>
                  <a:lnTo>
                    <a:pt x="144" y="124"/>
                  </a:lnTo>
                  <a:lnTo>
                    <a:pt x="116" y="132"/>
                  </a:lnTo>
                  <a:lnTo>
                    <a:pt x="90" y="152"/>
                  </a:lnTo>
                  <a:lnTo>
                    <a:pt x="90" y="168"/>
                  </a:lnTo>
                  <a:close/>
                  <a:moveTo>
                    <a:pt x="60" y="202"/>
                  </a:moveTo>
                  <a:lnTo>
                    <a:pt x="74" y="200"/>
                  </a:lnTo>
                  <a:lnTo>
                    <a:pt x="88" y="188"/>
                  </a:lnTo>
                  <a:lnTo>
                    <a:pt x="76" y="170"/>
                  </a:lnTo>
                  <a:lnTo>
                    <a:pt x="54" y="172"/>
                  </a:lnTo>
                  <a:lnTo>
                    <a:pt x="60" y="202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82" name="Djitouti">
              <a:extLst>
                <a:ext uri="{FF2B5EF4-FFF2-40B4-BE49-F238E27FC236}">
                  <a16:creationId xmlns="" xmlns:a16="http://schemas.microsoft.com/office/drawing/2014/main" id="{87F84CDE-9B24-4769-850D-80A13A575CE3}"/>
                </a:ext>
              </a:extLst>
            </p:cNvPr>
            <p:cNvSpPr>
              <a:spLocks/>
            </p:cNvSpPr>
            <p:nvPr/>
          </p:nvSpPr>
          <p:spPr bwMode="gray">
            <a:xfrm>
              <a:off x="7099261" y="4161506"/>
              <a:ext cx="58569" cy="47198"/>
            </a:xfrm>
            <a:custGeom>
              <a:avLst/>
              <a:gdLst/>
              <a:ahLst/>
              <a:cxnLst>
                <a:cxn ang="0">
                  <a:pos x="36" y="34"/>
                </a:cxn>
                <a:cxn ang="0">
                  <a:pos x="42" y="40"/>
                </a:cxn>
                <a:cxn ang="0">
                  <a:pos x="60" y="36"/>
                </a:cxn>
                <a:cxn ang="0">
                  <a:pos x="64" y="44"/>
                </a:cxn>
                <a:cxn ang="0">
                  <a:pos x="8" y="60"/>
                </a:cxn>
                <a:cxn ang="0">
                  <a:pos x="0" y="48"/>
                </a:cxn>
                <a:cxn ang="0">
                  <a:pos x="12" y="34"/>
                </a:cxn>
                <a:cxn ang="0">
                  <a:pos x="20" y="12"/>
                </a:cxn>
                <a:cxn ang="0">
                  <a:pos x="54" y="0"/>
                </a:cxn>
                <a:cxn ang="0">
                  <a:pos x="70" y="4"/>
                </a:cxn>
                <a:cxn ang="0">
                  <a:pos x="68" y="18"/>
                </a:cxn>
                <a:cxn ang="0">
                  <a:pos x="58" y="22"/>
                </a:cxn>
                <a:cxn ang="0">
                  <a:pos x="36" y="34"/>
                </a:cxn>
              </a:cxnLst>
              <a:rect l="0" t="0" r="r" b="b"/>
              <a:pathLst>
                <a:path w="70" h="60">
                  <a:moveTo>
                    <a:pt x="36" y="34"/>
                  </a:moveTo>
                  <a:lnTo>
                    <a:pt x="42" y="40"/>
                  </a:lnTo>
                  <a:lnTo>
                    <a:pt x="60" y="36"/>
                  </a:lnTo>
                  <a:lnTo>
                    <a:pt x="64" y="44"/>
                  </a:lnTo>
                  <a:lnTo>
                    <a:pt x="8" y="60"/>
                  </a:lnTo>
                  <a:lnTo>
                    <a:pt x="0" y="48"/>
                  </a:lnTo>
                  <a:lnTo>
                    <a:pt x="12" y="34"/>
                  </a:lnTo>
                  <a:lnTo>
                    <a:pt x="20" y="12"/>
                  </a:lnTo>
                  <a:lnTo>
                    <a:pt x="54" y="0"/>
                  </a:lnTo>
                  <a:lnTo>
                    <a:pt x="70" y="4"/>
                  </a:lnTo>
                  <a:lnTo>
                    <a:pt x="68" y="18"/>
                  </a:lnTo>
                  <a:lnTo>
                    <a:pt x="58" y="22"/>
                  </a:lnTo>
                  <a:lnTo>
                    <a:pt x="36" y="34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83" name="Dominican Republic">
              <a:extLst>
                <a:ext uri="{FF2B5EF4-FFF2-40B4-BE49-F238E27FC236}">
                  <a16:creationId xmlns="" xmlns:a16="http://schemas.microsoft.com/office/drawing/2014/main" id="{747112B1-CAB7-48B5-B3D3-F25E5399BE2A}"/>
                </a:ext>
              </a:extLst>
            </p:cNvPr>
            <p:cNvSpPr>
              <a:spLocks/>
            </p:cNvSpPr>
            <p:nvPr/>
          </p:nvSpPr>
          <p:spPr bwMode="gray">
            <a:xfrm>
              <a:off x="3538257" y="3978616"/>
              <a:ext cx="117138" cy="72763"/>
            </a:xfrm>
            <a:custGeom>
              <a:avLst/>
              <a:gdLst/>
              <a:ahLst/>
              <a:cxnLst>
                <a:cxn ang="0">
                  <a:pos x="0" y="60"/>
                </a:cxn>
                <a:cxn ang="0">
                  <a:pos x="10" y="14"/>
                </a:cxn>
                <a:cxn ang="0">
                  <a:pos x="24" y="2"/>
                </a:cxn>
                <a:cxn ang="0">
                  <a:pos x="56" y="0"/>
                </a:cxn>
                <a:cxn ang="0">
                  <a:pos x="84" y="12"/>
                </a:cxn>
                <a:cxn ang="0">
                  <a:pos x="118" y="20"/>
                </a:cxn>
                <a:cxn ang="0">
                  <a:pos x="114" y="30"/>
                </a:cxn>
                <a:cxn ang="0">
                  <a:pos x="146" y="46"/>
                </a:cxn>
                <a:cxn ang="0">
                  <a:pos x="134" y="58"/>
                </a:cxn>
                <a:cxn ang="0">
                  <a:pos x="108" y="50"/>
                </a:cxn>
                <a:cxn ang="0">
                  <a:pos x="88" y="54"/>
                </a:cxn>
                <a:cxn ang="0">
                  <a:pos x="78" y="66"/>
                </a:cxn>
                <a:cxn ang="0">
                  <a:pos x="44" y="52"/>
                </a:cxn>
                <a:cxn ang="0">
                  <a:pos x="46" y="70"/>
                </a:cxn>
                <a:cxn ang="0">
                  <a:pos x="26" y="90"/>
                </a:cxn>
                <a:cxn ang="0">
                  <a:pos x="20" y="76"/>
                </a:cxn>
                <a:cxn ang="0">
                  <a:pos x="0" y="60"/>
                </a:cxn>
              </a:cxnLst>
              <a:rect l="0" t="0" r="r" b="b"/>
              <a:pathLst>
                <a:path w="146" h="90">
                  <a:moveTo>
                    <a:pt x="0" y="60"/>
                  </a:moveTo>
                  <a:lnTo>
                    <a:pt x="10" y="14"/>
                  </a:lnTo>
                  <a:lnTo>
                    <a:pt x="24" y="2"/>
                  </a:lnTo>
                  <a:lnTo>
                    <a:pt x="56" y="0"/>
                  </a:lnTo>
                  <a:lnTo>
                    <a:pt x="84" y="12"/>
                  </a:lnTo>
                  <a:lnTo>
                    <a:pt x="118" y="20"/>
                  </a:lnTo>
                  <a:lnTo>
                    <a:pt x="114" y="30"/>
                  </a:lnTo>
                  <a:lnTo>
                    <a:pt x="146" y="46"/>
                  </a:lnTo>
                  <a:lnTo>
                    <a:pt x="134" y="58"/>
                  </a:lnTo>
                  <a:lnTo>
                    <a:pt x="108" y="50"/>
                  </a:lnTo>
                  <a:lnTo>
                    <a:pt x="88" y="54"/>
                  </a:lnTo>
                  <a:lnTo>
                    <a:pt x="78" y="66"/>
                  </a:lnTo>
                  <a:lnTo>
                    <a:pt x="44" y="52"/>
                  </a:lnTo>
                  <a:lnTo>
                    <a:pt x="46" y="70"/>
                  </a:lnTo>
                  <a:lnTo>
                    <a:pt x="26" y="90"/>
                  </a:lnTo>
                  <a:lnTo>
                    <a:pt x="20" y="76"/>
                  </a:lnTo>
                  <a:lnTo>
                    <a:pt x="0" y="60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84" name="East Timor">
              <a:extLst>
                <a:ext uri="{FF2B5EF4-FFF2-40B4-BE49-F238E27FC236}">
                  <a16:creationId xmlns="" xmlns:a16="http://schemas.microsoft.com/office/drawing/2014/main" id="{BC83DE9D-C5BA-4B76-9F02-D14CC30176ED}"/>
                </a:ext>
              </a:extLst>
            </p:cNvPr>
            <p:cNvSpPr>
              <a:spLocks/>
            </p:cNvSpPr>
            <p:nvPr/>
          </p:nvSpPr>
          <p:spPr bwMode="gray">
            <a:xfrm>
              <a:off x="9654825" y="4810471"/>
              <a:ext cx="76141" cy="33432"/>
            </a:xfrm>
            <a:custGeom>
              <a:avLst/>
              <a:gdLst/>
              <a:ahLst/>
              <a:cxnLst>
                <a:cxn ang="0">
                  <a:pos x="10" y="44"/>
                </a:cxn>
                <a:cxn ang="0">
                  <a:pos x="12" y="28"/>
                </a:cxn>
                <a:cxn ang="0">
                  <a:pos x="0" y="22"/>
                </a:cxn>
                <a:cxn ang="0">
                  <a:pos x="12" y="8"/>
                </a:cxn>
                <a:cxn ang="0">
                  <a:pos x="58" y="0"/>
                </a:cxn>
                <a:cxn ang="0">
                  <a:pos x="94" y="0"/>
                </a:cxn>
                <a:cxn ang="0">
                  <a:pos x="64" y="24"/>
                </a:cxn>
                <a:cxn ang="0">
                  <a:pos x="42" y="26"/>
                </a:cxn>
                <a:cxn ang="0">
                  <a:pos x="10" y="44"/>
                </a:cxn>
              </a:cxnLst>
              <a:rect l="0" t="0" r="r" b="b"/>
              <a:pathLst>
                <a:path w="94" h="44">
                  <a:moveTo>
                    <a:pt x="10" y="44"/>
                  </a:moveTo>
                  <a:lnTo>
                    <a:pt x="12" y="28"/>
                  </a:lnTo>
                  <a:lnTo>
                    <a:pt x="0" y="22"/>
                  </a:lnTo>
                  <a:lnTo>
                    <a:pt x="12" y="8"/>
                  </a:lnTo>
                  <a:lnTo>
                    <a:pt x="58" y="0"/>
                  </a:lnTo>
                  <a:lnTo>
                    <a:pt x="94" y="0"/>
                  </a:lnTo>
                  <a:lnTo>
                    <a:pt x="64" y="24"/>
                  </a:lnTo>
                  <a:lnTo>
                    <a:pt x="42" y="26"/>
                  </a:lnTo>
                  <a:lnTo>
                    <a:pt x="10" y="44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85" name="Ecuador">
              <a:extLst>
                <a:ext uri="{FF2B5EF4-FFF2-40B4-BE49-F238E27FC236}">
                  <a16:creationId xmlns="" xmlns:a16="http://schemas.microsoft.com/office/drawing/2014/main" id="{0CF0EDC2-A408-4498-990D-AC681E4C1A1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866664" y="4582350"/>
              <a:ext cx="507600" cy="196656"/>
            </a:xfrm>
            <a:custGeom>
              <a:avLst/>
              <a:gdLst/>
              <a:ahLst/>
              <a:cxnLst>
                <a:cxn ang="0">
                  <a:pos x="611" y="98"/>
                </a:cxn>
                <a:cxn ang="0">
                  <a:pos x="582" y="128"/>
                </a:cxn>
                <a:cxn ang="0">
                  <a:pos x="550" y="148"/>
                </a:cxn>
                <a:cxn ang="0">
                  <a:pos x="524" y="158"/>
                </a:cxn>
                <a:cxn ang="0">
                  <a:pos x="516" y="166"/>
                </a:cxn>
                <a:cxn ang="0">
                  <a:pos x="520" y="182"/>
                </a:cxn>
                <a:cxn ang="0">
                  <a:pos x="520" y="198"/>
                </a:cxn>
                <a:cxn ang="0">
                  <a:pos x="514" y="210"/>
                </a:cxn>
                <a:cxn ang="0">
                  <a:pos x="496" y="222"/>
                </a:cxn>
                <a:cxn ang="0">
                  <a:pos x="484" y="226"/>
                </a:cxn>
                <a:cxn ang="0">
                  <a:pos x="474" y="240"/>
                </a:cxn>
                <a:cxn ang="0">
                  <a:pos x="454" y="220"/>
                </a:cxn>
                <a:cxn ang="0">
                  <a:pos x="438" y="222"/>
                </a:cxn>
                <a:cxn ang="0">
                  <a:pos x="432" y="214"/>
                </a:cxn>
                <a:cxn ang="0">
                  <a:pos x="440" y="200"/>
                </a:cxn>
                <a:cxn ang="0">
                  <a:pos x="436" y="186"/>
                </a:cxn>
                <a:cxn ang="0">
                  <a:pos x="456" y="176"/>
                </a:cxn>
                <a:cxn ang="0">
                  <a:pos x="468" y="158"/>
                </a:cxn>
                <a:cxn ang="0">
                  <a:pos x="468" y="144"/>
                </a:cxn>
                <a:cxn ang="0">
                  <a:pos x="464" y="138"/>
                </a:cxn>
                <a:cxn ang="0">
                  <a:pos x="446" y="152"/>
                </a:cxn>
                <a:cxn ang="0">
                  <a:pos x="420" y="138"/>
                </a:cxn>
                <a:cxn ang="0">
                  <a:pos x="418" y="130"/>
                </a:cxn>
                <a:cxn ang="0">
                  <a:pos x="426" y="120"/>
                </a:cxn>
                <a:cxn ang="0">
                  <a:pos x="420" y="102"/>
                </a:cxn>
                <a:cxn ang="0">
                  <a:pos x="426" y="96"/>
                </a:cxn>
                <a:cxn ang="0">
                  <a:pos x="420" y="82"/>
                </a:cxn>
                <a:cxn ang="0">
                  <a:pos x="434" y="76"/>
                </a:cxn>
                <a:cxn ang="0">
                  <a:pos x="436" y="54"/>
                </a:cxn>
                <a:cxn ang="0">
                  <a:pos x="444" y="42"/>
                </a:cxn>
                <a:cxn ang="0">
                  <a:pos x="444" y="20"/>
                </a:cxn>
                <a:cxn ang="0">
                  <a:pos x="464" y="16"/>
                </a:cxn>
                <a:cxn ang="0">
                  <a:pos x="494" y="0"/>
                </a:cxn>
                <a:cxn ang="0">
                  <a:pos x="520" y="16"/>
                </a:cxn>
                <a:cxn ang="0">
                  <a:pos x="627" y="50"/>
                </a:cxn>
                <a:cxn ang="0">
                  <a:pos x="625" y="76"/>
                </a:cxn>
                <a:cxn ang="0">
                  <a:pos x="611" y="98"/>
                </a:cxn>
                <a:cxn ang="0">
                  <a:pos x="10" y="56"/>
                </a:cxn>
                <a:cxn ang="0">
                  <a:pos x="22" y="86"/>
                </a:cxn>
                <a:cxn ang="0">
                  <a:pos x="8" y="100"/>
                </a:cxn>
                <a:cxn ang="0">
                  <a:pos x="24" y="102"/>
                </a:cxn>
                <a:cxn ang="0">
                  <a:pos x="36" y="94"/>
                </a:cxn>
                <a:cxn ang="0">
                  <a:pos x="36" y="82"/>
                </a:cxn>
                <a:cxn ang="0">
                  <a:pos x="28" y="82"/>
                </a:cxn>
                <a:cxn ang="0">
                  <a:pos x="30" y="72"/>
                </a:cxn>
                <a:cxn ang="0">
                  <a:pos x="16" y="44"/>
                </a:cxn>
                <a:cxn ang="0">
                  <a:pos x="0" y="48"/>
                </a:cxn>
                <a:cxn ang="0">
                  <a:pos x="10" y="56"/>
                </a:cxn>
              </a:cxnLst>
              <a:rect l="0" t="0" r="r" b="b"/>
              <a:pathLst>
                <a:path w="627" h="240">
                  <a:moveTo>
                    <a:pt x="611" y="98"/>
                  </a:moveTo>
                  <a:lnTo>
                    <a:pt x="582" y="128"/>
                  </a:lnTo>
                  <a:lnTo>
                    <a:pt x="550" y="148"/>
                  </a:lnTo>
                  <a:lnTo>
                    <a:pt x="524" y="158"/>
                  </a:lnTo>
                  <a:lnTo>
                    <a:pt x="516" y="166"/>
                  </a:lnTo>
                  <a:lnTo>
                    <a:pt x="520" y="182"/>
                  </a:lnTo>
                  <a:lnTo>
                    <a:pt x="520" y="198"/>
                  </a:lnTo>
                  <a:lnTo>
                    <a:pt x="514" y="210"/>
                  </a:lnTo>
                  <a:lnTo>
                    <a:pt x="496" y="222"/>
                  </a:lnTo>
                  <a:lnTo>
                    <a:pt x="484" y="226"/>
                  </a:lnTo>
                  <a:lnTo>
                    <a:pt x="474" y="240"/>
                  </a:lnTo>
                  <a:lnTo>
                    <a:pt x="454" y="220"/>
                  </a:lnTo>
                  <a:lnTo>
                    <a:pt x="438" y="222"/>
                  </a:lnTo>
                  <a:lnTo>
                    <a:pt x="432" y="214"/>
                  </a:lnTo>
                  <a:lnTo>
                    <a:pt x="440" y="200"/>
                  </a:lnTo>
                  <a:lnTo>
                    <a:pt x="436" y="186"/>
                  </a:lnTo>
                  <a:lnTo>
                    <a:pt x="456" y="176"/>
                  </a:lnTo>
                  <a:lnTo>
                    <a:pt x="468" y="158"/>
                  </a:lnTo>
                  <a:lnTo>
                    <a:pt x="468" y="144"/>
                  </a:lnTo>
                  <a:lnTo>
                    <a:pt x="464" y="138"/>
                  </a:lnTo>
                  <a:lnTo>
                    <a:pt x="446" y="152"/>
                  </a:lnTo>
                  <a:lnTo>
                    <a:pt x="420" y="138"/>
                  </a:lnTo>
                  <a:lnTo>
                    <a:pt x="418" y="130"/>
                  </a:lnTo>
                  <a:lnTo>
                    <a:pt x="426" y="120"/>
                  </a:lnTo>
                  <a:lnTo>
                    <a:pt x="420" y="102"/>
                  </a:lnTo>
                  <a:lnTo>
                    <a:pt x="426" y="96"/>
                  </a:lnTo>
                  <a:lnTo>
                    <a:pt x="420" y="82"/>
                  </a:lnTo>
                  <a:lnTo>
                    <a:pt x="434" y="76"/>
                  </a:lnTo>
                  <a:lnTo>
                    <a:pt x="436" y="54"/>
                  </a:lnTo>
                  <a:lnTo>
                    <a:pt x="444" y="42"/>
                  </a:lnTo>
                  <a:lnTo>
                    <a:pt x="444" y="20"/>
                  </a:lnTo>
                  <a:lnTo>
                    <a:pt x="464" y="16"/>
                  </a:lnTo>
                  <a:lnTo>
                    <a:pt x="494" y="0"/>
                  </a:lnTo>
                  <a:lnTo>
                    <a:pt x="520" y="16"/>
                  </a:lnTo>
                  <a:lnTo>
                    <a:pt x="627" y="50"/>
                  </a:lnTo>
                  <a:lnTo>
                    <a:pt x="625" y="76"/>
                  </a:lnTo>
                  <a:lnTo>
                    <a:pt x="611" y="98"/>
                  </a:lnTo>
                  <a:close/>
                  <a:moveTo>
                    <a:pt x="10" y="56"/>
                  </a:moveTo>
                  <a:lnTo>
                    <a:pt x="22" y="86"/>
                  </a:lnTo>
                  <a:lnTo>
                    <a:pt x="8" y="100"/>
                  </a:lnTo>
                  <a:lnTo>
                    <a:pt x="24" y="102"/>
                  </a:lnTo>
                  <a:lnTo>
                    <a:pt x="36" y="94"/>
                  </a:lnTo>
                  <a:lnTo>
                    <a:pt x="36" y="82"/>
                  </a:lnTo>
                  <a:lnTo>
                    <a:pt x="28" y="82"/>
                  </a:lnTo>
                  <a:lnTo>
                    <a:pt x="30" y="72"/>
                  </a:lnTo>
                  <a:lnTo>
                    <a:pt x="16" y="44"/>
                  </a:lnTo>
                  <a:lnTo>
                    <a:pt x="0" y="48"/>
                  </a:lnTo>
                  <a:lnTo>
                    <a:pt x="10" y="56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86" name="Egypt">
              <a:extLst>
                <a:ext uri="{FF2B5EF4-FFF2-40B4-BE49-F238E27FC236}">
                  <a16:creationId xmlns="" xmlns:a16="http://schemas.microsoft.com/office/drawing/2014/main" id="{FD2C5FE2-7A2E-43C1-A878-235410BD389A}"/>
                </a:ext>
              </a:extLst>
            </p:cNvPr>
            <p:cNvSpPr>
              <a:spLocks/>
            </p:cNvSpPr>
            <p:nvPr/>
          </p:nvSpPr>
          <p:spPr bwMode="gray">
            <a:xfrm>
              <a:off x="6570186" y="3496810"/>
              <a:ext cx="374842" cy="353980"/>
            </a:xfrm>
            <a:custGeom>
              <a:avLst/>
              <a:gdLst/>
              <a:ahLst/>
              <a:cxnLst>
                <a:cxn ang="0">
                  <a:pos x="288" y="88"/>
                </a:cxn>
                <a:cxn ang="0">
                  <a:pos x="288" y="109"/>
                </a:cxn>
                <a:cxn ang="0">
                  <a:pos x="292" y="123"/>
                </a:cxn>
                <a:cxn ang="0">
                  <a:pos x="334" y="175"/>
                </a:cxn>
                <a:cxn ang="0">
                  <a:pos x="340" y="221"/>
                </a:cxn>
                <a:cxn ang="0">
                  <a:pos x="374" y="285"/>
                </a:cxn>
                <a:cxn ang="0">
                  <a:pos x="394" y="329"/>
                </a:cxn>
                <a:cxn ang="0">
                  <a:pos x="412" y="337"/>
                </a:cxn>
                <a:cxn ang="0">
                  <a:pos x="418" y="343"/>
                </a:cxn>
                <a:cxn ang="0">
                  <a:pos x="402" y="343"/>
                </a:cxn>
                <a:cxn ang="0">
                  <a:pos x="406" y="379"/>
                </a:cxn>
                <a:cxn ang="0">
                  <a:pos x="448" y="419"/>
                </a:cxn>
                <a:cxn ang="0">
                  <a:pos x="462" y="423"/>
                </a:cxn>
                <a:cxn ang="0">
                  <a:pos x="462" y="435"/>
                </a:cxn>
                <a:cxn ang="0">
                  <a:pos x="14" y="433"/>
                </a:cxn>
                <a:cxn ang="0">
                  <a:pos x="10" y="102"/>
                </a:cxn>
                <a:cxn ang="0">
                  <a:pos x="0" y="86"/>
                </a:cxn>
                <a:cxn ang="0">
                  <a:pos x="10" y="58"/>
                </a:cxn>
                <a:cxn ang="0">
                  <a:pos x="0" y="34"/>
                </a:cxn>
                <a:cxn ang="0">
                  <a:pos x="4" y="24"/>
                </a:cxn>
                <a:cxn ang="0">
                  <a:pos x="18" y="4"/>
                </a:cxn>
                <a:cxn ang="0">
                  <a:pos x="40" y="0"/>
                </a:cxn>
                <a:cxn ang="0">
                  <a:pos x="100" y="16"/>
                </a:cxn>
                <a:cxn ang="0">
                  <a:pos x="108" y="12"/>
                </a:cxn>
                <a:cxn ang="0">
                  <a:pos x="158" y="34"/>
                </a:cxn>
                <a:cxn ang="0">
                  <a:pos x="178" y="34"/>
                </a:cxn>
                <a:cxn ang="0">
                  <a:pos x="208" y="16"/>
                </a:cxn>
                <a:cxn ang="0">
                  <a:pos x="220" y="16"/>
                </a:cxn>
                <a:cxn ang="0">
                  <a:pos x="252" y="4"/>
                </a:cxn>
                <a:cxn ang="0">
                  <a:pos x="276" y="12"/>
                </a:cxn>
                <a:cxn ang="0">
                  <a:pos x="276" y="18"/>
                </a:cxn>
                <a:cxn ang="0">
                  <a:pos x="290" y="24"/>
                </a:cxn>
                <a:cxn ang="0">
                  <a:pos x="294" y="14"/>
                </a:cxn>
                <a:cxn ang="0">
                  <a:pos x="304" y="28"/>
                </a:cxn>
                <a:cxn ang="0">
                  <a:pos x="320" y="30"/>
                </a:cxn>
                <a:cxn ang="0">
                  <a:pos x="340" y="28"/>
                </a:cxn>
                <a:cxn ang="0">
                  <a:pos x="360" y="10"/>
                </a:cxn>
                <a:cxn ang="0">
                  <a:pos x="360" y="24"/>
                </a:cxn>
                <a:cxn ang="0">
                  <a:pos x="366" y="34"/>
                </a:cxn>
                <a:cxn ang="0">
                  <a:pos x="370" y="58"/>
                </a:cxn>
                <a:cxn ang="0">
                  <a:pos x="378" y="84"/>
                </a:cxn>
                <a:cxn ang="0">
                  <a:pos x="382" y="102"/>
                </a:cxn>
                <a:cxn ang="0">
                  <a:pos x="364" y="141"/>
                </a:cxn>
                <a:cxn ang="0">
                  <a:pos x="360" y="157"/>
                </a:cxn>
                <a:cxn ang="0">
                  <a:pos x="350" y="171"/>
                </a:cxn>
                <a:cxn ang="0">
                  <a:pos x="318" y="141"/>
                </a:cxn>
                <a:cxn ang="0">
                  <a:pos x="318" y="129"/>
                </a:cxn>
                <a:cxn ang="0">
                  <a:pos x="300" y="109"/>
                </a:cxn>
                <a:cxn ang="0">
                  <a:pos x="294" y="90"/>
                </a:cxn>
                <a:cxn ang="0">
                  <a:pos x="288" y="70"/>
                </a:cxn>
                <a:cxn ang="0">
                  <a:pos x="286" y="72"/>
                </a:cxn>
                <a:cxn ang="0">
                  <a:pos x="288" y="88"/>
                </a:cxn>
              </a:cxnLst>
              <a:rect l="0" t="0" r="r" b="b"/>
              <a:pathLst>
                <a:path w="462" h="435">
                  <a:moveTo>
                    <a:pt x="288" y="88"/>
                  </a:moveTo>
                  <a:lnTo>
                    <a:pt x="288" y="109"/>
                  </a:lnTo>
                  <a:lnTo>
                    <a:pt x="292" y="123"/>
                  </a:lnTo>
                  <a:lnTo>
                    <a:pt x="334" y="175"/>
                  </a:lnTo>
                  <a:lnTo>
                    <a:pt x="340" y="221"/>
                  </a:lnTo>
                  <a:lnTo>
                    <a:pt x="374" y="285"/>
                  </a:lnTo>
                  <a:lnTo>
                    <a:pt x="394" y="329"/>
                  </a:lnTo>
                  <a:lnTo>
                    <a:pt x="412" y="337"/>
                  </a:lnTo>
                  <a:lnTo>
                    <a:pt x="418" y="343"/>
                  </a:lnTo>
                  <a:lnTo>
                    <a:pt x="402" y="343"/>
                  </a:lnTo>
                  <a:lnTo>
                    <a:pt x="406" y="379"/>
                  </a:lnTo>
                  <a:lnTo>
                    <a:pt x="448" y="419"/>
                  </a:lnTo>
                  <a:lnTo>
                    <a:pt x="462" y="423"/>
                  </a:lnTo>
                  <a:lnTo>
                    <a:pt x="462" y="435"/>
                  </a:lnTo>
                  <a:lnTo>
                    <a:pt x="14" y="433"/>
                  </a:lnTo>
                  <a:lnTo>
                    <a:pt x="10" y="102"/>
                  </a:lnTo>
                  <a:lnTo>
                    <a:pt x="0" y="86"/>
                  </a:lnTo>
                  <a:lnTo>
                    <a:pt x="10" y="58"/>
                  </a:lnTo>
                  <a:lnTo>
                    <a:pt x="0" y="34"/>
                  </a:lnTo>
                  <a:lnTo>
                    <a:pt x="4" y="24"/>
                  </a:lnTo>
                  <a:lnTo>
                    <a:pt x="18" y="4"/>
                  </a:lnTo>
                  <a:lnTo>
                    <a:pt x="40" y="0"/>
                  </a:lnTo>
                  <a:lnTo>
                    <a:pt x="100" y="16"/>
                  </a:lnTo>
                  <a:lnTo>
                    <a:pt x="108" y="12"/>
                  </a:lnTo>
                  <a:lnTo>
                    <a:pt x="158" y="34"/>
                  </a:lnTo>
                  <a:lnTo>
                    <a:pt x="178" y="34"/>
                  </a:lnTo>
                  <a:lnTo>
                    <a:pt x="208" y="16"/>
                  </a:lnTo>
                  <a:lnTo>
                    <a:pt x="220" y="16"/>
                  </a:lnTo>
                  <a:lnTo>
                    <a:pt x="252" y="4"/>
                  </a:lnTo>
                  <a:lnTo>
                    <a:pt x="276" y="12"/>
                  </a:lnTo>
                  <a:lnTo>
                    <a:pt x="276" y="18"/>
                  </a:lnTo>
                  <a:lnTo>
                    <a:pt x="290" y="24"/>
                  </a:lnTo>
                  <a:lnTo>
                    <a:pt x="294" y="14"/>
                  </a:lnTo>
                  <a:lnTo>
                    <a:pt x="304" y="28"/>
                  </a:lnTo>
                  <a:lnTo>
                    <a:pt x="320" y="30"/>
                  </a:lnTo>
                  <a:lnTo>
                    <a:pt x="340" y="28"/>
                  </a:lnTo>
                  <a:lnTo>
                    <a:pt x="360" y="10"/>
                  </a:lnTo>
                  <a:lnTo>
                    <a:pt x="360" y="24"/>
                  </a:lnTo>
                  <a:lnTo>
                    <a:pt x="366" y="34"/>
                  </a:lnTo>
                  <a:lnTo>
                    <a:pt x="370" y="58"/>
                  </a:lnTo>
                  <a:lnTo>
                    <a:pt x="378" y="84"/>
                  </a:lnTo>
                  <a:lnTo>
                    <a:pt x="382" y="102"/>
                  </a:lnTo>
                  <a:lnTo>
                    <a:pt x="364" y="141"/>
                  </a:lnTo>
                  <a:lnTo>
                    <a:pt x="360" y="157"/>
                  </a:lnTo>
                  <a:lnTo>
                    <a:pt x="350" y="171"/>
                  </a:lnTo>
                  <a:lnTo>
                    <a:pt x="318" y="141"/>
                  </a:lnTo>
                  <a:lnTo>
                    <a:pt x="318" y="129"/>
                  </a:lnTo>
                  <a:lnTo>
                    <a:pt x="300" y="109"/>
                  </a:lnTo>
                  <a:lnTo>
                    <a:pt x="294" y="90"/>
                  </a:lnTo>
                  <a:lnTo>
                    <a:pt x="288" y="70"/>
                  </a:lnTo>
                  <a:lnTo>
                    <a:pt x="286" y="72"/>
                  </a:lnTo>
                  <a:lnTo>
                    <a:pt x="288" y="88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87" name="Equatorial Guinea">
              <a:extLst>
                <a:ext uri="{FF2B5EF4-FFF2-40B4-BE49-F238E27FC236}">
                  <a16:creationId xmlns="" xmlns:a16="http://schemas.microsoft.com/office/drawing/2014/main" id="{7EA8BD27-BDA3-4E7E-85CD-A58042EEA21D}"/>
                </a:ext>
              </a:extLst>
            </p:cNvPr>
            <p:cNvSpPr>
              <a:spLocks/>
            </p:cNvSpPr>
            <p:nvPr/>
          </p:nvSpPr>
          <p:spPr bwMode="gray">
            <a:xfrm>
              <a:off x="6097728" y="4499755"/>
              <a:ext cx="62474" cy="33432"/>
            </a:xfrm>
            <a:custGeom>
              <a:avLst/>
              <a:gdLst/>
              <a:ahLst/>
              <a:cxnLst>
                <a:cxn ang="0">
                  <a:pos x="0" y="40"/>
                </a:cxn>
                <a:cxn ang="0">
                  <a:pos x="30" y="38"/>
                </a:cxn>
                <a:cxn ang="0">
                  <a:pos x="74" y="38"/>
                </a:cxn>
                <a:cxn ang="0">
                  <a:pos x="78" y="0"/>
                </a:cxn>
                <a:cxn ang="0">
                  <a:pos x="6" y="0"/>
                </a:cxn>
                <a:cxn ang="0">
                  <a:pos x="0" y="28"/>
                </a:cxn>
                <a:cxn ang="0">
                  <a:pos x="0" y="40"/>
                </a:cxn>
              </a:cxnLst>
              <a:rect l="0" t="0" r="r" b="b"/>
              <a:pathLst>
                <a:path w="78" h="40">
                  <a:moveTo>
                    <a:pt x="0" y="40"/>
                  </a:moveTo>
                  <a:lnTo>
                    <a:pt x="30" y="38"/>
                  </a:lnTo>
                  <a:lnTo>
                    <a:pt x="74" y="38"/>
                  </a:lnTo>
                  <a:lnTo>
                    <a:pt x="78" y="0"/>
                  </a:lnTo>
                  <a:lnTo>
                    <a:pt x="6" y="0"/>
                  </a:lnTo>
                  <a:lnTo>
                    <a:pt x="0" y="28"/>
                  </a:lnTo>
                  <a:lnTo>
                    <a:pt x="0" y="40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88" name="Eritrea">
              <a:extLst>
                <a:ext uri="{FF2B5EF4-FFF2-40B4-BE49-F238E27FC236}">
                  <a16:creationId xmlns="" xmlns:a16="http://schemas.microsoft.com/office/drawing/2014/main" id="{231DA74A-DEDA-4E94-ACED-58423C5A4A2C}"/>
                </a:ext>
              </a:extLst>
            </p:cNvPr>
            <p:cNvSpPr>
              <a:spLocks/>
            </p:cNvSpPr>
            <p:nvPr/>
          </p:nvSpPr>
          <p:spPr bwMode="gray">
            <a:xfrm>
              <a:off x="6933315" y="3980583"/>
              <a:ext cx="210849" cy="190756"/>
            </a:xfrm>
            <a:custGeom>
              <a:avLst/>
              <a:gdLst/>
              <a:ahLst/>
              <a:cxnLst>
                <a:cxn ang="0">
                  <a:pos x="30" y="152"/>
                </a:cxn>
                <a:cxn ang="0">
                  <a:pos x="2" y="154"/>
                </a:cxn>
                <a:cxn ang="0">
                  <a:pos x="0" y="120"/>
                </a:cxn>
                <a:cxn ang="0">
                  <a:pos x="16" y="112"/>
                </a:cxn>
                <a:cxn ang="0">
                  <a:pos x="26" y="88"/>
                </a:cxn>
                <a:cxn ang="0">
                  <a:pos x="24" y="40"/>
                </a:cxn>
                <a:cxn ang="0">
                  <a:pos x="38" y="38"/>
                </a:cxn>
                <a:cxn ang="0">
                  <a:pos x="48" y="20"/>
                </a:cxn>
                <a:cxn ang="0">
                  <a:pos x="68" y="14"/>
                </a:cxn>
                <a:cxn ang="0">
                  <a:pos x="86" y="0"/>
                </a:cxn>
                <a:cxn ang="0">
                  <a:pos x="96" y="20"/>
                </a:cxn>
                <a:cxn ang="0">
                  <a:pos x="96" y="32"/>
                </a:cxn>
                <a:cxn ang="0">
                  <a:pos x="114" y="74"/>
                </a:cxn>
                <a:cxn ang="0">
                  <a:pos x="120" y="104"/>
                </a:cxn>
                <a:cxn ang="0">
                  <a:pos x="146" y="122"/>
                </a:cxn>
                <a:cxn ang="0">
                  <a:pos x="158" y="122"/>
                </a:cxn>
                <a:cxn ang="0">
                  <a:pos x="178" y="132"/>
                </a:cxn>
                <a:cxn ang="0">
                  <a:pos x="182" y="142"/>
                </a:cxn>
                <a:cxn ang="0">
                  <a:pos x="204" y="154"/>
                </a:cxn>
                <a:cxn ang="0">
                  <a:pos x="210" y="162"/>
                </a:cxn>
                <a:cxn ang="0">
                  <a:pos x="230" y="188"/>
                </a:cxn>
                <a:cxn ang="0">
                  <a:pos x="244" y="196"/>
                </a:cxn>
                <a:cxn ang="0">
                  <a:pos x="260" y="220"/>
                </a:cxn>
                <a:cxn ang="0">
                  <a:pos x="226" y="232"/>
                </a:cxn>
                <a:cxn ang="0">
                  <a:pos x="214" y="200"/>
                </a:cxn>
                <a:cxn ang="0">
                  <a:pos x="188" y="174"/>
                </a:cxn>
                <a:cxn ang="0">
                  <a:pos x="156" y="146"/>
                </a:cxn>
                <a:cxn ang="0">
                  <a:pos x="122" y="142"/>
                </a:cxn>
                <a:cxn ang="0">
                  <a:pos x="106" y="134"/>
                </a:cxn>
                <a:cxn ang="0">
                  <a:pos x="90" y="136"/>
                </a:cxn>
                <a:cxn ang="0">
                  <a:pos x="68" y="126"/>
                </a:cxn>
                <a:cxn ang="0">
                  <a:pos x="46" y="130"/>
                </a:cxn>
                <a:cxn ang="0">
                  <a:pos x="30" y="152"/>
                </a:cxn>
              </a:cxnLst>
              <a:rect l="0" t="0" r="r" b="b"/>
              <a:pathLst>
                <a:path w="260" h="232">
                  <a:moveTo>
                    <a:pt x="30" y="152"/>
                  </a:moveTo>
                  <a:lnTo>
                    <a:pt x="2" y="154"/>
                  </a:lnTo>
                  <a:lnTo>
                    <a:pt x="0" y="120"/>
                  </a:lnTo>
                  <a:lnTo>
                    <a:pt x="16" y="112"/>
                  </a:lnTo>
                  <a:lnTo>
                    <a:pt x="26" y="88"/>
                  </a:lnTo>
                  <a:lnTo>
                    <a:pt x="24" y="40"/>
                  </a:lnTo>
                  <a:lnTo>
                    <a:pt x="38" y="38"/>
                  </a:lnTo>
                  <a:lnTo>
                    <a:pt x="48" y="20"/>
                  </a:lnTo>
                  <a:lnTo>
                    <a:pt x="68" y="14"/>
                  </a:lnTo>
                  <a:lnTo>
                    <a:pt x="86" y="0"/>
                  </a:lnTo>
                  <a:lnTo>
                    <a:pt x="96" y="20"/>
                  </a:lnTo>
                  <a:lnTo>
                    <a:pt x="96" y="32"/>
                  </a:lnTo>
                  <a:lnTo>
                    <a:pt x="114" y="74"/>
                  </a:lnTo>
                  <a:lnTo>
                    <a:pt x="120" y="104"/>
                  </a:lnTo>
                  <a:lnTo>
                    <a:pt x="146" y="122"/>
                  </a:lnTo>
                  <a:lnTo>
                    <a:pt x="158" y="122"/>
                  </a:lnTo>
                  <a:lnTo>
                    <a:pt x="178" y="132"/>
                  </a:lnTo>
                  <a:lnTo>
                    <a:pt x="182" y="142"/>
                  </a:lnTo>
                  <a:lnTo>
                    <a:pt x="204" y="154"/>
                  </a:lnTo>
                  <a:lnTo>
                    <a:pt x="210" y="162"/>
                  </a:lnTo>
                  <a:lnTo>
                    <a:pt x="230" y="188"/>
                  </a:lnTo>
                  <a:lnTo>
                    <a:pt x="244" y="196"/>
                  </a:lnTo>
                  <a:lnTo>
                    <a:pt x="260" y="220"/>
                  </a:lnTo>
                  <a:lnTo>
                    <a:pt x="226" y="232"/>
                  </a:lnTo>
                  <a:lnTo>
                    <a:pt x="214" y="200"/>
                  </a:lnTo>
                  <a:lnTo>
                    <a:pt x="188" y="174"/>
                  </a:lnTo>
                  <a:lnTo>
                    <a:pt x="156" y="146"/>
                  </a:lnTo>
                  <a:lnTo>
                    <a:pt x="122" y="142"/>
                  </a:lnTo>
                  <a:lnTo>
                    <a:pt x="106" y="134"/>
                  </a:lnTo>
                  <a:lnTo>
                    <a:pt x="90" y="136"/>
                  </a:lnTo>
                  <a:lnTo>
                    <a:pt x="68" y="126"/>
                  </a:lnTo>
                  <a:lnTo>
                    <a:pt x="46" y="130"/>
                  </a:lnTo>
                  <a:lnTo>
                    <a:pt x="30" y="152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89" name="Estonia">
              <a:extLst>
                <a:ext uri="{FF2B5EF4-FFF2-40B4-BE49-F238E27FC236}">
                  <a16:creationId xmlns="" xmlns:a16="http://schemas.microsoft.com/office/drawing/2014/main" id="{6C714BB7-B39A-4E05-B2C5-990228E47FF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470620" y="2189047"/>
              <a:ext cx="201087" cy="141592"/>
            </a:xfrm>
            <a:custGeom>
              <a:avLst/>
              <a:gdLst/>
              <a:ahLst/>
              <a:cxnLst>
                <a:cxn ang="0">
                  <a:pos x="202" y="166"/>
                </a:cxn>
                <a:cxn ang="0">
                  <a:pos x="182" y="164"/>
                </a:cxn>
                <a:cxn ang="0">
                  <a:pos x="178" y="154"/>
                </a:cxn>
                <a:cxn ang="0">
                  <a:pos x="152" y="132"/>
                </a:cxn>
                <a:cxn ang="0">
                  <a:pos x="146" y="122"/>
                </a:cxn>
                <a:cxn ang="0">
                  <a:pos x="134" y="120"/>
                </a:cxn>
                <a:cxn ang="0">
                  <a:pos x="120" y="128"/>
                </a:cxn>
                <a:cxn ang="0">
                  <a:pos x="98" y="126"/>
                </a:cxn>
                <a:cxn ang="0">
                  <a:pos x="102" y="88"/>
                </a:cxn>
                <a:cxn ang="0">
                  <a:pos x="84" y="94"/>
                </a:cxn>
                <a:cxn ang="0">
                  <a:pos x="70" y="80"/>
                </a:cxn>
                <a:cxn ang="0">
                  <a:pos x="70" y="64"/>
                </a:cxn>
                <a:cxn ang="0">
                  <a:pos x="66" y="48"/>
                </a:cxn>
                <a:cxn ang="0">
                  <a:pos x="68" y="36"/>
                </a:cxn>
                <a:cxn ang="0">
                  <a:pos x="88" y="32"/>
                </a:cxn>
                <a:cxn ang="0">
                  <a:pos x="102" y="18"/>
                </a:cxn>
                <a:cxn ang="0">
                  <a:pos x="140" y="14"/>
                </a:cxn>
                <a:cxn ang="0">
                  <a:pos x="174" y="6"/>
                </a:cxn>
                <a:cxn ang="0">
                  <a:pos x="188" y="0"/>
                </a:cxn>
                <a:cxn ang="0">
                  <a:pos x="198" y="8"/>
                </a:cxn>
                <a:cxn ang="0">
                  <a:pos x="246" y="8"/>
                </a:cxn>
                <a:cxn ang="0">
                  <a:pos x="220" y="58"/>
                </a:cxn>
                <a:cxn ang="0">
                  <a:pos x="234" y="158"/>
                </a:cxn>
                <a:cxn ang="0">
                  <a:pos x="218" y="174"/>
                </a:cxn>
                <a:cxn ang="0">
                  <a:pos x="202" y="166"/>
                </a:cxn>
                <a:cxn ang="0">
                  <a:pos x="0" y="96"/>
                </a:cxn>
                <a:cxn ang="0">
                  <a:pos x="10" y="102"/>
                </a:cxn>
                <a:cxn ang="0">
                  <a:pos x="48" y="90"/>
                </a:cxn>
                <a:cxn ang="0">
                  <a:pos x="58" y="76"/>
                </a:cxn>
                <a:cxn ang="0">
                  <a:pos x="56" y="66"/>
                </a:cxn>
                <a:cxn ang="0">
                  <a:pos x="30" y="70"/>
                </a:cxn>
                <a:cxn ang="0">
                  <a:pos x="4" y="78"/>
                </a:cxn>
                <a:cxn ang="0">
                  <a:pos x="0" y="96"/>
                </a:cxn>
              </a:cxnLst>
              <a:rect l="0" t="0" r="r" b="b"/>
              <a:pathLst>
                <a:path w="246" h="174">
                  <a:moveTo>
                    <a:pt x="202" y="166"/>
                  </a:moveTo>
                  <a:lnTo>
                    <a:pt x="182" y="164"/>
                  </a:lnTo>
                  <a:lnTo>
                    <a:pt x="178" y="154"/>
                  </a:lnTo>
                  <a:lnTo>
                    <a:pt x="152" y="132"/>
                  </a:lnTo>
                  <a:lnTo>
                    <a:pt x="146" y="122"/>
                  </a:lnTo>
                  <a:lnTo>
                    <a:pt x="134" y="120"/>
                  </a:lnTo>
                  <a:lnTo>
                    <a:pt x="120" y="128"/>
                  </a:lnTo>
                  <a:lnTo>
                    <a:pt x="98" y="126"/>
                  </a:lnTo>
                  <a:lnTo>
                    <a:pt x="102" y="88"/>
                  </a:lnTo>
                  <a:lnTo>
                    <a:pt x="84" y="94"/>
                  </a:lnTo>
                  <a:lnTo>
                    <a:pt x="70" y="80"/>
                  </a:lnTo>
                  <a:lnTo>
                    <a:pt x="70" y="64"/>
                  </a:lnTo>
                  <a:lnTo>
                    <a:pt x="66" y="48"/>
                  </a:lnTo>
                  <a:lnTo>
                    <a:pt x="68" y="36"/>
                  </a:lnTo>
                  <a:lnTo>
                    <a:pt x="88" y="32"/>
                  </a:lnTo>
                  <a:lnTo>
                    <a:pt x="102" y="18"/>
                  </a:lnTo>
                  <a:lnTo>
                    <a:pt x="140" y="14"/>
                  </a:lnTo>
                  <a:lnTo>
                    <a:pt x="174" y="6"/>
                  </a:lnTo>
                  <a:lnTo>
                    <a:pt x="188" y="0"/>
                  </a:lnTo>
                  <a:lnTo>
                    <a:pt x="198" y="8"/>
                  </a:lnTo>
                  <a:lnTo>
                    <a:pt x="246" y="8"/>
                  </a:lnTo>
                  <a:lnTo>
                    <a:pt x="220" y="58"/>
                  </a:lnTo>
                  <a:lnTo>
                    <a:pt x="234" y="158"/>
                  </a:lnTo>
                  <a:lnTo>
                    <a:pt x="218" y="174"/>
                  </a:lnTo>
                  <a:lnTo>
                    <a:pt x="202" y="166"/>
                  </a:lnTo>
                  <a:close/>
                  <a:moveTo>
                    <a:pt x="0" y="96"/>
                  </a:moveTo>
                  <a:lnTo>
                    <a:pt x="10" y="102"/>
                  </a:lnTo>
                  <a:lnTo>
                    <a:pt x="48" y="90"/>
                  </a:lnTo>
                  <a:lnTo>
                    <a:pt x="58" y="76"/>
                  </a:lnTo>
                  <a:lnTo>
                    <a:pt x="56" y="66"/>
                  </a:lnTo>
                  <a:lnTo>
                    <a:pt x="30" y="70"/>
                  </a:lnTo>
                  <a:lnTo>
                    <a:pt x="4" y="78"/>
                  </a:lnTo>
                  <a:lnTo>
                    <a:pt x="0" y="96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90" name="Ethiopia">
              <a:extLst>
                <a:ext uri="{FF2B5EF4-FFF2-40B4-BE49-F238E27FC236}">
                  <a16:creationId xmlns="" xmlns:a16="http://schemas.microsoft.com/office/drawing/2014/main" id="{F4093ADC-50A9-4989-8AE2-6A33CCD2FF9D}"/>
                </a:ext>
              </a:extLst>
            </p:cNvPr>
            <p:cNvSpPr>
              <a:spLocks/>
            </p:cNvSpPr>
            <p:nvPr/>
          </p:nvSpPr>
          <p:spPr bwMode="gray">
            <a:xfrm>
              <a:off x="6831794" y="4084810"/>
              <a:ext cx="456838" cy="363814"/>
            </a:xfrm>
            <a:custGeom>
              <a:avLst/>
              <a:gdLst/>
              <a:ahLst/>
              <a:cxnLst>
                <a:cxn ang="0">
                  <a:pos x="106" y="407"/>
                </a:cxn>
                <a:cxn ang="0">
                  <a:pos x="104" y="379"/>
                </a:cxn>
                <a:cxn ang="0">
                  <a:pos x="72" y="369"/>
                </a:cxn>
                <a:cxn ang="0">
                  <a:pos x="70" y="335"/>
                </a:cxn>
                <a:cxn ang="0">
                  <a:pos x="52" y="325"/>
                </a:cxn>
                <a:cxn ang="0">
                  <a:pos x="42" y="307"/>
                </a:cxn>
                <a:cxn ang="0">
                  <a:pos x="0" y="289"/>
                </a:cxn>
                <a:cxn ang="0">
                  <a:pos x="10" y="259"/>
                </a:cxn>
                <a:cxn ang="0">
                  <a:pos x="42" y="261"/>
                </a:cxn>
                <a:cxn ang="0">
                  <a:pos x="38" y="202"/>
                </a:cxn>
                <a:cxn ang="0">
                  <a:pos x="46" y="164"/>
                </a:cxn>
                <a:cxn ang="0">
                  <a:pos x="68" y="158"/>
                </a:cxn>
                <a:cxn ang="0">
                  <a:pos x="64" y="136"/>
                </a:cxn>
                <a:cxn ang="0">
                  <a:pos x="76" y="118"/>
                </a:cxn>
                <a:cxn ang="0">
                  <a:pos x="98" y="90"/>
                </a:cxn>
                <a:cxn ang="0">
                  <a:pos x="116" y="90"/>
                </a:cxn>
                <a:cxn ang="0">
                  <a:pos x="128" y="56"/>
                </a:cxn>
                <a:cxn ang="0">
                  <a:pos x="126" y="28"/>
                </a:cxn>
                <a:cxn ang="0">
                  <a:pos x="154" y="26"/>
                </a:cxn>
                <a:cxn ang="0">
                  <a:pos x="170" y="4"/>
                </a:cxn>
                <a:cxn ang="0">
                  <a:pos x="192" y="0"/>
                </a:cxn>
                <a:cxn ang="0">
                  <a:pos x="214" y="10"/>
                </a:cxn>
                <a:cxn ang="0">
                  <a:pos x="230" y="8"/>
                </a:cxn>
                <a:cxn ang="0">
                  <a:pos x="246" y="16"/>
                </a:cxn>
                <a:cxn ang="0">
                  <a:pos x="280" y="20"/>
                </a:cxn>
                <a:cxn ang="0">
                  <a:pos x="312" y="48"/>
                </a:cxn>
                <a:cxn ang="0">
                  <a:pos x="338" y="74"/>
                </a:cxn>
                <a:cxn ang="0">
                  <a:pos x="350" y="106"/>
                </a:cxn>
                <a:cxn ang="0">
                  <a:pos x="342" y="128"/>
                </a:cxn>
                <a:cxn ang="0">
                  <a:pos x="330" y="142"/>
                </a:cxn>
                <a:cxn ang="0">
                  <a:pos x="338" y="154"/>
                </a:cxn>
                <a:cxn ang="0">
                  <a:pos x="394" y="138"/>
                </a:cxn>
                <a:cxn ang="0">
                  <a:pos x="376" y="160"/>
                </a:cxn>
                <a:cxn ang="0">
                  <a:pos x="410" y="236"/>
                </a:cxn>
                <a:cxn ang="0">
                  <a:pos x="466" y="259"/>
                </a:cxn>
                <a:cxn ang="0">
                  <a:pos x="512" y="275"/>
                </a:cxn>
                <a:cxn ang="0">
                  <a:pos x="560" y="279"/>
                </a:cxn>
                <a:cxn ang="0">
                  <a:pos x="450" y="393"/>
                </a:cxn>
                <a:cxn ang="0">
                  <a:pos x="380" y="405"/>
                </a:cxn>
                <a:cxn ang="0">
                  <a:pos x="364" y="425"/>
                </a:cxn>
                <a:cxn ang="0">
                  <a:pos x="334" y="427"/>
                </a:cxn>
                <a:cxn ang="0">
                  <a:pos x="318" y="427"/>
                </a:cxn>
                <a:cxn ang="0">
                  <a:pos x="298" y="411"/>
                </a:cxn>
                <a:cxn ang="0">
                  <a:pos x="270" y="431"/>
                </a:cxn>
                <a:cxn ang="0">
                  <a:pos x="260" y="431"/>
                </a:cxn>
                <a:cxn ang="0">
                  <a:pos x="240" y="445"/>
                </a:cxn>
                <a:cxn ang="0">
                  <a:pos x="212" y="435"/>
                </a:cxn>
                <a:cxn ang="0">
                  <a:pos x="182" y="433"/>
                </a:cxn>
                <a:cxn ang="0">
                  <a:pos x="154" y="409"/>
                </a:cxn>
                <a:cxn ang="0">
                  <a:pos x="106" y="407"/>
                </a:cxn>
              </a:cxnLst>
              <a:rect l="0" t="0" r="r" b="b"/>
              <a:pathLst>
                <a:path w="560" h="445">
                  <a:moveTo>
                    <a:pt x="106" y="407"/>
                  </a:moveTo>
                  <a:lnTo>
                    <a:pt x="104" y="379"/>
                  </a:lnTo>
                  <a:lnTo>
                    <a:pt x="72" y="369"/>
                  </a:lnTo>
                  <a:lnTo>
                    <a:pt x="70" y="335"/>
                  </a:lnTo>
                  <a:lnTo>
                    <a:pt x="52" y="325"/>
                  </a:lnTo>
                  <a:lnTo>
                    <a:pt x="42" y="307"/>
                  </a:lnTo>
                  <a:lnTo>
                    <a:pt x="0" y="289"/>
                  </a:lnTo>
                  <a:lnTo>
                    <a:pt x="10" y="259"/>
                  </a:lnTo>
                  <a:lnTo>
                    <a:pt x="42" y="261"/>
                  </a:lnTo>
                  <a:lnTo>
                    <a:pt x="38" y="202"/>
                  </a:lnTo>
                  <a:lnTo>
                    <a:pt x="46" y="164"/>
                  </a:lnTo>
                  <a:lnTo>
                    <a:pt x="68" y="158"/>
                  </a:lnTo>
                  <a:lnTo>
                    <a:pt x="64" y="136"/>
                  </a:lnTo>
                  <a:lnTo>
                    <a:pt x="76" y="118"/>
                  </a:lnTo>
                  <a:lnTo>
                    <a:pt x="98" y="90"/>
                  </a:lnTo>
                  <a:lnTo>
                    <a:pt x="116" y="90"/>
                  </a:lnTo>
                  <a:lnTo>
                    <a:pt x="128" y="56"/>
                  </a:lnTo>
                  <a:lnTo>
                    <a:pt x="126" y="28"/>
                  </a:lnTo>
                  <a:lnTo>
                    <a:pt x="154" y="26"/>
                  </a:lnTo>
                  <a:lnTo>
                    <a:pt x="170" y="4"/>
                  </a:lnTo>
                  <a:lnTo>
                    <a:pt x="192" y="0"/>
                  </a:lnTo>
                  <a:lnTo>
                    <a:pt x="214" y="10"/>
                  </a:lnTo>
                  <a:lnTo>
                    <a:pt x="230" y="8"/>
                  </a:lnTo>
                  <a:lnTo>
                    <a:pt x="246" y="16"/>
                  </a:lnTo>
                  <a:lnTo>
                    <a:pt x="280" y="20"/>
                  </a:lnTo>
                  <a:lnTo>
                    <a:pt x="312" y="48"/>
                  </a:lnTo>
                  <a:lnTo>
                    <a:pt x="338" y="74"/>
                  </a:lnTo>
                  <a:lnTo>
                    <a:pt x="350" y="106"/>
                  </a:lnTo>
                  <a:lnTo>
                    <a:pt x="342" y="128"/>
                  </a:lnTo>
                  <a:lnTo>
                    <a:pt x="330" y="142"/>
                  </a:lnTo>
                  <a:lnTo>
                    <a:pt x="338" y="154"/>
                  </a:lnTo>
                  <a:lnTo>
                    <a:pt x="394" y="138"/>
                  </a:lnTo>
                  <a:lnTo>
                    <a:pt x="376" y="160"/>
                  </a:lnTo>
                  <a:lnTo>
                    <a:pt x="410" y="236"/>
                  </a:lnTo>
                  <a:lnTo>
                    <a:pt x="466" y="259"/>
                  </a:lnTo>
                  <a:lnTo>
                    <a:pt x="512" y="275"/>
                  </a:lnTo>
                  <a:lnTo>
                    <a:pt x="560" y="279"/>
                  </a:lnTo>
                  <a:lnTo>
                    <a:pt x="450" y="393"/>
                  </a:lnTo>
                  <a:lnTo>
                    <a:pt x="380" y="405"/>
                  </a:lnTo>
                  <a:lnTo>
                    <a:pt x="364" y="425"/>
                  </a:lnTo>
                  <a:lnTo>
                    <a:pt x="334" y="427"/>
                  </a:lnTo>
                  <a:lnTo>
                    <a:pt x="318" y="427"/>
                  </a:lnTo>
                  <a:lnTo>
                    <a:pt x="298" y="411"/>
                  </a:lnTo>
                  <a:lnTo>
                    <a:pt x="270" y="431"/>
                  </a:lnTo>
                  <a:lnTo>
                    <a:pt x="260" y="431"/>
                  </a:lnTo>
                  <a:lnTo>
                    <a:pt x="240" y="445"/>
                  </a:lnTo>
                  <a:lnTo>
                    <a:pt x="212" y="435"/>
                  </a:lnTo>
                  <a:lnTo>
                    <a:pt x="182" y="433"/>
                  </a:lnTo>
                  <a:lnTo>
                    <a:pt x="154" y="409"/>
                  </a:lnTo>
                  <a:lnTo>
                    <a:pt x="106" y="407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91" name="Falkland Islands">
              <a:extLst>
                <a:ext uri="{FF2B5EF4-FFF2-40B4-BE49-F238E27FC236}">
                  <a16:creationId xmlns="" xmlns:a16="http://schemas.microsoft.com/office/drawing/2014/main" id="{36C522F6-2012-4D50-B044-B5F987918241}"/>
                </a:ext>
              </a:extLst>
            </p:cNvPr>
            <p:cNvSpPr>
              <a:spLocks noChangeAspect="1" noEditPoints="1"/>
            </p:cNvSpPr>
            <p:nvPr/>
          </p:nvSpPr>
          <p:spPr bwMode="gray">
            <a:xfrm>
              <a:off x="3823295" y="6531211"/>
              <a:ext cx="107376" cy="58998"/>
            </a:xfrm>
            <a:custGeom>
              <a:avLst/>
              <a:gdLst/>
              <a:ahLst/>
              <a:cxnLst>
                <a:cxn ang="0">
                  <a:pos x="85" y="38"/>
                </a:cxn>
                <a:cxn ang="0">
                  <a:pos x="73" y="40"/>
                </a:cxn>
                <a:cxn ang="0">
                  <a:pos x="69" y="61"/>
                </a:cxn>
                <a:cxn ang="0">
                  <a:pos x="71" y="73"/>
                </a:cxn>
                <a:cxn ang="0">
                  <a:pos x="61" y="83"/>
                </a:cxn>
                <a:cxn ang="0">
                  <a:pos x="69" y="85"/>
                </a:cxn>
                <a:cxn ang="0">
                  <a:pos x="76" y="78"/>
                </a:cxn>
                <a:cxn ang="0">
                  <a:pos x="80" y="66"/>
                </a:cxn>
                <a:cxn ang="0">
                  <a:pos x="90" y="64"/>
                </a:cxn>
                <a:cxn ang="0">
                  <a:pos x="94" y="52"/>
                </a:cxn>
                <a:cxn ang="0">
                  <a:pos x="109" y="59"/>
                </a:cxn>
                <a:cxn ang="0">
                  <a:pos x="111" y="50"/>
                </a:cxn>
                <a:cxn ang="0">
                  <a:pos x="128" y="45"/>
                </a:cxn>
                <a:cxn ang="0">
                  <a:pos x="132" y="38"/>
                </a:cxn>
                <a:cxn ang="0">
                  <a:pos x="144" y="35"/>
                </a:cxn>
                <a:cxn ang="0">
                  <a:pos x="158" y="26"/>
                </a:cxn>
                <a:cxn ang="0">
                  <a:pos x="156" y="12"/>
                </a:cxn>
                <a:cxn ang="0">
                  <a:pos x="146" y="7"/>
                </a:cxn>
                <a:cxn ang="0">
                  <a:pos x="132" y="7"/>
                </a:cxn>
                <a:cxn ang="0">
                  <a:pos x="128" y="19"/>
                </a:cxn>
                <a:cxn ang="0">
                  <a:pos x="120" y="16"/>
                </a:cxn>
                <a:cxn ang="0">
                  <a:pos x="118" y="5"/>
                </a:cxn>
                <a:cxn ang="0">
                  <a:pos x="102" y="0"/>
                </a:cxn>
                <a:cxn ang="0">
                  <a:pos x="94" y="21"/>
                </a:cxn>
                <a:cxn ang="0">
                  <a:pos x="94" y="38"/>
                </a:cxn>
                <a:cxn ang="0">
                  <a:pos x="85" y="38"/>
                </a:cxn>
                <a:cxn ang="0">
                  <a:pos x="87" y="14"/>
                </a:cxn>
                <a:cxn ang="0">
                  <a:pos x="80" y="7"/>
                </a:cxn>
                <a:cxn ang="0">
                  <a:pos x="76" y="12"/>
                </a:cxn>
                <a:cxn ang="0">
                  <a:pos x="61" y="12"/>
                </a:cxn>
                <a:cxn ang="0">
                  <a:pos x="57" y="2"/>
                </a:cxn>
                <a:cxn ang="0">
                  <a:pos x="40" y="2"/>
                </a:cxn>
                <a:cxn ang="0">
                  <a:pos x="24" y="12"/>
                </a:cxn>
                <a:cxn ang="0">
                  <a:pos x="31" y="14"/>
                </a:cxn>
                <a:cxn ang="0">
                  <a:pos x="33" y="21"/>
                </a:cxn>
                <a:cxn ang="0">
                  <a:pos x="47" y="24"/>
                </a:cxn>
                <a:cxn ang="0">
                  <a:pos x="52" y="31"/>
                </a:cxn>
                <a:cxn ang="0">
                  <a:pos x="45" y="33"/>
                </a:cxn>
                <a:cxn ang="0">
                  <a:pos x="24" y="31"/>
                </a:cxn>
                <a:cxn ang="0">
                  <a:pos x="24" y="38"/>
                </a:cxn>
                <a:cxn ang="0">
                  <a:pos x="35" y="38"/>
                </a:cxn>
                <a:cxn ang="0">
                  <a:pos x="33" y="45"/>
                </a:cxn>
                <a:cxn ang="0">
                  <a:pos x="28" y="52"/>
                </a:cxn>
                <a:cxn ang="0">
                  <a:pos x="14" y="47"/>
                </a:cxn>
                <a:cxn ang="0">
                  <a:pos x="7" y="40"/>
                </a:cxn>
                <a:cxn ang="0">
                  <a:pos x="0" y="45"/>
                </a:cxn>
                <a:cxn ang="0">
                  <a:pos x="5" y="59"/>
                </a:cxn>
                <a:cxn ang="0">
                  <a:pos x="12" y="66"/>
                </a:cxn>
                <a:cxn ang="0">
                  <a:pos x="17" y="64"/>
                </a:cxn>
                <a:cxn ang="0">
                  <a:pos x="28" y="71"/>
                </a:cxn>
                <a:cxn ang="0">
                  <a:pos x="35" y="64"/>
                </a:cxn>
                <a:cxn ang="0">
                  <a:pos x="38" y="57"/>
                </a:cxn>
                <a:cxn ang="0">
                  <a:pos x="54" y="52"/>
                </a:cxn>
                <a:cxn ang="0">
                  <a:pos x="69" y="31"/>
                </a:cxn>
                <a:cxn ang="0">
                  <a:pos x="87" y="14"/>
                </a:cxn>
              </a:cxnLst>
              <a:rect l="0" t="0" r="r" b="b"/>
              <a:pathLst>
                <a:path w="158" h="85">
                  <a:moveTo>
                    <a:pt x="85" y="38"/>
                  </a:moveTo>
                  <a:lnTo>
                    <a:pt x="73" y="40"/>
                  </a:lnTo>
                  <a:lnTo>
                    <a:pt x="69" y="61"/>
                  </a:lnTo>
                  <a:lnTo>
                    <a:pt x="71" y="73"/>
                  </a:lnTo>
                  <a:lnTo>
                    <a:pt x="61" y="83"/>
                  </a:lnTo>
                  <a:lnTo>
                    <a:pt x="69" y="85"/>
                  </a:lnTo>
                  <a:lnTo>
                    <a:pt x="76" y="78"/>
                  </a:lnTo>
                  <a:lnTo>
                    <a:pt x="80" y="66"/>
                  </a:lnTo>
                  <a:lnTo>
                    <a:pt x="90" y="64"/>
                  </a:lnTo>
                  <a:lnTo>
                    <a:pt x="94" y="52"/>
                  </a:lnTo>
                  <a:lnTo>
                    <a:pt x="109" y="59"/>
                  </a:lnTo>
                  <a:lnTo>
                    <a:pt x="111" y="50"/>
                  </a:lnTo>
                  <a:lnTo>
                    <a:pt x="128" y="45"/>
                  </a:lnTo>
                  <a:lnTo>
                    <a:pt x="132" y="38"/>
                  </a:lnTo>
                  <a:lnTo>
                    <a:pt x="144" y="35"/>
                  </a:lnTo>
                  <a:lnTo>
                    <a:pt x="158" y="26"/>
                  </a:lnTo>
                  <a:lnTo>
                    <a:pt x="156" y="12"/>
                  </a:lnTo>
                  <a:lnTo>
                    <a:pt x="146" y="7"/>
                  </a:lnTo>
                  <a:lnTo>
                    <a:pt x="132" y="7"/>
                  </a:lnTo>
                  <a:lnTo>
                    <a:pt x="128" y="19"/>
                  </a:lnTo>
                  <a:lnTo>
                    <a:pt x="120" y="16"/>
                  </a:lnTo>
                  <a:lnTo>
                    <a:pt x="118" y="5"/>
                  </a:lnTo>
                  <a:lnTo>
                    <a:pt x="102" y="0"/>
                  </a:lnTo>
                  <a:lnTo>
                    <a:pt x="94" y="21"/>
                  </a:lnTo>
                  <a:lnTo>
                    <a:pt x="94" y="38"/>
                  </a:lnTo>
                  <a:lnTo>
                    <a:pt x="85" y="38"/>
                  </a:lnTo>
                  <a:close/>
                  <a:moveTo>
                    <a:pt x="87" y="14"/>
                  </a:moveTo>
                  <a:lnTo>
                    <a:pt x="80" y="7"/>
                  </a:lnTo>
                  <a:lnTo>
                    <a:pt x="76" y="12"/>
                  </a:lnTo>
                  <a:lnTo>
                    <a:pt x="61" y="12"/>
                  </a:lnTo>
                  <a:lnTo>
                    <a:pt x="57" y="2"/>
                  </a:lnTo>
                  <a:lnTo>
                    <a:pt x="40" y="2"/>
                  </a:lnTo>
                  <a:lnTo>
                    <a:pt x="24" y="12"/>
                  </a:lnTo>
                  <a:lnTo>
                    <a:pt x="31" y="14"/>
                  </a:lnTo>
                  <a:lnTo>
                    <a:pt x="33" y="21"/>
                  </a:lnTo>
                  <a:lnTo>
                    <a:pt x="47" y="24"/>
                  </a:lnTo>
                  <a:lnTo>
                    <a:pt x="52" y="31"/>
                  </a:lnTo>
                  <a:lnTo>
                    <a:pt x="45" y="33"/>
                  </a:lnTo>
                  <a:lnTo>
                    <a:pt x="24" y="31"/>
                  </a:lnTo>
                  <a:lnTo>
                    <a:pt x="24" y="38"/>
                  </a:lnTo>
                  <a:lnTo>
                    <a:pt x="35" y="38"/>
                  </a:lnTo>
                  <a:lnTo>
                    <a:pt x="33" y="45"/>
                  </a:lnTo>
                  <a:lnTo>
                    <a:pt x="28" y="52"/>
                  </a:lnTo>
                  <a:lnTo>
                    <a:pt x="14" y="47"/>
                  </a:lnTo>
                  <a:lnTo>
                    <a:pt x="7" y="40"/>
                  </a:lnTo>
                  <a:lnTo>
                    <a:pt x="0" y="45"/>
                  </a:lnTo>
                  <a:lnTo>
                    <a:pt x="5" y="59"/>
                  </a:lnTo>
                  <a:lnTo>
                    <a:pt x="12" y="66"/>
                  </a:lnTo>
                  <a:lnTo>
                    <a:pt x="17" y="64"/>
                  </a:lnTo>
                  <a:lnTo>
                    <a:pt x="28" y="71"/>
                  </a:lnTo>
                  <a:lnTo>
                    <a:pt x="35" y="64"/>
                  </a:lnTo>
                  <a:lnTo>
                    <a:pt x="38" y="57"/>
                  </a:lnTo>
                  <a:lnTo>
                    <a:pt x="54" y="52"/>
                  </a:lnTo>
                  <a:lnTo>
                    <a:pt x="69" y="31"/>
                  </a:lnTo>
                  <a:lnTo>
                    <a:pt x="87" y="14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8001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92" name="Fiji">
              <a:extLst>
                <a:ext uri="{FF2B5EF4-FFF2-40B4-BE49-F238E27FC236}">
                  <a16:creationId xmlns="" xmlns:a16="http://schemas.microsoft.com/office/drawing/2014/main" id="{578EACFF-7846-4731-A329-042B5262C6A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1281096" y="5044490"/>
              <a:ext cx="78092" cy="84563"/>
            </a:xfrm>
            <a:custGeom>
              <a:avLst/>
              <a:gdLst/>
              <a:ahLst/>
              <a:cxnLst>
                <a:cxn ang="0">
                  <a:pos x="14" y="60"/>
                </a:cxn>
                <a:cxn ang="0">
                  <a:pos x="40" y="60"/>
                </a:cxn>
                <a:cxn ang="0">
                  <a:pos x="56" y="80"/>
                </a:cxn>
                <a:cxn ang="0">
                  <a:pos x="52" y="102"/>
                </a:cxn>
                <a:cxn ang="0">
                  <a:pos x="28" y="96"/>
                </a:cxn>
                <a:cxn ang="0">
                  <a:pos x="8" y="96"/>
                </a:cxn>
                <a:cxn ang="0">
                  <a:pos x="0" y="84"/>
                </a:cxn>
                <a:cxn ang="0">
                  <a:pos x="14" y="60"/>
                </a:cxn>
                <a:cxn ang="0">
                  <a:pos x="68" y="42"/>
                </a:cxn>
                <a:cxn ang="0">
                  <a:pos x="90" y="32"/>
                </a:cxn>
                <a:cxn ang="0">
                  <a:pos x="96" y="0"/>
                </a:cxn>
                <a:cxn ang="0">
                  <a:pos x="48" y="28"/>
                </a:cxn>
                <a:cxn ang="0">
                  <a:pos x="68" y="42"/>
                </a:cxn>
              </a:cxnLst>
              <a:rect l="0" t="0" r="r" b="b"/>
              <a:pathLst>
                <a:path w="96" h="102">
                  <a:moveTo>
                    <a:pt x="14" y="60"/>
                  </a:moveTo>
                  <a:lnTo>
                    <a:pt x="40" y="60"/>
                  </a:lnTo>
                  <a:lnTo>
                    <a:pt x="56" y="80"/>
                  </a:lnTo>
                  <a:lnTo>
                    <a:pt x="52" y="102"/>
                  </a:lnTo>
                  <a:lnTo>
                    <a:pt x="28" y="96"/>
                  </a:lnTo>
                  <a:lnTo>
                    <a:pt x="8" y="96"/>
                  </a:lnTo>
                  <a:lnTo>
                    <a:pt x="0" y="84"/>
                  </a:lnTo>
                  <a:lnTo>
                    <a:pt x="14" y="60"/>
                  </a:lnTo>
                  <a:close/>
                  <a:moveTo>
                    <a:pt x="68" y="42"/>
                  </a:moveTo>
                  <a:lnTo>
                    <a:pt x="90" y="32"/>
                  </a:lnTo>
                  <a:lnTo>
                    <a:pt x="96" y="0"/>
                  </a:lnTo>
                  <a:lnTo>
                    <a:pt x="48" y="28"/>
                  </a:lnTo>
                  <a:lnTo>
                    <a:pt x="68" y="42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93" name="Finland">
              <a:extLst>
                <a:ext uri="{FF2B5EF4-FFF2-40B4-BE49-F238E27FC236}">
                  <a16:creationId xmlns="" xmlns:a16="http://schemas.microsoft.com/office/drawing/2014/main" id="{EA9557E9-944D-4363-995B-58AADF58CBFA}"/>
                </a:ext>
              </a:extLst>
            </p:cNvPr>
            <p:cNvSpPr>
              <a:spLocks/>
            </p:cNvSpPr>
            <p:nvPr/>
          </p:nvSpPr>
          <p:spPr bwMode="gray">
            <a:xfrm>
              <a:off x="6427668" y="1386691"/>
              <a:ext cx="351415" cy="774824"/>
            </a:xfrm>
            <a:custGeom>
              <a:avLst/>
              <a:gdLst/>
              <a:ahLst/>
              <a:cxnLst>
                <a:cxn ang="0">
                  <a:pos x="294" y="912"/>
                </a:cxn>
                <a:cxn ang="0">
                  <a:pos x="320" y="888"/>
                </a:cxn>
                <a:cxn ang="0">
                  <a:pos x="428" y="710"/>
                </a:cxn>
                <a:cxn ang="0">
                  <a:pos x="412" y="684"/>
                </a:cxn>
                <a:cxn ang="0">
                  <a:pos x="388" y="602"/>
                </a:cxn>
                <a:cxn ang="0">
                  <a:pos x="384" y="566"/>
                </a:cxn>
                <a:cxn ang="0">
                  <a:pos x="364" y="552"/>
                </a:cxn>
                <a:cxn ang="0">
                  <a:pos x="368" y="502"/>
                </a:cxn>
                <a:cxn ang="0">
                  <a:pos x="368" y="462"/>
                </a:cxn>
                <a:cxn ang="0">
                  <a:pos x="384" y="420"/>
                </a:cxn>
                <a:cxn ang="0">
                  <a:pos x="346" y="334"/>
                </a:cxn>
                <a:cxn ang="0">
                  <a:pos x="364" y="210"/>
                </a:cxn>
                <a:cxn ang="0">
                  <a:pos x="316" y="130"/>
                </a:cxn>
                <a:cxn ang="0">
                  <a:pos x="308" y="100"/>
                </a:cxn>
                <a:cxn ang="0">
                  <a:pos x="314" y="52"/>
                </a:cxn>
                <a:cxn ang="0">
                  <a:pos x="324" y="16"/>
                </a:cxn>
                <a:cxn ang="0">
                  <a:pos x="286" y="0"/>
                </a:cxn>
                <a:cxn ang="0">
                  <a:pos x="172" y="154"/>
                </a:cxn>
                <a:cxn ang="0">
                  <a:pos x="90" y="132"/>
                </a:cxn>
                <a:cxn ang="0">
                  <a:pos x="40" y="74"/>
                </a:cxn>
                <a:cxn ang="0">
                  <a:pos x="0" y="100"/>
                </a:cxn>
                <a:cxn ang="0">
                  <a:pos x="106" y="178"/>
                </a:cxn>
                <a:cxn ang="0">
                  <a:pos x="132" y="274"/>
                </a:cxn>
                <a:cxn ang="0">
                  <a:pos x="140" y="388"/>
                </a:cxn>
                <a:cxn ang="0">
                  <a:pos x="162" y="456"/>
                </a:cxn>
                <a:cxn ang="0">
                  <a:pos x="188" y="498"/>
                </a:cxn>
                <a:cxn ang="0">
                  <a:pos x="182" y="538"/>
                </a:cxn>
                <a:cxn ang="0">
                  <a:pos x="116" y="600"/>
                </a:cxn>
                <a:cxn ang="0">
                  <a:pos x="44" y="684"/>
                </a:cxn>
                <a:cxn ang="0">
                  <a:pos x="32" y="742"/>
                </a:cxn>
                <a:cxn ang="0">
                  <a:pos x="42" y="802"/>
                </a:cxn>
                <a:cxn ang="0">
                  <a:pos x="40" y="824"/>
                </a:cxn>
                <a:cxn ang="0">
                  <a:pos x="44" y="884"/>
                </a:cxn>
                <a:cxn ang="0">
                  <a:pos x="78" y="918"/>
                </a:cxn>
                <a:cxn ang="0">
                  <a:pos x="98" y="930"/>
                </a:cxn>
                <a:cxn ang="0">
                  <a:pos x="112" y="948"/>
                </a:cxn>
                <a:cxn ang="0">
                  <a:pos x="160" y="950"/>
                </a:cxn>
                <a:cxn ang="0">
                  <a:pos x="202" y="928"/>
                </a:cxn>
                <a:cxn ang="0">
                  <a:pos x="262" y="916"/>
                </a:cxn>
              </a:cxnLst>
              <a:rect l="0" t="0" r="r" b="b"/>
              <a:pathLst>
                <a:path w="432" h="950">
                  <a:moveTo>
                    <a:pt x="278" y="924"/>
                  </a:moveTo>
                  <a:lnTo>
                    <a:pt x="294" y="912"/>
                  </a:lnTo>
                  <a:lnTo>
                    <a:pt x="298" y="888"/>
                  </a:lnTo>
                  <a:lnTo>
                    <a:pt x="320" y="888"/>
                  </a:lnTo>
                  <a:lnTo>
                    <a:pt x="432" y="740"/>
                  </a:lnTo>
                  <a:lnTo>
                    <a:pt x="428" y="710"/>
                  </a:lnTo>
                  <a:lnTo>
                    <a:pt x="412" y="698"/>
                  </a:lnTo>
                  <a:lnTo>
                    <a:pt x="412" y="684"/>
                  </a:lnTo>
                  <a:lnTo>
                    <a:pt x="364" y="646"/>
                  </a:lnTo>
                  <a:lnTo>
                    <a:pt x="388" y="602"/>
                  </a:lnTo>
                  <a:lnTo>
                    <a:pt x="374" y="574"/>
                  </a:lnTo>
                  <a:lnTo>
                    <a:pt x="384" y="566"/>
                  </a:lnTo>
                  <a:lnTo>
                    <a:pt x="378" y="552"/>
                  </a:lnTo>
                  <a:lnTo>
                    <a:pt x="364" y="552"/>
                  </a:lnTo>
                  <a:lnTo>
                    <a:pt x="356" y="516"/>
                  </a:lnTo>
                  <a:lnTo>
                    <a:pt x="368" y="502"/>
                  </a:lnTo>
                  <a:lnTo>
                    <a:pt x="362" y="484"/>
                  </a:lnTo>
                  <a:lnTo>
                    <a:pt x="368" y="462"/>
                  </a:lnTo>
                  <a:lnTo>
                    <a:pt x="366" y="432"/>
                  </a:lnTo>
                  <a:lnTo>
                    <a:pt x="384" y="420"/>
                  </a:lnTo>
                  <a:lnTo>
                    <a:pt x="360" y="392"/>
                  </a:lnTo>
                  <a:lnTo>
                    <a:pt x="346" y="334"/>
                  </a:lnTo>
                  <a:lnTo>
                    <a:pt x="328" y="310"/>
                  </a:lnTo>
                  <a:lnTo>
                    <a:pt x="364" y="210"/>
                  </a:lnTo>
                  <a:lnTo>
                    <a:pt x="330" y="182"/>
                  </a:lnTo>
                  <a:lnTo>
                    <a:pt x="316" y="130"/>
                  </a:lnTo>
                  <a:lnTo>
                    <a:pt x="326" y="104"/>
                  </a:lnTo>
                  <a:lnTo>
                    <a:pt x="308" y="100"/>
                  </a:lnTo>
                  <a:lnTo>
                    <a:pt x="322" y="84"/>
                  </a:lnTo>
                  <a:lnTo>
                    <a:pt x="314" y="52"/>
                  </a:lnTo>
                  <a:lnTo>
                    <a:pt x="328" y="28"/>
                  </a:lnTo>
                  <a:lnTo>
                    <a:pt x="324" y="16"/>
                  </a:lnTo>
                  <a:lnTo>
                    <a:pt x="306" y="14"/>
                  </a:lnTo>
                  <a:lnTo>
                    <a:pt x="286" y="0"/>
                  </a:lnTo>
                  <a:lnTo>
                    <a:pt x="242" y="14"/>
                  </a:lnTo>
                  <a:lnTo>
                    <a:pt x="172" y="154"/>
                  </a:lnTo>
                  <a:lnTo>
                    <a:pt x="146" y="134"/>
                  </a:lnTo>
                  <a:lnTo>
                    <a:pt x="90" y="132"/>
                  </a:lnTo>
                  <a:lnTo>
                    <a:pt x="66" y="94"/>
                  </a:lnTo>
                  <a:lnTo>
                    <a:pt x="40" y="74"/>
                  </a:lnTo>
                  <a:lnTo>
                    <a:pt x="30" y="102"/>
                  </a:lnTo>
                  <a:lnTo>
                    <a:pt x="0" y="100"/>
                  </a:lnTo>
                  <a:lnTo>
                    <a:pt x="58" y="150"/>
                  </a:lnTo>
                  <a:lnTo>
                    <a:pt x="106" y="178"/>
                  </a:lnTo>
                  <a:lnTo>
                    <a:pt x="124" y="204"/>
                  </a:lnTo>
                  <a:lnTo>
                    <a:pt x="132" y="274"/>
                  </a:lnTo>
                  <a:lnTo>
                    <a:pt x="148" y="344"/>
                  </a:lnTo>
                  <a:lnTo>
                    <a:pt x="140" y="388"/>
                  </a:lnTo>
                  <a:lnTo>
                    <a:pt x="148" y="448"/>
                  </a:lnTo>
                  <a:lnTo>
                    <a:pt x="162" y="456"/>
                  </a:lnTo>
                  <a:lnTo>
                    <a:pt x="178" y="470"/>
                  </a:lnTo>
                  <a:lnTo>
                    <a:pt x="188" y="498"/>
                  </a:lnTo>
                  <a:lnTo>
                    <a:pt x="194" y="530"/>
                  </a:lnTo>
                  <a:lnTo>
                    <a:pt x="182" y="538"/>
                  </a:lnTo>
                  <a:lnTo>
                    <a:pt x="134" y="592"/>
                  </a:lnTo>
                  <a:lnTo>
                    <a:pt x="116" y="600"/>
                  </a:lnTo>
                  <a:lnTo>
                    <a:pt x="64" y="676"/>
                  </a:lnTo>
                  <a:lnTo>
                    <a:pt x="44" y="684"/>
                  </a:lnTo>
                  <a:lnTo>
                    <a:pt x="42" y="702"/>
                  </a:lnTo>
                  <a:lnTo>
                    <a:pt x="32" y="742"/>
                  </a:lnTo>
                  <a:lnTo>
                    <a:pt x="40" y="760"/>
                  </a:lnTo>
                  <a:lnTo>
                    <a:pt x="42" y="802"/>
                  </a:lnTo>
                  <a:lnTo>
                    <a:pt x="46" y="810"/>
                  </a:lnTo>
                  <a:lnTo>
                    <a:pt x="40" y="824"/>
                  </a:lnTo>
                  <a:lnTo>
                    <a:pt x="38" y="848"/>
                  </a:lnTo>
                  <a:lnTo>
                    <a:pt x="44" y="884"/>
                  </a:lnTo>
                  <a:lnTo>
                    <a:pt x="74" y="900"/>
                  </a:lnTo>
                  <a:lnTo>
                    <a:pt x="78" y="918"/>
                  </a:lnTo>
                  <a:lnTo>
                    <a:pt x="98" y="914"/>
                  </a:lnTo>
                  <a:lnTo>
                    <a:pt x="98" y="930"/>
                  </a:lnTo>
                  <a:lnTo>
                    <a:pt x="108" y="938"/>
                  </a:lnTo>
                  <a:lnTo>
                    <a:pt x="112" y="948"/>
                  </a:lnTo>
                  <a:lnTo>
                    <a:pt x="150" y="948"/>
                  </a:lnTo>
                  <a:lnTo>
                    <a:pt x="160" y="950"/>
                  </a:lnTo>
                  <a:lnTo>
                    <a:pt x="184" y="934"/>
                  </a:lnTo>
                  <a:lnTo>
                    <a:pt x="202" y="928"/>
                  </a:lnTo>
                  <a:lnTo>
                    <a:pt x="234" y="930"/>
                  </a:lnTo>
                  <a:lnTo>
                    <a:pt x="262" y="916"/>
                  </a:lnTo>
                  <a:lnTo>
                    <a:pt x="278" y="924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94" name="France">
              <a:extLst>
                <a:ext uri="{FF2B5EF4-FFF2-40B4-BE49-F238E27FC236}">
                  <a16:creationId xmlns="" xmlns:a16="http://schemas.microsoft.com/office/drawing/2014/main" id="{E5A6D888-14FC-4389-9B3C-DA728355762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656507" y="2659055"/>
              <a:ext cx="439269" cy="450341"/>
            </a:xfrm>
            <a:custGeom>
              <a:avLst/>
              <a:gdLst/>
              <a:ahLst/>
              <a:cxnLst>
                <a:cxn ang="0">
                  <a:pos x="436" y="228"/>
                </a:cxn>
                <a:cxn ang="0">
                  <a:pos x="422" y="256"/>
                </a:cxn>
                <a:cxn ang="0">
                  <a:pos x="406" y="298"/>
                </a:cxn>
                <a:cxn ang="0">
                  <a:pos x="434" y="284"/>
                </a:cxn>
                <a:cxn ang="0">
                  <a:pos x="450" y="312"/>
                </a:cxn>
                <a:cxn ang="0">
                  <a:pos x="440" y="350"/>
                </a:cxn>
                <a:cxn ang="0">
                  <a:pos x="426" y="372"/>
                </a:cxn>
                <a:cxn ang="0">
                  <a:pos x="436" y="406"/>
                </a:cxn>
                <a:cxn ang="0">
                  <a:pos x="476" y="406"/>
                </a:cxn>
                <a:cxn ang="0">
                  <a:pos x="456" y="440"/>
                </a:cxn>
                <a:cxn ang="0">
                  <a:pos x="432" y="458"/>
                </a:cxn>
                <a:cxn ang="0">
                  <a:pos x="382" y="452"/>
                </a:cxn>
                <a:cxn ang="0">
                  <a:pos x="348" y="462"/>
                </a:cxn>
                <a:cxn ang="0">
                  <a:pos x="328" y="450"/>
                </a:cxn>
                <a:cxn ang="0">
                  <a:pos x="310" y="492"/>
                </a:cxn>
                <a:cxn ang="0">
                  <a:pos x="260" y="496"/>
                </a:cxn>
                <a:cxn ang="0">
                  <a:pos x="238" y="480"/>
                </a:cxn>
                <a:cxn ang="0">
                  <a:pos x="186" y="486"/>
                </a:cxn>
                <a:cxn ang="0">
                  <a:pos x="154" y="470"/>
                </a:cxn>
                <a:cxn ang="0">
                  <a:pos x="132" y="458"/>
                </a:cxn>
                <a:cxn ang="0">
                  <a:pos x="134" y="410"/>
                </a:cxn>
                <a:cxn ang="0">
                  <a:pos x="146" y="382"/>
                </a:cxn>
                <a:cxn ang="0">
                  <a:pos x="136" y="302"/>
                </a:cxn>
                <a:cxn ang="0">
                  <a:pos x="108" y="264"/>
                </a:cxn>
                <a:cxn ang="0">
                  <a:pos x="110" y="238"/>
                </a:cxn>
                <a:cxn ang="0">
                  <a:pos x="84" y="222"/>
                </a:cxn>
                <a:cxn ang="0">
                  <a:pos x="56" y="214"/>
                </a:cxn>
                <a:cxn ang="0">
                  <a:pos x="10" y="204"/>
                </a:cxn>
                <a:cxn ang="0">
                  <a:pos x="8" y="176"/>
                </a:cxn>
                <a:cxn ang="0">
                  <a:pos x="26" y="152"/>
                </a:cxn>
                <a:cxn ang="0">
                  <a:pos x="50" y="146"/>
                </a:cxn>
                <a:cxn ang="0">
                  <a:pos x="86" y="164"/>
                </a:cxn>
                <a:cxn ang="0">
                  <a:pos x="122" y="118"/>
                </a:cxn>
                <a:cxn ang="0">
                  <a:pos x="116" y="94"/>
                </a:cxn>
                <a:cxn ang="0">
                  <a:pos x="140" y="112"/>
                </a:cxn>
                <a:cxn ang="0">
                  <a:pos x="170" y="108"/>
                </a:cxn>
                <a:cxn ang="0">
                  <a:pos x="206" y="84"/>
                </a:cxn>
                <a:cxn ang="0">
                  <a:pos x="248" y="56"/>
                </a:cxn>
                <a:cxn ang="0">
                  <a:pos x="252" y="14"/>
                </a:cxn>
                <a:cxn ang="0">
                  <a:pos x="282" y="14"/>
                </a:cxn>
                <a:cxn ang="0">
                  <a:pos x="300" y="32"/>
                </a:cxn>
                <a:cxn ang="0">
                  <a:pos x="326" y="42"/>
                </a:cxn>
                <a:cxn ang="0">
                  <a:pos x="334" y="64"/>
                </a:cxn>
                <a:cxn ang="0">
                  <a:pos x="360" y="62"/>
                </a:cxn>
                <a:cxn ang="0">
                  <a:pos x="390" y="102"/>
                </a:cxn>
                <a:cxn ang="0">
                  <a:pos x="426" y="102"/>
                </a:cxn>
                <a:cxn ang="0">
                  <a:pos x="448" y="116"/>
                </a:cxn>
                <a:cxn ang="0">
                  <a:pos x="472" y="182"/>
                </a:cxn>
                <a:cxn ang="0">
                  <a:pos x="458" y="220"/>
                </a:cxn>
                <a:cxn ang="0">
                  <a:pos x="510" y="514"/>
                </a:cxn>
                <a:cxn ang="0">
                  <a:pos x="518" y="552"/>
                </a:cxn>
                <a:cxn ang="0">
                  <a:pos x="538" y="538"/>
                </a:cxn>
                <a:cxn ang="0">
                  <a:pos x="536" y="492"/>
                </a:cxn>
                <a:cxn ang="0">
                  <a:pos x="528" y="476"/>
                </a:cxn>
                <a:cxn ang="0">
                  <a:pos x="512" y="498"/>
                </a:cxn>
              </a:cxnLst>
              <a:rect l="0" t="0" r="r" b="b"/>
              <a:pathLst>
                <a:path w="540" h="552">
                  <a:moveTo>
                    <a:pt x="446" y="218"/>
                  </a:moveTo>
                  <a:lnTo>
                    <a:pt x="436" y="228"/>
                  </a:lnTo>
                  <a:lnTo>
                    <a:pt x="442" y="238"/>
                  </a:lnTo>
                  <a:lnTo>
                    <a:pt x="422" y="256"/>
                  </a:lnTo>
                  <a:lnTo>
                    <a:pt x="412" y="278"/>
                  </a:lnTo>
                  <a:lnTo>
                    <a:pt x="406" y="298"/>
                  </a:lnTo>
                  <a:lnTo>
                    <a:pt x="422" y="298"/>
                  </a:lnTo>
                  <a:lnTo>
                    <a:pt x="434" y="284"/>
                  </a:lnTo>
                  <a:lnTo>
                    <a:pt x="446" y="294"/>
                  </a:lnTo>
                  <a:lnTo>
                    <a:pt x="450" y="312"/>
                  </a:lnTo>
                  <a:lnTo>
                    <a:pt x="440" y="328"/>
                  </a:lnTo>
                  <a:lnTo>
                    <a:pt x="440" y="350"/>
                  </a:lnTo>
                  <a:lnTo>
                    <a:pt x="424" y="358"/>
                  </a:lnTo>
                  <a:lnTo>
                    <a:pt x="426" y="372"/>
                  </a:lnTo>
                  <a:lnTo>
                    <a:pt x="436" y="384"/>
                  </a:lnTo>
                  <a:lnTo>
                    <a:pt x="436" y="406"/>
                  </a:lnTo>
                  <a:lnTo>
                    <a:pt x="454" y="410"/>
                  </a:lnTo>
                  <a:lnTo>
                    <a:pt x="476" y="406"/>
                  </a:lnTo>
                  <a:lnTo>
                    <a:pt x="482" y="422"/>
                  </a:lnTo>
                  <a:lnTo>
                    <a:pt x="456" y="440"/>
                  </a:lnTo>
                  <a:lnTo>
                    <a:pt x="434" y="452"/>
                  </a:lnTo>
                  <a:lnTo>
                    <a:pt x="432" y="458"/>
                  </a:lnTo>
                  <a:lnTo>
                    <a:pt x="410" y="466"/>
                  </a:lnTo>
                  <a:lnTo>
                    <a:pt x="382" y="452"/>
                  </a:lnTo>
                  <a:lnTo>
                    <a:pt x="364" y="444"/>
                  </a:lnTo>
                  <a:lnTo>
                    <a:pt x="348" y="462"/>
                  </a:lnTo>
                  <a:lnTo>
                    <a:pt x="338" y="460"/>
                  </a:lnTo>
                  <a:lnTo>
                    <a:pt x="328" y="450"/>
                  </a:lnTo>
                  <a:lnTo>
                    <a:pt x="312" y="458"/>
                  </a:lnTo>
                  <a:lnTo>
                    <a:pt x="310" y="492"/>
                  </a:lnTo>
                  <a:lnTo>
                    <a:pt x="284" y="496"/>
                  </a:lnTo>
                  <a:lnTo>
                    <a:pt x="260" y="496"/>
                  </a:lnTo>
                  <a:lnTo>
                    <a:pt x="256" y="486"/>
                  </a:lnTo>
                  <a:lnTo>
                    <a:pt x="238" y="480"/>
                  </a:lnTo>
                  <a:lnTo>
                    <a:pt x="214" y="480"/>
                  </a:lnTo>
                  <a:lnTo>
                    <a:pt x="186" y="486"/>
                  </a:lnTo>
                  <a:lnTo>
                    <a:pt x="168" y="480"/>
                  </a:lnTo>
                  <a:lnTo>
                    <a:pt x="154" y="470"/>
                  </a:lnTo>
                  <a:lnTo>
                    <a:pt x="140" y="466"/>
                  </a:lnTo>
                  <a:lnTo>
                    <a:pt x="132" y="458"/>
                  </a:lnTo>
                  <a:lnTo>
                    <a:pt x="122" y="448"/>
                  </a:lnTo>
                  <a:lnTo>
                    <a:pt x="134" y="410"/>
                  </a:lnTo>
                  <a:lnTo>
                    <a:pt x="138" y="386"/>
                  </a:lnTo>
                  <a:lnTo>
                    <a:pt x="146" y="382"/>
                  </a:lnTo>
                  <a:lnTo>
                    <a:pt x="140" y="340"/>
                  </a:lnTo>
                  <a:lnTo>
                    <a:pt x="136" y="302"/>
                  </a:lnTo>
                  <a:lnTo>
                    <a:pt x="122" y="286"/>
                  </a:lnTo>
                  <a:lnTo>
                    <a:pt x="108" y="264"/>
                  </a:lnTo>
                  <a:lnTo>
                    <a:pt x="114" y="254"/>
                  </a:lnTo>
                  <a:lnTo>
                    <a:pt x="110" y="238"/>
                  </a:lnTo>
                  <a:lnTo>
                    <a:pt x="100" y="236"/>
                  </a:lnTo>
                  <a:lnTo>
                    <a:pt x="84" y="222"/>
                  </a:lnTo>
                  <a:lnTo>
                    <a:pt x="64" y="224"/>
                  </a:lnTo>
                  <a:lnTo>
                    <a:pt x="56" y="214"/>
                  </a:lnTo>
                  <a:lnTo>
                    <a:pt x="22" y="198"/>
                  </a:lnTo>
                  <a:lnTo>
                    <a:pt x="10" y="204"/>
                  </a:lnTo>
                  <a:lnTo>
                    <a:pt x="0" y="188"/>
                  </a:lnTo>
                  <a:lnTo>
                    <a:pt x="8" y="176"/>
                  </a:lnTo>
                  <a:lnTo>
                    <a:pt x="8" y="166"/>
                  </a:lnTo>
                  <a:lnTo>
                    <a:pt x="26" y="152"/>
                  </a:lnTo>
                  <a:lnTo>
                    <a:pt x="38" y="156"/>
                  </a:lnTo>
                  <a:lnTo>
                    <a:pt x="50" y="146"/>
                  </a:lnTo>
                  <a:lnTo>
                    <a:pt x="66" y="146"/>
                  </a:lnTo>
                  <a:lnTo>
                    <a:pt x="86" y="164"/>
                  </a:lnTo>
                  <a:lnTo>
                    <a:pt x="120" y="152"/>
                  </a:lnTo>
                  <a:lnTo>
                    <a:pt x="122" y="118"/>
                  </a:lnTo>
                  <a:lnTo>
                    <a:pt x="108" y="102"/>
                  </a:lnTo>
                  <a:lnTo>
                    <a:pt x="116" y="94"/>
                  </a:lnTo>
                  <a:lnTo>
                    <a:pt x="132" y="96"/>
                  </a:lnTo>
                  <a:lnTo>
                    <a:pt x="140" y="112"/>
                  </a:lnTo>
                  <a:lnTo>
                    <a:pt x="156" y="104"/>
                  </a:lnTo>
                  <a:lnTo>
                    <a:pt x="170" y="108"/>
                  </a:lnTo>
                  <a:lnTo>
                    <a:pt x="196" y="102"/>
                  </a:lnTo>
                  <a:lnTo>
                    <a:pt x="206" y="84"/>
                  </a:lnTo>
                  <a:lnTo>
                    <a:pt x="226" y="80"/>
                  </a:lnTo>
                  <a:lnTo>
                    <a:pt x="248" y="56"/>
                  </a:lnTo>
                  <a:lnTo>
                    <a:pt x="246" y="36"/>
                  </a:lnTo>
                  <a:lnTo>
                    <a:pt x="252" y="14"/>
                  </a:lnTo>
                  <a:lnTo>
                    <a:pt x="274" y="0"/>
                  </a:lnTo>
                  <a:lnTo>
                    <a:pt x="282" y="14"/>
                  </a:lnTo>
                  <a:lnTo>
                    <a:pt x="294" y="22"/>
                  </a:lnTo>
                  <a:lnTo>
                    <a:pt x="300" y="32"/>
                  </a:lnTo>
                  <a:lnTo>
                    <a:pt x="314" y="42"/>
                  </a:lnTo>
                  <a:lnTo>
                    <a:pt x="326" y="42"/>
                  </a:lnTo>
                  <a:lnTo>
                    <a:pt x="328" y="56"/>
                  </a:lnTo>
                  <a:lnTo>
                    <a:pt x="334" y="64"/>
                  </a:lnTo>
                  <a:lnTo>
                    <a:pt x="346" y="70"/>
                  </a:lnTo>
                  <a:lnTo>
                    <a:pt x="360" y="62"/>
                  </a:lnTo>
                  <a:lnTo>
                    <a:pt x="364" y="78"/>
                  </a:lnTo>
                  <a:lnTo>
                    <a:pt x="390" y="102"/>
                  </a:lnTo>
                  <a:lnTo>
                    <a:pt x="400" y="102"/>
                  </a:lnTo>
                  <a:lnTo>
                    <a:pt x="426" y="102"/>
                  </a:lnTo>
                  <a:lnTo>
                    <a:pt x="434" y="114"/>
                  </a:lnTo>
                  <a:lnTo>
                    <a:pt x="448" y="116"/>
                  </a:lnTo>
                  <a:lnTo>
                    <a:pt x="486" y="148"/>
                  </a:lnTo>
                  <a:lnTo>
                    <a:pt x="472" y="182"/>
                  </a:lnTo>
                  <a:lnTo>
                    <a:pt x="474" y="212"/>
                  </a:lnTo>
                  <a:lnTo>
                    <a:pt x="458" y="220"/>
                  </a:lnTo>
                  <a:lnTo>
                    <a:pt x="446" y="218"/>
                  </a:lnTo>
                  <a:close/>
                  <a:moveTo>
                    <a:pt x="510" y="514"/>
                  </a:moveTo>
                  <a:lnTo>
                    <a:pt x="506" y="534"/>
                  </a:lnTo>
                  <a:lnTo>
                    <a:pt x="518" y="552"/>
                  </a:lnTo>
                  <a:lnTo>
                    <a:pt x="530" y="552"/>
                  </a:lnTo>
                  <a:lnTo>
                    <a:pt x="538" y="538"/>
                  </a:lnTo>
                  <a:lnTo>
                    <a:pt x="540" y="512"/>
                  </a:lnTo>
                  <a:lnTo>
                    <a:pt x="536" y="492"/>
                  </a:lnTo>
                  <a:lnTo>
                    <a:pt x="536" y="478"/>
                  </a:lnTo>
                  <a:lnTo>
                    <a:pt x="528" y="476"/>
                  </a:lnTo>
                  <a:lnTo>
                    <a:pt x="524" y="492"/>
                  </a:lnTo>
                  <a:lnTo>
                    <a:pt x="512" y="498"/>
                  </a:lnTo>
                  <a:lnTo>
                    <a:pt x="510" y="514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95" name="French Guiana">
              <a:extLst>
                <a:ext uri="{FF2B5EF4-FFF2-40B4-BE49-F238E27FC236}">
                  <a16:creationId xmlns="" xmlns:a16="http://schemas.microsoft.com/office/drawing/2014/main" id="{8E5EE0EE-F723-45B4-8F48-669F631D0D74}"/>
                </a:ext>
              </a:extLst>
            </p:cNvPr>
            <p:cNvSpPr>
              <a:spLocks/>
            </p:cNvSpPr>
            <p:nvPr/>
          </p:nvSpPr>
          <p:spPr bwMode="gray">
            <a:xfrm>
              <a:off x="4020477" y="4442724"/>
              <a:ext cx="83949" cy="114060"/>
            </a:xfrm>
            <a:custGeom>
              <a:avLst/>
              <a:gdLst/>
              <a:ahLst/>
              <a:cxnLst>
                <a:cxn ang="0">
                  <a:pos x="16" y="134"/>
                </a:cxn>
                <a:cxn ang="0">
                  <a:pos x="0" y="130"/>
                </a:cxn>
                <a:cxn ang="0">
                  <a:pos x="14" y="108"/>
                </a:cxn>
                <a:cxn ang="0">
                  <a:pos x="10" y="94"/>
                </a:cxn>
                <a:cxn ang="0">
                  <a:pos x="18" y="84"/>
                </a:cxn>
                <a:cxn ang="0">
                  <a:pos x="4" y="70"/>
                </a:cxn>
                <a:cxn ang="0">
                  <a:pos x="0" y="46"/>
                </a:cxn>
                <a:cxn ang="0">
                  <a:pos x="4" y="24"/>
                </a:cxn>
                <a:cxn ang="0">
                  <a:pos x="24" y="0"/>
                </a:cxn>
                <a:cxn ang="0">
                  <a:pos x="38" y="0"/>
                </a:cxn>
                <a:cxn ang="0">
                  <a:pos x="44" y="6"/>
                </a:cxn>
                <a:cxn ang="0">
                  <a:pos x="56" y="8"/>
                </a:cxn>
                <a:cxn ang="0">
                  <a:pos x="74" y="16"/>
                </a:cxn>
                <a:cxn ang="0">
                  <a:pos x="104" y="44"/>
                </a:cxn>
                <a:cxn ang="0">
                  <a:pos x="96" y="70"/>
                </a:cxn>
                <a:cxn ang="0">
                  <a:pos x="80" y="94"/>
                </a:cxn>
                <a:cxn ang="0">
                  <a:pos x="72" y="126"/>
                </a:cxn>
                <a:cxn ang="0">
                  <a:pos x="54" y="140"/>
                </a:cxn>
                <a:cxn ang="0">
                  <a:pos x="48" y="128"/>
                </a:cxn>
                <a:cxn ang="0">
                  <a:pos x="32" y="122"/>
                </a:cxn>
                <a:cxn ang="0">
                  <a:pos x="16" y="134"/>
                </a:cxn>
              </a:cxnLst>
              <a:rect l="0" t="0" r="r" b="b"/>
              <a:pathLst>
                <a:path w="104" h="140">
                  <a:moveTo>
                    <a:pt x="16" y="134"/>
                  </a:moveTo>
                  <a:lnTo>
                    <a:pt x="0" y="130"/>
                  </a:lnTo>
                  <a:lnTo>
                    <a:pt x="14" y="108"/>
                  </a:lnTo>
                  <a:lnTo>
                    <a:pt x="10" y="94"/>
                  </a:lnTo>
                  <a:lnTo>
                    <a:pt x="18" y="84"/>
                  </a:lnTo>
                  <a:lnTo>
                    <a:pt x="4" y="70"/>
                  </a:lnTo>
                  <a:lnTo>
                    <a:pt x="0" y="46"/>
                  </a:lnTo>
                  <a:lnTo>
                    <a:pt x="4" y="24"/>
                  </a:lnTo>
                  <a:lnTo>
                    <a:pt x="24" y="0"/>
                  </a:lnTo>
                  <a:lnTo>
                    <a:pt x="38" y="0"/>
                  </a:lnTo>
                  <a:lnTo>
                    <a:pt x="44" y="6"/>
                  </a:lnTo>
                  <a:lnTo>
                    <a:pt x="56" y="8"/>
                  </a:lnTo>
                  <a:lnTo>
                    <a:pt x="74" y="16"/>
                  </a:lnTo>
                  <a:lnTo>
                    <a:pt x="104" y="44"/>
                  </a:lnTo>
                  <a:lnTo>
                    <a:pt x="96" y="70"/>
                  </a:lnTo>
                  <a:lnTo>
                    <a:pt x="80" y="94"/>
                  </a:lnTo>
                  <a:lnTo>
                    <a:pt x="72" y="126"/>
                  </a:lnTo>
                  <a:lnTo>
                    <a:pt x="54" y="140"/>
                  </a:lnTo>
                  <a:lnTo>
                    <a:pt x="48" y="128"/>
                  </a:lnTo>
                  <a:lnTo>
                    <a:pt x="32" y="122"/>
                  </a:lnTo>
                  <a:lnTo>
                    <a:pt x="16" y="134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96" name="Gabon">
              <a:extLst>
                <a:ext uri="{FF2B5EF4-FFF2-40B4-BE49-F238E27FC236}">
                  <a16:creationId xmlns="" xmlns:a16="http://schemas.microsoft.com/office/drawing/2014/main" id="{28E41F58-8C5E-4191-96D9-B5B1CC2C7C6C}"/>
                </a:ext>
              </a:extLst>
            </p:cNvPr>
            <p:cNvSpPr>
              <a:spLocks/>
            </p:cNvSpPr>
            <p:nvPr/>
          </p:nvSpPr>
          <p:spPr bwMode="gray">
            <a:xfrm>
              <a:off x="6078205" y="4495822"/>
              <a:ext cx="185469" cy="182889"/>
            </a:xfrm>
            <a:custGeom>
              <a:avLst/>
              <a:gdLst/>
              <a:ahLst/>
              <a:cxnLst>
                <a:cxn ang="0">
                  <a:pos x="104" y="4"/>
                </a:cxn>
                <a:cxn ang="0">
                  <a:pos x="172" y="0"/>
                </a:cxn>
                <a:cxn ang="0">
                  <a:pos x="172" y="10"/>
                </a:cxn>
                <a:cxn ang="0">
                  <a:pos x="166" y="42"/>
                </a:cxn>
                <a:cxn ang="0">
                  <a:pos x="180" y="42"/>
                </a:cxn>
                <a:cxn ang="0">
                  <a:pos x="198" y="34"/>
                </a:cxn>
                <a:cxn ang="0">
                  <a:pos x="218" y="44"/>
                </a:cxn>
                <a:cxn ang="0">
                  <a:pos x="222" y="64"/>
                </a:cxn>
                <a:cxn ang="0">
                  <a:pos x="206" y="78"/>
                </a:cxn>
                <a:cxn ang="0">
                  <a:pos x="204" y="94"/>
                </a:cxn>
                <a:cxn ang="0">
                  <a:pos x="230" y="116"/>
                </a:cxn>
                <a:cxn ang="0">
                  <a:pos x="220" y="172"/>
                </a:cxn>
                <a:cxn ang="0">
                  <a:pos x="208" y="182"/>
                </a:cxn>
                <a:cxn ang="0">
                  <a:pos x="200" y="178"/>
                </a:cxn>
                <a:cxn ang="0">
                  <a:pos x="168" y="176"/>
                </a:cxn>
                <a:cxn ang="0">
                  <a:pos x="158" y="160"/>
                </a:cxn>
                <a:cxn ang="0">
                  <a:pos x="144" y="176"/>
                </a:cxn>
                <a:cxn ang="0">
                  <a:pos x="114" y="180"/>
                </a:cxn>
                <a:cxn ang="0">
                  <a:pos x="104" y="188"/>
                </a:cxn>
                <a:cxn ang="0">
                  <a:pos x="118" y="212"/>
                </a:cxn>
                <a:cxn ang="0">
                  <a:pos x="104" y="222"/>
                </a:cxn>
                <a:cxn ang="0">
                  <a:pos x="92" y="210"/>
                </a:cxn>
                <a:cxn ang="0">
                  <a:pos x="72" y="222"/>
                </a:cxn>
                <a:cxn ang="0">
                  <a:pos x="42" y="192"/>
                </a:cxn>
                <a:cxn ang="0">
                  <a:pos x="40" y="182"/>
                </a:cxn>
                <a:cxn ang="0">
                  <a:pos x="28" y="174"/>
                </a:cxn>
                <a:cxn ang="0">
                  <a:pos x="24" y="146"/>
                </a:cxn>
                <a:cxn ang="0">
                  <a:pos x="28" y="124"/>
                </a:cxn>
                <a:cxn ang="0">
                  <a:pos x="14" y="118"/>
                </a:cxn>
                <a:cxn ang="0">
                  <a:pos x="0" y="108"/>
                </a:cxn>
                <a:cxn ang="0">
                  <a:pos x="2" y="96"/>
                </a:cxn>
                <a:cxn ang="0">
                  <a:pos x="14" y="92"/>
                </a:cxn>
                <a:cxn ang="0">
                  <a:pos x="22" y="80"/>
                </a:cxn>
                <a:cxn ang="0">
                  <a:pos x="32" y="62"/>
                </a:cxn>
                <a:cxn ang="0">
                  <a:pos x="26" y="44"/>
                </a:cxn>
                <a:cxn ang="0">
                  <a:pos x="56" y="42"/>
                </a:cxn>
                <a:cxn ang="0">
                  <a:pos x="100" y="42"/>
                </a:cxn>
                <a:cxn ang="0">
                  <a:pos x="104" y="4"/>
                </a:cxn>
              </a:cxnLst>
              <a:rect l="0" t="0" r="r" b="b"/>
              <a:pathLst>
                <a:path w="230" h="222">
                  <a:moveTo>
                    <a:pt x="104" y="4"/>
                  </a:moveTo>
                  <a:lnTo>
                    <a:pt x="172" y="0"/>
                  </a:lnTo>
                  <a:lnTo>
                    <a:pt x="172" y="10"/>
                  </a:lnTo>
                  <a:lnTo>
                    <a:pt x="166" y="42"/>
                  </a:lnTo>
                  <a:lnTo>
                    <a:pt x="180" y="42"/>
                  </a:lnTo>
                  <a:lnTo>
                    <a:pt x="198" y="34"/>
                  </a:lnTo>
                  <a:lnTo>
                    <a:pt x="218" y="44"/>
                  </a:lnTo>
                  <a:lnTo>
                    <a:pt x="222" y="64"/>
                  </a:lnTo>
                  <a:lnTo>
                    <a:pt x="206" y="78"/>
                  </a:lnTo>
                  <a:lnTo>
                    <a:pt x="204" y="94"/>
                  </a:lnTo>
                  <a:lnTo>
                    <a:pt x="230" y="116"/>
                  </a:lnTo>
                  <a:lnTo>
                    <a:pt x="220" y="172"/>
                  </a:lnTo>
                  <a:lnTo>
                    <a:pt x="208" y="182"/>
                  </a:lnTo>
                  <a:lnTo>
                    <a:pt x="200" y="178"/>
                  </a:lnTo>
                  <a:lnTo>
                    <a:pt x="168" y="176"/>
                  </a:lnTo>
                  <a:lnTo>
                    <a:pt x="158" y="160"/>
                  </a:lnTo>
                  <a:lnTo>
                    <a:pt x="144" y="176"/>
                  </a:lnTo>
                  <a:lnTo>
                    <a:pt x="114" y="180"/>
                  </a:lnTo>
                  <a:lnTo>
                    <a:pt x="104" y="188"/>
                  </a:lnTo>
                  <a:lnTo>
                    <a:pt x="118" y="212"/>
                  </a:lnTo>
                  <a:lnTo>
                    <a:pt x="104" y="222"/>
                  </a:lnTo>
                  <a:lnTo>
                    <a:pt x="92" y="210"/>
                  </a:lnTo>
                  <a:lnTo>
                    <a:pt x="72" y="222"/>
                  </a:lnTo>
                  <a:lnTo>
                    <a:pt x="42" y="192"/>
                  </a:lnTo>
                  <a:lnTo>
                    <a:pt x="40" y="182"/>
                  </a:lnTo>
                  <a:lnTo>
                    <a:pt x="28" y="174"/>
                  </a:lnTo>
                  <a:lnTo>
                    <a:pt x="24" y="146"/>
                  </a:lnTo>
                  <a:lnTo>
                    <a:pt x="28" y="124"/>
                  </a:lnTo>
                  <a:lnTo>
                    <a:pt x="14" y="118"/>
                  </a:lnTo>
                  <a:lnTo>
                    <a:pt x="0" y="108"/>
                  </a:lnTo>
                  <a:lnTo>
                    <a:pt x="2" y="96"/>
                  </a:lnTo>
                  <a:lnTo>
                    <a:pt x="14" y="92"/>
                  </a:lnTo>
                  <a:lnTo>
                    <a:pt x="22" y="80"/>
                  </a:lnTo>
                  <a:lnTo>
                    <a:pt x="32" y="62"/>
                  </a:lnTo>
                  <a:lnTo>
                    <a:pt x="26" y="44"/>
                  </a:lnTo>
                  <a:lnTo>
                    <a:pt x="56" y="42"/>
                  </a:lnTo>
                  <a:lnTo>
                    <a:pt x="100" y="42"/>
                  </a:lnTo>
                  <a:lnTo>
                    <a:pt x="104" y="4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97" name="Gambia">
              <a:extLst>
                <a:ext uri="{FF2B5EF4-FFF2-40B4-BE49-F238E27FC236}">
                  <a16:creationId xmlns="" xmlns:a16="http://schemas.microsoft.com/office/drawing/2014/main" id="{F03C81FB-76E1-40FE-821D-9DF186752428}"/>
                </a:ext>
              </a:extLst>
            </p:cNvPr>
            <p:cNvSpPr>
              <a:spLocks/>
            </p:cNvSpPr>
            <p:nvPr/>
          </p:nvSpPr>
          <p:spPr bwMode="gray">
            <a:xfrm>
              <a:off x="5283618" y="4112342"/>
              <a:ext cx="91758" cy="29499"/>
            </a:xfrm>
            <a:custGeom>
              <a:avLst/>
              <a:gdLst/>
              <a:ahLst/>
              <a:cxnLst>
                <a:cxn ang="0">
                  <a:pos x="0" y="34"/>
                </a:cxn>
                <a:cxn ang="0">
                  <a:pos x="50" y="28"/>
                </a:cxn>
                <a:cxn ang="0">
                  <a:pos x="62" y="22"/>
                </a:cxn>
                <a:cxn ang="0">
                  <a:pos x="78" y="22"/>
                </a:cxn>
                <a:cxn ang="0">
                  <a:pos x="102" y="30"/>
                </a:cxn>
                <a:cxn ang="0">
                  <a:pos x="112" y="22"/>
                </a:cxn>
                <a:cxn ang="0">
                  <a:pos x="106" y="14"/>
                </a:cxn>
                <a:cxn ang="0">
                  <a:pos x="94" y="14"/>
                </a:cxn>
                <a:cxn ang="0">
                  <a:pos x="78" y="4"/>
                </a:cxn>
                <a:cxn ang="0">
                  <a:pos x="70" y="0"/>
                </a:cxn>
                <a:cxn ang="0">
                  <a:pos x="62" y="6"/>
                </a:cxn>
                <a:cxn ang="0">
                  <a:pos x="46" y="6"/>
                </a:cxn>
                <a:cxn ang="0">
                  <a:pos x="12" y="4"/>
                </a:cxn>
                <a:cxn ang="0">
                  <a:pos x="12" y="14"/>
                </a:cxn>
                <a:cxn ang="0">
                  <a:pos x="0" y="34"/>
                </a:cxn>
              </a:cxnLst>
              <a:rect l="0" t="0" r="r" b="b"/>
              <a:pathLst>
                <a:path w="112" h="34">
                  <a:moveTo>
                    <a:pt x="0" y="34"/>
                  </a:moveTo>
                  <a:lnTo>
                    <a:pt x="50" y="28"/>
                  </a:lnTo>
                  <a:lnTo>
                    <a:pt x="62" y="22"/>
                  </a:lnTo>
                  <a:lnTo>
                    <a:pt x="78" y="22"/>
                  </a:lnTo>
                  <a:lnTo>
                    <a:pt x="102" y="30"/>
                  </a:lnTo>
                  <a:lnTo>
                    <a:pt x="112" y="22"/>
                  </a:lnTo>
                  <a:lnTo>
                    <a:pt x="106" y="14"/>
                  </a:lnTo>
                  <a:lnTo>
                    <a:pt x="94" y="14"/>
                  </a:lnTo>
                  <a:lnTo>
                    <a:pt x="78" y="4"/>
                  </a:lnTo>
                  <a:lnTo>
                    <a:pt x="70" y="0"/>
                  </a:lnTo>
                  <a:lnTo>
                    <a:pt x="62" y="6"/>
                  </a:lnTo>
                  <a:lnTo>
                    <a:pt x="46" y="6"/>
                  </a:lnTo>
                  <a:lnTo>
                    <a:pt x="12" y="4"/>
                  </a:lnTo>
                  <a:lnTo>
                    <a:pt x="12" y="14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98" name="Georgia">
              <a:extLst>
                <a:ext uri="{FF2B5EF4-FFF2-40B4-BE49-F238E27FC236}">
                  <a16:creationId xmlns="" xmlns:a16="http://schemas.microsoft.com/office/drawing/2014/main" id="{12979468-8D91-43CF-BD40-04479FC39E23}"/>
                </a:ext>
              </a:extLst>
            </p:cNvPr>
            <p:cNvSpPr>
              <a:spLocks/>
            </p:cNvSpPr>
            <p:nvPr/>
          </p:nvSpPr>
          <p:spPr bwMode="gray">
            <a:xfrm>
              <a:off x="7042643" y="3020902"/>
              <a:ext cx="191325" cy="102261"/>
            </a:xfrm>
            <a:custGeom>
              <a:avLst/>
              <a:gdLst/>
              <a:ahLst/>
              <a:cxnLst>
                <a:cxn ang="0">
                  <a:pos x="232" y="86"/>
                </a:cxn>
                <a:cxn ang="0">
                  <a:pos x="226" y="106"/>
                </a:cxn>
                <a:cxn ang="0">
                  <a:pos x="236" y="114"/>
                </a:cxn>
                <a:cxn ang="0">
                  <a:pos x="238" y="122"/>
                </a:cxn>
                <a:cxn ang="0">
                  <a:pos x="210" y="124"/>
                </a:cxn>
                <a:cxn ang="0">
                  <a:pos x="198" y="112"/>
                </a:cxn>
                <a:cxn ang="0">
                  <a:pos x="184" y="114"/>
                </a:cxn>
                <a:cxn ang="0">
                  <a:pos x="174" y="122"/>
                </a:cxn>
                <a:cxn ang="0">
                  <a:pos x="128" y="124"/>
                </a:cxn>
                <a:cxn ang="0">
                  <a:pos x="104" y="108"/>
                </a:cxn>
                <a:cxn ang="0">
                  <a:pos x="88" y="112"/>
                </a:cxn>
                <a:cxn ang="0">
                  <a:pos x="44" y="104"/>
                </a:cxn>
                <a:cxn ang="0">
                  <a:pos x="58" y="84"/>
                </a:cxn>
                <a:cxn ang="0">
                  <a:pos x="60" y="56"/>
                </a:cxn>
                <a:cxn ang="0">
                  <a:pos x="42" y="36"/>
                </a:cxn>
                <a:cxn ang="0">
                  <a:pos x="24" y="22"/>
                </a:cxn>
                <a:cxn ang="0">
                  <a:pos x="14" y="24"/>
                </a:cxn>
                <a:cxn ang="0">
                  <a:pos x="0" y="10"/>
                </a:cxn>
                <a:cxn ang="0">
                  <a:pos x="8" y="2"/>
                </a:cxn>
                <a:cxn ang="0">
                  <a:pos x="36" y="0"/>
                </a:cxn>
                <a:cxn ang="0">
                  <a:pos x="98" y="8"/>
                </a:cxn>
                <a:cxn ang="0">
                  <a:pos x="110" y="2"/>
                </a:cxn>
                <a:cxn ang="0">
                  <a:pos x="122" y="14"/>
                </a:cxn>
                <a:cxn ang="0">
                  <a:pos x="148" y="28"/>
                </a:cxn>
                <a:cxn ang="0">
                  <a:pos x="156" y="40"/>
                </a:cxn>
                <a:cxn ang="0">
                  <a:pos x="168" y="32"/>
                </a:cxn>
                <a:cxn ang="0">
                  <a:pos x="182" y="40"/>
                </a:cxn>
                <a:cxn ang="0">
                  <a:pos x="194" y="40"/>
                </a:cxn>
                <a:cxn ang="0">
                  <a:pos x="208" y="50"/>
                </a:cxn>
                <a:cxn ang="0">
                  <a:pos x="208" y="64"/>
                </a:cxn>
                <a:cxn ang="0">
                  <a:pos x="198" y="74"/>
                </a:cxn>
                <a:cxn ang="0">
                  <a:pos x="232" y="86"/>
                </a:cxn>
              </a:cxnLst>
              <a:rect l="0" t="0" r="r" b="b"/>
              <a:pathLst>
                <a:path w="238" h="124">
                  <a:moveTo>
                    <a:pt x="232" y="86"/>
                  </a:moveTo>
                  <a:lnTo>
                    <a:pt x="226" y="106"/>
                  </a:lnTo>
                  <a:lnTo>
                    <a:pt x="236" y="114"/>
                  </a:lnTo>
                  <a:lnTo>
                    <a:pt x="238" y="122"/>
                  </a:lnTo>
                  <a:lnTo>
                    <a:pt x="210" y="124"/>
                  </a:lnTo>
                  <a:lnTo>
                    <a:pt x="198" y="112"/>
                  </a:lnTo>
                  <a:lnTo>
                    <a:pt x="184" y="114"/>
                  </a:lnTo>
                  <a:lnTo>
                    <a:pt x="174" y="122"/>
                  </a:lnTo>
                  <a:lnTo>
                    <a:pt x="128" y="124"/>
                  </a:lnTo>
                  <a:lnTo>
                    <a:pt x="104" y="108"/>
                  </a:lnTo>
                  <a:lnTo>
                    <a:pt x="88" y="112"/>
                  </a:lnTo>
                  <a:lnTo>
                    <a:pt x="44" y="104"/>
                  </a:lnTo>
                  <a:lnTo>
                    <a:pt x="58" y="84"/>
                  </a:lnTo>
                  <a:lnTo>
                    <a:pt x="60" y="56"/>
                  </a:lnTo>
                  <a:lnTo>
                    <a:pt x="42" y="36"/>
                  </a:lnTo>
                  <a:lnTo>
                    <a:pt x="24" y="22"/>
                  </a:lnTo>
                  <a:lnTo>
                    <a:pt x="14" y="24"/>
                  </a:lnTo>
                  <a:lnTo>
                    <a:pt x="0" y="10"/>
                  </a:lnTo>
                  <a:lnTo>
                    <a:pt x="8" y="2"/>
                  </a:lnTo>
                  <a:lnTo>
                    <a:pt x="36" y="0"/>
                  </a:lnTo>
                  <a:lnTo>
                    <a:pt x="98" y="8"/>
                  </a:lnTo>
                  <a:lnTo>
                    <a:pt x="110" y="2"/>
                  </a:lnTo>
                  <a:lnTo>
                    <a:pt x="122" y="14"/>
                  </a:lnTo>
                  <a:lnTo>
                    <a:pt x="148" y="28"/>
                  </a:lnTo>
                  <a:lnTo>
                    <a:pt x="156" y="40"/>
                  </a:lnTo>
                  <a:lnTo>
                    <a:pt x="168" y="32"/>
                  </a:lnTo>
                  <a:lnTo>
                    <a:pt x="182" y="40"/>
                  </a:lnTo>
                  <a:lnTo>
                    <a:pt x="194" y="40"/>
                  </a:lnTo>
                  <a:lnTo>
                    <a:pt x="208" y="50"/>
                  </a:lnTo>
                  <a:lnTo>
                    <a:pt x="208" y="64"/>
                  </a:lnTo>
                  <a:lnTo>
                    <a:pt x="198" y="74"/>
                  </a:lnTo>
                  <a:lnTo>
                    <a:pt x="232" y="86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99" name="Germany">
              <a:extLst>
                <a:ext uri="{FF2B5EF4-FFF2-40B4-BE49-F238E27FC236}">
                  <a16:creationId xmlns="" xmlns:a16="http://schemas.microsoft.com/office/drawing/2014/main" id="{47D37164-D751-43C6-A47B-CCDEB02A8871}"/>
                </a:ext>
              </a:extLst>
            </p:cNvPr>
            <p:cNvSpPr>
              <a:spLocks/>
            </p:cNvSpPr>
            <p:nvPr/>
          </p:nvSpPr>
          <p:spPr bwMode="gray">
            <a:xfrm>
              <a:off x="5988399" y="2462399"/>
              <a:ext cx="281133" cy="373647"/>
            </a:xfrm>
            <a:custGeom>
              <a:avLst/>
              <a:gdLst/>
              <a:ahLst/>
              <a:cxnLst>
                <a:cxn ang="0">
                  <a:pos x="80" y="88"/>
                </a:cxn>
                <a:cxn ang="0">
                  <a:pos x="48" y="96"/>
                </a:cxn>
                <a:cxn ang="0">
                  <a:pos x="40" y="142"/>
                </a:cxn>
                <a:cxn ang="0">
                  <a:pos x="28" y="152"/>
                </a:cxn>
                <a:cxn ang="0">
                  <a:pos x="38" y="172"/>
                </a:cxn>
                <a:cxn ang="0">
                  <a:pos x="22" y="194"/>
                </a:cxn>
                <a:cxn ang="0">
                  <a:pos x="0" y="200"/>
                </a:cxn>
                <a:cxn ang="0">
                  <a:pos x="8" y="228"/>
                </a:cxn>
                <a:cxn ang="0">
                  <a:pos x="4" y="256"/>
                </a:cxn>
                <a:cxn ang="0">
                  <a:pos x="16" y="288"/>
                </a:cxn>
                <a:cxn ang="0">
                  <a:pos x="20" y="322"/>
                </a:cxn>
                <a:cxn ang="0">
                  <a:pos x="28" y="354"/>
                </a:cxn>
                <a:cxn ang="0">
                  <a:pos x="80" y="388"/>
                </a:cxn>
                <a:cxn ang="0">
                  <a:pos x="68" y="452"/>
                </a:cxn>
                <a:cxn ang="0">
                  <a:pos x="102" y="448"/>
                </a:cxn>
                <a:cxn ang="0">
                  <a:pos x="132" y="450"/>
                </a:cxn>
                <a:cxn ang="0">
                  <a:pos x="228" y="454"/>
                </a:cxn>
                <a:cxn ang="0">
                  <a:pos x="262" y="456"/>
                </a:cxn>
                <a:cxn ang="0">
                  <a:pos x="258" y="432"/>
                </a:cxn>
                <a:cxn ang="0">
                  <a:pos x="274" y="408"/>
                </a:cxn>
                <a:cxn ang="0">
                  <a:pos x="308" y="392"/>
                </a:cxn>
                <a:cxn ang="0">
                  <a:pos x="284" y="370"/>
                </a:cxn>
                <a:cxn ang="0">
                  <a:pos x="248" y="344"/>
                </a:cxn>
                <a:cxn ang="0">
                  <a:pos x="232" y="306"/>
                </a:cxn>
                <a:cxn ang="0">
                  <a:pos x="252" y="298"/>
                </a:cxn>
                <a:cxn ang="0">
                  <a:pos x="300" y="270"/>
                </a:cxn>
                <a:cxn ang="0">
                  <a:pos x="326" y="252"/>
                </a:cxn>
                <a:cxn ang="0">
                  <a:pos x="348" y="246"/>
                </a:cxn>
                <a:cxn ang="0">
                  <a:pos x="328" y="198"/>
                </a:cxn>
                <a:cxn ang="0">
                  <a:pos x="304" y="136"/>
                </a:cxn>
                <a:cxn ang="0">
                  <a:pos x="300" y="106"/>
                </a:cxn>
                <a:cxn ang="0">
                  <a:pos x="282" y="62"/>
                </a:cxn>
                <a:cxn ang="0">
                  <a:pos x="268" y="26"/>
                </a:cxn>
                <a:cxn ang="0">
                  <a:pos x="252" y="44"/>
                </a:cxn>
                <a:cxn ang="0">
                  <a:pos x="226" y="62"/>
                </a:cxn>
                <a:cxn ang="0">
                  <a:pos x="200" y="76"/>
                </a:cxn>
                <a:cxn ang="0">
                  <a:pos x="180" y="46"/>
                </a:cxn>
                <a:cxn ang="0">
                  <a:pos x="152" y="16"/>
                </a:cxn>
                <a:cxn ang="0">
                  <a:pos x="104" y="0"/>
                </a:cxn>
                <a:cxn ang="0">
                  <a:pos x="112" y="24"/>
                </a:cxn>
                <a:cxn ang="0">
                  <a:pos x="114" y="52"/>
                </a:cxn>
                <a:cxn ang="0">
                  <a:pos x="110" y="72"/>
                </a:cxn>
                <a:cxn ang="0">
                  <a:pos x="88" y="96"/>
                </a:cxn>
              </a:cxnLst>
              <a:rect l="0" t="0" r="r" b="b"/>
              <a:pathLst>
                <a:path w="348" h="458">
                  <a:moveTo>
                    <a:pt x="88" y="96"/>
                  </a:moveTo>
                  <a:lnTo>
                    <a:pt x="80" y="88"/>
                  </a:lnTo>
                  <a:lnTo>
                    <a:pt x="64" y="94"/>
                  </a:lnTo>
                  <a:lnTo>
                    <a:pt x="48" y="96"/>
                  </a:lnTo>
                  <a:lnTo>
                    <a:pt x="48" y="112"/>
                  </a:lnTo>
                  <a:lnTo>
                    <a:pt x="40" y="142"/>
                  </a:lnTo>
                  <a:lnTo>
                    <a:pt x="26" y="142"/>
                  </a:lnTo>
                  <a:lnTo>
                    <a:pt x="28" y="152"/>
                  </a:lnTo>
                  <a:lnTo>
                    <a:pt x="38" y="156"/>
                  </a:lnTo>
                  <a:lnTo>
                    <a:pt x="38" y="172"/>
                  </a:lnTo>
                  <a:lnTo>
                    <a:pt x="28" y="182"/>
                  </a:lnTo>
                  <a:lnTo>
                    <a:pt x="22" y="194"/>
                  </a:lnTo>
                  <a:lnTo>
                    <a:pt x="8" y="194"/>
                  </a:lnTo>
                  <a:lnTo>
                    <a:pt x="0" y="200"/>
                  </a:lnTo>
                  <a:lnTo>
                    <a:pt x="2" y="214"/>
                  </a:lnTo>
                  <a:lnTo>
                    <a:pt x="8" y="228"/>
                  </a:lnTo>
                  <a:lnTo>
                    <a:pt x="0" y="242"/>
                  </a:lnTo>
                  <a:lnTo>
                    <a:pt x="4" y="256"/>
                  </a:lnTo>
                  <a:lnTo>
                    <a:pt x="4" y="266"/>
                  </a:lnTo>
                  <a:lnTo>
                    <a:pt x="16" y="288"/>
                  </a:lnTo>
                  <a:lnTo>
                    <a:pt x="6" y="302"/>
                  </a:lnTo>
                  <a:lnTo>
                    <a:pt x="20" y="322"/>
                  </a:lnTo>
                  <a:lnTo>
                    <a:pt x="20" y="342"/>
                  </a:lnTo>
                  <a:lnTo>
                    <a:pt x="28" y="354"/>
                  </a:lnTo>
                  <a:lnTo>
                    <a:pt x="42" y="356"/>
                  </a:lnTo>
                  <a:lnTo>
                    <a:pt x="80" y="388"/>
                  </a:lnTo>
                  <a:lnTo>
                    <a:pt x="66" y="422"/>
                  </a:lnTo>
                  <a:lnTo>
                    <a:pt x="68" y="452"/>
                  </a:lnTo>
                  <a:lnTo>
                    <a:pt x="82" y="458"/>
                  </a:lnTo>
                  <a:lnTo>
                    <a:pt x="102" y="448"/>
                  </a:lnTo>
                  <a:lnTo>
                    <a:pt x="114" y="452"/>
                  </a:lnTo>
                  <a:lnTo>
                    <a:pt x="132" y="450"/>
                  </a:lnTo>
                  <a:lnTo>
                    <a:pt x="142" y="458"/>
                  </a:lnTo>
                  <a:lnTo>
                    <a:pt x="228" y="454"/>
                  </a:lnTo>
                  <a:lnTo>
                    <a:pt x="244" y="446"/>
                  </a:lnTo>
                  <a:lnTo>
                    <a:pt x="262" y="456"/>
                  </a:lnTo>
                  <a:lnTo>
                    <a:pt x="274" y="450"/>
                  </a:lnTo>
                  <a:lnTo>
                    <a:pt x="258" y="432"/>
                  </a:lnTo>
                  <a:lnTo>
                    <a:pt x="256" y="418"/>
                  </a:lnTo>
                  <a:lnTo>
                    <a:pt x="274" y="408"/>
                  </a:lnTo>
                  <a:lnTo>
                    <a:pt x="290" y="394"/>
                  </a:lnTo>
                  <a:lnTo>
                    <a:pt x="308" y="392"/>
                  </a:lnTo>
                  <a:lnTo>
                    <a:pt x="294" y="370"/>
                  </a:lnTo>
                  <a:lnTo>
                    <a:pt x="284" y="370"/>
                  </a:lnTo>
                  <a:lnTo>
                    <a:pt x="274" y="356"/>
                  </a:lnTo>
                  <a:lnTo>
                    <a:pt x="248" y="344"/>
                  </a:lnTo>
                  <a:lnTo>
                    <a:pt x="244" y="318"/>
                  </a:lnTo>
                  <a:lnTo>
                    <a:pt x="232" y="306"/>
                  </a:lnTo>
                  <a:lnTo>
                    <a:pt x="234" y="300"/>
                  </a:lnTo>
                  <a:lnTo>
                    <a:pt x="252" y="298"/>
                  </a:lnTo>
                  <a:lnTo>
                    <a:pt x="278" y="284"/>
                  </a:lnTo>
                  <a:lnTo>
                    <a:pt x="300" y="270"/>
                  </a:lnTo>
                  <a:lnTo>
                    <a:pt x="318" y="266"/>
                  </a:lnTo>
                  <a:lnTo>
                    <a:pt x="326" y="252"/>
                  </a:lnTo>
                  <a:lnTo>
                    <a:pt x="340" y="256"/>
                  </a:lnTo>
                  <a:lnTo>
                    <a:pt x="348" y="246"/>
                  </a:lnTo>
                  <a:lnTo>
                    <a:pt x="326" y="218"/>
                  </a:lnTo>
                  <a:lnTo>
                    <a:pt x="328" y="198"/>
                  </a:lnTo>
                  <a:lnTo>
                    <a:pt x="324" y="156"/>
                  </a:lnTo>
                  <a:lnTo>
                    <a:pt x="304" y="136"/>
                  </a:lnTo>
                  <a:lnTo>
                    <a:pt x="306" y="122"/>
                  </a:lnTo>
                  <a:lnTo>
                    <a:pt x="300" y="106"/>
                  </a:lnTo>
                  <a:lnTo>
                    <a:pt x="302" y="78"/>
                  </a:lnTo>
                  <a:lnTo>
                    <a:pt x="282" y="62"/>
                  </a:lnTo>
                  <a:lnTo>
                    <a:pt x="280" y="30"/>
                  </a:lnTo>
                  <a:lnTo>
                    <a:pt x="268" y="26"/>
                  </a:lnTo>
                  <a:lnTo>
                    <a:pt x="262" y="50"/>
                  </a:lnTo>
                  <a:lnTo>
                    <a:pt x="252" y="44"/>
                  </a:lnTo>
                  <a:lnTo>
                    <a:pt x="238" y="44"/>
                  </a:lnTo>
                  <a:lnTo>
                    <a:pt x="226" y="62"/>
                  </a:lnTo>
                  <a:lnTo>
                    <a:pt x="214" y="62"/>
                  </a:lnTo>
                  <a:lnTo>
                    <a:pt x="200" y="76"/>
                  </a:lnTo>
                  <a:lnTo>
                    <a:pt x="176" y="68"/>
                  </a:lnTo>
                  <a:lnTo>
                    <a:pt x="180" y="46"/>
                  </a:lnTo>
                  <a:lnTo>
                    <a:pt x="152" y="38"/>
                  </a:lnTo>
                  <a:lnTo>
                    <a:pt x="152" y="16"/>
                  </a:lnTo>
                  <a:lnTo>
                    <a:pt x="142" y="8"/>
                  </a:lnTo>
                  <a:lnTo>
                    <a:pt x="104" y="0"/>
                  </a:lnTo>
                  <a:lnTo>
                    <a:pt x="100" y="16"/>
                  </a:lnTo>
                  <a:lnTo>
                    <a:pt x="112" y="24"/>
                  </a:lnTo>
                  <a:lnTo>
                    <a:pt x="106" y="42"/>
                  </a:lnTo>
                  <a:lnTo>
                    <a:pt x="114" y="52"/>
                  </a:lnTo>
                  <a:lnTo>
                    <a:pt x="106" y="62"/>
                  </a:lnTo>
                  <a:lnTo>
                    <a:pt x="110" y="72"/>
                  </a:lnTo>
                  <a:lnTo>
                    <a:pt x="100" y="90"/>
                  </a:lnTo>
                  <a:lnTo>
                    <a:pt x="88" y="96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00" name="Ghana">
              <a:extLst>
                <a:ext uri="{FF2B5EF4-FFF2-40B4-BE49-F238E27FC236}">
                  <a16:creationId xmlns="" xmlns:a16="http://schemas.microsoft.com/office/drawing/2014/main" id="{45D7F5FE-94F4-4477-BE93-22400C5E7FF7}"/>
                </a:ext>
              </a:extLst>
            </p:cNvPr>
            <p:cNvSpPr>
              <a:spLocks/>
            </p:cNvSpPr>
            <p:nvPr/>
          </p:nvSpPr>
          <p:spPr bwMode="gray">
            <a:xfrm>
              <a:off x="5703362" y="4202804"/>
              <a:ext cx="140566" cy="206490"/>
            </a:xfrm>
            <a:custGeom>
              <a:avLst/>
              <a:gdLst/>
              <a:ahLst/>
              <a:cxnLst>
                <a:cxn ang="0">
                  <a:pos x="0" y="233"/>
                </a:cxn>
                <a:cxn ang="0">
                  <a:pos x="18" y="225"/>
                </a:cxn>
                <a:cxn ang="0">
                  <a:pos x="0" y="181"/>
                </a:cxn>
                <a:cxn ang="0">
                  <a:pos x="0" y="155"/>
                </a:cxn>
                <a:cxn ang="0">
                  <a:pos x="22" y="105"/>
                </a:cxn>
                <a:cxn ang="0">
                  <a:pos x="16" y="66"/>
                </a:cxn>
                <a:cxn ang="0">
                  <a:pos x="12" y="8"/>
                </a:cxn>
                <a:cxn ang="0">
                  <a:pos x="106" y="8"/>
                </a:cxn>
                <a:cxn ang="0">
                  <a:pos x="114" y="0"/>
                </a:cxn>
                <a:cxn ang="0">
                  <a:pos x="132" y="0"/>
                </a:cxn>
                <a:cxn ang="0">
                  <a:pos x="130" y="8"/>
                </a:cxn>
                <a:cxn ang="0">
                  <a:pos x="128" y="14"/>
                </a:cxn>
                <a:cxn ang="0">
                  <a:pos x="136" y="22"/>
                </a:cxn>
                <a:cxn ang="0">
                  <a:pos x="140" y="50"/>
                </a:cxn>
                <a:cxn ang="0">
                  <a:pos x="144" y="80"/>
                </a:cxn>
                <a:cxn ang="0">
                  <a:pos x="134" y="96"/>
                </a:cxn>
                <a:cxn ang="0">
                  <a:pos x="146" y="117"/>
                </a:cxn>
                <a:cxn ang="0">
                  <a:pos x="150" y="161"/>
                </a:cxn>
                <a:cxn ang="0">
                  <a:pos x="172" y="191"/>
                </a:cxn>
                <a:cxn ang="0">
                  <a:pos x="154" y="205"/>
                </a:cxn>
                <a:cxn ang="0">
                  <a:pos x="118" y="207"/>
                </a:cxn>
                <a:cxn ang="0">
                  <a:pos x="78" y="233"/>
                </a:cxn>
                <a:cxn ang="0">
                  <a:pos x="48" y="237"/>
                </a:cxn>
                <a:cxn ang="0">
                  <a:pos x="36" y="251"/>
                </a:cxn>
                <a:cxn ang="0">
                  <a:pos x="24" y="239"/>
                </a:cxn>
                <a:cxn ang="0">
                  <a:pos x="0" y="233"/>
                </a:cxn>
              </a:cxnLst>
              <a:rect l="0" t="0" r="r" b="b"/>
              <a:pathLst>
                <a:path w="172" h="251">
                  <a:moveTo>
                    <a:pt x="0" y="233"/>
                  </a:moveTo>
                  <a:lnTo>
                    <a:pt x="18" y="225"/>
                  </a:lnTo>
                  <a:lnTo>
                    <a:pt x="0" y="181"/>
                  </a:lnTo>
                  <a:lnTo>
                    <a:pt x="0" y="155"/>
                  </a:lnTo>
                  <a:lnTo>
                    <a:pt x="22" y="105"/>
                  </a:lnTo>
                  <a:lnTo>
                    <a:pt x="16" y="66"/>
                  </a:lnTo>
                  <a:lnTo>
                    <a:pt x="12" y="8"/>
                  </a:lnTo>
                  <a:lnTo>
                    <a:pt x="106" y="8"/>
                  </a:lnTo>
                  <a:lnTo>
                    <a:pt x="114" y="0"/>
                  </a:lnTo>
                  <a:lnTo>
                    <a:pt x="132" y="0"/>
                  </a:lnTo>
                  <a:lnTo>
                    <a:pt x="130" y="8"/>
                  </a:lnTo>
                  <a:lnTo>
                    <a:pt x="128" y="14"/>
                  </a:lnTo>
                  <a:lnTo>
                    <a:pt x="136" y="22"/>
                  </a:lnTo>
                  <a:lnTo>
                    <a:pt x="140" y="50"/>
                  </a:lnTo>
                  <a:lnTo>
                    <a:pt x="144" y="80"/>
                  </a:lnTo>
                  <a:lnTo>
                    <a:pt x="134" y="96"/>
                  </a:lnTo>
                  <a:lnTo>
                    <a:pt x="146" y="117"/>
                  </a:lnTo>
                  <a:lnTo>
                    <a:pt x="150" y="161"/>
                  </a:lnTo>
                  <a:lnTo>
                    <a:pt x="172" y="191"/>
                  </a:lnTo>
                  <a:lnTo>
                    <a:pt x="154" y="205"/>
                  </a:lnTo>
                  <a:lnTo>
                    <a:pt x="118" y="207"/>
                  </a:lnTo>
                  <a:lnTo>
                    <a:pt x="78" y="233"/>
                  </a:lnTo>
                  <a:lnTo>
                    <a:pt x="48" y="237"/>
                  </a:lnTo>
                  <a:lnTo>
                    <a:pt x="36" y="251"/>
                  </a:lnTo>
                  <a:lnTo>
                    <a:pt x="24" y="239"/>
                  </a:lnTo>
                  <a:lnTo>
                    <a:pt x="0" y="233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01" name="Greece">
              <a:extLst>
                <a:ext uri="{FF2B5EF4-FFF2-40B4-BE49-F238E27FC236}">
                  <a16:creationId xmlns="" xmlns:a16="http://schemas.microsoft.com/office/drawing/2014/main" id="{403BAA98-93C3-498B-A3D0-146387B68D5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423763" y="3091698"/>
              <a:ext cx="191325" cy="283184"/>
            </a:xfrm>
            <a:custGeom>
              <a:avLst/>
              <a:gdLst/>
              <a:ahLst/>
              <a:cxnLst>
                <a:cxn ang="0">
                  <a:pos x="0" y="118"/>
                </a:cxn>
                <a:cxn ang="0">
                  <a:pos x="12" y="96"/>
                </a:cxn>
                <a:cxn ang="0">
                  <a:pos x="38" y="72"/>
                </a:cxn>
                <a:cxn ang="0">
                  <a:pos x="44" y="62"/>
                </a:cxn>
                <a:cxn ang="0">
                  <a:pos x="82" y="38"/>
                </a:cxn>
                <a:cxn ang="0">
                  <a:pos x="108" y="24"/>
                </a:cxn>
                <a:cxn ang="0">
                  <a:pos x="150" y="14"/>
                </a:cxn>
                <a:cxn ang="0">
                  <a:pos x="186" y="26"/>
                </a:cxn>
                <a:cxn ang="0">
                  <a:pos x="218" y="10"/>
                </a:cxn>
                <a:cxn ang="0">
                  <a:pos x="232" y="8"/>
                </a:cxn>
                <a:cxn ang="0">
                  <a:pos x="216" y="54"/>
                </a:cxn>
                <a:cxn ang="0">
                  <a:pos x="162" y="48"/>
                </a:cxn>
                <a:cxn ang="0">
                  <a:pos x="134" y="66"/>
                </a:cxn>
                <a:cxn ang="0">
                  <a:pos x="136" y="86"/>
                </a:cxn>
                <a:cxn ang="0">
                  <a:pos x="122" y="96"/>
                </a:cxn>
                <a:cxn ang="0">
                  <a:pos x="100" y="86"/>
                </a:cxn>
                <a:cxn ang="0">
                  <a:pos x="88" y="94"/>
                </a:cxn>
                <a:cxn ang="0">
                  <a:pos x="106" y="130"/>
                </a:cxn>
                <a:cxn ang="0">
                  <a:pos x="116" y="146"/>
                </a:cxn>
                <a:cxn ang="0">
                  <a:pos x="130" y="168"/>
                </a:cxn>
                <a:cxn ang="0">
                  <a:pos x="158" y="200"/>
                </a:cxn>
                <a:cxn ang="0">
                  <a:pos x="142" y="216"/>
                </a:cxn>
                <a:cxn ang="0">
                  <a:pos x="106" y="198"/>
                </a:cxn>
                <a:cxn ang="0">
                  <a:pos x="120" y="236"/>
                </a:cxn>
                <a:cxn ang="0">
                  <a:pos x="106" y="248"/>
                </a:cxn>
                <a:cxn ang="0">
                  <a:pos x="90" y="258"/>
                </a:cxn>
                <a:cxn ang="0">
                  <a:pos x="70" y="254"/>
                </a:cxn>
                <a:cxn ang="0">
                  <a:pos x="48" y="248"/>
                </a:cxn>
                <a:cxn ang="0">
                  <a:pos x="36" y="206"/>
                </a:cxn>
                <a:cxn ang="0">
                  <a:pos x="58" y="194"/>
                </a:cxn>
                <a:cxn ang="0">
                  <a:pos x="94" y="204"/>
                </a:cxn>
                <a:cxn ang="0">
                  <a:pos x="82" y="184"/>
                </a:cxn>
                <a:cxn ang="0">
                  <a:pos x="46" y="178"/>
                </a:cxn>
                <a:cxn ang="0">
                  <a:pos x="16" y="158"/>
                </a:cxn>
                <a:cxn ang="0">
                  <a:pos x="0" y="132"/>
                </a:cxn>
                <a:cxn ang="0">
                  <a:pos x="160" y="338"/>
                </a:cxn>
                <a:cxn ang="0">
                  <a:pos x="226" y="342"/>
                </a:cxn>
                <a:cxn ang="0">
                  <a:pos x="210" y="332"/>
                </a:cxn>
                <a:cxn ang="0">
                  <a:pos x="168" y="322"/>
                </a:cxn>
                <a:cxn ang="0">
                  <a:pos x="150" y="320"/>
                </a:cxn>
                <a:cxn ang="0">
                  <a:pos x="130" y="330"/>
                </a:cxn>
              </a:cxnLst>
              <a:rect l="0" t="0" r="r" b="b"/>
              <a:pathLst>
                <a:path w="234" h="346">
                  <a:moveTo>
                    <a:pt x="0" y="132"/>
                  </a:moveTo>
                  <a:lnTo>
                    <a:pt x="0" y="118"/>
                  </a:lnTo>
                  <a:lnTo>
                    <a:pt x="12" y="106"/>
                  </a:lnTo>
                  <a:lnTo>
                    <a:pt x="12" y="96"/>
                  </a:lnTo>
                  <a:lnTo>
                    <a:pt x="24" y="80"/>
                  </a:lnTo>
                  <a:lnTo>
                    <a:pt x="38" y="72"/>
                  </a:lnTo>
                  <a:lnTo>
                    <a:pt x="38" y="54"/>
                  </a:lnTo>
                  <a:lnTo>
                    <a:pt x="44" y="62"/>
                  </a:lnTo>
                  <a:lnTo>
                    <a:pt x="62" y="48"/>
                  </a:lnTo>
                  <a:lnTo>
                    <a:pt x="82" y="38"/>
                  </a:lnTo>
                  <a:lnTo>
                    <a:pt x="98" y="28"/>
                  </a:lnTo>
                  <a:lnTo>
                    <a:pt x="108" y="24"/>
                  </a:lnTo>
                  <a:lnTo>
                    <a:pt x="130" y="24"/>
                  </a:lnTo>
                  <a:lnTo>
                    <a:pt x="150" y="14"/>
                  </a:lnTo>
                  <a:lnTo>
                    <a:pt x="172" y="20"/>
                  </a:lnTo>
                  <a:lnTo>
                    <a:pt x="186" y="26"/>
                  </a:lnTo>
                  <a:lnTo>
                    <a:pt x="216" y="24"/>
                  </a:lnTo>
                  <a:lnTo>
                    <a:pt x="218" y="10"/>
                  </a:lnTo>
                  <a:lnTo>
                    <a:pt x="224" y="0"/>
                  </a:lnTo>
                  <a:lnTo>
                    <a:pt x="232" y="8"/>
                  </a:lnTo>
                  <a:lnTo>
                    <a:pt x="230" y="28"/>
                  </a:lnTo>
                  <a:lnTo>
                    <a:pt x="216" y="54"/>
                  </a:lnTo>
                  <a:lnTo>
                    <a:pt x="188" y="46"/>
                  </a:lnTo>
                  <a:lnTo>
                    <a:pt x="162" y="48"/>
                  </a:lnTo>
                  <a:lnTo>
                    <a:pt x="142" y="58"/>
                  </a:lnTo>
                  <a:lnTo>
                    <a:pt x="134" y="66"/>
                  </a:lnTo>
                  <a:lnTo>
                    <a:pt x="154" y="84"/>
                  </a:lnTo>
                  <a:lnTo>
                    <a:pt x="136" y="86"/>
                  </a:lnTo>
                  <a:lnTo>
                    <a:pt x="138" y="96"/>
                  </a:lnTo>
                  <a:lnTo>
                    <a:pt x="122" y="96"/>
                  </a:lnTo>
                  <a:lnTo>
                    <a:pt x="112" y="88"/>
                  </a:lnTo>
                  <a:lnTo>
                    <a:pt x="100" y="86"/>
                  </a:lnTo>
                  <a:lnTo>
                    <a:pt x="90" y="76"/>
                  </a:lnTo>
                  <a:lnTo>
                    <a:pt x="88" y="94"/>
                  </a:lnTo>
                  <a:lnTo>
                    <a:pt x="98" y="110"/>
                  </a:lnTo>
                  <a:lnTo>
                    <a:pt x="106" y="130"/>
                  </a:lnTo>
                  <a:lnTo>
                    <a:pt x="102" y="146"/>
                  </a:lnTo>
                  <a:lnTo>
                    <a:pt x="116" y="146"/>
                  </a:lnTo>
                  <a:lnTo>
                    <a:pt x="122" y="160"/>
                  </a:lnTo>
                  <a:lnTo>
                    <a:pt x="130" y="168"/>
                  </a:lnTo>
                  <a:lnTo>
                    <a:pt x="146" y="174"/>
                  </a:lnTo>
                  <a:lnTo>
                    <a:pt x="158" y="200"/>
                  </a:lnTo>
                  <a:lnTo>
                    <a:pt x="140" y="198"/>
                  </a:lnTo>
                  <a:lnTo>
                    <a:pt x="142" y="216"/>
                  </a:lnTo>
                  <a:lnTo>
                    <a:pt x="128" y="200"/>
                  </a:lnTo>
                  <a:lnTo>
                    <a:pt x="106" y="198"/>
                  </a:lnTo>
                  <a:lnTo>
                    <a:pt x="116" y="218"/>
                  </a:lnTo>
                  <a:lnTo>
                    <a:pt x="120" y="236"/>
                  </a:lnTo>
                  <a:lnTo>
                    <a:pt x="106" y="234"/>
                  </a:lnTo>
                  <a:lnTo>
                    <a:pt x="106" y="248"/>
                  </a:lnTo>
                  <a:lnTo>
                    <a:pt x="112" y="272"/>
                  </a:lnTo>
                  <a:lnTo>
                    <a:pt x="90" y="258"/>
                  </a:lnTo>
                  <a:lnTo>
                    <a:pt x="84" y="274"/>
                  </a:lnTo>
                  <a:lnTo>
                    <a:pt x="70" y="254"/>
                  </a:lnTo>
                  <a:lnTo>
                    <a:pt x="60" y="264"/>
                  </a:lnTo>
                  <a:lnTo>
                    <a:pt x="48" y="248"/>
                  </a:lnTo>
                  <a:lnTo>
                    <a:pt x="48" y="230"/>
                  </a:lnTo>
                  <a:lnTo>
                    <a:pt x="36" y="206"/>
                  </a:lnTo>
                  <a:lnTo>
                    <a:pt x="44" y="194"/>
                  </a:lnTo>
                  <a:lnTo>
                    <a:pt x="58" y="194"/>
                  </a:lnTo>
                  <a:lnTo>
                    <a:pt x="68" y="190"/>
                  </a:lnTo>
                  <a:lnTo>
                    <a:pt x="94" y="204"/>
                  </a:lnTo>
                  <a:lnTo>
                    <a:pt x="102" y="194"/>
                  </a:lnTo>
                  <a:lnTo>
                    <a:pt x="82" y="184"/>
                  </a:lnTo>
                  <a:lnTo>
                    <a:pt x="52" y="182"/>
                  </a:lnTo>
                  <a:lnTo>
                    <a:pt x="46" y="178"/>
                  </a:lnTo>
                  <a:lnTo>
                    <a:pt x="36" y="184"/>
                  </a:lnTo>
                  <a:lnTo>
                    <a:pt x="16" y="158"/>
                  </a:lnTo>
                  <a:lnTo>
                    <a:pt x="18" y="148"/>
                  </a:lnTo>
                  <a:lnTo>
                    <a:pt x="0" y="132"/>
                  </a:lnTo>
                  <a:close/>
                  <a:moveTo>
                    <a:pt x="130" y="330"/>
                  </a:moveTo>
                  <a:lnTo>
                    <a:pt x="160" y="338"/>
                  </a:lnTo>
                  <a:lnTo>
                    <a:pt x="170" y="346"/>
                  </a:lnTo>
                  <a:lnTo>
                    <a:pt x="226" y="342"/>
                  </a:lnTo>
                  <a:lnTo>
                    <a:pt x="234" y="324"/>
                  </a:lnTo>
                  <a:lnTo>
                    <a:pt x="210" y="332"/>
                  </a:lnTo>
                  <a:lnTo>
                    <a:pt x="210" y="324"/>
                  </a:lnTo>
                  <a:lnTo>
                    <a:pt x="168" y="322"/>
                  </a:lnTo>
                  <a:lnTo>
                    <a:pt x="158" y="328"/>
                  </a:lnTo>
                  <a:lnTo>
                    <a:pt x="150" y="320"/>
                  </a:lnTo>
                  <a:lnTo>
                    <a:pt x="126" y="318"/>
                  </a:lnTo>
                  <a:lnTo>
                    <a:pt x="130" y="330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02" name="Greenland">
              <a:extLst>
                <a:ext uri="{FF2B5EF4-FFF2-40B4-BE49-F238E27FC236}">
                  <a16:creationId xmlns="" xmlns:a16="http://schemas.microsoft.com/office/drawing/2014/main" id="{90E5E72B-DB8C-4BF9-916C-6367AE2A4DE5}"/>
                </a:ext>
              </a:extLst>
            </p:cNvPr>
            <p:cNvSpPr>
              <a:spLocks/>
            </p:cNvSpPr>
            <p:nvPr/>
          </p:nvSpPr>
          <p:spPr bwMode="gray">
            <a:xfrm>
              <a:off x="3671014" y="859652"/>
              <a:ext cx="1497417" cy="1168136"/>
            </a:xfrm>
            <a:custGeom>
              <a:avLst/>
              <a:gdLst/>
              <a:ahLst/>
              <a:cxnLst>
                <a:cxn ang="0">
                  <a:pos x="25" y="143"/>
                </a:cxn>
                <a:cxn ang="0">
                  <a:pos x="96" y="119"/>
                </a:cxn>
                <a:cxn ang="0">
                  <a:pos x="70" y="96"/>
                </a:cxn>
                <a:cxn ang="0">
                  <a:pos x="150" y="69"/>
                </a:cxn>
                <a:cxn ang="0">
                  <a:pos x="231" y="51"/>
                </a:cxn>
                <a:cxn ang="0">
                  <a:pos x="276" y="72"/>
                </a:cxn>
                <a:cxn ang="0">
                  <a:pos x="291" y="45"/>
                </a:cxn>
                <a:cxn ang="0">
                  <a:pos x="330" y="60"/>
                </a:cxn>
                <a:cxn ang="0">
                  <a:pos x="345" y="39"/>
                </a:cxn>
                <a:cxn ang="0">
                  <a:pos x="378" y="24"/>
                </a:cxn>
                <a:cxn ang="0">
                  <a:pos x="433" y="17"/>
                </a:cxn>
                <a:cxn ang="0">
                  <a:pos x="489" y="2"/>
                </a:cxn>
                <a:cxn ang="0">
                  <a:pos x="561" y="0"/>
                </a:cxn>
                <a:cxn ang="0">
                  <a:pos x="589" y="6"/>
                </a:cxn>
                <a:cxn ang="0">
                  <a:pos x="568" y="18"/>
                </a:cxn>
                <a:cxn ang="0">
                  <a:pos x="568" y="26"/>
                </a:cxn>
                <a:cxn ang="0">
                  <a:pos x="628" y="21"/>
                </a:cxn>
                <a:cxn ang="0">
                  <a:pos x="666" y="33"/>
                </a:cxn>
                <a:cxn ang="0">
                  <a:pos x="612" y="54"/>
                </a:cxn>
                <a:cxn ang="0">
                  <a:pos x="631" y="65"/>
                </a:cxn>
                <a:cxn ang="0">
                  <a:pos x="643" y="89"/>
                </a:cxn>
                <a:cxn ang="0">
                  <a:pos x="742" y="62"/>
                </a:cxn>
                <a:cxn ang="0">
                  <a:pos x="783" y="65"/>
                </a:cxn>
                <a:cxn ang="0">
                  <a:pos x="745" y="96"/>
                </a:cxn>
                <a:cxn ang="0">
                  <a:pos x="700" y="123"/>
                </a:cxn>
                <a:cxn ang="0">
                  <a:pos x="681" y="149"/>
                </a:cxn>
                <a:cxn ang="0">
                  <a:pos x="684" y="168"/>
                </a:cxn>
                <a:cxn ang="0">
                  <a:pos x="697" y="198"/>
                </a:cxn>
                <a:cxn ang="0">
                  <a:pos x="687" y="212"/>
                </a:cxn>
                <a:cxn ang="0">
                  <a:pos x="664" y="234"/>
                </a:cxn>
                <a:cxn ang="0">
                  <a:pos x="663" y="267"/>
                </a:cxn>
                <a:cxn ang="0">
                  <a:pos x="651" y="287"/>
                </a:cxn>
                <a:cxn ang="0">
                  <a:pos x="663" y="314"/>
                </a:cxn>
                <a:cxn ang="0">
                  <a:pos x="658" y="344"/>
                </a:cxn>
                <a:cxn ang="0">
                  <a:pos x="630" y="344"/>
                </a:cxn>
                <a:cxn ang="0">
                  <a:pos x="595" y="354"/>
                </a:cxn>
                <a:cxn ang="0">
                  <a:pos x="619" y="369"/>
                </a:cxn>
                <a:cxn ang="0">
                  <a:pos x="612" y="390"/>
                </a:cxn>
                <a:cxn ang="0">
                  <a:pos x="544" y="413"/>
                </a:cxn>
                <a:cxn ang="0">
                  <a:pos x="499" y="432"/>
                </a:cxn>
                <a:cxn ang="0">
                  <a:pos x="448" y="470"/>
                </a:cxn>
                <a:cxn ang="0">
                  <a:pos x="409" y="516"/>
                </a:cxn>
                <a:cxn ang="0">
                  <a:pos x="376" y="576"/>
                </a:cxn>
                <a:cxn ang="0">
                  <a:pos x="355" y="606"/>
                </a:cxn>
                <a:cxn ang="0">
                  <a:pos x="310" y="582"/>
                </a:cxn>
                <a:cxn ang="0">
                  <a:pos x="265" y="521"/>
                </a:cxn>
                <a:cxn ang="0">
                  <a:pos x="240" y="479"/>
                </a:cxn>
                <a:cxn ang="0">
                  <a:pos x="255" y="440"/>
                </a:cxn>
                <a:cxn ang="0">
                  <a:pos x="268" y="407"/>
                </a:cxn>
                <a:cxn ang="0">
                  <a:pos x="268" y="362"/>
                </a:cxn>
                <a:cxn ang="0">
                  <a:pos x="250" y="326"/>
                </a:cxn>
                <a:cxn ang="0">
                  <a:pos x="208" y="317"/>
                </a:cxn>
                <a:cxn ang="0">
                  <a:pos x="196" y="255"/>
                </a:cxn>
                <a:cxn ang="0">
                  <a:pos x="153" y="213"/>
                </a:cxn>
                <a:cxn ang="0">
                  <a:pos x="102" y="210"/>
                </a:cxn>
                <a:cxn ang="0">
                  <a:pos x="78" y="218"/>
                </a:cxn>
                <a:cxn ang="0">
                  <a:pos x="46" y="213"/>
                </a:cxn>
                <a:cxn ang="0">
                  <a:pos x="9" y="197"/>
                </a:cxn>
                <a:cxn ang="0">
                  <a:pos x="33" y="176"/>
                </a:cxn>
                <a:cxn ang="0">
                  <a:pos x="0" y="162"/>
                </a:cxn>
              </a:cxnLst>
              <a:rect l="0" t="0" r="r" b="b"/>
              <a:pathLst>
                <a:path w="783" h="606">
                  <a:moveTo>
                    <a:pt x="6" y="149"/>
                  </a:moveTo>
                  <a:lnTo>
                    <a:pt x="25" y="143"/>
                  </a:lnTo>
                  <a:lnTo>
                    <a:pt x="67" y="143"/>
                  </a:lnTo>
                  <a:lnTo>
                    <a:pt x="96" y="119"/>
                  </a:lnTo>
                  <a:lnTo>
                    <a:pt x="63" y="114"/>
                  </a:lnTo>
                  <a:lnTo>
                    <a:pt x="70" y="96"/>
                  </a:lnTo>
                  <a:lnTo>
                    <a:pt x="123" y="83"/>
                  </a:lnTo>
                  <a:lnTo>
                    <a:pt x="150" y="69"/>
                  </a:lnTo>
                  <a:lnTo>
                    <a:pt x="196" y="50"/>
                  </a:lnTo>
                  <a:lnTo>
                    <a:pt x="231" y="51"/>
                  </a:lnTo>
                  <a:lnTo>
                    <a:pt x="255" y="66"/>
                  </a:lnTo>
                  <a:lnTo>
                    <a:pt x="276" y="72"/>
                  </a:lnTo>
                  <a:lnTo>
                    <a:pt x="279" y="51"/>
                  </a:lnTo>
                  <a:lnTo>
                    <a:pt x="291" y="45"/>
                  </a:lnTo>
                  <a:lnTo>
                    <a:pt x="306" y="53"/>
                  </a:lnTo>
                  <a:lnTo>
                    <a:pt x="330" y="60"/>
                  </a:lnTo>
                  <a:lnTo>
                    <a:pt x="328" y="42"/>
                  </a:lnTo>
                  <a:lnTo>
                    <a:pt x="345" y="39"/>
                  </a:lnTo>
                  <a:lnTo>
                    <a:pt x="370" y="39"/>
                  </a:lnTo>
                  <a:lnTo>
                    <a:pt x="378" y="24"/>
                  </a:lnTo>
                  <a:lnTo>
                    <a:pt x="409" y="24"/>
                  </a:lnTo>
                  <a:lnTo>
                    <a:pt x="433" y="17"/>
                  </a:lnTo>
                  <a:lnTo>
                    <a:pt x="448" y="3"/>
                  </a:lnTo>
                  <a:lnTo>
                    <a:pt x="489" y="2"/>
                  </a:lnTo>
                  <a:lnTo>
                    <a:pt x="532" y="6"/>
                  </a:lnTo>
                  <a:lnTo>
                    <a:pt x="561" y="0"/>
                  </a:lnTo>
                  <a:lnTo>
                    <a:pt x="570" y="6"/>
                  </a:lnTo>
                  <a:lnTo>
                    <a:pt x="589" y="6"/>
                  </a:lnTo>
                  <a:lnTo>
                    <a:pt x="595" y="14"/>
                  </a:lnTo>
                  <a:lnTo>
                    <a:pt x="568" y="18"/>
                  </a:lnTo>
                  <a:lnTo>
                    <a:pt x="543" y="23"/>
                  </a:lnTo>
                  <a:lnTo>
                    <a:pt x="568" y="26"/>
                  </a:lnTo>
                  <a:lnTo>
                    <a:pt x="591" y="21"/>
                  </a:lnTo>
                  <a:lnTo>
                    <a:pt x="628" y="21"/>
                  </a:lnTo>
                  <a:lnTo>
                    <a:pt x="645" y="33"/>
                  </a:lnTo>
                  <a:lnTo>
                    <a:pt x="666" y="33"/>
                  </a:lnTo>
                  <a:lnTo>
                    <a:pt x="649" y="54"/>
                  </a:lnTo>
                  <a:lnTo>
                    <a:pt x="612" y="54"/>
                  </a:lnTo>
                  <a:lnTo>
                    <a:pt x="597" y="65"/>
                  </a:lnTo>
                  <a:lnTo>
                    <a:pt x="631" y="65"/>
                  </a:lnTo>
                  <a:lnTo>
                    <a:pt x="663" y="66"/>
                  </a:lnTo>
                  <a:lnTo>
                    <a:pt x="643" y="89"/>
                  </a:lnTo>
                  <a:lnTo>
                    <a:pt x="682" y="60"/>
                  </a:lnTo>
                  <a:lnTo>
                    <a:pt x="742" y="62"/>
                  </a:lnTo>
                  <a:lnTo>
                    <a:pt x="763" y="56"/>
                  </a:lnTo>
                  <a:lnTo>
                    <a:pt x="783" y="65"/>
                  </a:lnTo>
                  <a:lnTo>
                    <a:pt x="775" y="81"/>
                  </a:lnTo>
                  <a:lnTo>
                    <a:pt x="745" y="96"/>
                  </a:lnTo>
                  <a:lnTo>
                    <a:pt x="715" y="99"/>
                  </a:lnTo>
                  <a:lnTo>
                    <a:pt x="700" y="123"/>
                  </a:lnTo>
                  <a:lnTo>
                    <a:pt x="694" y="137"/>
                  </a:lnTo>
                  <a:lnTo>
                    <a:pt x="681" y="149"/>
                  </a:lnTo>
                  <a:lnTo>
                    <a:pt x="666" y="156"/>
                  </a:lnTo>
                  <a:lnTo>
                    <a:pt x="684" y="168"/>
                  </a:lnTo>
                  <a:lnTo>
                    <a:pt x="705" y="191"/>
                  </a:lnTo>
                  <a:lnTo>
                    <a:pt x="697" y="198"/>
                  </a:lnTo>
                  <a:lnTo>
                    <a:pt x="678" y="198"/>
                  </a:lnTo>
                  <a:lnTo>
                    <a:pt x="687" y="212"/>
                  </a:lnTo>
                  <a:lnTo>
                    <a:pt x="688" y="227"/>
                  </a:lnTo>
                  <a:lnTo>
                    <a:pt x="664" y="234"/>
                  </a:lnTo>
                  <a:lnTo>
                    <a:pt x="657" y="251"/>
                  </a:lnTo>
                  <a:lnTo>
                    <a:pt x="663" y="267"/>
                  </a:lnTo>
                  <a:lnTo>
                    <a:pt x="678" y="275"/>
                  </a:lnTo>
                  <a:lnTo>
                    <a:pt x="651" y="287"/>
                  </a:lnTo>
                  <a:lnTo>
                    <a:pt x="640" y="290"/>
                  </a:lnTo>
                  <a:lnTo>
                    <a:pt x="663" y="314"/>
                  </a:lnTo>
                  <a:lnTo>
                    <a:pt x="649" y="326"/>
                  </a:lnTo>
                  <a:lnTo>
                    <a:pt x="658" y="344"/>
                  </a:lnTo>
                  <a:lnTo>
                    <a:pt x="648" y="356"/>
                  </a:lnTo>
                  <a:lnTo>
                    <a:pt x="630" y="344"/>
                  </a:lnTo>
                  <a:lnTo>
                    <a:pt x="610" y="344"/>
                  </a:lnTo>
                  <a:lnTo>
                    <a:pt x="595" y="354"/>
                  </a:lnTo>
                  <a:lnTo>
                    <a:pt x="600" y="369"/>
                  </a:lnTo>
                  <a:lnTo>
                    <a:pt x="619" y="369"/>
                  </a:lnTo>
                  <a:lnTo>
                    <a:pt x="637" y="378"/>
                  </a:lnTo>
                  <a:lnTo>
                    <a:pt x="612" y="390"/>
                  </a:lnTo>
                  <a:lnTo>
                    <a:pt x="582" y="413"/>
                  </a:lnTo>
                  <a:lnTo>
                    <a:pt x="544" y="413"/>
                  </a:lnTo>
                  <a:lnTo>
                    <a:pt x="525" y="426"/>
                  </a:lnTo>
                  <a:lnTo>
                    <a:pt x="499" y="432"/>
                  </a:lnTo>
                  <a:lnTo>
                    <a:pt x="475" y="461"/>
                  </a:lnTo>
                  <a:lnTo>
                    <a:pt x="448" y="470"/>
                  </a:lnTo>
                  <a:lnTo>
                    <a:pt x="418" y="489"/>
                  </a:lnTo>
                  <a:lnTo>
                    <a:pt x="409" y="516"/>
                  </a:lnTo>
                  <a:lnTo>
                    <a:pt x="399" y="542"/>
                  </a:lnTo>
                  <a:lnTo>
                    <a:pt x="376" y="576"/>
                  </a:lnTo>
                  <a:lnTo>
                    <a:pt x="378" y="597"/>
                  </a:lnTo>
                  <a:lnTo>
                    <a:pt x="355" y="606"/>
                  </a:lnTo>
                  <a:lnTo>
                    <a:pt x="331" y="584"/>
                  </a:lnTo>
                  <a:lnTo>
                    <a:pt x="310" y="582"/>
                  </a:lnTo>
                  <a:lnTo>
                    <a:pt x="285" y="551"/>
                  </a:lnTo>
                  <a:lnTo>
                    <a:pt x="265" y="521"/>
                  </a:lnTo>
                  <a:lnTo>
                    <a:pt x="258" y="492"/>
                  </a:lnTo>
                  <a:lnTo>
                    <a:pt x="240" y="479"/>
                  </a:lnTo>
                  <a:lnTo>
                    <a:pt x="243" y="452"/>
                  </a:lnTo>
                  <a:lnTo>
                    <a:pt x="255" y="440"/>
                  </a:lnTo>
                  <a:lnTo>
                    <a:pt x="268" y="425"/>
                  </a:lnTo>
                  <a:lnTo>
                    <a:pt x="268" y="407"/>
                  </a:lnTo>
                  <a:lnTo>
                    <a:pt x="279" y="381"/>
                  </a:lnTo>
                  <a:lnTo>
                    <a:pt x="268" y="362"/>
                  </a:lnTo>
                  <a:lnTo>
                    <a:pt x="273" y="335"/>
                  </a:lnTo>
                  <a:lnTo>
                    <a:pt x="250" y="326"/>
                  </a:lnTo>
                  <a:lnTo>
                    <a:pt x="217" y="329"/>
                  </a:lnTo>
                  <a:lnTo>
                    <a:pt x="208" y="317"/>
                  </a:lnTo>
                  <a:lnTo>
                    <a:pt x="216" y="296"/>
                  </a:lnTo>
                  <a:lnTo>
                    <a:pt x="196" y="255"/>
                  </a:lnTo>
                  <a:lnTo>
                    <a:pt x="181" y="233"/>
                  </a:lnTo>
                  <a:lnTo>
                    <a:pt x="153" y="213"/>
                  </a:lnTo>
                  <a:lnTo>
                    <a:pt x="126" y="209"/>
                  </a:lnTo>
                  <a:lnTo>
                    <a:pt x="102" y="210"/>
                  </a:lnTo>
                  <a:lnTo>
                    <a:pt x="94" y="219"/>
                  </a:lnTo>
                  <a:lnTo>
                    <a:pt x="78" y="218"/>
                  </a:lnTo>
                  <a:lnTo>
                    <a:pt x="66" y="204"/>
                  </a:lnTo>
                  <a:lnTo>
                    <a:pt x="46" y="213"/>
                  </a:lnTo>
                  <a:lnTo>
                    <a:pt x="22" y="212"/>
                  </a:lnTo>
                  <a:lnTo>
                    <a:pt x="9" y="197"/>
                  </a:lnTo>
                  <a:lnTo>
                    <a:pt x="18" y="185"/>
                  </a:lnTo>
                  <a:lnTo>
                    <a:pt x="33" y="176"/>
                  </a:lnTo>
                  <a:lnTo>
                    <a:pt x="13" y="173"/>
                  </a:lnTo>
                  <a:lnTo>
                    <a:pt x="0" y="162"/>
                  </a:lnTo>
                  <a:lnTo>
                    <a:pt x="6" y="149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03" name="Guernsey">
              <a:extLst>
                <a:ext uri="{FF2B5EF4-FFF2-40B4-BE49-F238E27FC236}">
                  <a16:creationId xmlns="" xmlns:a16="http://schemas.microsoft.com/office/drawing/2014/main" id="{F85D85F3-8CE0-4B9E-AEA9-E8E6898D1E0B}"/>
                </a:ext>
              </a:extLst>
            </p:cNvPr>
            <p:cNvSpPr>
              <a:spLocks/>
            </p:cNvSpPr>
            <p:nvPr/>
          </p:nvSpPr>
          <p:spPr bwMode="gray">
            <a:xfrm>
              <a:off x="5722886" y="2745584"/>
              <a:ext cx="13667" cy="13765"/>
            </a:xfrm>
            <a:custGeom>
              <a:avLst/>
              <a:gdLst/>
              <a:ahLst/>
              <a:cxnLst>
                <a:cxn ang="0">
                  <a:pos x="188" y="94"/>
                </a:cxn>
                <a:cxn ang="0">
                  <a:pos x="94" y="188"/>
                </a:cxn>
                <a:cxn ang="0">
                  <a:pos x="0" y="94"/>
                </a:cxn>
                <a:cxn ang="0">
                  <a:pos x="0" y="90"/>
                </a:cxn>
                <a:cxn ang="0">
                  <a:pos x="94" y="0"/>
                </a:cxn>
                <a:cxn ang="0">
                  <a:pos x="188" y="94"/>
                </a:cxn>
              </a:cxnLst>
              <a:rect l="0" t="0" r="r" b="b"/>
              <a:pathLst>
                <a:path w="188" h="188">
                  <a:moveTo>
                    <a:pt x="188" y="94"/>
                  </a:moveTo>
                  <a:cubicBezTo>
                    <a:pt x="188" y="146"/>
                    <a:pt x="146" y="188"/>
                    <a:pt x="94" y="188"/>
                  </a:cubicBezTo>
                  <a:cubicBezTo>
                    <a:pt x="42" y="188"/>
                    <a:pt x="0" y="146"/>
                    <a:pt x="0" y="94"/>
                  </a:cubicBezTo>
                  <a:cubicBezTo>
                    <a:pt x="0" y="93"/>
                    <a:pt x="0" y="91"/>
                    <a:pt x="0" y="90"/>
                  </a:cubicBezTo>
                  <a:cubicBezTo>
                    <a:pt x="3" y="40"/>
                    <a:pt x="44" y="0"/>
                    <a:pt x="94" y="0"/>
                  </a:cubicBezTo>
                  <a:cubicBezTo>
                    <a:pt x="146" y="0"/>
                    <a:pt x="188" y="43"/>
                    <a:pt x="188" y="94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04" name="Guinea">
              <a:extLst>
                <a:ext uri="{FF2B5EF4-FFF2-40B4-BE49-F238E27FC236}">
                  <a16:creationId xmlns="" xmlns:a16="http://schemas.microsoft.com/office/drawing/2014/main" id="{12E8DD5F-9FA4-41E2-9346-E4A5E883FFA9}"/>
                </a:ext>
              </a:extLst>
            </p:cNvPr>
            <p:cNvSpPr>
              <a:spLocks/>
            </p:cNvSpPr>
            <p:nvPr/>
          </p:nvSpPr>
          <p:spPr bwMode="gray">
            <a:xfrm>
              <a:off x="5344137" y="4161506"/>
              <a:ext cx="222562" cy="151425"/>
            </a:xfrm>
            <a:custGeom>
              <a:avLst/>
              <a:gdLst/>
              <a:ahLst/>
              <a:cxnLst>
                <a:cxn ang="0">
                  <a:pos x="14" y="84"/>
                </a:cxn>
                <a:cxn ang="0">
                  <a:pos x="0" y="72"/>
                </a:cxn>
                <a:cxn ang="0">
                  <a:pos x="10" y="54"/>
                </a:cxn>
                <a:cxn ang="0">
                  <a:pos x="20" y="46"/>
                </a:cxn>
                <a:cxn ang="0">
                  <a:pos x="34" y="36"/>
                </a:cxn>
                <a:cxn ang="0">
                  <a:pos x="46" y="30"/>
                </a:cxn>
                <a:cxn ang="0">
                  <a:pos x="48" y="20"/>
                </a:cxn>
                <a:cxn ang="0">
                  <a:pos x="42" y="16"/>
                </a:cxn>
                <a:cxn ang="0">
                  <a:pos x="48" y="12"/>
                </a:cxn>
                <a:cxn ang="0">
                  <a:pos x="48" y="2"/>
                </a:cxn>
                <a:cxn ang="0">
                  <a:pos x="62" y="0"/>
                </a:cxn>
                <a:cxn ang="0">
                  <a:pos x="76" y="8"/>
                </a:cxn>
                <a:cxn ang="0">
                  <a:pos x="109" y="8"/>
                </a:cxn>
                <a:cxn ang="0">
                  <a:pos x="125" y="4"/>
                </a:cxn>
                <a:cxn ang="0">
                  <a:pos x="137" y="16"/>
                </a:cxn>
                <a:cxn ang="0">
                  <a:pos x="153" y="12"/>
                </a:cxn>
                <a:cxn ang="0">
                  <a:pos x="161" y="28"/>
                </a:cxn>
                <a:cxn ang="0">
                  <a:pos x="219" y="0"/>
                </a:cxn>
                <a:cxn ang="0">
                  <a:pos x="229" y="8"/>
                </a:cxn>
                <a:cxn ang="0">
                  <a:pos x="235" y="38"/>
                </a:cxn>
                <a:cxn ang="0">
                  <a:pos x="251" y="42"/>
                </a:cxn>
                <a:cxn ang="0">
                  <a:pos x="251" y="54"/>
                </a:cxn>
                <a:cxn ang="0">
                  <a:pos x="241" y="70"/>
                </a:cxn>
                <a:cxn ang="0">
                  <a:pos x="261" y="70"/>
                </a:cxn>
                <a:cxn ang="0">
                  <a:pos x="267" y="94"/>
                </a:cxn>
                <a:cxn ang="0">
                  <a:pos x="265" y="110"/>
                </a:cxn>
                <a:cxn ang="0">
                  <a:pos x="273" y="122"/>
                </a:cxn>
                <a:cxn ang="0">
                  <a:pos x="273" y="151"/>
                </a:cxn>
                <a:cxn ang="0">
                  <a:pos x="263" y="155"/>
                </a:cxn>
                <a:cxn ang="0">
                  <a:pos x="259" y="173"/>
                </a:cxn>
                <a:cxn ang="0">
                  <a:pos x="245" y="177"/>
                </a:cxn>
                <a:cxn ang="0">
                  <a:pos x="223" y="185"/>
                </a:cxn>
                <a:cxn ang="0">
                  <a:pos x="207" y="183"/>
                </a:cxn>
                <a:cxn ang="0">
                  <a:pos x="205" y="157"/>
                </a:cxn>
                <a:cxn ang="0">
                  <a:pos x="181" y="161"/>
                </a:cxn>
                <a:cxn ang="0">
                  <a:pos x="167" y="169"/>
                </a:cxn>
                <a:cxn ang="0">
                  <a:pos x="155" y="124"/>
                </a:cxn>
                <a:cxn ang="0">
                  <a:pos x="141" y="112"/>
                </a:cxn>
                <a:cxn ang="0">
                  <a:pos x="133" y="108"/>
                </a:cxn>
                <a:cxn ang="0">
                  <a:pos x="117" y="112"/>
                </a:cxn>
                <a:cxn ang="0">
                  <a:pos x="103" y="110"/>
                </a:cxn>
                <a:cxn ang="0">
                  <a:pos x="58" y="132"/>
                </a:cxn>
                <a:cxn ang="0">
                  <a:pos x="54" y="114"/>
                </a:cxn>
                <a:cxn ang="0">
                  <a:pos x="40" y="110"/>
                </a:cxn>
                <a:cxn ang="0">
                  <a:pos x="22" y="96"/>
                </a:cxn>
                <a:cxn ang="0">
                  <a:pos x="22" y="84"/>
                </a:cxn>
                <a:cxn ang="0">
                  <a:pos x="14" y="84"/>
                </a:cxn>
              </a:cxnLst>
              <a:rect l="0" t="0" r="r" b="b"/>
              <a:pathLst>
                <a:path w="273" h="185">
                  <a:moveTo>
                    <a:pt x="14" y="84"/>
                  </a:moveTo>
                  <a:lnTo>
                    <a:pt x="0" y="72"/>
                  </a:lnTo>
                  <a:lnTo>
                    <a:pt x="10" y="54"/>
                  </a:lnTo>
                  <a:lnTo>
                    <a:pt x="20" y="46"/>
                  </a:lnTo>
                  <a:lnTo>
                    <a:pt x="34" y="36"/>
                  </a:lnTo>
                  <a:lnTo>
                    <a:pt x="46" y="30"/>
                  </a:lnTo>
                  <a:lnTo>
                    <a:pt x="48" y="20"/>
                  </a:lnTo>
                  <a:lnTo>
                    <a:pt x="42" y="16"/>
                  </a:lnTo>
                  <a:lnTo>
                    <a:pt x="48" y="12"/>
                  </a:lnTo>
                  <a:lnTo>
                    <a:pt x="48" y="2"/>
                  </a:lnTo>
                  <a:lnTo>
                    <a:pt x="62" y="0"/>
                  </a:lnTo>
                  <a:lnTo>
                    <a:pt x="76" y="8"/>
                  </a:lnTo>
                  <a:lnTo>
                    <a:pt x="109" y="8"/>
                  </a:lnTo>
                  <a:lnTo>
                    <a:pt x="125" y="4"/>
                  </a:lnTo>
                  <a:lnTo>
                    <a:pt x="137" y="16"/>
                  </a:lnTo>
                  <a:lnTo>
                    <a:pt x="153" y="12"/>
                  </a:lnTo>
                  <a:lnTo>
                    <a:pt x="161" y="28"/>
                  </a:lnTo>
                  <a:lnTo>
                    <a:pt x="219" y="0"/>
                  </a:lnTo>
                  <a:lnTo>
                    <a:pt x="229" y="8"/>
                  </a:lnTo>
                  <a:lnTo>
                    <a:pt x="235" y="38"/>
                  </a:lnTo>
                  <a:lnTo>
                    <a:pt x="251" y="42"/>
                  </a:lnTo>
                  <a:lnTo>
                    <a:pt x="251" y="54"/>
                  </a:lnTo>
                  <a:lnTo>
                    <a:pt x="241" y="70"/>
                  </a:lnTo>
                  <a:lnTo>
                    <a:pt x="261" y="70"/>
                  </a:lnTo>
                  <a:lnTo>
                    <a:pt x="267" y="94"/>
                  </a:lnTo>
                  <a:lnTo>
                    <a:pt x="265" y="110"/>
                  </a:lnTo>
                  <a:lnTo>
                    <a:pt x="273" y="122"/>
                  </a:lnTo>
                  <a:lnTo>
                    <a:pt x="273" y="151"/>
                  </a:lnTo>
                  <a:lnTo>
                    <a:pt x="263" y="155"/>
                  </a:lnTo>
                  <a:lnTo>
                    <a:pt x="259" y="173"/>
                  </a:lnTo>
                  <a:lnTo>
                    <a:pt x="245" y="177"/>
                  </a:lnTo>
                  <a:lnTo>
                    <a:pt x="223" y="185"/>
                  </a:lnTo>
                  <a:lnTo>
                    <a:pt x="207" y="183"/>
                  </a:lnTo>
                  <a:lnTo>
                    <a:pt x="205" y="157"/>
                  </a:lnTo>
                  <a:lnTo>
                    <a:pt x="181" y="161"/>
                  </a:lnTo>
                  <a:lnTo>
                    <a:pt x="167" y="169"/>
                  </a:lnTo>
                  <a:lnTo>
                    <a:pt x="155" y="124"/>
                  </a:lnTo>
                  <a:lnTo>
                    <a:pt x="141" y="112"/>
                  </a:lnTo>
                  <a:lnTo>
                    <a:pt x="133" y="108"/>
                  </a:lnTo>
                  <a:lnTo>
                    <a:pt x="117" y="112"/>
                  </a:lnTo>
                  <a:lnTo>
                    <a:pt x="103" y="110"/>
                  </a:lnTo>
                  <a:lnTo>
                    <a:pt x="58" y="132"/>
                  </a:lnTo>
                  <a:lnTo>
                    <a:pt x="54" y="114"/>
                  </a:lnTo>
                  <a:lnTo>
                    <a:pt x="40" y="110"/>
                  </a:lnTo>
                  <a:lnTo>
                    <a:pt x="22" y="96"/>
                  </a:lnTo>
                  <a:lnTo>
                    <a:pt x="22" y="84"/>
                  </a:lnTo>
                  <a:lnTo>
                    <a:pt x="14" y="84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05" name="Guinea Bissau">
              <a:extLst>
                <a:ext uri="{FF2B5EF4-FFF2-40B4-BE49-F238E27FC236}">
                  <a16:creationId xmlns="" xmlns:a16="http://schemas.microsoft.com/office/drawing/2014/main" id="{DC0EA51A-FF9D-4F2B-BA08-336EA5069568}"/>
                </a:ext>
              </a:extLst>
            </p:cNvPr>
            <p:cNvSpPr>
              <a:spLocks/>
            </p:cNvSpPr>
            <p:nvPr/>
          </p:nvSpPr>
          <p:spPr bwMode="gray">
            <a:xfrm>
              <a:off x="5289473" y="4153640"/>
              <a:ext cx="93711" cy="66863"/>
            </a:xfrm>
            <a:custGeom>
              <a:avLst/>
              <a:gdLst/>
              <a:ahLst/>
              <a:cxnLst>
                <a:cxn ang="0">
                  <a:pos x="10" y="32"/>
                </a:cxn>
                <a:cxn ang="0">
                  <a:pos x="0" y="16"/>
                </a:cxn>
                <a:cxn ang="0">
                  <a:pos x="30" y="14"/>
                </a:cxn>
                <a:cxn ang="0">
                  <a:pos x="40" y="4"/>
                </a:cxn>
                <a:cxn ang="0">
                  <a:pos x="54" y="0"/>
                </a:cxn>
                <a:cxn ang="0">
                  <a:pos x="68" y="8"/>
                </a:cxn>
                <a:cxn ang="0">
                  <a:pos x="116" y="10"/>
                </a:cxn>
                <a:cxn ang="0">
                  <a:pos x="116" y="20"/>
                </a:cxn>
                <a:cxn ang="0">
                  <a:pos x="110" y="24"/>
                </a:cxn>
                <a:cxn ang="0">
                  <a:pos x="116" y="28"/>
                </a:cxn>
                <a:cxn ang="0">
                  <a:pos x="114" y="38"/>
                </a:cxn>
                <a:cxn ang="0">
                  <a:pos x="102" y="44"/>
                </a:cxn>
                <a:cxn ang="0">
                  <a:pos x="88" y="54"/>
                </a:cxn>
                <a:cxn ang="0">
                  <a:pos x="78" y="62"/>
                </a:cxn>
                <a:cxn ang="0">
                  <a:pos x="68" y="80"/>
                </a:cxn>
                <a:cxn ang="0">
                  <a:pos x="56" y="78"/>
                </a:cxn>
                <a:cxn ang="0">
                  <a:pos x="56" y="60"/>
                </a:cxn>
                <a:cxn ang="0">
                  <a:pos x="74" y="44"/>
                </a:cxn>
                <a:cxn ang="0">
                  <a:pos x="72" y="30"/>
                </a:cxn>
                <a:cxn ang="0">
                  <a:pos x="48" y="32"/>
                </a:cxn>
                <a:cxn ang="0">
                  <a:pos x="28" y="38"/>
                </a:cxn>
                <a:cxn ang="0">
                  <a:pos x="10" y="32"/>
                </a:cxn>
              </a:cxnLst>
              <a:rect l="0" t="0" r="r" b="b"/>
              <a:pathLst>
                <a:path w="116" h="80">
                  <a:moveTo>
                    <a:pt x="10" y="32"/>
                  </a:moveTo>
                  <a:lnTo>
                    <a:pt x="0" y="16"/>
                  </a:lnTo>
                  <a:lnTo>
                    <a:pt x="30" y="14"/>
                  </a:lnTo>
                  <a:lnTo>
                    <a:pt x="40" y="4"/>
                  </a:lnTo>
                  <a:lnTo>
                    <a:pt x="54" y="0"/>
                  </a:lnTo>
                  <a:lnTo>
                    <a:pt x="68" y="8"/>
                  </a:lnTo>
                  <a:lnTo>
                    <a:pt x="116" y="10"/>
                  </a:lnTo>
                  <a:lnTo>
                    <a:pt x="116" y="20"/>
                  </a:lnTo>
                  <a:lnTo>
                    <a:pt x="110" y="24"/>
                  </a:lnTo>
                  <a:lnTo>
                    <a:pt x="116" y="28"/>
                  </a:lnTo>
                  <a:lnTo>
                    <a:pt x="114" y="38"/>
                  </a:lnTo>
                  <a:lnTo>
                    <a:pt x="102" y="44"/>
                  </a:lnTo>
                  <a:lnTo>
                    <a:pt x="88" y="54"/>
                  </a:lnTo>
                  <a:lnTo>
                    <a:pt x="78" y="62"/>
                  </a:lnTo>
                  <a:lnTo>
                    <a:pt x="68" y="80"/>
                  </a:lnTo>
                  <a:lnTo>
                    <a:pt x="56" y="78"/>
                  </a:lnTo>
                  <a:lnTo>
                    <a:pt x="56" y="60"/>
                  </a:lnTo>
                  <a:lnTo>
                    <a:pt x="74" y="44"/>
                  </a:lnTo>
                  <a:lnTo>
                    <a:pt x="72" y="30"/>
                  </a:lnTo>
                  <a:lnTo>
                    <a:pt x="48" y="32"/>
                  </a:lnTo>
                  <a:lnTo>
                    <a:pt x="28" y="38"/>
                  </a:lnTo>
                  <a:lnTo>
                    <a:pt x="10" y="32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06" name="Guyana">
              <a:extLst>
                <a:ext uri="{FF2B5EF4-FFF2-40B4-BE49-F238E27FC236}">
                  <a16:creationId xmlns="" xmlns:a16="http://schemas.microsoft.com/office/drawing/2014/main" id="{BBABAE5E-8D5E-461C-A93E-86163B6C3693}"/>
                </a:ext>
              </a:extLst>
            </p:cNvPr>
            <p:cNvSpPr>
              <a:spLocks/>
            </p:cNvSpPr>
            <p:nvPr/>
          </p:nvSpPr>
          <p:spPr bwMode="gray">
            <a:xfrm>
              <a:off x="3807675" y="4356195"/>
              <a:ext cx="136661" cy="226155"/>
            </a:xfrm>
            <a:custGeom>
              <a:avLst/>
              <a:gdLst/>
              <a:ahLst/>
              <a:cxnLst>
                <a:cxn ang="0">
                  <a:pos x="56" y="124"/>
                </a:cxn>
                <a:cxn ang="0">
                  <a:pos x="28" y="126"/>
                </a:cxn>
                <a:cxn ang="0">
                  <a:pos x="0" y="102"/>
                </a:cxn>
                <a:cxn ang="0">
                  <a:pos x="6" y="86"/>
                </a:cxn>
                <a:cxn ang="0">
                  <a:pos x="8" y="60"/>
                </a:cxn>
                <a:cxn ang="0">
                  <a:pos x="34" y="52"/>
                </a:cxn>
                <a:cxn ang="0">
                  <a:pos x="36" y="24"/>
                </a:cxn>
                <a:cxn ang="0">
                  <a:pos x="56" y="0"/>
                </a:cxn>
                <a:cxn ang="0">
                  <a:pos x="64" y="6"/>
                </a:cxn>
                <a:cxn ang="0">
                  <a:pos x="76" y="6"/>
                </a:cxn>
                <a:cxn ang="0">
                  <a:pos x="112" y="38"/>
                </a:cxn>
                <a:cxn ang="0">
                  <a:pos x="112" y="62"/>
                </a:cxn>
                <a:cxn ang="0">
                  <a:pos x="130" y="58"/>
                </a:cxn>
                <a:cxn ang="0">
                  <a:pos x="150" y="76"/>
                </a:cxn>
                <a:cxn ang="0">
                  <a:pos x="162" y="94"/>
                </a:cxn>
                <a:cxn ang="0">
                  <a:pos x="156" y="112"/>
                </a:cxn>
                <a:cxn ang="0">
                  <a:pos x="156" y="128"/>
                </a:cxn>
                <a:cxn ang="0">
                  <a:pos x="144" y="138"/>
                </a:cxn>
                <a:cxn ang="0">
                  <a:pos x="128" y="134"/>
                </a:cxn>
                <a:cxn ang="0">
                  <a:pos x="126" y="158"/>
                </a:cxn>
                <a:cxn ang="0">
                  <a:pos x="132" y="188"/>
                </a:cxn>
                <a:cxn ang="0">
                  <a:pos x="152" y="200"/>
                </a:cxn>
                <a:cxn ang="0">
                  <a:pos x="170" y="246"/>
                </a:cxn>
                <a:cxn ang="0">
                  <a:pos x="148" y="250"/>
                </a:cxn>
                <a:cxn ang="0">
                  <a:pos x="122" y="264"/>
                </a:cxn>
                <a:cxn ang="0">
                  <a:pos x="108" y="262"/>
                </a:cxn>
                <a:cxn ang="0">
                  <a:pos x="90" y="276"/>
                </a:cxn>
                <a:cxn ang="0">
                  <a:pos x="58" y="250"/>
                </a:cxn>
                <a:cxn ang="0">
                  <a:pos x="68" y="238"/>
                </a:cxn>
                <a:cxn ang="0">
                  <a:pos x="54" y="224"/>
                </a:cxn>
                <a:cxn ang="0">
                  <a:pos x="62" y="200"/>
                </a:cxn>
                <a:cxn ang="0">
                  <a:pos x="62" y="186"/>
                </a:cxn>
                <a:cxn ang="0">
                  <a:pos x="74" y="166"/>
                </a:cxn>
                <a:cxn ang="0">
                  <a:pos x="58" y="154"/>
                </a:cxn>
                <a:cxn ang="0">
                  <a:pos x="48" y="142"/>
                </a:cxn>
                <a:cxn ang="0">
                  <a:pos x="56" y="124"/>
                </a:cxn>
              </a:cxnLst>
              <a:rect l="0" t="0" r="r" b="b"/>
              <a:pathLst>
                <a:path w="170" h="276">
                  <a:moveTo>
                    <a:pt x="56" y="124"/>
                  </a:moveTo>
                  <a:lnTo>
                    <a:pt x="28" y="126"/>
                  </a:lnTo>
                  <a:lnTo>
                    <a:pt x="0" y="102"/>
                  </a:lnTo>
                  <a:lnTo>
                    <a:pt x="6" y="86"/>
                  </a:lnTo>
                  <a:lnTo>
                    <a:pt x="8" y="60"/>
                  </a:lnTo>
                  <a:lnTo>
                    <a:pt x="34" y="52"/>
                  </a:lnTo>
                  <a:lnTo>
                    <a:pt x="36" y="24"/>
                  </a:lnTo>
                  <a:lnTo>
                    <a:pt x="56" y="0"/>
                  </a:lnTo>
                  <a:lnTo>
                    <a:pt x="64" y="6"/>
                  </a:lnTo>
                  <a:lnTo>
                    <a:pt x="76" y="6"/>
                  </a:lnTo>
                  <a:lnTo>
                    <a:pt x="112" y="38"/>
                  </a:lnTo>
                  <a:lnTo>
                    <a:pt x="112" y="62"/>
                  </a:lnTo>
                  <a:lnTo>
                    <a:pt x="130" y="58"/>
                  </a:lnTo>
                  <a:lnTo>
                    <a:pt x="150" y="76"/>
                  </a:lnTo>
                  <a:lnTo>
                    <a:pt x="162" y="94"/>
                  </a:lnTo>
                  <a:lnTo>
                    <a:pt x="156" y="112"/>
                  </a:lnTo>
                  <a:lnTo>
                    <a:pt x="156" y="128"/>
                  </a:lnTo>
                  <a:lnTo>
                    <a:pt x="144" y="138"/>
                  </a:lnTo>
                  <a:lnTo>
                    <a:pt x="128" y="134"/>
                  </a:lnTo>
                  <a:lnTo>
                    <a:pt x="126" y="158"/>
                  </a:lnTo>
                  <a:lnTo>
                    <a:pt x="132" y="188"/>
                  </a:lnTo>
                  <a:lnTo>
                    <a:pt x="152" y="200"/>
                  </a:lnTo>
                  <a:lnTo>
                    <a:pt x="170" y="246"/>
                  </a:lnTo>
                  <a:lnTo>
                    <a:pt x="148" y="250"/>
                  </a:lnTo>
                  <a:lnTo>
                    <a:pt x="122" y="264"/>
                  </a:lnTo>
                  <a:lnTo>
                    <a:pt x="108" y="262"/>
                  </a:lnTo>
                  <a:lnTo>
                    <a:pt x="90" y="276"/>
                  </a:lnTo>
                  <a:lnTo>
                    <a:pt x="58" y="250"/>
                  </a:lnTo>
                  <a:lnTo>
                    <a:pt x="68" y="238"/>
                  </a:lnTo>
                  <a:lnTo>
                    <a:pt x="54" y="224"/>
                  </a:lnTo>
                  <a:lnTo>
                    <a:pt x="62" y="200"/>
                  </a:lnTo>
                  <a:lnTo>
                    <a:pt x="62" y="186"/>
                  </a:lnTo>
                  <a:lnTo>
                    <a:pt x="74" y="166"/>
                  </a:lnTo>
                  <a:lnTo>
                    <a:pt x="58" y="154"/>
                  </a:lnTo>
                  <a:lnTo>
                    <a:pt x="48" y="142"/>
                  </a:lnTo>
                  <a:lnTo>
                    <a:pt x="56" y="124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07" name="Haiti">
              <a:extLst>
                <a:ext uri="{FF2B5EF4-FFF2-40B4-BE49-F238E27FC236}">
                  <a16:creationId xmlns="" xmlns:a16="http://schemas.microsoft.com/office/drawing/2014/main" id="{DBB1AC60-7350-4466-918B-6BC70E0BC0F5}"/>
                </a:ext>
              </a:extLst>
            </p:cNvPr>
            <p:cNvSpPr>
              <a:spLocks/>
            </p:cNvSpPr>
            <p:nvPr/>
          </p:nvSpPr>
          <p:spPr bwMode="gray">
            <a:xfrm>
              <a:off x="3464070" y="3976649"/>
              <a:ext cx="81997" cy="64896"/>
            </a:xfrm>
            <a:custGeom>
              <a:avLst/>
              <a:gdLst/>
              <a:ahLst/>
              <a:cxnLst>
                <a:cxn ang="0">
                  <a:pos x="92" y="62"/>
                </a:cxn>
                <a:cxn ang="0">
                  <a:pos x="102" y="16"/>
                </a:cxn>
                <a:cxn ang="0">
                  <a:pos x="94" y="6"/>
                </a:cxn>
                <a:cxn ang="0">
                  <a:pos x="46" y="0"/>
                </a:cxn>
                <a:cxn ang="0">
                  <a:pos x="44" y="10"/>
                </a:cxn>
                <a:cxn ang="0">
                  <a:pos x="70" y="22"/>
                </a:cxn>
                <a:cxn ang="0">
                  <a:pos x="68" y="36"/>
                </a:cxn>
                <a:cxn ang="0">
                  <a:pos x="78" y="44"/>
                </a:cxn>
                <a:cxn ang="0">
                  <a:pos x="70" y="56"/>
                </a:cxn>
                <a:cxn ang="0">
                  <a:pos x="30" y="54"/>
                </a:cxn>
                <a:cxn ang="0">
                  <a:pos x="16" y="48"/>
                </a:cxn>
                <a:cxn ang="0">
                  <a:pos x="0" y="56"/>
                </a:cxn>
                <a:cxn ang="0">
                  <a:pos x="2" y="70"/>
                </a:cxn>
                <a:cxn ang="0">
                  <a:pos x="24" y="78"/>
                </a:cxn>
                <a:cxn ang="0">
                  <a:pos x="32" y="68"/>
                </a:cxn>
                <a:cxn ang="0">
                  <a:pos x="70" y="68"/>
                </a:cxn>
                <a:cxn ang="0">
                  <a:pos x="92" y="62"/>
                </a:cxn>
              </a:cxnLst>
              <a:rect l="0" t="0" r="r" b="b"/>
              <a:pathLst>
                <a:path w="102" h="78">
                  <a:moveTo>
                    <a:pt x="92" y="62"/>
                  </a:moveTo>
                  <a:lnTo>
                    <a:pt x="102" y="16"/>
                  </a:lnTo>
                  <a:lnTo>
                    <a:pt x="94" y="6"/>
                  </a:lnTo>
                  <a:lnTo>
                    <a:pt x="46" y="0"/>
                  </a:lnTo>
                  <a:lnTo>
                    <a:pt x="44" y="10"/>
                  </a:lnTo>
                  <a:lnTo>
                    <a:pt x="70" y="22"/>
                  </a:lnTo>
                  <a:lnTo>
                    <a:pt x="68" y="36"/>
                  </a:lnTo>
                  <a:lnTo>
                    <a:pt x="78" y="44"/>
                  </a:lnTo>
                  <a:lnTo>
                    <a:pt x="70" y="56"/>
                  </a:lnTo>
                  <a:lnTo>
                    <a:pt x="30" y="54"/>
                  </a:lnTo>
                  <a:lnTo>
                    <a:pt x="16" y="48"/>
                  </a:lnTo>
                  <a:lnTo>
                    <a:pt x="0" y="56"/>
                  </a:lnTo>
                  <a:lnTo>
                    <a:pt x="2" y="70"/>
                  </a:lnTo>
                  <a:lnTo>
                    <a:pt x="24" y="78"/>
                  </a:lnTo>
                  <a:lnTo>
                    <a:pt x="32" y="68"/>
                  </a:lnTo>
                  <a:lnTo>
                    <a:pt x="70" y="68"/>
                  </a:lnTo>
                  <a:lnTo>
                    <a:pt x="92" y="62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08" name="Honduras">
              <a:extLst>
                <a:ext uri="{FF2B5EF4-FFF2-40B4-BE49-F238E27FC236}">
                  <a16:creationId xmlns="" xmlns:a16="http://schemas.microsoft.com/office/drawing/2014/main" id="{D95F4AB6-BF35-4CFE-A9CF-345FF3311BFB}"/>
                </a:ext>
              </a:extLst>
            </p:cNvPr>
            <p:cNvSpPr>
              <a:spLocks/>
            </p:cNvSpPr>
            <p:nvPr/>
          </p:nvSpPr>
          <p:spPr bwMode="gray">
            <a:xfrm>
              <a:off x="2923281" y="4118241"/>
              <a:ext cx="183517" cy="84561"/>
            </a:xfrm>
            <a:custGeom>
              <a:avLst/>
              <a:gdLst/>
              <a:ahLst/>
              <a:cxnLst>
                <a:cxn ang="0">
                  <a:pos x="0" y="54"/>
                </a:cxn>
                <a:cxn ang="0">
                  <a:pos x="8" y="36"/>
                </a:cxn>
                <a:cxn ang="0">
                  <a:pos x="48" y="4"/>
                </a:cxn>
                <a:cxn ang="0">
                  <a:pos x="66" y="12"/>
                </a:cxn>
                <a:cxn ang="0">
                  <a:pos x="82" y="6"/>
                </a:cxn>
                <a:cxn ang="0">
                  <a:pos x="96" y="12"/>
                </a:cxn>
                <a:cxn ang="0">
                  <a:pos x="124" y="12"/>
                </a:cxn>
                <a:cxn ang="0">
                  <a:pos x="158" y="2"/>
                </a:cxn>
                <a:cxn ang="0">
                  <a:pos x="168" y="4"/>
                </a:cxn>
                <a:cxn ang="0">
                  <a:pos x="192" y="0"/>
                </a:cxn>
                <a:cxn ang="0">
                  <a:pos x="208" y="6"/>
                </a:cxn>
                <a:cxn ang="0">
                  <a:pos x="220" y="14"/>
                </a:cxn>
                <a:cxn ang="0">
                  <a:pos x="214" y="20"/>
                </a:cxn>
                <a:cxn ang="0">
                  <a:pos x="216" y="26"/>
                </a:cxn>
                <a:cxn ang="0">
                  <a:pos x="228" y="32"/>
                </a:cxn>
                <a:cxn ang="0">
                  <a:pos x="216" y="46"/>
                </a:cxn>
                <a:cxn ang="0">
                  <a:pos x="174" y="48"/>
                </a:cxn>
                <a:cxn ang="0">
                  <a:pos x="160" y="64"/>
                </a:cxn>
                <a:cxn ang="0">
                  <a:pos x="128" y="76"/>
                </a:cxn>
                <a:cxn ang="0">
                  <a:pos x="102" y="80"/>
                </a:cxn>
                <a:cxn ang="0">
                  <a:pos x="98" y="102"/>
                </a:cxn>
                <a:cxn ang="0">
                  <a:pos x="86" y="104"/>
                </a:cxn>
                <a:cxn ang="0">
                  <a:pos x="74" y="104"/>
                </a:cxn>
                <a:cxn ang="0">
                  <a:pos x="68" y="80"/>
                </a:cxn>
                <a:cxn ang="0">
                  <a:pos x="46" y="76"/>
                </a:cxn>
                <a:cxn ang="0">
                  <a:pos x="26" y="64"/>
                </a:cxn>
                <a:cxn ang="0">
                  <a:pos x="0" y="54"/>
                </a:cxn>
              </a:cxnLst>
              <a:rect l="0" t="0" r="r" b="b"/>
              <a:pathLst>
                <a:path w="228" h="104">
                  <a:moveTo>
                    <a:pt x="0" y="54"/>
                  </a:moveTo>
                  <a:lnTo>
                    <a:pt x="8" y="36"/>
                  </a:lnTo>
                  <a:lnTo>
                    <a:pt x="48" y="4"/>
                  </a:lnTo>
                  <a:lnTo>
                    <a:pt x="66" y="12"/>
                  </a:lnTo>
                  <a:lnTo>
                    <a:pt x="82" y="6"/>
                  </a:lnTo>
                  <a:lnTo>
                    <a:pt x="96" y="12"/>
                  </a:lnTo>
                  <a:lnTo>
                    <a:pt x="124" y="12"/>
                  </a:lnTo>
                  <a:lnTo>
                    <a:pt x="158" y="2"/>
                  </a:lnTo>
                  <a:lnTo>
                    <a:pt x="168" y="4"/>
                  </a:lnTo>
                  <a:lnTo>
                    <a:pt x="192" y="0"/>
                  </a:lnTo>
                  <a:lnTo>
                    <a:pt x="208" y="6"/>
                  </a:lnTo>
                  <a:lnTo>
                    <a:pt x="220" y="14"/>
                  </a:lnTo>
                  <a:lnTo>
                    <a:pt x="214" y="20"/>
                  </a:lnTo>
                  <a:lnTo>
                    <a:pt x="216" y="26"/>
                  </a:lnTo>
                  <a:lnTo>
                    <a:pt x="228" y="32"/>
                  </a:lnTo>
                  <a:lnTo>
                    <a:pt x="216" y="46"/>
                  </a:lnTo>
                  <a:lnTo>
                    <a:pt x="174" y="48"/>
                  </a:lnTo>
                  <a:lnTo>
                    <a:pt x="160" y="64"/>
                  </a:lnTo>
                  <a:lnTo>
                    <a:pt x="128" y="76"/>
                  </a:lnTo>
                  <a:lnTo>
                    <a:pt x="102" y="80"/>
                  </a:lnTo>
                  <a:lnTo>
                    <a:pt x="98" y="102"/>
                  </a:lnTo>
                  <a:lnTo>
                    <a:pt x="86" y="104"/>
                  </a:lnTo>
                  <a:lnTo>
                    <a:pt x="74" y="104"/>
                  </a:lnTo>
                  <a:lnTo>
                    <a:pt x="68" y="80"/>
                  </a:lnTo>
                  <a:lnTo>
                    <a:pt x="46" y="76"/>
                  </a:lnTo>
                  <a:lnTo>
                    <a:pt x="26" y="64"/>
                  </a:lnTo>
                  <a:lnTo>
                    <a:pt x="0" y="54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09" name="Hong Kong">
              <a:extLst>
                <a:ext uri="{FF2B5EF4-FFF2-40B4-BE49-F238E27FC236}">
                  <a16:creationId xmlns="" xmlns:a16="http://schemas.microsoft.com/office/drawing/2014/main" id="{E28D4524-A33F-4D6D-88EA-92554E52938F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309270" y="3805559"/>
              <a:ext cx="27332" cy="27532"/>
            </a:xfrm>
            <a:custGeom>
              <a:avLst/>
              <a:gdLst/>
              <a:ahLst/>
              <a:cxnLst>
                <a:cxn ang="0">
                  <a:pos x="188" y="94"/>
                </a:cxn>
                <a:cxn ang="0">
                  <a:pos x="94" y="188"/>
                </a:cxn>
                <a:cxn ang="0">
                  <a:pos x="0" y="94"/>
                </a:cxn>
                <a:cxn ang="0">
                  <a:pos x="0" y="90"/>
                </a:cxn>
                <a:cxn ang="0">
                  <a:pos x="94" y="0"/>
                </a:cxn>
                <a:cxn ang="0">
                  <a:pos x="188" y="94"/>
                </a:cxn>
              </a:cxnLst>
              <a:rect l="0" t="0" r="r" b="b"/>
              <a:pathLst>
                <a:path w="188" h="188">
                  <a:moveTo>
                    <a:pt x="188" y="94"/>
                  </a:moveTo>
                  <a:cubicBezTo>
                    <a:pt x="188" y="146"/>
                    <a:pt x="146" y="188"/>
                    <a:pt x="94" y="188"/>
                  </a:cubicBezTo>
                  <a:cubicBezTo>
                    <a:pt x="42" y="188"/>
                    <a:pt x="0" y="146"/>
                    <a:pt x="0" y="94"/>
                  </a:cubicBezTo>
                  <a:cubicBezTo>
                    <a:pt x="0" y="93"/>
                    <a:pt x="0" y="91"/>
                    <a:pt x="0" y="90"/>
                  </a:cubicBezTo>
                  <a:cubicBezTo>
                    <a:pt x="3" y="40"/>
                    <a:pt x="44" y="0"/>
                    <a:pt x="94" y="0"/>
                  </a:cubicBezTo>
                  <a:cubicBezTo>
                    <a:pt x="146" y="0"/>
                    <a:pt x="188" y="43"/>
                    <a:pt x="188" y="94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10" name="Hungary">
              <a:extLst>
                <a:ext uri="{FF2B5EF4-FFF2-40B4-BE49-F238E27FC236}">
                  <a16:creationId xmlns="" xmlns:a16="http://schemas.microsoft.com/office/drawing/2014/main" id="{EE92454D-8336-4FD5-8113-DB509673A960}"/>
                </a:ext>
              </a:extLst>
            </p:cNvPr>
            <p:cNvSpPr>
              <a:spLocks/>
            </p:cNvSpPr>
            <p:nvPr/>
          </p:nvSpPr>
          <p:spPr bwMode="gray">
            <a:xfrm>
              <a:off x="6296863" y="2784915"/>
              <a:ext cx="208897" cy="135692"/>
            </a:xfrm>
            <a:custGeom>
              <a:avLst/>
              <a:gdLst/>
              <a:ahLst/>
              <a:cxnLst>
                <a:cxn ang="0">
                  <a:pos x="154" y="144"/>
                </a:cxn>
                <a:cxn ang="0">
                  <a:pos x="170" y="140"/>
                </a:cxn>
                <a:cxn ang="0">
                  <a:pos x="190" y="132"/>
                </a:cxn>
                <a:cxn ang="0">
                  <a:pos x="208" y="106"/>
                </a:cxn>
                <a:cxn ang="0">
                  <a:pos x="222" y="68"/>
                </a:cxn>
                <a:cxn ang="0">
                  <a:pos x="236" y="54"/>
                </a:cxn>
                <a:cxn ang="0">
                  <a:pos x="252" y="52"/>
                </a:cxn>
                <a:cxn ang="0">
                  <a:pos x="256" y="36"/>
                </a:cxn>
                <a:cxn ang="0">
                  <a:pos x="242" y="26"/>
                </a:cxn>
                <a:cxn ang="0">
                  <a:pos x="232" y="4"/>
                </a:cxn>
                <a:cxn ang="0">
                  <a:pos x="216" y="14"/>
                </a:cxn>
                <a:cxn ang="0">
                  <a:pos x="202" y="2"/>
                </a:cxn>
                <a:cxn ang="0">
                  <a:pos x="190" y="4"/>
                </a:cxn>
                <a:cxn ang="0">
                  <a:pos x="170" y="0"/>
                </a:cxn>
                <a:cxn ang="0">
                  <a:pos x="160" y="4"/>
                </a:cxn>
                <a:cxn ang="0">
                  <a:pos x="144" y="18"/>
                </a:cxn>
                <a:cxn ang="0">
                  <a:pos x="106" y="18"/>
                </a:cxn>
                <a:cxn ang="0">
                  <a:pos x="100" y="34"/>
                </a:cxn>
                <a:cxn ang="0">
                  <a:pos x="54" y="34"/>
                </a:cxn>
                <a:cxn ang="0">
                  <a:pos x="46" y="26"/>
                </a:cxn>
                <a:cxn ang="0">
                  <a:pos x="38" y="38"/>
                </a:cxn>
                <a:cxn ang="0">
                  <a:pos x="34" y="58"/>
                </a:cxn>
                <a:cxn ang="0">
                  <a:pos x="16" y="52"/>
                </a:cxn>
                <a:cxn ang="0">
                  <a:pos x="10" y="66"/>
                </a:cxn>
                <a:cxn ang="0">
                  <a:pos x="4" y="84"/>
                </a:cxn>
                <a:cxn ang="0">
                  <a:pos x="0" y="102"/>
                </a:cxn>
                <a:cxn ang="0">
                  <a:pos x="2" y="130"/>
                </a:cxn>
                <a:cxn ang="0">
                  <a:pos x="10" y="134"/>
                </a:cxn>
                <a:cxn ang="0">
                  <a:pos x="14" y="146"/>
                </a:cxn>
                <a:cxn ang="0">
                  <a:pos x="64" y="166"/>
                </a:cxn>
                <a:cxn ang="0">
                  <a:pos x="98" y="162"/>
                </a:cxn>
                <a:cxn ang="0">
                  <a:pos x="134" y="140"/>
                </a:cxn>
                <a:cxn ang="0">
                  <a:pos x="154" y="144"/>
                </a:cxn>
              </a:cxnLst>
              <a:rect l="0" t="0" r="r" b="b"/>
              <a:pathLst>
                <a:path w="256" h="166">
                  <a:moveTo>
                    <a:pt x="154" y="144"/>
                  </a:moveTo>
                  <a:lnTo>
                    <a:pt x="170" y="140"/>
                  </a:lnTo>
                  <a:lnTo>
                    <a:pt x="190" y="132"/>
                  </a:lnTo>
                  <a:lnTo>
                    <a:pt x="208" y="106"/>
                  </a:lnTo>
                  <a:lnTo>
                    <a:pt x="222" y="68"/>
                  </a:lnTo>
                  <a:lnTo>
                    <a:pt x="236" y="54"/>
                  </a:lnTo>
                  <a:lnTo>
                    <a:pt x="252" y="52"/>
                  </a:lnTo>
                  <a:lnTo>
                    <a:pt x="256" y="36"/>
                  </a:lnTo>
                  <a:lnTo>
                    <a:pt x="242" y="26"/>
                  </a:lnTo>
                  <a:lnTo>
                    <a:pt x="232" y="4"/>
                  </a:lnTo>
                  <a:lnTo>
                    <a:pt x="216" y="14"/>
                  </a:lnTo>
                  <a:lnTo>
                    <a:pt x="202" y="2"/>
                  </a:lnTo>
                  <a:lnTo>
                    <a:pt x="190" y="4"/>
                  </a:lnTo>
                  <a:lnTo>
                    <a:pt x="170" y="0"/>
                  </a:lnTo>
                  <a:lnTo>
                    <a:pt x="160" y="4"/>
                  </a:lnTo>
                  <a:lnTo>
                    <a:pt x="144" y="18"/>
                  </a:lnTo>
                  <a:lnTo>
                    <a:pt x="106" y="18"/>
                  </a:lnTo>
                  <a:lnTo>
                    <a:pt x="100" y="34"/>
                  </a:lnTo>
                  <a:lnTo>
                    <a:pt x="54" y="34"/>
                  </a:lnTo>
                  <a:lnTo>
                    <a:pt x="46" y="26"/>
                  </a:lnTo>
                  <a:lnTo>
                    <a:pt x="38" y="38"/>
                  </a:lnTo>
                  <a:lnTo>
                    <a:pt x="34" y="58"/>
                  </a:lnTo>
                  <a:lnTo>
                    <a:pt x="16" y="52"/>
                  </a:lnTo>
                  <a:lnTo>
                    <a:pt x="10" y="66"/>
                  </a:lnTo>
                  <a:lnTo>
                    <a:pt x="4" y="84"/>
                  </a:lnTo>
                  <a:lnTo>
                    <a:pt x="0" y="102"/>
                  </a:lnTo>
                  <a:lnTo>
                    <a:pt x="2" y="130"/>
                  </a:lnTo>
                  <a:lnTo>
                    <a:pt x="10" y="134"/>
                  </a:lnTo>
                  <a:lnTo>
                    <a:pt x="14" y="146"/>
                  </a:lnTo>
                  <a:lnTo>
                    <a:pt x="64" y="166"/>
                  </a:lnTo>
                  <a:lnTo>
                    <a:pt x="98" y="162"/>
                  </a:lnTo>
                  <a:lnTo>
                    <a:pt x="134" y="140"/>
                  </a:lnTo>
                  <a:lnTo>
                    <a:pt x="154" y="144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11" name="Iceland">
              <a:extLst>
                <a:ext uri="{FF2B5EF4-FFF2-40B4-BE49-F238E27FC236}">
                  <a16:creationId xmlns="" xmlns:a16="http://schemas.microsoft.com/office/drawing/2014/main" id="{FB7D9D41-8651-4669-9C7E-38B51B7EAE34}"/>
                </a:ext>
              </a:extLst>
            </p:cNvPr>
            <p:cNvSpPr>
              <a:spLocks/>
            </p:cNvSpPr>
            <p:nvPr/>
          </p:nvSpPr>
          <p:spPr bwMode="gray">
            <a:xfrm>
              <a:off x="5055198" y="1699373"/>
              <a:ext cx="322130" cy="226155"/>
            </a:xfrm>
            <a:custGeom>
              <a:avLst/>
              <a:gdLst/>
              <a:ahLst/>
              <a:cxnLst>
                <a:cxn ang="0">
                  <a:pos x="68" y="0"/>
                </a:cxn>
                <a:cxn ang="0">
                  <a:pos x="110" y="76"/>
                </a:cxn>
                <a:cxn ang="0">
                  <a:pos x="110" y="102"/>
                </a:cxn>
                <a:cxn ang="0">
                  <a:pos x="146" y="80"/>
                </a:cxn>
                <a:cxn ang="0">
                  <a:pos x="152" y="36"/>
                </a:cxn>
                <a:cxn ang="0">
                  <a:pos x="178" y="44"/>
                </a:cxn>
                <a:cxn ang="0">
                  <a:pos x="214" y="52"/>
                </a:cxn>
                <a:cxn ang="0">
                  <a:pos x="256" y="52"/>
                </a:cxn>
                <a:cxn ang="0">
                  <a:pos x="282" y="40"/>
                </a:cxn>
                <a:cxn ang="0">
                  <a:pos x="306" y="4"/>
                </a:cxn>
                <a:cxn ang="0">
                  <a:pos x="322" y="34"/>
                </a:cxn>
                <a:cxn ang="0">
                  <a:pos x="358" y="14"/>
                </a:cxn>
                <a:cxn ang="0">
                  <a:pos x="358" y="42"/>
                </a:cxn>
                <a:cxn ang="0">
                  <a:pos x="370" y="72"/>
                </a:cxn>
                <a:cxn ang="0">
                  <a:pos x="380" y="94"/>
                </a:cxn>
                <a:cxn ang="0">
                  <a:pos x="398" y="136"/>
                </a:cxn>
                <a:cxn ang="0">
                  <a:pos x="392" y="156"/>
                </a:cxn>
                <a:cxn ang="0">
                  <a:pos x="370" y="178"/>
                </a:cxn>
                <a:cxn ang="0">
                  <a:pos x="328" y="188"/>
                </a:cxn>
                <a:cxn ang="0">
                  <a:pos x="316" y="216"/>
                </a:cxn>
                <a:cxn ang="0">
                  <a:pos x="298" y="240"/>
                </a:cxn>
                <a:cxn ang="0">
                  <a:pos x="246" y="268"/>
                </a:cxn>
                <a:cxn ang="0">
                  <a:pos x="214" y="278"/>
                </a:cxn>
                <a:cxn ang="0">
                  <a:pos x="116" y="242"/>
                </a:cxn>
                <a:cxn ang="0">
                  <a:pos x="84" y="244"/>
                </a:cxn>
                <a:cxn ang="0">
                  <a:pos x="62" y="230"/>
                </a:cxn>
                <a:cxn ang="0">
                  <a:pos x="86" y="182"/>
                </a:cxn>
                <a:cxn ang="0">
                  <a:pos x="72" y="168"/>
                </a:cxn>
                <a:cxn ang="0">
                  <a:pos x="16" y="180"/>
                </a:cxn>
                <a:cxn ang="0">
                  <a:pos x="36" y="152"/>
                </a:cxn>
                <a:cxn ang="0">
                  <a:pos x="76" y="124"/>
                </a:cxn>
                <a:cxn ang="0">
                  <a:pos x="66" y="94"/>
                </a:cxn>
                <a:cxn ang="0">
                  <a:pos x="0" y="106"/>
                </a:cxn>
                <a:cxn ang="0">
                  <a:pos x="16" y="88"/>
                </a:cxn>
                <a:cxn ang="0">
                  <a:pos x="26" y="62"/>
                </a:cxn>
                <a:cxn ang="0">
                  <a:pos x="32" y="26"/>
                </a:cxn>
                <a:cxn ang="0">
                  <a:pos x="58" y="34"/>
                </a:cxn>
              </a:cxnLst>
              <a:rect l="0" t="0" r="r" b="b"/>
              <a:pathLst>
                <a:path w="398" h="278">
                  <a:moveTo>
                    <a:pt x="38" y="6"/>
                  </a:moveTo>
                  <a:lnTo>
                    <a:pt x="68" y="0"/>
                  </a:lnTo>
                  <a:lnTo>
                    <a:pt x="108" y="46"/>
                  </a:lnTo>
                  <a:lnTo>
                    <a:pt x="110" y="76"/>
                  </a:lnTo>
                  <a:lnTo>
                    <a:pt x="104" y="82"/>
                  </a:lnTo>
                  <a:lnTo>
                    <a:pt x="110" y="102"/>
                  </a:lnTo>
                  <a:lnTo>
                    <a:pt x="120" y="108"/>
                  </a:lnTo>
                  <a:lnTo>
                    <a:pt x="146" y="80"/>
                  </a:lnTo>
                  <a:lnTo>
                    <a:pt x="140" y="42"/>
                  </a:lnTo>
                  <a:lnTo>
                    <a:pt x="152" y="36"/>
                  </a:lnTo>
                  <a:lnTo>
                    <a:pt x="174" y="64"/>
                  </a:lnTo>
                  <a:lnTo>
                    <a:pt x="178" y="44"/>
                  </a:lnTo>
                  <a:lnTo>
                    <a:pt x="200" y="34"/>
                  </a:lnTo>
                  <a:lnTo>
                    <a:pt x="214" y="52"/>
                  </a:lnTo>
                  <a:lnTo>
                    <a:pt x="228" y="34"/>
                  </a:lnTo>
                  <a:lnTo>
                    <a:pt x="256" y="52"/>
                  </a:lnTo>
                  <a:lnTo>
                    <a:pt x="264" y="34"/>
                  </a:lnTo>
                  <a:lnTo>
                    <a:pt x="282" y="40"/>
                  </a:lnTo>
                  <a:lnTo>
                    <a:pt x="282" y="6"/>
                  </a:lnTo>
                  <a:lnTo>
                    <a:pt x="306" y="4"/>
                  </a:lnTo>
                  <a:lnTo>
                    <a:pt x="320" y="20"/>
                  </a:lnTo>
                  <a:lnTo>
                    <a:pt x="322" y="34"/>
                  </a:lnTo>
                  <a:lnTo>
                    <a:pt x="334" y="38"/>
                  </a:lnTo>
                  <a:lnTo>
                    <a:pt x="358" y="14"/>
                  </a:lnTo>
                  <a:lnTo>
                    <a:pt x="374" y="12"/>
                  </a:lnTo>
                  <a:lnTo>
                    <a:pt x="358" y="42"/>
                  </a:lnTo>
                  <a:lnTo>
                    <a:pt x="370" y="54"/>
                  </a:lnTo>
                  <a:lnTo>
                    <a:pt x="370" y="72"/>
                  </a:lnTo>
                  <a:lnTo>
                    <a:pt x="380" y="78"/>
                  </a:lnTo>
                  <a:lnTo>
                    <a:pt x="380" y="94"/>
                  </a:lnTo>
                  <a:lnTo>
                    <a:pt x="398" y="98"/>
                  </a:lnTo>
                  <a:lnTo>
                    <a:pt x="398" y="136"/>
                  </a:lnTo>
                  <a:lnTo>
                    <a:pt x="390" y="140"/>
                  </a:lnTo>
                  <a:lnTo>
                    <a:pt x="392" y="156"/>
                  </a:lnTo>
                  <a:lnTo>
                    <a:pt x="376" y="166"/>
                  </a:lnTo>
                  <a:lnTo>
                    <a:pt x="370" y="178"/>
                  </a:lnTo>
                  <a:lnTo>
                    <a:pt x="352" y="192"/>
                  </a:lnTo>
                  <a:lnTo>
                    <a:pt x="328" y="188"/>
                  </a:lnTo>
                  <a:lnTo>
                    <a:pt x="328" y="202"/>
                  </a:lnTo>
                  <a:lnTo>
                    <a:pt x="316" y="216"/>
                  </a:lnTo>
                  <a:lnTo>
                    <a:pt x="312" y="228"/>
                  </a:lnTo>
                  <a:lnTo>
                    <a:pt x="298" y="240"/>
                  </a:lnTo>
                  <a:lnTo>
                    <a:pt x="256" y="244"/>
                  </a:lnTo>
                  <a:lnTo>
                    <a:pt x="246" y="268"/>
                  </a:lnTo>
                  <a:lnTo>
                    <a:pt x="228" y="270"/>
                  </a:lnTo>
                  <a:lnTo>
                    <a:pt x="214" y="278"/>
                  </a:lnTo>
                  <a:lnTo>
                    <a:pt x="132" y="248"/>
                  </a:lnTo>
                  <a:lnTo>
                    <a:pt x="116" y="242"/>
                  </a:lnTo>
                  <a:lnTo>
                    <a:pt x="112" y="234"/>
                  </a:lnTo>
                  <a:lnTo>
                    <a:pt x="84" y="244"/>
                  </a:lnTo>
                  <a:lnTo>
                    <a:pt x="60" y="244"/>
                  </a:lnTo>
                  <a:lnTo>
                    <a:pt x="62" y="230"/>
                  </a:lnTo>
                  <a:lnTo>
                    <a:pt x="86" y="214"/>
                  </a:lnTo>
                  <a:lnTo>
                    <a:pt x="86" y="182"/>
                  </a:lnTo>
                  <a:lnTo>
                    <a:pt x="74" y="186"/>
                  </a:lnTo>
                  <a:lnTo>
                    <a:pt x="72" y="168"/>
                  </a:lnTo>
                  <a:lnTo>
                    <a:pt x="28" y="174"/>
                  </a:lnTo>
                  <a:lnTo>
                    <a:pt x="16" y="180"/>
                  </a:lnTo>
                  <a:lnTo>
                    <a:pt x="10" y="164"/>
                  </a:lnTo>
                  <a:lnTo>
                    <a:pt x="36" y="152"/>
                  </a:lnTo>
                  <a:lnTo>
                    <a:pt x="76" y="136"/>
                  </a:lnTo>
                  <a:lnTo>
                    <a:pt x="76" y="124"/>
                  </a:lnTo>
                  <a:lnTo>
                    <a:pt x="94" y="110"/>
                  </a:lnTo>
                  <a:lnTo>
                    <a:pt x="66" y="94"/>
                  </a:lnTo>
                  <a:lnTo>
                    <a:pt x="32" y="110"/>
                  </a:lnTo>
                  <a:lnTo>
                    <a:pt x="0" y="106"/>
                  </a:lnTo>
                  <a:lnTo>
                    <a:pt x="2" y="90"/>
                  </a:lnTo>
                  <a:lnTo>
                    <a:pt x="16" y="88"/>
                  </a:lnTo>
                  <a:lnTo>
                    <a:pt x="16" y="74"/>
                  </a:lnTo>
                  <a:lnTo>
                    <a:pt x="26" y="62"/>
                  </a:lnTo>
                  <a:lnTo>
                    <a:pt x="22" y="40"/>
                  </a:lnTo>
                  <a:lnTo>
                    <a:pt x="32" y="26"/>
                  </a:lnTo>
                  <a:lnTo>
                    <a:pt x="46" y="36"/>
                  </a:lnTo>
                  <a:lnTo>
                    <a:pt x="58" y="34"/>
                  </a:lnTo>
                  <a:lnTo>
                    <a:pt x="38" y="6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12" name="India">
              <a:extLst>
                <a:ext uri="{FF2B5EF4-FFF2-40B4-BE49-F238E27FC236}">
                  <a16:creationId xmlns="" xmlns:a16="http://schemas.microsoft.com/office/drawing/2014/main" id="{27B4088C-ACB2-4437-AFE5-B152F8D4A271}"/>
                </a:ext>
              </a:extLst>
            </p:cNvPr>
            <p:cNvSpPr>
              <a:spLocks/>
            </p:cNvSpPr>
            <p:nvPr/>
          </p:nvSpPr>
          <p:spPr bwMode="gray">
            <a:xfrm>
              <a:off x="7899706" y="3325718"/>
              <a:ext cx="896106" cy="971480"/>
            </a:xfrm>
            <a:custGeom>
              <a:avLst/>
              <a:gdLst/>
              <a:ahLst/>
              <a:cxnLst>
                <a:cxn ang="0">
                  <a:pos x="72" y="616"/>
                </a:cxn>
                <a:cxn ang="0">
                  <a:pos x="110" y="702"/>
                </a:cxn>
                <a:cxn ang="0">
                  <a:pos x="172" y="670"/>
                </a:cxn>
                <a:cxn ang="0">
                  <a:pos x="244" y="938"/>
                </a:cxn>
                <a:cxn ang="0">
                  <a:pos x="294" y="1064"/>
                </a:cxn>
                <a:cxn ang="0">
                  <a:pos x="336" y="1166"/>
                </a:cxn>
                <a:cxn ang="0">
                  <a:pos x="392" y="1158"/>
                </a:cxn>
                <a:cxn ang="0">
                  <a:pos x="430" y="1110"/>
                </a:cxn>
                <a:cxn ang="0">
                  <a:pos x="460" y="1022"/>
                </a:cxn>
                <a:cxn ang="0">
                  <a:pos x="460" y="900"/>
                </a:cxn>
                <a:cxn ang="0">
                  <a:pos x="500" y="882"/>
                </a:cxn>
                <a:cxn ang="0">
                  <a:pos x="530" y="838"/>
                </a:cxn>
                <a:cxn ang="0">
                  <a:pos x="658" y="724"/>
                </a:cxn>
                <a:cxn ang="0">
                  <a:pos x="712" y="694"/>
                </a:cxn>
                <a:cxn ang="0">
                  <a:pos x="752" y="652"/>
                </a:cxn>
                <a:cxn ang="0">
                  <a:pos x="800" y="654"/>
                </a:cxn>
                <a:cxn ang="0">
                  <a:pos x="806" y="604"/>
                </a:cxn>
                <a:cxn ang="0">
                  <a:pos x="778" y="520"/>
                </a:cxn>
                <a:cxn ang="0">
                  <a:pos x="780" y="496"/>
                </a:cxn>
                <a:cxn ang="0">
                  <a:pos x="784" y="450"/>
                </a:cxn>
                <a:cxn ang="0">
                  <a:pos x="826" y="460"/>
                </a:cxn>
                <a:cxn ang="0">
                  <a:pos x="868" y="488"/>
                </a:cxn>
                <a:cxn ang="0">
                  <a:pos x="914" y="542"/>
                </a:cxn>
                <a:cxn ang="0">
                  <a:pos x="910" y="582"/>
                </a:cxn>
                <a:cxn ang="0">
                  <a:pos x="936" y="618"/>
                </a:cxn>
                <a:cxn ang="0">
                  <a:pos x="968" y="594"/>
                </a:cxn>
                <a:cxn ang="0">
                  <a:pos x="1008" y="504"/>
                </a:cxn>
                <a:cxn ang="0">
                  <a:pos x="1084" y="416"/>
                </a:cxn>
                <a:cxn ang="0">
                  <a:pos x="1104" y="374"/>
                </a:cxn>
                <a:cxn ang="0">
                  <a:pos x="1052" y="336"/>
                </a:cxn>
                <a:cxn ang="0">
                  <a:pos x="944" y="370"/>
                </a:cxn>
                <a:cxn ang="0">
                  <a:pos x="914" y="416"/>
                </a:cxn>
                <a:cxn ang="0">
                  <a:pos x="830" y="436"/>
                </a:cxn>
                <a:cxn ang="0">
                  <a:pos x="794" y="390"/>
                </a:cxn>
                <a:cxn ang="0">
                  <a:pos x="758" y="450"/>
                </a:cxn>
                <a:cxn ang="0">
                  <a:pos x="632" y="418"/>
                </a:cxn>
                <a:cxn ang="0">
                  <a:pos x="490" y="368"/>
                </a:cxn>
                <a:cxn ang="0">
                  <a:pos x="458" y="302"/>
                </a:cxn>
                <a:cxn ang="0">
                  <a:pos x="420" y="238"/>
                </a:cxn>
                <a:cxn ang="0">
                  <a:pos x="424" y="186"/>
                </a:cxn>
                <a:cxn ang="0">
                  <a:pos x="412" y="136"/>
                </a:cxn>
                <a:cxn ang="0">
                  <a:pos x="412" y="28"/>
                </a:cxn>
                <a:cxn ang="0">
                  <a:pos x="342" y="24"/>
                </a:cxn>
                <a:cxn ang="0">
                  <a:pos x="278" y="72"/>
                </a:cxn>
                <a:cxn ang="0">
                  <a:pos x="212" y="98"/>
                </a:cxn>
                <a:cxn ang="0">
                  <a:pos x="278" y="184"/>
                </a:cxn>
                <a:cxn ang="0">
                  <a:pos x="232" y="252"/>
                </a:cxn>
                <a:cxn ang="0">
                  <a:pos x="196" y="330"/>
                </a:cxn>
                <a:cxn ang="0">
                  <a:pos x="120" y="384"/>
                </a:cxn>
                <a:cxn ang="0">
                  <a:pos x="70" y="402"/>
                </a:cxn>
                <a:cxn ang="0">
                  <a:pos x="74" y="462"/>
                </a:cxn>
                <a:cxn ang="0">
                  <a:pos x="116" y="520"/>
                </a:cxn>
                <a:cxn ang="0">
                  <a:pos x="84" y="536"/>
                </a:cxn>
                <a:cxn ang="0">
                  <a:pos x="28" y="552"/>
                </a:cxn>
                <a:cxn ang="0">
                  <a:pos x="34" y="600"/>
                </a:cxn>
              </a:cxnLst>
              <a:rect l="0" t="0" r="r" b="b"/>
              <a:pathLst>
                <a:path w="1104" h="1190">
                  <a:moveTo>
                    <a:pt x="34" y="600"/>
                  </a:moveTo>
                  <a:lnTo>
                    <a:pt x="54" y="598"/>
                  </a:lnTo>
                  <a:lnTo>
                    <a:pt x="96" y="584"/>
                  </a:lnTo>
                  <a:lnTo>
                    <a:pt x="72" y="616"/>
                  </a:lnTo>
                  <a:lnTo>
                    <a:pt x="60" y="616"/>
                  </a:lnTo>
                  <a:lnTo>
                    <a:pt x="32" y="626"/>
                  </a:lnTo>
                  <a:lnTo>
                    <a:pt x="88" y="688"/>
                  </a:lnTo>
                  <a:lnTo>
                    <a:pt x="110" y="702"/>
                  </a:lnTo>
                  <a:lnTo>
                    <a:pt x="152" y="676"/>
                  </a:lnTo>
                  <a:lnTo>
                    <a:pt x="158" y="638"/>
                  </a:lnTo>
                  <a:lnTo>
                    <a:pt x="168" y="620"/>
                  </a:lnTo>
                  <a:lnTo>
                    <a:pt x="172" y="670"/>
                  </a:lnTo>
                  <a:lnTo>
                    <a:pt x="182" y="736"/>
                  </a:lnTo>
                  <a:lnTo>
                    <a:pt x="186" y="792"/>
                  </a:lnTo>
                  <a:lnTo>
                    <a:pt x="206" y="870"/>
                  </a:lnTo>
                  <a:lnTo>
                    <a:pt x="244" y="938"/>
                  </a:lnTo>
                  <a:lnTo>
                    <a:pt x="252" y="992"/>
                  </a:lnTo>
                  <a:lnTo>
                    <a:pt x="276" y="1026"/>
                  </a:lnTo>
                  <a:lnTo>
                    <a:pt x="280" y="1046"/>
                  </a:lnTo>
                  <a:lnTo>
                    <a:pt x="294" y="1064"/>
                  </a:lnTo>
                  <a:lnTo>
                    <a:pt x="304" y="1098"/>
                  </a:lnTo>
                  <a:lnTo>
                    <a:pt x="320" y="1146"/>
                  </a:lnTo>
                  <a:lnTo>
                    <a:pt x="330" y="1146"/>
                  </a:lnTo>
                  <a:lnTo>
                    <a:pt x="336" y="1166"/>
                  </a:lnTo>
                  <a:lnTo>
                    <a:pt x="358" y="1188"/>
                  </a:lnTo>
                  <a:lnTo>
                    <a:pt x="372" y="1190"/>
                  </a:lnTo>
                  <a:lnTo>
                    <a:pt x="390" y="1174"/>
                  </a:lnTo>
                  <a:lnTo>
                    <a:pt x="392" y="1158"/>
                  </a:lnTo>
                  <a:lnTo>
                    <a:pt x="402" y="1146"/>
                  </a:lnTo>
                  <a:lnTo>
                    <a:pt x="426" y="1146"/>
                  </a:lnTo>
                  <a:lnTo>
                    <a:pt x="414" y="1132"/>
                  </a:lnTo>
                  <a:lnTo>
                    <a:pt x="430" y="1110"/>
                  </a:lnTo>
                  <a:lnTo>
                    <a:pt x="430" y="1100"/>
                  </a:lnTo>
                  <a:lnTo>
                    <a:pt x="452" y="1092"/>
                  </a:lnTo>
                  <a:lnTo>
                    <a:pt x="448" y="1036"/>
                  </a:lnTo>
                  <a:lnTo>
                    <a:pt x="460" y="1022"/>
                  </a:lnTo>
                  <a:lnTo>
                    <a:pt x="462" y="1008"/>
                  </a:lnTo>
                  <a:lnTo>
                    <a:pt x="472" y="986"/>
                  </a:lnTo>
                  <a:lnTo>
                    <a:pt x="458" y="942"/>
                  </a:lnTo>
                  <a:lnTo>
                    <a:pt x="460" y="900"/>
                  </a:lnTo>
                  <a:lnTo>
                    <a:pt x="466" y="886"/>
                  </a:lnTo>
                  <a:lnTo>
                    <a:pt x="482" y="878"/>
                  </a:lnTo>
                  <a:lnTo>
                    <a:pt x="490" y="884"/>
                  </a:lnTo>
                  <a:lnTo>
                    <a:pt x="500" y="882"/>
                  </a:lnTo>
                  <a:lnTo>
                    <a:pt x="504" y="870"/>
                  </a:lnTo>
                  <a:lnTo>
                    <a:pt x="518" y="866"/>
                  </a:lnTo>
                  <a:lnTo>
                    <a:pt x="540" y="848"/>
                  </a:lnTo>
                  <a:lnTo>
                    <a:pt x="530" y="838"/>
                  </a:lnTo>
                  <a:lnTo>
                    <a:pt x="610" y="778"/>
                  </a:lnTo>
                  <a:lnTo>
                    <a:pt x="646" y="740"/>
                  </a:lnTo>
                  <a:lnTo>
                    <a:pt x="650" y="722"/>
                  </a:lnTo>
                  <a:lnTo>
                    <a:pt x="658" y="724"/>
                  </a:lnTo>
                  <a:lnTo>
                    <a:pt x="658" y="732"/>
                  </a:lnTo>
                  <a:lnTo>
                    <a:pt x="680" y="728"/>
                  </a:lnTo>
                  <a:lnTo>
                    <a:pt x="702" y="706"/>
                  </a:lnTo>
                  <a:lnTo>
                    <a:pt x="712" y="694"/>
                  </a:lnTo>
                  <a:lnTo>
                    <a:pt x="708" y="674"/>
                  </a:lnTo>
                  <a:lnTo>
                    <a:pt x="730" y="654"/>
                  </a:lnTo>
                  <a:lnTo>
                    <a:pt x="754" y="634"/>
                  </a:lnTo>
                  <a:lnTo>
                    <a:pt x="752" y="652"/>
                  </a:lnTo>
                  <a:lnTo>
                    <a:pt x="768" y="652"/>
                  </a:lnTo>
                  <a:lnTo>
                    <a:pt x="780" y="640"/>
                  </a:lnTo>
                  <a:lnTo>
                    <a:pt x="786" y="654"/>
                  </a:lnTo>
                  <a:lnTo>
                    <a:pt x="800" y="654"/>
                  </a:lnTo>
                  <a:lnTo>
                    <a:pt x="804" y="644"/>
                  </a:lnTo>
                  <a:lnTo>
                    <a:pt x="812" y="650"/>
                  </a:lnTo>
                  <a:lnTo>
                    <a:pt x="820" y="650"/>
                  </a:lnTo>
                  <a:lnTo>
                    <a:pt x="806" y="604"/>
                  </a:lnTo>
                  <a:lnTo>
                    <a:pt x="788" y="564"/>
                  </a:lnTo>
                  <a:lnTo>
                    <a:pt x="794" y="550"/>
                  </a:lnTo>
                  <a:lnTo>
                    <a:pt x="772" y="532"/>
                  </a:lnTo>
                  <a:lnTo>
                    <a:pt x="778" y="520"/>
                  </a:lnTo>
                  <a:lnTo>
                    <a:pt x="788" y="520"/>
                  </a:lnTo>
                  <a:lnTo>
                    <a:pt x="796" y="504"/>
                  </a:lnTo>
                  <a:lnTo>
                    <a:pt x="786" y="494"/>
                  </a:lnTo>
                  <a:lnTo>
                    <a:pt x="780" y="496"/>
                  </a:lnTo>
                  <a:lnTo>
                    <a:pt x="764" y="480"/>
                  </a:lnTo>
                  <a:lnTo>
                    <a:pt x="772" y="466"/>
                  </a:lnTo>
                  <a:lnTo>
                    <a:pt x="770" y="452"/>
                  </a:lnTo>
                  <a:lnTo>
                    <a:pt x="784" y="450"/>
                  </a:lnTo>
                  <a:lnTo>
                    <a:pt x="794" y="456"/>
                  </a:lnTo>
                  <a:lnTo>
                    <a:pt x="808" y="448"/>
                  </a:lnTo>
                  <a:lnTo>
                    <a:pt x="816" y="460"/>
                  </a:lnTo>
                  <a:lnTo>
                    <a:pt x="826" y="460"/>
                  </a:lnTo>
                  <a:lnTo>
                    <a:pt x="834" y="472"/>
                  </a:lnTo>
                  <a:lnTo>
                    <a:pt x="836" y="486"/>
                  </a:lnTo>
                  <a:lnTo>
                    <a:pt x="850" y="492"/>
                  </a:lnTo>
                  <a:lnTo>
                    <a:pt x="868" y="488"/>
                  </a:lnTo>
                  <a:lnTo>
                    <a:pt x="946" y="490"/>
                  </a:lnTo>
                  <a:lnTo>
                    <a:pt x="944" y="506"/>
                  </a:lnTo>
                  <a:lnTo>
                    <a:pt x="926" y="532"/>
                  </a:lnTo>
                  <a:lnTo>
                    <a:pt x="914" y="542"/>
                  </a:lnTo>
                  <a:lnTo>
                    <a:pt x="900" y="550"/>
                  </a:lnTo>
                  <a:lnTo>
                    <a:pt x="894" y="562"/>
                  </a:lnTo>
                  <a:lnTo>
                    <a:pt x="892" y="572"/>
                  </a:lnTo>
                  <a:lnTo>
                    <a:pt x="910" y="582"/>
                  </a:lnTo>
                  <a:lnTo>
                    <a:pt x="914" y="566"/>
                  </a:lnTo>
                  <a:lnTo>
                    <a:pt x="922" y="560"/>
                  </a:lnTo>
                  <a:lnTo>
                    <a:pt x="932" y="566"/>
                  </a:lnTo>
                  <a:lnTo>
                    <a:pt x="936" y="618"/>
                  </a:lnTo>
                  <a:lnTo>
                    <a:pt x="938" y="640"/>
                  </a:lnTo>
                  <a:lnTo>
                    <a:pt x="954" y="642"/>
                  </a:lnTo>
                  <a:lnTo>
                    <a:pt x="954" y="608"/>
                  </a:lnTo>
                  <a:lnTo>
                    <a:pt x="968" y="594"/>
                  </a:lnTo>
                  <a:lnTo>
                    <a:pt x="966" y="562"/>
                  </a:lnTo>
                  <a:lnTo>
                    <a:pt x="964" y="540"/>
                  </a:lnTo>
                  <a:lnTo>
                    <a:pt x="982" y="542"/>
                  </a:lnTo>
                  <a:lnTo>
                    <a:pt x="1008" y="504"/>
                  </a:lnTo>
                  <a:lnTo>
                    <a:pt x="1008" y="478"/>
                  </a:lnTo>
                  <a:lnTo>
                    <a:pt x="1046" y="420"/>
                  </a:lnTo>
                  <a:lnTo>
                    <a:pt x="1072" y="404"/>
                  </a:lnTo>
                  <a:lnTo>
                    <a:pt x="1084" y="416"/>
                  </a:lnTo>
                  <a:lnTo>
                    <a:pt x="1094" y="410"/>
                  </a:lnTo>
                  <a:lnTo>
                    <a:pt x="1090" y="394"/>
                  </a:lnTo>
                  <a:lnTo>
                    <a:pt x="1102" y="386"/>
                  </a:lnTo>
                  <a:lnTo>
                    <a:pt x="1104" y="374"/>
                  </a:lnTo>
                  <a:lnTo>
                    <a:pt x="1086" y="370"/>
                  </a:lnTo>
                  <a:lnTo>
                    <a:pt x="1074" y="376"/>
                  </a:lnTo>
                  <a:lnTo>
                    <a:pt x="1068" y="348"/>
                  </a:lnTo>
                  <a:lnTo>
                    <a:pt x="1052" y="336"/>
                  </a:lnTo>
                  <a:lnTo>
                    <a:pt x="1036" y="342"/>
                  </a:lnTo>
                  <a:lnTo>
                    <a:pt x="1000" y="328"/>
                  </a:lnTo>
                  <a:lnTo>
                    <a:pt x="956" y="354"/>
                  </a:lnTo>
                  <a:lnTo>
                    <a:pt x="944" y="370"/>
                  </a:lnTo>
                  <a:lnTo>
                    <a:pt x="904" y="380"/>
                  </a:lnTo>
                  <a:lnTo>
                    <a:pt x="896" y="400"/>
                  </a:lnTo>
                  <a:lnTo>
                    <a:pt x="906" y="404"/>
                  </a:lnTo>
                  <a:lnTo>
                    <a:pt x="914" y="416"/>
                  </a:lnTo>
                  <a:lnTo>
                    <a:pt x="902" y="430"/>
                  </a:lnTo>
                  <a:lnTo>
                    <a:pt x="880" y="430"/>
                  </a:lnTo>
                  <a:lnTo>
                    <a:pt x="850" y="430"/>
                  </a:lnTo>
                  <a:lnTo>
                    <a:pt x="830" y="436"/>
                  </a:lnTo>
                  <a:lnTo>
                    <a:pt x="804" y="436"/>
                  </a:lnTo>
                  <a:lnTo>
                    <a:pt x="802" y="418"/>
                  </a:lnTo>
                  <a:lnTo>
                    <a:pt x="792" y="402"/>
                  </a:lnTo>
                  <a:lnTo>
                    <a:pt x="794" y="390"/>
                  </a:lnTo>
                  <a:lnTo>
                    <a:pt x="782" y="384"/>
                  </a:lnTo>
                  <a:lnTo>
                    <a:pt x="766" y="388"/>
                  </a:lnTo>
                  <a:lnTo>
                    <a:pt x="764" y="434"/>
                  </a:lnTo>
                  <a:lnTo>
                    <a:pt x="758" y="450"/>
                  </a:lnTo>
                  <a:lnTo>
                    <a:pt x="740" y="454"/>
                  </a:lnTo>
                  <a:lnTo>
                    <a:pt x="712" y="446"/>
                  </a:lnTo>
                  <a:lnTo>
                    <a:pt x="676" y="442"/>
                  </a:lnTo>
                  <a:lnTo>
                    <a:pt x="632" y="418"/>
                  </a:lnTo>
                  <a:lnTo>
                    <a:pt x="618" y="408"/>
                  </a:lnTo>
                  <a:lnTo>
                    <a:pt x="592" y="414"/>
                  </a:lnTo>
                  <a:lnTo>
                    <a:pt x="558" y="410"/>
                  </a:lnTo>
                  <a:lnTo>
                    <a:pt x="490" y="368"/>
                  </a:lnTo>
                  <a:lnTo>
                    <a:pt x="484" y="354"/>
                  </a:lnTo>
                  <a:lnTo>
                    <a:pt x="456" y="346"/>
                  </a:lnTo>
                  <a:lnTo>
                    <a:pt x="458" y="328"/>
                  </a:lnTo>
                  <a:lnTo>
                    <a:pt x="458" y="302"/>
                  </a:lnTo>
                  <a:lnTo>
                    <a:pt x="474" y="278"/>
                  </a:lnTo>
                  <a:lnTo>
                    <a:pt x="476" y="264"/>
                  </a:lnTo>
                  <a:lnTo>
                    <a:pt x="452" y="246"/>
                  </a:lnTo>
                  <a:lnTo>
                    <a:pt x="420" y="238"/>
                  </a:lnTo>
                  <a:lnTo>
                    <a:pt x="416" y="214"/>
                  </a:lnTo>
                  <a:lnTo>
                    <a:pt x="404" y="200"/>
                  </a:lnTo>
                  <a:lnTo>
                    <a:pt x="398" y="178"/>
                  </a:lnTo>
                  <a:lnTo>
                    <a:pt x="424" y="186"/>
                  </a:lnTo>
                  <a:lnTo>
                    <a:pt x="438" y="174"/>
                  </a:lnTo>
                  <a:lnTo>
                    <a:pt x="424" y="162"/>
                  </a:lnTo>
                  <a:lnTo>
                    <a:pt x="424" y="146"/>
                  </a:lnTo>
                  <a:lnTo>
                    <a:pt x="412" y="136"/>
                  </a:lnTo>
                  <a:lnTo>
                    <a:pt x="416" y="100"/>
                  </a:lnTo>
                  <a:lnTo>
                    <a:pt x="422" y="68"/>
                  </a:lnTo>
                  <a:lnTo>
                    <a:pt x="412" y="54"/>
                  </a:lnTo>
                  <a:lnTo>
                    <a:pt x="412" y="28"/>
                  </a:lnTo>
                  <a:lnTo>
                    <a:pt x="388" y="16"/>
                  </a:lnTo>
                  <a:lnTo>
                    <a:pt x="364" y="2"/>
                  </a:lnTo>
                  <a:lnTo>
                    <a:pt x="346" y="0"/>
                  </a:lnTo>
                  <a:lnTo>
                    <a:pt x="342" y="24"/>
                  </a:lnTo>
                  <a:lnTo>
                    <a:pt x="342" y="48"/>
                  </a:lnTo>
                  <a:lnTo>
                    <a:pt x="330" y="70"/>
                  </a:lnTo>
                  <a:lnTo>
                    <a:pt x="308" y="62"/>
                  </a:lnTo>
                  <a:lnTo>
                    <a:pt x="278" y="72"/>
                  </a:lnTo>
                  <a:lnTo>
                    <a:pt x="252" y="74"/>
                  </a:lnTo>
                  <a:lnTo>
                    <a:pt x="226" y="62"/>
                  </a:lnTo>
                  <a:lnTo>
                    <a:pt x="216" y="76"/>
                  </a:lnTo>
                  <a:lnTo>
                    <a:pt x="212" y="98"/>
                  </a:lnTo>
                  <a:lnTo>
                    <a:pt x="220" y="150"/>
                  </a:lnTo>
                  <a:lnTo>
                    <a:pt x="246" y="160"/>
                  </a:lnTo>
                  <a:lnTo>
                    <a:pt x="248" y="176"/>
                  </a:lnTo>
                  <a:lnTo>
                    <a:pt x="278" y="184"/>
                  </a:lnTo>
                  <a:lnTo>
                    <a:pt x="248" y="218"/>
                  </a:lnTo>
                  <a:lnTo>
                    <a:pt x="256" y="240"/>
                  </a:lnTo>
                  <a:lnTo>
                    <a:pt x="248" y="248"/>
                  </a:lnTo>
                  <a:lnTo>
                    <a:pt x="232" y="252"/>
                  </a:lnTo>
                  <a:lnTo>
                    <a:pt x="218" y="260"/>
                  </a:lnTo>
                  <a:lnTo>
                    <a:pt x="226" y="278"/>
                  </a:lnTo>
                  <a:lnTo>
                    <a:pt x="206" y="292"/>
                  </a:lnTo>
                  <a:lnTo>
                    <a:pt x="196" y="330"/>
                  </a:lnTo>
                  <a:lnTo>
                    <a:pt x="174" y="346"/>
                  </a:lnTo>
                  <a:lnTo>
                    <a:pt x="160" y="350"/>
                  </a:lnTo>
                  <a:lnTo>
                    <a:pt x="140" y="380"/>
                  </a:lnTo>
                  <a:lnTo>
                    <a:pt x="120" y="384"/>
                  </a:lnTo>
                  <a:lnTo>
                    <a:pt x="104" y="396"/>
                  </a:lnTo>
                  <a:lnTo>
                    <a:pt x="88" y="386"/>
                  </a:lnTo>
                  <a:lnTo>
                    <a:pt x="74" y="386"/>
                  </a:lnTo>
                  <a:lnTo>
                    <a:pt x="70" y="402"/>
                  </a:lnTo>
                  <a:lnTo>
                    <a:pt x="50" y="426"/>
                  </a:lnTo>
                  <a:lnTo>
                    <a:pt x="60" y="440"/>
                  </a:lnTo>
                  <a:lnTo>
                    <a:pt x="78" y="446"/>
                  </a:lnTo>
                  <a:lnTo>
                    <a:pt x="74" y="462"/>
                  </a:lnTo>
                  <a:lnTo>
                    <a:pt x="88" y="482"/>
                  </a:lnTo>
                  <a:lnTo>
                    <a:pt x="100" y="484"/>
                  </a:lnTo>
                  <a:lnTo>
                    <a:pt x="116" y="510"/>
                  </a:lnTo>
                  <a:lnTo>
                    <a:pt x="116" y="520"/>
                  </a:lnTo>
                  <a:lnTo>
                    <a:pt x="120" y="532"/>
                  </a:lnTo>
                  <a:lnTo>
                    <a:pt x="108" y="540"/>
                  </a:lnTo>
                  <a:lnTo>
                    <a:pt x="100" y="528"/>
                  </a:lnTo>
                  <a:lnTo>
                    <a:pt x="84" y="536"/>
                  </a:lnTo>
                  <a:lnTo>
                    <a:pt x="62" y="542"/>
                  </a:lnTo>
                  <a:lnTo>
                    <a:pt x="44" y="542"/>
                  </a:lnTo>
                  <a:lnTo>
                    <a:pt x="30" y="536"/>
                  </a:lnTo>
                  <a:lnTo>
                    <a:pt x="28" y="552"/>
                  </a:lnTo>
                  <a:lnTo>
                    <a:pt x="12" y="554"/>
                  </a:lnTo>
                  <a:lnTo>
                    <a:pt x="0" y="568"/>
                  </a:lnTo>
                  <a:lnTo>
                    <a:pt x="14" y="576"/>
                  </a:lnTo>
                  <a:lnTo>
                    <a:pt x="34" y="600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13" name="Indonesia">
              <a:extLst>
                <a:ext uri="{FF2B5EF4-FFF2-40B4-BE49-F238E27FC236}">
                  <a16:creationId xmlns="" xmlns:a16="http://schemas.microsoft.com/office/drawing/2014/main" id="{95FE749F-1070-4FA3-BC67-5872140C73F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733338" y="4364062"/>
              <a:ext cx="1427134" cy="507372"/>
            </a:xfrm>
            <a:custGeom>
              <a:avLst/>
              <a:gdLst/>
              <a:ahLst/>
              <a:cxnLst>
                <a:cxn ang="0">
                  <a:pos x="170" y="94"/>
                </a:cxn>
                <a:cxn ang="0">
                  <a:pos x="242" y="140"/>
                </a:cxn>
                <a:cxn ang="0">
                  <a:pos x="320" y="202"/>
                </a:cxn>
                <a:cxn ang="0">
                  <a:pos x="338" y="272"/>
                </a:cxn>
                <a:cxn ang="0">
                  <a:pos x="420" y="352"/>
                </a:cxn>
                <a:cxn ang="0">
                  <a:pos x="356" y="460"/>
                </a:cxn>
                <a:cxn ang="0">
                  <a:pos x="280" y="384"/>
                </a:cxn>
                <a:cxn ang="0">
                  <a:pos x="162" y="220"/>
                </a:cxn>
                <a:cxn ang="0">
                  <a:pos x="92" y="132"/>
                </a:cxn>
                <a:cxn ang="0">
                  <a:pos x="84" y="192"/>
                </a:cxn>
                <a:cxn ang="0">
                  <a:pos x="100" y="184"/>
                </a:cxn>
                <a:cxn ang="0">
                  <a:pos x="544" y="142"/>
                </a:cxn>
                <a:cxn ang="0">
                  <a:pos x="542" y="226"/>
                </a:cxn>
                <a:cxn ang="0">
                  <a:pos x="576" y="330"/>
                </a:cxn>
                <a:cxn ang="0">
                  <a:pos x="684" y="346"/>
                </a:cxn>
                <a:cxn ang="0">
                  <a:pos x="794" y="356"/>
                </a:cxn>
                <a:cxn ang="0">
                  <a:pos x="826" y="258"/>
                </a:cxn>
                <a:cxn ang="0">
                  <a:pos x="902" y="186"/>
                </a:cxn>
                <a:cxn ang="0">
                  <a:pos x="854" y="52"/>
                </a:cxn>
                <a:cxn ang="0">
                  <a:pos x="760" y="162"/>
                </a:cxn>
                <a:cxn ang="0">
                  <a:pos x="666" y="184"/>
                </a:cxn>
                <a:cxn ang="0">
                  <a:pos x="562" y="132"/>
                </a:cxn>
                <a:cxn ang="0">
                  <a:pos x="464" y="512"/>
                </a:cxn>
                <a:cxn ang="0">
                  <a:pos x="666" y="544"/>
                </a:cxn>
                <a:cxn ang="0">
                  <a:pos x="792" y="550"/>
                </a:cxn>
                <a:cxn ang="0">
                  <a:pos x="694" y="498"/>
                </a:cxn>
                <a:cxn ang="0">
                  <a:pos x="524" y="478"/>
                </a:cxn>
                <a:cxn ang="0">
                  <a:pos x="806" y="550"/>
                </a:cxn>
                <a:cxn ang="0">
                  <a:pos x="804" y="536"/>
                </a:cxn>
                <a:cxn ang="0">
                  <a:pos x="920" y="560"/>
                </a:cxn>
                <a:cxn ang="0">
                  <a:pos x="944" y="598"/>
                </a:cxn>
                <a:cxn ang="0">
                  <a:pos x="944" y="598"/>
                </a:cxn>
                <a:cxn ang="0">
                  <a:pos x="1006" y="548"/>
                </a:cxn>
                <a:cxn ang="0">
                  <a:pos x="934" y="270"/>
                </a:cxn>
                <a:cxn ang="0">
                  <a:pos x="944" y="406"/>
                </a:cxn>
                <a:cxn ang="0">
                  <a:pos x="972" y="330"/>
                </a:cxn>
                <a:cxn ang="0">
                  <a:pos x="1026" y="414"/>
                </a:cxn>
                <a:cxn ang="0">
                  <a:pos x="1038" y="362"/>
                </a:cxn>
                <a:cxn ang="0">
                  <a:pos x="1058" y="262"/>
                </a:cxn>
                <a:cxn ang="0">
                  <a:pos x="1010" y="256"/>
                </a:cxn>
                <a:cxn ang="0">
                  <a:pos x="974" y="212"/>
                </a:cxn>
                <a:cxn ang="0">
                  <a:pos x="1156" y="142"/>
                </a:cxn>
                <a:cxn ang="0">
                  <a:pos x="1010" y="172"/>
                </a:cxn>
                <a:cxn ang="0">
                  <a:pos x="1242" y="196"/>
                </a:cxn>
                <a:cxn ang="0">
                  <a:pos x="1256" y="202"/>
                </a:cxn>
                <a:cxn ang="0">
                  <a:pos x="1268" y="164"/>
                </a:cxn>
                <a:cxn ang="0">
                  <a:pos x="1242" y="180"/>
                </a:cxn>
                <a:cxn ang="0">
                  <a:pos x="1338" y="350"/>
                </a:cxn>
                <a:cxn ang="0">
                  <a:pos x="1240" y="340"/>
                </a:cxn>
                <a:cxn ang="0">
                  <a:pos x="1182" y="334"/>
                </a:cxn>
                <a:cxn ang="0">
                  <a:pos x="1582" y="302"/>
                </a:cxn>
                <a:cxn ang="0">
                  <a:pos x="1420" y="228"/>
                </a:cxn>
                <a:cxn ang="0">
                  <a:pos x="1448" y="308"/>
                </a:cxn>
                <a:cxn ang="0">
                  <a:pos x="1464" y="368"/>
                </a:cxn>
                <a:cxn ang="0">
                  <a:pos x="1718" y="526"/>
                </a:cxn>
                <a:cxn ang="0">
                  <a:pos x="1146" y="590"/>
                </a:cxn>
                <a:cxn ang="0">
                  <a:pos x="1080" y="618"/>
                </a:cxn>
              </a:cxnLst>
              <a:rect l="0" t="0" r="r" b="b"/>
              <a:pathLst>
                <a:path w="1758" h="622">
                  <a:moveTo>
                    <a:pt x="0" y="0"/>
                  </a:moveTo>
                  <a:lnTo>
                    <a:pt x="14" y="0"/>
                  </a:lnTo>
                  <a:lnTo>
                    <a:pt x="50" y="18"/>
                  </a:lnTo>
                  <a:lnTo>
                    <a:pt x="96" y="10"/>
                  </a:lnTo>
                  <a:lnTo>
                    <a:pt x="170" y="94"/>
                  </a:lnTo>
                  <a:lnTo>
                    <a:pt x="176" y="94"/>
                  </a:lnTo>
                  <a:lnTo>
                    <a:pt x="188" y="120"/>
                  </a:lnTo>
                  <a:lnTo>
                    <a:pt x="200" y="114"/>
                  </a:lnTo>
                  <a:lnTo>
                    <a:pt x="224" y="140"/>
                  </a:lnTo>
                  <a:lnTo>
                    <a:pt x="242" y="140"/>
                  </a:lnTo>
                  <a:lnTo>
                    <a:pt x="248" y="162"/>
                  </a:lnTo>
                  <a:lnTo>
                    <a:pt x="262" y="162"/>
                  </a:lnTo>
                  <a:lnTo>
                    <a:pt x="298" y="196"/>
                  </a:lnTo>
                  <a:lnTo>
                    <a:pt x="302" y="210"/>
                  </a:lnTo>
                  <a:lnTo>
                    <a:pt x="320" y="202"/>
                  </a:lnTo>
                  <a:lnTo>
                    <a:pt x="332" y="218"/>
                  </a:lnTo>
                  <a:lnTo>
                    <a:pt x="304" y="234"/>
                  </a:lnTo>
                  <a:lnTo>
                    <a:pt x="334" y="240"/>
                  </a:lnTo>
                  <a:lnTo>
                    <a:pt x="318" y="252"/>
                  </a:lnTo>
                  <a:lnTo>
                    <a:pt x="338" y="272"/>
                  </a:lnTo>
                  <a:lnTo>
                    <a:pt x="358" y="266"/>
                  </a:lnTo>
                  <a:lnTo>
                    <a:pt x="368" y="300"/>
                  </a:lnTo>
                  <a:lnTo>
                    <a:pt x="398" y="306"/>
                  </a:lnTo>
                  <a:lnTo>
                    <a:pt x="406" y="324"/>
                  </a:lnTo>
                  <a:lnTo>
                    <a:pt x="420" y="352"/>
                  </a:lnTo>
                  <a:lnTo>
                    <a:pt x="416" y="448"/>
                  </a:lnTo>
                  <a:lnTo>
                    <a:pt x="396" y="424"/>
                  </a:lnTo>
                  <a:lnTo>
                    <a:pt x="386" y="454"/>
                  </a:lnTo>
                  <a:lnTo>
                    <a:pt x="362" y="440"/>
                  </a:lnTo>
                  <a:lnTo>
                    <a:pt x="356" y="460"/>
                  </a:lnTo>
                  <a:lnTo>
                    <a:pt x="340" y="450"/>
                  </a:lnTo>
                  <a:lnTo>
                    <a:pt x="332" y="428"/>
                  </a:lnTo>
                  <a:lnTo>
                    <a:pt x="296" y="404"/>
                  </a:lnTo>
                  <a:lnTo>
                    <a:pt x="292" y="390"/>
                  </a:lnTo>
                  <a:lnTo>
                    <a:pt x="280" y="384"/>
                  </a:lnTo>
                  <a:lnTo>
                    <a:pt x="278" y="370"/>
                  </a:lnTo>
                  <a:lnTo>
                    <a:pt x="230" y="322"/>
                  </a:lnTo>
                  <a:lnTo>
                    <a:pt x="228" y="296"/>
                  </a:lnTo>
                  <a:lnTo>
                    <a:pt x="178" y="224"/>
                  </a:lnTo>
                  <a:lnTo>
                    <a:pt x="162" y="220"/>
                  </a:lnTo>
                  <a:lnTo>
                    <a:pt x="148" y="172"/>
                  </a:lnTo>
                  <a:lnTo>
                    <a:pt x="140" y="170"/>
                  </a:lnTo>
                  <a:lnTo>
                    <a:pt x="146" y="156"/>
                  </a:lnTo>
                  <a:lnTo>
                    <a:pt x="110" y="134"/>
                  </a:lnTo>
                  <a:lnTo>
                    <a:pt x="92" y="132"/>
                  </a:lnTo>
                  <a:lnTo>
                    <a:pt x="90" y="110"/>
                  </a:lnTo>
                  <a:lnTo>
                    <a:pt x="64" y="74"/>
                  </a:lnTo>
                  <a:lnTo>
                    <a:pt x="18" y="44"/>
                  </a:lnTo>
                  <a:lnTo>
                    <a:pt x="0" y="0"/>
                  </a:lnTo>
                  <a:close/>
                  <a:moveTo>
                    <a:pt x="84" y="192"/>
                  </a:moveTo>
                  <a:lnTo>
                    <a:pt x="96" y="194"/>
                  </a:lnTo>
                  <a:lnTo>
                    <a:pt x="96" y="210"/>
                  </a:lnTo>
                  <a:lnTo>
                    <a:pt x="108" y="210"/>
                  </a:lnTo>
                  <a:lnTo>
                    <a:pt x="112" y="192"/>
                  </a:lnTo>
                  <a:lnTo>
                    <a:pt x="100" y="184"/>
                  </a:lnTo>
                  <a:lnTo>
                    <a:pt x="92" y="168"/>
                  </a:lnTo>
                  <a:lnTo>
                    <a:pt x="72" y="170"/>
                  </a:lnTo>
                  <a:lnTo>
                    <a:pt x="84" y="192"/>
                  </a:lnTo>
                  <a:close/>
                  <a:moveTo>
                    <a:pt x="562" y="132"/>
                  </a:moveTo>
                  <a:lnTo>
                    <a:pt x="544" y="142"/>
                  </a:lnTo>
                  <a:lnTo>
                    <a:pt x="542" y="158"/>
                  </a:lnTo>
                  <a:lnTo>
                    <a:pt x="532" y="178"/>
                  </a:lnTo>
                  <a:lnTo>
                    <a:pt x="540" y="204"/>
                  </a:lnTo>
                  <a:lnTo>
                    <a:pt x="548" y="214"/>
                  </a:lnTo>
                  <a:lnTo>
                    <a:pt x="542" y="226"/>
                  </a:lnTo>
                  <a:lnTo>
                    <a:pt x="550" y="248"/>
                  </a:lnTo>
                  <a:lnTo>
                    <a:pt x="584" y="272"/>
                  </a:lnTo>
                  <a:lnTo>
                    <a:pt x="574" y="292"/>
                  </a:lnTo>
                  <a:lnTo>
                    <a:pt x="584" y="316"/>
                  </a:lnTo>
                  <a:lnTo>
                    <a:pt x="576" y="330"/>
                  </a:lnTo>
                  <a:lnTo>
                    <a:pt x="590" y="340"/>
                  </a:lnTo>
                  <a:lnTo>
                    <a:pt x="646" y="336"/>
                  </a:lnTo>
                  <a:lnTo>
                    <a:pt x="646" y="358"/>
                  </a:lnTo>
                  <a:lnTo>
                    <a:pt x="666" y="350"/>
                  </a:lnTo>
                  <a:lnTo>
                    <a:pt x="684" y="346"/>
                  </a:lnTo>
                  <a:lnTo>
                    <a:pt x="698" y="330"/>
                  </a:lnTo>
                  <a:lnTo>
                    <a:pt x="706" y="342"/>
                  </a:lnTo>
                  <a:lnTo>
                    <a:pt x="752" y="370"/>
                  </a:lnTo>
                  <a:lnTo>
                    <a:pt x="752" y="384"/>
                  </a:lnTo>
                  <a:lnTo>
                    <a:pt x="794" y="356"/>
                  </a:lnTo>
                  <a:lnTo>
                    <a:pt x="798" y="336"/>
                  </a:lnTo>
                  <a:lnTo>
                    <a:pt x="810" y="334"/>
                  </a:lnTo>
                  <a:lnTo>
                    <a:pt x="810" y="286"/>
                  </a:lnTo>
                  <a:lnTo>
                    <a:pt x="822" y="272"/>
                  </a:lnTo>
                  <a:lnTo>
                    <a:pt x="826" y="258"/>
                  </a:lnTo>
                  <a:lnTo>
                    <a:pt x="838" y="260"/>
                  </a:lnTo>
                  <a:lnTo>
                    <a:pt x="858" y="244"/>
                  </a:lnTo>
                  <a:lnTo>
                    <a:pt x="858" y="224"/>
                  </a:lnTo>
                  <a:lnTo>
                    <a:pt x="876" y="180"/>
                  </a:lnTo>
                  <a:lnTo>
                    <a:pt x="902" y="186"/>
                  </a:lnTo>
                  <a:lnTo>
                    <a:pt x="924" y="176"/>
                  </a:lnTo>
                  <a:lnTo>
                    <a:pt x="884" y="154"/>
                  </a:lnTo>
                  <a:lnTo>
                    <a:pt x="870" y="138"/>
                  </a:lnTo>
                  <a:lnTo>
                    <a:pt x="866" y="102"/>
                  </a:lnTo>
                  <a:lnTo>
                    <a:pt x="854" y="52"/>
                  </a:lnTo>
                  <a:lnTo>
                    <a:pt x="808" y="48"/>
                  </a:lnTo>
                  <a:lnTo>
                    <a:pt x="792" y="54"/>
                  </a:lnTo>
                  <a:lnTo>
                    <a:pt x="776" y="104"/>
                  </a:lnTo>
                  <a:lnTo>
                    <a:pt x="762" y="114"/>
                  </a:lnTo>
                  <a:lnTo>
                    <a:pt x="760" y="162"/>
                  </a:lnTo>
                  <a:lnTo>
                    <a:pt x="746" y="172"/>
                  </a:lnTo>
                  <a:lnTo>
                    <a:pt x="712" y="172"/>
                  </a:lnTo>
                  <a:lnTo>
                    <a:pt x="702" y="162"/>
                  </a:lnTo>
                  <a:lnTo>
                    <a:pt x="678" y="168"/>
                  </a:lnTo>
                  <a:lnTo>
                    <a:pt x="666" y="184"/>
                  </a:lnTo>
                  <a:lnTo>
                    <a:pt x="650" y="188"/>
                  </a:lnTo>
                  <a:lnTo>
                    <a:pt x="634" y="182"/>
                  </a:lnTo>
                  <a:lnTo>
                    <a:pt x="610" y="190"/>
                  </a:lnTo>
                  <a:lnTo>
                    <a:pt x="570" y="152"/>
                  </a:lnTo>
                  <a:lnTo>
                    <a:pt x="562" y="132"/>
                  </a:lnTo>
                  <a:close/>
                  <a:moveTo>
                    <a:pt x="410" y="494"/>
                  </a:moveTo>
                  <a:lnTo>
                    <a:pt x="430" y="490"/>
                  </a:lnTo>
                  <a:lnTo>
                    <a:pt x="444" y="492"/>
                  </a:lnTo>
                  <a:lnTo>
                    <a:pt x="436" y="512"/>
                  </a:lnTo>
                  <a:lnTo>
                    <a:pt x="464" y="512"/>
                  </a:lnTo>
                  <a:lnTo>
                    <a:pt x="510" y="528"/>
                  </a:lnTo>
                  <a:lnTo>
                    <a:pt x="530" y="518"/>
                  </a:lnTo>
                  <a:lnTo>
                    <a:pt x="612" y="534"/>
                  </a:lnTo>
                  <a:lnTo>
                    <a:pt x="634" y="530"/>
                  </a:lnTo>
                  <a:lnTo>
                    <a:pt x="666" y="544"/>
                  </a:lnTo>
                  <a:lnTo>
                    <a:pt x="694" y="542"/>
                  </a:lnTo>
                  <a:lnTo>
                    <a:pt x="732" y="548"/>
                  </a:lnTo>
                  <a:lnTo>
                    <a:pt x="752" y="546"/>
                  </a:lnTo>
                  <a:lnTo>
                    <a:pt x="774" y="564"/>
                  </a:lnTo>
                  <a:lnTo>
                    <a:pt x="792" y="550"/>
                  </a:lnTo>
                  <a:lnTo>
                    <a:pt x="782" y="532"/>
                  </a:lnTo>
                  <a:lnTo>
                    <a:pt x="748" y="532"/>
                  </a:lnTo>
                  <a:lnTo>
                    <a:pt x="746" y="512"/>
                  </a:lnTo>
                  <a:lnTo>
                    <a:pt x="702" y="508"/>
                  </a:lnTo>
                  <a:lnTo>
                    <a:pt x="694" y="498"/>
                  </a:lnTo>
                  <a:lnTo>
                    <a:pt x="672" y="488"/>
                  </a:lnTo>
                  <a:lnTo>
                    <a:pt x="632" y="462"/>
                  </a:lnTo>
                  <a:lnTo>
                    <a:pt x="612" y="462"/>
                  </a:lnTo>
                  <a:lnTo>
                    <a:pt x="596" y="488"/>
                  </a:lnTo>
                  <a:lnTo>
                    <a:pt x="524" y="478"/>
                  </a:lnTo>
                  <a:lnTo>
                    <a:pt x="520" y="460"/>
                  </a:lnTo>
                  <a:lnTo>
                    <a:pt x="442" y="452"/>
                  </a:lnTo>
                  <a:lnTo>
                    <a:pt x="394" y="492"/>
                  </a:lnTo>
                  <a:lnTo>
                    <a:pt x="410" y="494"/>
                  </a:lnTo>
                  <a:close/>
                  <a:moveTo>
                    <a:pt x="806" y="550"/>
                  </a:moveTo>
                  <a:lnTo>
                    <a:pt x="798" y="564"/>
                  </a:lnTo>
                  <a:lnTo>
                    <a:pt x="816" y="566"/>
                  </a:lnTo>
                  <a:lnTo>
                    <a:pt x="824" y="558"/>
                  </a:lnTo>
                  <a:lnTo>
                    <a:pt x="830" y="538"/>
                  </a:lnTo>
                  <a:lnTo>
                    <a:pt x="804" y="536"/>
                  </a:lnTo>
                  <a:lnTo>
                    <a:pt x="806" y="550"/>
                  </a:lnTo>
                  <a:close/>
                  <a:moveTo>
                    <a:pt x="840" y="552"/>
                  </a:moveTo>
                  <a:lnTo>
                    <a:pt x="842" y="574"/>
                  </a:lnTo>
                  <a:lnTo>
                    <a:pt x="850" y="570"/>
                  </a:lnTo>
                  <a:lnTo>
                    <a:pt x="920" y="560"/>
                  </a:lnTo>
                  <a:lnTo>
                    <a:pt x="916" y="536"/>
                  </a:lnTo>
                  <a:lnTo>
                    <a:pt x="888" y="534"/>
                  </a:lnTo>
                  <a:lnTo>
                    <a:pt x="870" y="548"/>
                  </a:lnTo>
                  <a:lnTo>
                    <a:pt x="840" y="552"/>
                  </a:lnTo>
                  <a:close/>
                  <a:moveTo>
                    <a:pt x="944" y="598"/>
                  </a:moveTo>
                  <a:lnTo>
                    <a:pt x="974" y="622"/>
                  </a:lnTo>
                  <a:lnTo>
                    <a:pt x="986" y="612"/>
                  </a:lnTo>
                  <a:lnTo>
                    <a:pt x="960" y="584"/>
                  </a:lnTo>
                  <a:lnTo>
                    <a:pt x="920" y="584"/>
                  </a:lnTo>
                  <a:lnTo>
                    <a:pt x="944" y="598"/>
                  </a:lnTo>
                  <a:close/>
                  <a:moveTo>
                    <a:pt x="956" y="564"/>
                  </a:moveTo>
                  <a:lnTo>
                    <a:pt x="996" y="568"/>
                  </a:lnTo>
                  <a:lnTo>
                    <a:pt x="1054" y="552"/>
                  </a:lnTo>
                  <a:lnTo>
                    <a:pt x="1062" y="538"/>
                  </a:lnTo>
                  <a:lnTo>
                    <a:pt x="1006" y="548"/>
                  </a:lnTo>
                  <a:lnTo>
                    <a:pt x="972" y="542"/>
                  </a:lnTo>
                  <a:lnTo>
                    <a:pt x="936" y="554"/>
                  </a:lnTo>
                  <a:lnTo>
                    <a:pt x="956" y="564"/>
                  </a:lnTo>
                  <a:close/>
                  <a:moveTo>
                    <a:pt x="946" y="240"/>
                  </a:moveTo>
                  <a:lnTo>
                    <a:pt x="934" y="270"/>
                  </a:lnTo>
                  <a:lnTo>
                    <a:pt x="918" y="318"/>
                  </a:lnTo>
                  <a:lnTo>
                    <a:pt x="922" y="354"/>
                  </a:lnTo>
                  <a:lnTo>
                    <a:pt x="934" y="354"/>
                  </a:lnTo>
                  <a:lnTo>
                    <a:pt x="944" y="380"/>
                  </a:lnTo>
                  <a:lnTo>
                    <a:pt x="944" y="406"/>
                  </a:lnTo>
                  <a:lnTo>
                    <a:pt x="936" y="430"/>
                  </a:lnTo>
                  <a:lnTo>
                    <a:pt x="962" y="444"/>
                  </a:lnTo>
                  <a:lnTo>
                    <a:pt x="982" y="430"/>
                  </a:lnTo>
                  <a:lnTo>
                    <a:pt x="970" y="370"/>
                  </a:lnTo>
                  <a:lnTo>
                    <a:pt x="972" y="330"/>
                  </a:lnTo>
                  <a:lnTo>
                    <a:pt x="992" y="328"/>
                  </a:lnTo>
                  <a:lnTo>
                    <a:pt x="992" y="358"/>
                  </a:lnTo>
                  <a:lnTo>
                    <a:pt x="1018" y="374"/>
                  </a:lnTo>
                  <a:lnTo>
                    <a:pt x="1008" y="402"/>
                  </a:lnTo>
                  <a:lnTo>
                    <a:pt x="1026" y="414"/>
                  </a:lnTo>
                  <a:lnTo>
                    <a:pt x="1040" y="394"/>
                  </a:lnTo>
                  <a:lnTo>
                    <a:pt x="1056" y="400"/>
                  </a:lnTo>
                  <a:lnTo>
                    <a:pt x="1064" y="380"/>
                  </a:lnTo>
                  <a:lnTo>
                    <a:pt x="1046" y="382"/>
                  </a:lnTo>
                  <a:lnTo>
                    <a:pt x="1038" y="362"/>
                  </a:lnTo>
                  <a:lnTo>
                    <a:pt x="1046" y="346"/>
                  </a:lnTo>
                  <a:lnTo>
                    <a:pt x="996" y="294"/>
                  </a:lnTo>
                  <a:lnTo>
                    <a:pt x="1016" y="292"/>
                  </a:lnTo>
                  <a:lnTo>
                    <a:pt x="1046" y="276"/>
                  </a:lnTo>
                  <a:lnTo>
                    <a:pt x="1058" y="262"/>
                  </a:lnTo>
                  <a:lnTo>
                    <a:pt x="1074" y="268"/>
                  </a:lnTo>
                  <a:lnTo>
                    <a:pt x="1084" y="260"/>
                  </a:lnTo>
                  <a:lnTo>
                    <a:pt x="1080" y="250"/>
                  </a:lnTo>
                  <a:lnTo>
                    <a:pt x="1058" y="250"/>
                  </a:lnTo>
                  <a:lnTo>
                    <a:pt x="1010" y="256"/>
                  </a:lnTo>
                  <a:lnTo>
                    <a:pt x="992" y="274"/>
                  </a:lnTo>
                  <a:lnTo>
                    <a:pt x="976" y="274"/>
                  </a:lnTo>
                  <a:lnTo>
                    <a:pt x="972" y="258"/>
                  </a:lnTo>
                  <a:lnTo>
                    <a:pt x="964" y="248"/>
                  </a:lnTo>
                  <a:lnTo>
                    <a:pt x="974" y="212"/>
                  </a:lnTo>
                  <a:lnTo>
                    <a:pt x="1000" y="204"/>
                  </a:lnTo>
                  <a:lnTo>
                    <a:pt x="1076" y="212"/>
                  </a:lnTo>
                  <a:lnTo>
                    <a:pt x="1118" y="200"/>
                  </a:lnTo>
                  <a:lnTo>
                    <a:pt x="1148" y="166"/>
                  </a:lnTo>
                  <a:lnTo>
                    <a:pt x="1156" y="142"/>
                  </a:lnTo>
                  <a:lnTo>
                    <a:pt x="1148" y="136"/>
                  </a:lnTo>
                  <a:lnTo>
                    <a:pt x="1138" y="140"/>
                  </a:lnTo>
                  <a:lnTo>
                    <a:pt x="1102" y="180"/>
                  </a:lnTo>
                  <a:lnTo>
                    <a:pt x="1066" y="182"/>
                  </a:lnTo>
                  <a:lnTo>
                    <a:pt x="1010" y="172"/>
                  </a:lnTo>
                  <a:lnTo>
                    <a:pt x="992" y="172"/>
                  </a:lnTo>
                  <a:lnTo>
                    <a:pt x="980" y="192"/>
                  </a:lnTo>
                  <a:lnTo>
                    <a:pt x="932" y="228"/>
                  </a:lnTo>
                  <a:lnTo>
                    <a:pt x="946" y="240"/>
                  </a:lnTo>
                  <a:close/>
                  <a:moveTo>
                    <a:pt x="1242" y="196"/>
                  </a:moveTo>
                  <a:lnTo>
                    <a:pt x="1240" y="236"/>
                  </a:lnTo>
                  <a:lnTo>
                    <a:pt x="1262" y="254"/>
                  </a:lnTo>
                  <a:lnTo>
                    <a:pt x="1270" y="246"/>
                  </a:lnTo>
                  <a:lnTo>
                    <a:pt x="1256" y="226"/>
                  </a:lnTo>
                  <a:lnTo>
                    <a:pt x="1256" y="202"/>
                  </a:lnTo>
                  <a:lnTo>
                    <a:pt x="1300" y="204"/>
                  </a:lnTo>
                  <a:lnTo>
                    <a:pt x="1264" y="184"/>
                  </a:lnTo>
                  <a:lnTo>
                    <a:pt x="1280" y="166"/>
                  </a:lnTo>
                  <a:lnTo>
                    <a:pt x="1290" y="152"/>
                  </a:lnTo>
                  <a:lnTo>
                    <a:pt x="1268" y="164"/>
                  </a:lnTo>
                  <a:lnTo>
                    <a:pt x="1252" y="164"/>
                  </a:lnTo>
                  <a:lnTo>
                    <a:pt x="1258" y="146"/>
                  </a:lnTo>
                  <a:lnTo>
                    <a:pt x="1250" y="126"/>
                  </a:lnTo>
                  <a:lnTo>
                    <a:pt x="1238" y="148"/>
                  </a:lnTo>
                  <a:lnTo>
                    <a:pt x="1242" y="180"/>
                  </a:lnTo>
                  <a:lnTo>
                    <a:pt x="1228" y="180"/>
                  </a:lnTo>
                  <a:lnTo>
                    <a:pt x="1242" y="196"/>
                  </a:lnTo>
                  <a:close/>
                  <a:moveTo>
                    <a:pt x="1276" y="346"/>
                  </a:moveTo>
                  <a:lnTo>
                    <a:pt x="1312" y="348"/>
                  </a:lnTo>
                  <a:lnTo>
                    <a:pt x="1338" y="350"/>
                  </a:lnTo>
                  <a:lnTo>
                    <a:pt x="1366" y="358"/>
                  </a:lnTo>
                  <a:lnTo>
                    <a:pt x="1348" y="328"/>
                  </a:lnTo>
                  <a:lnTo>
                    <a:pt x="1320" y="324"/>
                  </a:lnTo>
                  <a:lnTo>
                    <a:pt x="1272" y="328"/>
                  </a:lnTo>
                  <a:lnTo>
                    <a:pt x="1240" y="340"/>
                  </a:lnTo>
                  <a:lnTo>
                    <a:pt x="1276" y="346"/>
                  </a:lnTo>
                  <a:close/>
                  <a:moveTo>
                    <a:pt x="1202" y="360"/>
                  </a:moveTo>
                  <a:lnTo>
                    <a:pt x="1228" y="340"/>
                  </a:lnTo>
                  <a:lnTo>
                    <a:pt x="1200" y="328"/>
                  </a:lnTo>
                  <a:lnTo>
                    <a:pt x="1182" y="334"/>
                  </a:lnTo>
                  <a:lnTo>
                    <a:pt x="1202" y="360"/>
                  </a:lnTo>
                  <a:close/>
                  <a:moveTo>
                    <a:pt x="1700" y="306"/>
                  </a:moveTo>
                  <a:lnTo>
                    <a:pt x="1636" y="272"/>
                  </a:lnTo>
                  <a:lnTo>
                    <a:pt x="1606" y="300"/>
                  </a:lnTo>
                  <a:lnTo>
                    <a:pt x="1582" y="302"/>
                  </a:lnTo>
                  <a:lnTo>
                    <a:pt x="1550" y="344"/>
                  </a:lnTo>
                  <a:lnTo>
                    <a:pt x="1526" y="336"/>
                  </a:lnTo>
                  <a:lnTo>
                    <a:pt x="1508" y="302"/>
                  </a:lnTo>
                  <a:lnTo>
                    <a:pt x="1486" y="246"/>
                  </a:lnTo>
                  <a:lnTo>
                    <a:pt x="1420" y="228"/>
                  </a:lnTo>
                  <a:lnTo>
                    <a:pt x="1364" y="270"/>
                  </a:lnTo>
                  <a:lnTo>
                    <a:pt x="1420" y="292"/>
                  </a:lnTo>
                  <a:lnTo>
                    <a:pt x="1476" y="290"/>
                  </a:lnTo>
                  <a:lnTo>
                    <a:pt x="1478" y="304"/>
                  </a:lnTo>
                  <a:lnTo>
                    <a:pt x="1448" y="308"/>
                  </a:lnTo>
                  <a:lnTo>
                    <a:pt x="1438" y="318"/>
                  </a:lnTo>
                  <a:lnTo>
                    <a:pt x="1406" y="324"/>
                  </a:lnTo>
                  <a:lnTo>
                    <a:pt x="1438" y="334"/>
                  </a:lnTo>
                  <a:lnTo>
                    <a:pt x="1448" y="370"/>
                  </a:lnTo>
                  <a:lnTo>
                    <a:pt x="1464" y="368"/>
                  </a:lnTo>
                  <a:lnTo>
                    <a:pt x="1476" y="356"/>
                  </a:lnTo>
                  <a:lnTo>
                    <a:pt x="1630" y="422"/>
                  </a:lnTo>
                  <a:lnTo>
                    <a:pt x="1650" y="440"/>
                  </a:lnTo>
                  <a:lnTo>
                    <a:pt x="1682" y="528"/>
                  </a:lnTo>
                  <a:lnTo>
                    <a:pt x="1718" y="526"/>
                  </a:lnTo>
                  <a:lnTo>
                    <a:pt x="1758" y="564"/>
                  </a:lnTo>
                  <a:lnTo>
                    <a:pt x="1758" y="316"/>
                  </a:lnTo>
                  <a:lnTo>
                    <a:pt x="1700" y="306"/>
                  </a:lnTo>
                  <a:close/>
                  <a:moveTo>
                    <a:pt x="1124" y="610"/>
                  </a:moveTo>
                  <a:lnTo>
                    <a:pt x="1146" y="590"/>
                  </a:lnTo>
                  <a:lnTo>
                    <a:pt x="1148" y="574"/>
                  </a:lnTo>
                  <a:lnTo>
                    <a:pt x="1136" y="568"/>
                  </a:lnTo>
                  <a:lnTo>
                    <a:pt x="1106" y="574"/>
                  </a:lnTo>
                  <a:lnTo>
                    <a:pt x="1090" y="590"/>
                  </a:lnTo>
                  <a:lnTo>
                    <a:pt x="1080" y="618"/>
                  </a:lnTo>
                  <a:lnTo>
                    <a:pt x="1124" y="610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14" name="Iran">
              <a:extLst>
                <a:ext uri="{FF2B5EF4-FFF2-40B4-BE49-F238E27FC236}">
                  <a16:creationId xmlns="" xmlns:a16="http://schemas.microsoft.com/office/drawing/2014/main" id="{643BD2CD-FEFB-4B4F-8E0D-FBF6CDE2243D}"/>
                </a:ext>
              </a:extLst>
            </p:cNvPr>
            <p:cNvSpPr>
              <a:spLocks/>
            </p:cNvSpPr>
            <p:nvPr/>
          </p:nvSpPr>
          <p:spPr bwMode="gray">
            <a:xfrm>
              <a:off x="7169544" y="3188059"/>
              <a:ext cx="581787" cy="552604"/>
            </a:xfrm>
            <a:custGeom>
              <a:avLst/>
              <a:gdLst/>
              <a:ahLst/>
              <a:cxnLst>
                <a:cxn ang="0">
                  <a:pos x="170" y="458"/>
                </a:cxn>
                <a:cxn ang="0">
                  <a:pos x="146" y="422"/>
                </a:cxn>
                <a:cxn ang="0">
                  <a:pos x="132" y="372"/>
                </a:cxn>
                <a:cxn ang="0">
                  <a:pos x="74" y="322"/>
                </a:cxn>
                <a:cxn ang="0">
                  <a:pos x="56" y="290"/>
                </a:cxn>
                <a:cxn ang="0">
                  <a:pos x="52" y="258"/>
                </a:cxn>
                <a:cxn ang="0">
                  <a:pos x="70" y="224"/>
                </a:cxn>
                <a:cxn ang="0">
                  <a:pos x="74" y="202"/>
                </a:cxn>
                <a:cxn ang="0">
                  <a:pos x="74" y="184"/>
                </a:cxn>
                <a:cxn ang="0">
                  <a:pos x="38" y="166"/>
                </a:cxn>
                <a:cxn ang="0">
                  <a:pos x="26" y="124"/>
                </a:cxn>
                <a:cxn ang="0">
                  <a:pos x="14" y="80"/>
                </a:cxn>
                <a:cxn ang="0">
                  <a:pos x="0" y="36"/>
                </a:cxn>
                <a:cxn ang="0">
                  <a:pos x="12" y="0"/>
                </a:cxn>
                <a:cxn ang="0">
                  <a:pos x="54" y="38"/>
                </a:cxn>
                <a:cxn ang="0">
                  <a:pos x="70" y="36"/>
                </a:cxn>
                <a:cxn ang="0">
                  <a:pos x="92" y="42"/>
                </a:cxn>
                <a:cxn ang="0">
                  <a:pos x="146" y="4"/>
                </a:cxn>
                <a:cxn ang="0">
                  <a:pos x="148" y="46"/>
                </a:cxn>
                <a:cxn ang="0">
                  <a:pos x="188" y="70"/>
                </a:cxn>
                <a:cxn ang="0">
                  <a:pos x="192" y="114"/>
                </a:cxn>
                <a:cxn ang="0">
                  <a:pos x="224" y="122"/>
                </a:cxn>
                <a:cxn ang="0">
                  <a:pos x="270" y="162"/>
                </a:cxn>
                <a:cxn ang="0">
                  <a:pos x="314" y="148"/>
                </a:cxn>
                <a:cxn ang="0">
                  <a:pos x="354" y="140"/>
                </a:cxn>
                <a:cxn ang="0">
                  <a:pos x="372" y="148"/>
                </a:cxn>
                <a:cxn ang="0">
                  <a:pos x="368" y="114"/>
                </a:cxn>
                <a:cxn ang="0">
                  <a:pos x="422" y="86"/>
                </a:cxn>
                <a:cxn ang="0">
                  <a:pos x="460" y="72"/>
                </a:cxn>
                <a:cxn ang="0">
                  <a:pos x="500" y="88"/>
                </a:cxn>
                <a:cxn ang="0">
                  <a:pos x="530" y="104"/>
                </a:cxn>
                <a:cxn ang="0">
                  <a:pos x="568" y="118"/>
                </a:cxn>
                <a:cxn ang="0">
                  <a:pos x="598" y="132"/>
                </a:cxn>
                <a:cxn ang="0">
                  <a:pos x="618" y="154"/>
                </a:cxn>
                <a:cxn ang="0">
                  <a:pos x="638" y="190"/>
                </a:cxn>
                <a:cxn ang="0">
                  <a:pos x="622" y="256"/>
                </a:cxn>
                <a:cxn ang="0">
                  <a:pos x="616" y="296"/>
                </a:cxn>
                <a:cxn ang="0">
                  <a:pos x="622" y="318"/>
                </a:cxn>
                <a:cxn ang="0">
                  <a:pos x="648" y="394"/>
                </a:cxn>
                <a:cxn ang="0">
                  <a:pos x="660" y="416"/>
                </a:cxn>
                <a:cxn ang="0">
                  <a:pos x="660" y="528"/>
                </a:cxn>
                <a:cxn ang="0">
                  <a:pos x="700" y="578"/>
                </a:cxn>
                <a:cxn ang="0">
                  <a:pos x="712" y="606"/>
                </a:cxn>
                <a:cxn ang="0">
                  <a:pos x="660" y="630"/>
                </a:cxn>
                <a:cxn ang="0">
                  <a:pos x="648" y="662"/>
                </a:cxn>
                <a:cxn ang="0">
                  <a:pos x="608" y="664"/>
                </a:cxn>
                <a:cxn ang="0">
                  <a:pos x="528" y="656"/>
                </a:cxn>
                <a:cxn ang="0">
                  <a:pos x="510" y="650"/>
                </a:cxn>
                <a:cxn ang="0">
                  <a:pos x="488" y="608"/>
                </a:cxn>
                <a:cxn ang="0">
                  <a:pos x="450" y="584"/>
                </a:cxn>
                <a:cxn ang="0">
                  <a:pos x="428" y="594"/>
                </a:cxn>
                <a:cxn ang="0">
                  <a:pos x="390" y="612"/>
                </a:cxn>
                <a:cxn ang="0">
                  <a:pos x="364" y="610"/>
                </a:cxn>
                <a:cxn ang="0">
                  <a:pos x="314" y="582"/>
                </a:cxn>
                <a:cxn ang="0">
                  <a:pos x="292" y="554"/>
                </a:cxn>
                <a:cxn ang="0">
                  <a:pos x="268" y="520"/>
                </a:cxn>
                <a:cxn ang="0">
                  <a:pos x="260" y="502"/>
                </a:cxn>
                <a:cxn ang="0">
                  <a:pos x="246" y="482"/>
                </a:cxn>
                <a:cxn ang="0">
                  <a:pos x="226" y="452"/>
                </a:cxn>
                <a:cxn ang="0">
                  <a:pos x="202" y="458"/>
                </a:cxn>
                <a:cxn ang="0">
                  <a:pos x="180" y="450"/>
                </a:cxn>
              </a:cxnLst>
              <a:rect l="0" t="0" r="r" b="b"/>
              <a:pathLst>
                <a:path w="718" h="674">
                  <a:moveTo>
                    <a:pt x="180" y="450"/>
                  </a:moveTo>
                  <a:lnTo>
                    <a:pt x="170" y="458"/>
                  </a:lnTo>
                  <a:lnTo>
                    <a:pt x="146" y="438"/>
                  </a:lnTo>
                  <a:lnTo>
                    <a:pt x="146" y="422"/>
                  </a:lnTo>
                  <a:lnTo>
                    <a:pt x="136" y="416"/>
                  </a:lnTo>
                  <a:lnTo>
                    <a:pt x="132" y="372"/>
                  </a:lnTo>
                  <a:lnTo>
                    <a:pt x="120" y="356"/>
                  </a:lnTo>
                  <a:lnTo>
                    <a:pt x="74" y="322"/>
                  </a:lnTo>
                  <a:lnTo>
                    <a:pt x="68" y="306"/>
                  </a:lnTo>
                  <a:lnTo>
                    <a:pt x="56" y="290"/>
                  </a:lnTo>
                  <a:lnTo>
                    <a:pt x="52" y="280"/>
                  </a:lnTo>
                  <a:lnTo>
                    <a:pt x="52" y="258"/>
                  </a:lnTo>
                  <a:lnTo>
                    <a:pt x="62" y="238"/>
                  </a:lnTo>
                  <a:lnTo>
                    <a:pt x="70" y="224"/>
                  </a:lnTo>
                  <a:lnTo>
                    <a:pt x="80" y="216"/>
                  </a:lnTo>
                  <a:lnTo>
                    <a:pt x="74" y="202"/>
                  </a:lnTo>
                  <a:lnTo>
                    <a:pt x="80" y="188"/>
                  </a:lnTo>
                  <a:lnTo>
                    <a:pt x="74" y="184"/>
                  </a:lnTo>
                  <a:lnTo>
                    <a:pt x="46" y="180"/>
                  </a:lnTo>
                  <a:lnTo>
                    <a:pt x="38" y="166"/>
                  </a:lnTo>
                  <a:lnTo>
                    <a:pt x="28" y="158"/>
                  </a:lnTo>
                  <a:lnTo>
                    <a:pt x="26" y="124"/>
                  </a:lnTo>
                  <a:lnTo>
                    <a:pt x="14" y="96"/>
                  </a:lnTo>
                  <a:lnTo>
                    <a:pt x="14" y="80"/>
                  </a:lnTo>
                  <a:lnTo>
                    <a:pt x="2" y="54"/>
                  </a:lnTo>
                  <a:lnTo>
                    <a:pt x="0" y="36"/>
                  </a:lnTo>
                  <a:lnTo>
                    <a:pt x="8" y="14"/>
                  </a:lnTo>
                  <a:lnTo>
                    <a:pt x="12" y="0"/>
                  </a:lnTo>
                  <a:lnTo>
                    <a:pt x="22" y="8"/>
                  </a:lnTo>
                  <a:lnTo>
                    <a:pt x="54" y="38"/>
                  </a:lnTo>
                  <a:lnTo>
                    <a:pt x="62" y="40"/>
                  </a:lnTo>
                  <a:lnTo>
                    <a:pt x="70" y="36"/>
                  </a:lnTo>
                  <a:lnTo>
                    <a:pt x="74" y="44"/>
                  </a:lnTo>
                  <a:lnTo>
                    <a:pt x="92" y="42"/>
                  </a:lnTo>
                  <a:lnTo>
                    <a:pt x="118" y="22"/>
                  </a:lnTo>
                  <a:lnTo>
                    <a:pt x="146" y="4"/>
                  </a:lnTo>
                  <a:lnTo>
                    <a:pt x="158" y="30"/>
                  </a:lnTo>
                  <a:lnTo>
                    <a:pt x="148" y="46"/>
                  </a:lnTo>
                  <a:lnTo>
                    <a:pt x="164" y="58"/>
                  </a:lnTo>
                  <a:lnTo>
                    <a:pt x="188" y="70"/>
                  </a:lnTo>
                  <a:lnTo>
                    <a:pt x="190" y="100"/>
                  </a:lnTo>
                  <a:lnTo>
                    <a:pt x="192" y="114"/>
                  </a:lnTo>
                  <a:lnTo>
                    <a:pt x="204" y="120"/>
                  </a:lnTo>
                  <a:lnTo>
                    <a:pt x="224" y="122"/>
                  </a:lnTo>
                  <a:lnTo>
                    <a:pt x="234" y="142"/>
                  </a:lnTo>
                  <a:lnTo>
                    <a:pt x="270" y="162"/>
                  </a:lnTo>
                  <a:lnTo>
                    <a:pt x="286" y="162"/>
                  </a:lnTo>
                  <a:lnTo>
                    <a:pt x="314" y="148"/>
                  </a:lnTo>
                  <a:lnTo>
                    <a:pt x="338" y="146"/>
                  </a:lnTo>
                  <a:lnTo>
                    <a:pt x="354" y="140"/>
                  </a:lnTo>
                  <a:lnTo>
                    <a:pt x="356" y="146"/>
                  </a:lnTo>
                  <a:lnTo>
                    <a:pt x="372" y="148"/>
                  </a:lnTo>
                  <a:lnTo>
                    <a:pt x="374" y="136"/>
                  </a:lnTo>
                  <a:lnTo>
                    <a:pt x="368" y="114"/>
                  </a:lnTo>
                  <a:lnTo>
                    <a:pt x="384" y="122"/>
                  </a:lnTo>
                  <a:lnTo>
                    <a:pt x="422" y="86"/>
                  </a:lnTo>
                  <a:lnTo>
                    <a:pt x="450" y="86"/>
                  </a:lnTo>
                  <a:lnTo>
                    <a:pt x="460" y="72"/>
                  </a:lnTo>
                  <a:lnTo>
                    <a:pt x="486" y="70"/>
                  </a:lnTo>
                  <a:lnTo>
                    <a:pt x="500" y="88"/>
                  </a:lnTo>
                  <a:lnTo>
                    <a:pt x="518" y="92"/>
                  </a:lnTo>
                  <a:lnTo>
                    <a:pt x="530" y="104"/>
                  </a:lnTo>
                  <a:lnTo>
                    <a:pt x="560" y="104"/>
                  </a:lnTo>
                  <a:lnTo>
                    <a:pt x="568" y="118"/>
                  </a:lnTo>
                  <a:lnTo>
                    <a:pt x="584" y="122"/>
                  </a:lnTo>
                  <a:lnTo>
                    <a:pt x="598" y="132"/>
                  </a:lnTo>
                  <a:lnTo>
                    <a:pt x="604" y="148"/>
                  </a:lnTo>
                  <a:lnTo>
                    <a:pt x="618" y="154"/>
                  </a:lnTo>
                  <a:lnTo>
                    <a:pt x="638" y="152"/>
                  </a:lnTo>
                  <a:lnTo>
                    <a:pt x="638" y="190"/>
                  </a:lnTo>
                  <a:lnTo>
                    <a:pt x="638" y="220"/>
                  </a:lnTo>
                  <a:lnTo>
                    <a:pt x="622" y="256"/>
                  </a:lnTo>
                  <a:lnTo>
                    <a:pt x="616" y="258"/>
                  </a:lnTo>
                  <a:lnTo>
                    <a:pt x="616" y="296"/>
                  </a:lnTo>
                  <a:lnTo>
                    <a:pt x="632" y="302"/>
                  </a:lnTo>
                  <a:lnTo>
                    <a:pt x="622" y="318"/>
                  </a:lnTo>
                  <a:lnTo>
                    <a:pt x="628" y="390"/>
                  </a:lnTo>
                  <a:lnTo>
                    <a:pt x="648" y="394"/>
                  </a:lnTo>
                  <a:lnTo>
                    <a:pt x="660" y="398"/>
                  </a:lnTo>
                  <a:lnTo>
                    <a:pt x="660" y="416"/>
                  </a:lnTo>
                  <a:lnTo>
                    <a:pt x="628" y="470"/>
                  </a:lnTo>
                  <a:lnTo>
                    <a:pt x="660" y="528"/>
                  </a:lnTo>
                  <a:lnTo>
                    <a:pt x="700" y="544"/>
                  </a:lnTo>
                  <a:lnTo>
                    <a:pt x="700" y="578"/>
                  </a:lnTo>
                  <a:lnTo>
                    <a:pt x="718" y="590"/>
                  </a:lnTo>
                  <a:lnTo>
                    <a:pt x="712" y="606"/>
                  </a:lnTo>
                  <a:lnTo>
                    <a:pt x="682" y="610"/>
                  </a:lnTo>
                  <a:lnTo>
                    <a:pt x="660" y="630"/>
                  </a:lnTo>
                  <a:lnTo>
                    <a:pt x="654" y="662"/>
                  </a:lnTo>
                  <a:lnTo>
                    <a:pt x="648" y="662"/>
                  </a:lnTo>
                  <a:lnTo>
                    <a:pt x="644" y="674"/>
                  </a:lnTo>
                  <a:lnTo>
                    <a:pt x="608" y="664"/>
                  </a:lnTo>
                  <a:lnTo>
                    <a:pt x="556" y="662"/>
                  </a:lnTo>
                  <a:lnTo>
                    <a:pt x="528" y="656"/>
                  </a:lnTo>
                  <a:lnTo>
                    <a:pt x="520" y="646"/>
                  </a:lnTo>
                  <a:lnTo>
                    <a:pt x="510" y="650"/>
                  </a:lnTo>
                  <a:lnTo>
                    <a:pt x="492" y="630"/>
                  </a:lnTo>
                  <a:lnTo>
                    <a:pt x="488" y="608"/>
                  </a:lnTo>
                  <a:lnTo>
                    <a:pt x="484" y="592"/>
                  </a:lnTo>
                  <a:lnTo>
                    <a:pt x="450" y="584"/>
                  </a:lnTo>
                  <a:lnTo>
                    <a:pt x="442" y="592"/>
                  </a:lnTo>
                  <a:lnTo>
                    <a:pt x="428" y="594"/>
                  </a:lnTo>
                  <a:lnTo>
                    <a:pt x="404" y="614"/>
                  </a:lnTo>
                  <a:lnTo>
                    <a:pt x="390" y="612"/>
                  </a:lnTo>
                  <a:lnTo>
                    <a:pt x="382" y="602"/>
                  </a:lnTo>
                  <a:lnTo>
                    <a:pt x="364" y="610"/>
                  </a:lnTo>
                  <a:lnTo>
                    <a:pt x="346" y="596"/>
                  </a:lnTo>
                  <a:lnTo>
                    <a:pt x="314" y="582"/>
                  </a:lnTo>
                  <a:lnTo>
                    <a:pt x="316" y="574"/>
                  </a:lnTo>
                  <a:lnTo>
                    <a:pt x="292" y="554"/>
                  </a:lnTo>
                  <a:lnTo>
                    <a:pt x="274" y="546"/>
                  </a:lnTo>
                  <a:lnTo>
                    <a:pt x="268" y="520"/>
                  </a:lnTo>
                  <a:lnTo>
                    <a:pt x="254" y="514"/>
                  </a:lnTo>
                  <a:lnTo>
                    <a:pt x="260" y="502"/>
                  </a:lnTo>
                  <a:lnTo>
                    <a:pt x="248" y="492"/>
                  </a:lnTo>
                  <a:lnTo>
                    <a:pt x="246" y="482"/>
                  </a:lnTo>
                  <a:lnTo>
                    <a:pt x="228" y="462"/>
                  </a:lnTo>
                  <a:lnTo>
                    <a:pt x="226" y="452"/>
                  </a:lnTo>
                  <a:lnTo>
                    <a:pt x="218" y="452"/>
                  </a:lnTo>
                  <a:lnTo>
                    <a:pt x="202" y="458"/>
                  </a:lnTo>
                  <a:lnTo>
                    <a:pt x="186" y="450"/>
                  </a:lnTo>
                  <a:lnTo>
                    <a:pt x="180" y="450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15" name="Iraq">
              <a:extLst>
                <a:ext uri="{FF2B5EF4-FFF2-40B4-BE49-F238E27FC236}">
                  <a16:creationId xmlns="" xmlns:a16="http://schemas.microsoft.com/office/drawing/2014/main" id="{F1531395-118E-4D6B-B802-AFCB92526C8A}"/>
                </a:ext>
              </a:extLst>
            </p:cNvPr>
            <p:cNvSpPr>
              <a:spLocks/>
            </p:cNvSpPr>
            <p:nvPr/>
          </p:nvSpPr>
          <p:spPr bwMode="gray">
            <a:xfrm>
              <a:off x="6995789" y="3288354"/>
              <a:ext cx="310418" cy="316616"/>
            </a:xfrm>
            <a:custGeom>
              <a:avLst/>
              <a:gdLst/>
              <a:ahLst/>
              <a:cxnLst>
                <a:cxn ang="0">
                  <a:pos x="32" y="236"/>
                </a:cxn>
                <a:cxn ang="0">
                  <a:pos x="20" y="228"/>
                </a:cxn>
                <a:cxn ang="0">
                  <a:pos x="20" y="224"/>
                </a:cxn>
                <a:cxn ang="0">
                  <a:pos x="10" y="226"/>
                </a:cxn>
                <a:cxn ang="0">
                  <a:pos x="8" y="218"/>
                </a:cxn>
                <a:cxn ang="0">
                  <a:pos x="12" y="216"/>
                </a:cxn>
                <a:cxn ang="0">
                  <a:pos x="0" y="178"/>
                </a:cxn>
                <a:cxn ang="0">
                  <a:pos x="100" y="112"/>
                </a:cxn>
                <a:cxn ang="0">
                  <a:pos x="98" y="94"/>
                </a:cxn>
                <a:cxn ang="0">
                  <a:pos x="104" y="80"/>
                </a:cxn>
                <a:cxn ang="0">
                  <a:pos x="108" y="48"/>
                </a:cxn>
                <a:cxn ang="0">
                  <a:pos x="154" y="14"/>
                </a:cxn>
                <a:cxn ang="0">
                  <a:pos x="166" y="0"/>
                </a:cxn>
                <a:cxn ang="0">
                  <a:pos x="192" y="6"/>
                </a:cxn>
                <a:cxn ang="0">
                  <a:pos x="212" y="8"/>
                </a:cxn>
                <a:cxn ang="0">
                  <a:pos x="218" y="16"/>
                </a:cxn>
                <a:cxn ang="0">
                  <a:pos x="238" y="2"/>
                </a:cxn>
                <a:cxn ang="0">
                  <a:pos x="240" y="36"/>
                </a:cxn>
                <a:cxn ang="0">
                  <a:pos x="250" y="44"/>
                </a:cxn>
                <a:cxn ang="0">
                  <a:pos x="258" y="58"/>
                </a:cxn>
                <a:cxn ang="0">
                  <a:pos x="286" y="62"/>
                </a:cxn>
                <a:cxn ang="0">
                  <a:pos x="292" y="66"/>
                </a:cxn>
                <a:cxn ang="0">
                  <a:pos x="286" y="80"/>
                </a:cxn>
                <a:cxn ang="0">
                  <a:pos x="292" y="94"/>
                </a:cxn>
                <a:cxn ang="0">
                  <a:pos x="282" y="102"/>
                </a:cxn>
                <a:cxn ang="0">
                  <a:pos x="274" y="116"/>
                </a:cxn>
                <a:cxn ang="0">
                  <a:pos x="264" y="136"/>
                </a:cxn>
                <a:cxn ang="0">
                  <a:pos x="264" y="158"/>
                </a:cxn>
                <a:cxn ang="0">
                  <a:pos x="268" y="168"/>
                </a:cxn>
                <a:cxn ang="0">
                  <a:pos x="280" y="184"/>
                </a:cxn>
                <a:cxn ang="0">
                  <a:pos x="286" y="200"/>
                </a:cxn>
                <a:cxn ang="0">
                  <a:pos x="332" y="234"/>
                </a:cxn>
                <a:cxn ang="0">
                  <a:pos x="344" y="250"/>
                </a:cxn>
                <a:cxn ang="0">
                  <a:pos x="348" y="294"/>
                </a:cxn>
                <a:cxn ang="0">
                  <a:pos x="358" y="300"/>
                </a:cxn>
                <a:cxn ang="0">
                  <a:pos x="358" y="316"/>
                </a:cxn>
                <a:cxn ang="0">
                  <a:pos x="382" y="336"/>
                </a:cxn>
                <a:cxn ang="0">
                  <a:pos x="354" y="336"/>
                </a:cxn>
                <a:cxn ang="0">
                  <a:pos x="338" y="332"/>
                </a:cxn>
                <a:cxn ang="0">
                  <a:pos x="326" y="340"/>
                </a:cxn>
                <a:cxn ang="0">
                  <a:pos x="318" y="356"/>
                </a:cxn>
                <a:cxn ang="0">
                  <a:pos x="316" y="372"/>
                </a:cxn>
                <a:cxn ang="0">
                  <a:pos x="308" y="380"/>
                </a:cxn>
                <a:cxn ang="0">
                  <a:pos x="296" y="388"/>
                </a:cxn>
                <a:cxn ang="0">
                  <a:pos x="244" y="386"/>
                </a:cxn>
                <a:cxn ang="0">
                  <a:pos x="216" y="376"/>
                </a:cxn>
                <a:cxn ang="0">
                  <a:pos x="200" y="372"/>
                </a:cxn>
                <a:cxn ang="0">
                  <a:pos x="190" y="360"/>
                </a:cxn>
                <a:cxn ang="0">
                  <a:pos x="194" y="346"/>
                </a:cxn>
                <a:cxn ang="0">
                  <a:pos x="194" y="330"/>
                </a:cxn>
                <a:cxn ang="0">
                  <a:pos x="170" y="328"/>
                </a:cxn>
                <a:cxn ang="0">
                  <a:pos x="162" y="304"/>
                </a:cxn>
                <a:cxn ang="0">
                  <a:pos x="68" y="246"/>
                </a:cxn>
                <a:cxn ang="0">
                  <a:pos x="52" y="244"/>
                </a:cxn>
                <a:cxn ang="0">
                  <a:pos x="44" y="236"/>
                </a:cxn>
                <a:cxn ang="0">
                  <a:pos x="32" y="236"/>
                </a:cxn>
              </a:cxnLst>
              <a:rect l="0" t="0" r="r" b="b"/>
              <a:pathLst>
                <a:path w="382" h="388">
                  <a:moveTo>
                    <a:pt x="32" y="236"/>
                  </a:moveTo>
                  <a:lnTo>
                    <a:pt x="20" y="228"/>
                  </a:lnTo>
                  <a:lnTo>
                    <a:pt x="20" y="224"/>
                  </a:lnTo>
                  <a:lnTo>
                    <a:pt x="10" y="226"/>
                  </a:lnTo>
                  <a:lnTo>
                    <a:pt x="8" y="218"/>
                  </a:lnTo>
                  <a:lnTo>
                    <a:pt x="12" y="216"/>
                  </a:lnTo>
                  <a:lnTo>
                    <a:pt x="0" y="178"/>
                  </a:lnTo>
                  <a:lnTo>
                    <a:pt x="100" y="112"/>
                  </a:lnTo>
                  <a:lnTo>
                    <a:pt x="98" y="94"/>
                  </a:lnTo>
                  <a:lnTo>
                    <a:pt x="104" y="80"/>
                  </a:lnTo>
                  <a:lnTo>
                    <a:pt x="108" y="48"/>
                  </a:lnTo>
                  <a:lnTo>
                    <a:pt x="154" y="14"/>
                  </a:lnTo>
                  <a:lnTo>
                    <a:pt x="166" y="0"/>
                  </a:lnTo>
                  <a:lnTo>
                    <a:pt x="192" y="6"/>
                  </a:lnTo>
                  <a:lnTo>
                    <a:pt x="212" y="8"/>
                  </a:lnTo>
                  <a:lnTo>
                    <a:pt x="218" y="16"/>
                  </a:lnTo>
                  <a:lnTo>
                    <a:pt x="238" y="2"/>
                  </a:lnTo>
                  <a:lnTo>
                    <a:pt x="240" y="36"/>
                  </a:lnTo>
                  <a:lnTo>
                    <a:pt x="250" y="44"/>
                  </a:lnTo>
                  <a:lnTo>
                    <a:pt x="258" y="58"/>
                  </a:lnTo>
                  <a:lnTo>
                    <a:pt x="286" y="62"/>
                  </a:lnTo>
                  <a:lnTo>
                    <a:pt x="292" y="66"/>
                  </a:lnTo>
                  <a:lnTo>
                    <a:pt x="286" y="80"/>
                  </a:lnTo>
                  <a:lnTo>
                    <a:pt x="292" y="94"/>
                  </a:lnTo>
                  <a:lnTo>
                    <a:pt x="282" y="102"/>
                  </a:lnTo>
                  <a:lnTo>
                    <a:pt x="274" y="116"/>
                  </a:lnTo>
                  <a:lnTo>
                    <a:pt x="264" y="136"/>
                  </a:lnTo>
                  <a:lnTo>
                    <a:pt x="264" y="158"/>
                  </a:lnTo>
                  <a:lnTo>
                    <a:pt x="268" y="168"/>
                  </a:lnTo>
                  <a:lnTo>
                    <a:pt x="280" y="184"/>
                  </a:lnTo>
                  <a:lnTo>
                    <a:pt x="286" y="200"/>
                  </a:lnTo>
                  <a:lnTo>
                    <a:pt x="332" y="234"/>
                  </a:lnTo>
                  <a:lnTo>
                    <a:pt x="344" y="250"/>
                  </a:lnTo>
                  <a:lnTo>
                    <a:pt x="348" y="294"/>
                  </a:lnTo>
                  <a:lnTo>
                    <a:pt x="358" y="300"/>
                  </a:lnTo>
                  <a:lnTo>
                    <a:pt x="358" y="316"/>
                  </a:lnTo>
                  <a:lnTo>
                    <a:pt x="382" y="336"/>
                  </a:lnTo>
                  <a:lnTo>
                    <a:pt x="354" y="336"/>
                  </a:lnTo>
                  <a:lnTo>
                    <a:pt x="338" y="332"/>
                  </a:lnTo>
                  <a:lnTo>
                    <a:pt x="326" y="340"/>
                  </a:lnTo>
                  <a:lnTo>
                    <a:pt x="318" y="356"/>
                  </a:lnTo>
                  <a:lnTo>
                    <a:pt x="316" y="372"/>
                  </a:lnTo>
                  <a:lnTo>
                    <a:pt x="308" y="380"/>
                  </a:lnTo>
                  <a:lnTo>
                    <a:pt x="296" y="388"/>
                  </a:lnTo>
                  <a:lnTo>
                    <a:pt x="244" y="386"/>
                  </a:lnTo>
                  <a:lnTo>
                    <a:pt x="216" y="376"/>
                  </a:lnTo>
                  <a:lnTo>
                    <a:pt x="200" y="372"/>
                  </a:lnTo>
                  <a:lnTo>
                    <a:pt x="190" y="360"/>
                  </a:lnTo>
                  <a:lnTo>
                    <a:pt x="194" y="346"/>
                  </a:lnTo>
                  <a:lnTo>
                    <a:pt x="194" y="330"/>
                  </a:lnTo>
                  <a:lnTo>
                    <a:pt x="170" y="328"/>
                  </a:lnTo>
                  <a:lnTo>
                    <a:pt x="162" y="304"/>
                  </a:lnTo>
                  <a:lnTo>
                    <a:pt x="68" y="246"/>
                  </a:lnTo>
                  <a:lnTo>
                    <a:pt x="52" y="244"/>
                  </a:lnTo>
                  <a:lnTo>
                    <a:pt x="44" y="236"/>
                  </a:lnTo>
                  <a:lnTo>
                    <a:pt x="32" y="236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16" name="Ireland">
              <a:extLst>
                <a:ext uri="{FF2B5EF4-FFF2-40B4-BE49-F238E27FC236}">
                  <a16:creationId xmlns="" xmlns:a16="http://schemas.microsoft.com/office/drawing/2014/main" id="{6AF5EDD4-7DA1-4D66-8B58-527A43A2766C}"/>
                </a:ext>
              </a:extLst>
            </p:cNvPr>
            <p:cNvSpPr>
              <a:spLocks/>
            </p:cNvSpPr>
            <p:nvPr/>
          </p:nvSpPr>
          <p:spPr bwMode="gray">
            <a:xfrm>
              <a:off x="5482752" y="2440767"/>
              <a:ext cx="132756" cy="194690"/>
            </a:xfrm>
            <a:custGeom>
              <a:avLst/>
              <a:gdLst/>
              <a:ahLst/>
              <a:cxnLst>
                <a:cxn ang="0">
                  <a:pos x="150" y="72"/>
                </a:cxn>
                <a:cxn ang="0">
                  <a:pos x="136" y="70"/>
                </a:cxn>
                <a:cxn ang="0">
                  <a:pos x="122" y="58"/>
                </a:cxn>
                <a:cxn ang="0">
                  <a:pos x="110" y="70"/>
                </a:cxn>
                <a:cxn ang="0">
                  <a:pos x="84" y="72"/>
                </a:cxn>
                <a:cxn ang="0">
                  <a:pos x="82" y="58"/>
                </a:cxn>
                <a:cxn ang="0">
                  <a:pos x="86" y="42"/>
                </a:cxn>
                <a:cxn ang="0">
                  <a:pos x="98" y="32"/>
                </a:cxn>
                <a:cxn ang="0">
                  <a:pos x="104" y="18"/>
                </a:cxn>
                <a:cxn ang="0">
                  <a:pos x="118" y="6"/>
                </a:cxn>
                <a:cxn ang="0">
                  <a:pos x="100" y="0"/>
                </a:cxn>
                <a:cxn ang="0">
                  <a:pos x="84" y="4"/>
                </a:cxn>
                <a:cxn ang="0">
                  <a:pos x="72" y="14"/>
                </a:cxn>
                <a:cxn ang="0">
                  <a:pos x="72" y="26"/>
                </a:cxn>
                <a:cxn ang="0">
                  <a:pos x="60" y="42"/>
                </a:cxn>
                <a:cxn ang="0">
                  <a:pos x="66" y="58"/>
                </a:cxn>
                <a:cxn ang="0">
                  <a:pos x="52" y="62"/>
                </a:cxn>
                <a:cxn ang="0">
                  <a:pos x="24" y="60"/>
                </a:cxn>
                <a:cxn ang="0">
                  <a:pos x="20" y="82"/>
                </a:cxn>
                <a:cxn ang="0">
                  <a:pos x="28" y="86"/>
                </a:cxn>
                <a:cxn ang="0">
                  <a:pos x="24" y="96"/>
                </a:cxn>
                <a:cxn ang="0">
                  <a:pos x="12" y="108"/>
                </a:cxn>
                <a:cxn ang="0">
                  <a:pos x="12" y="126"/>
                </a:cxn>
                <a:cxn ang="0">
                  <a:pos x="24" y="126"/>
                </a:cxn>
                <a:cxn ang="0">
                  <a:pos x="32" y="132"/>
                </a:cxn>
                <a:cxn ang="0">
                  <a:pos x="50" y="126"/>
                </a:cxn>
                <a:cxn ang="0">
                  <a:pos x="52" y="136"/>
                </a:cxn>
                <a:cxn ang="0">
                  <a:pos x="38" y="150"/>
                </a:cxn>
                <a:cxn ang="0">
                  <a:pos x="38" y="160"/>
                </a:cxn>
                <a:cxn ang="0">
                  <a:pos x="22" y="176"/>
                </a:cxn>
                <a:cxn ang="0">
                  <a:pos x="28" y="184"/>
                </a:cxn>
                <a:cxn ang="0">
                  <a:pos x="24" y="194"/>
                </a:cxn>
                <a:cxn ang="0">
                  <a:pos x="8" y="206"/>
                </a:cxn>
                <a:cxn ang="0">
                  <a:pos x="12" y="216"/>
                </a:cxn>
                <a:cxn ang="0">
                  <a:pos x="0" y="226"/>
                </a:cxn>
                <a:cxn ang="0">
                  <a:pos x="20" y="230"/>
                </a:cxn>
                <a:cxn ang="0">
                  <a:pos x="48" y="236"/>
                </a:cxn>
                <a:cxn ang="0">
                  <a:pos x="70" y="236"/>
                </a:cxn>
                <a:cxn ang="0">
                  <a:pos x="82" y="220"/>
                </a:cxn>
                <a:cxn ang="0">
                  <a:pos x="96" y="218"/>
                </a:cxn>
                <a:cxn ang="0">
                  <a:pos x="112" y="208"/>
                </a:cxn>
                <a:cxn ang="0">
                  <a:pos x="128" y="208"/>
                </a:cxn>
                <a:cxn ang="0">
                  <a:pos x="158" y="194"/>
                </a:cxn>
                <a:cxn ang="0">
                  <a:pos x="156" y="178"/>
                </a:cxn>
                <a:cxn ang="0">
                  <a:pos x="162" y="160"/>
                </a:cxn>
                <a:cxn ang="0">
                  <a:pos x="164" y="126"/>
                </a:cxn>
                <a:cxn ang="0">
                  <a:pos x="158" y="108"/>
                </a:cxn>
                <a:cxn ang="0">
                  <a:pos x="158" y="88"/>
                </a:cxn>
                <a:cxn ang="0">
                  <a:pos x="150" y="72"/>
                </a:cxn>
              </a:cxnLst>
              <a:rect l="0" t="0" r="r" b="b"/>
              <a:pathLst>
                <a:path w="164" h="236">
                  <a:moveTo>
                    <a:pt x="150" y="72"/>
                  </a:moveTo>
                  <a:lnTo>
                    <a:pt x="136" y="70"/>
                  </a:lnTo>
                  <a:lnTo>
                    <a:pt x="122" y="58"/>
                  </a:lnTo>
                  <a:lnTo>
                    <a:pt x="110" y="70"/>
                  </a:lnTo>
                  <a:lnTo>
                    <a:pt x="84" y="72"/>
                  </a:lnTo>
                  <a:lnTo>
                    <a:pt x="82" y="58"/>
                  </a:lnTo>
                  <a:lnTo>
                    <a:pt x="86" y="42"/>
                  </a:lnTo>
                  <a:lnTo>
                    <a:pt x="98" y="32"/>
                  </a:lnTo>
                  <a:lnTo>
                    <a:pt x="104" y="18"/>
                  </a:lnTo>
                  <a:lnTo>
                    <a:pt x="118" y="6"/>
                  </a:lnTo>
                  <a:lnTo>
                    <a:pt x="100" y="0"/>
                  </a:lnTo>
                  <a:lnTo>
                    <a:pt x="84" y="4"/>
                  </a:lnTo>
                  <a:lnTo>
                    <a:pt x="72" y="14"/>
                  </a:lnTo>
                  <a:lnTo>
                    <a:pt x="72" y="26"/>
                  </a:lnTo>
                  <a:lnTo>
                    <a:pt x="60" y="42"/>
                  </a:lnTo>
                  <a:lnTo>
                    <a:pt x="66" y="58"/>
                  </a:lnTo>
                  <a:lnTo>
                    <a:pt x="52" y="62"/>
                  </a:lnTo>
                  <a:lnTo>
                    <a:pt x="24" y="60"/>
                  </a:lnTo>
                  <a:lnTo>
                    <a:pt x="20" y="82"/>
                  </a:lnTo>
                  <a:lnTo>
                    <a:pt x="28" y="86"/>
                  </a:lnTo>
                  <a:lnTo>
                    <a:pt x="24" y="96"/>
                  </a:lnTo>
                  <a:lnTo>
                    <a:pt x="12" y="108"/>
                  </a:lnTo>
                  <a:lnTo>
                    <a:pt x="12" y="126"/>
                  </a:lnTo>
                  <a:lnTo>
                    <a:pt x="24" y="126"/>
                  </a:lnTo>
                  <a:lnTo>
                    <a:pt x="32" y="132"/>
                  </a:lnTo>
                  <a:lnTo>
                    <a:pt x="50" y="126"/>
                  </a:lnTo>
                  <a:lnTo>
                    <a:pt x="52" y="136"/>
                  </a:lnTo>
                  <a:lnTo>
                    <a:pt x="38" y="150"/>
                  </a:lnTo>
                  <a:lnTo>
                    <a:pt x="38" y="160"/>
                  </a:lnTo>
                  <a:lnTo>
                    <a:pt x="22" y="176"/>
                  </a:lnTo>
                  <a:lnTo>
                    <a:pt x="28" y="184"/>
                  </a:lnTo>
                  <a:lnTo>
                    <a:pt x="24" y="194"/>
                  </a:lnTo>
                  <a:lnTo>
                    <a:pt x="8" y="206"/>
                  </a:lnTo>
                  <a:lnTo>
                    <a:pt x="12" y="216"/>
                  </a:lnTo>
                  <a:lnTo>
                    <a:pt x="0" y="226"/>
                  </a:lnTo>
                  <a:lnTo>
                    <a:pt x="20" y="230"/>
                  </a:lnTo>
                  <a:lnTo>
                    <a:pt x="48" y="236"/>
                  </a:lnTo>
                  <a:lnTo>
                    <a:pt x="70" y="236"/>
                  </a:lnTo>
                  <a:lnTo>
                    <a:pt x="82" y="220"/>
                  </a:lnTo>
                  <a:lnTo>
                    <a:pt x="96" y="218"/>
                  </a:lnTo>
                  <a:lnTo>
                    <a:pt x="112" y="208"/>
                  </a:lnTo>
                  <a:lnTo>
                    <a:pt x="128" y="208"/>
                  </a:lnTo>
                  <a:lnTo>
                    <a:pt x="158" y="194"/>
                  </a:lnTo>
                  <a:lnTo>
                    <a:pt x="156" y="178"/>
                  </a:lnTo>
                  <a:lnTo>
                    <a:pt x="162" y="160"/>
                  </a:lnTo>
                  <a:lnTo>
                    <a:pt x="164" y="126"/>
                  </a:lnTo>
                  <a:lnTo>
                    <a:pt x="158" y="108"/>
                  </a:lnTo>
                  <a:lnTo>
                    <a:pt x="158" y="88"/>
                  </a:lnTo>
                  <a:lnTo>
                    <a:pt x="150" y="72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17" name="Israel">
              <a:extLst>
                <a:ext uri="{FF2B5EF4-FFF2-40B4-BE49-F238E27FC236}">
                  <a16:creationId xmlns="" xmlns:a16="http://schemas.microsoft.com/office/drawing/2014/main" id="{76C52CAB-2EC7-47B4-87FE-3E8C378460FE}"/>
                </a:ext>
              </a:extLst>
            </p:cNvPr>
            <p:cNvSpPr>
              <a:spLocks/>
            </p:cNvSpPr>
            <p:nvPr/>
          </p:nvSpPr>
          <p:spPr bwMode="gray">
            <a:xfrm>
              <a:off x="6861079" y="3435845"/>
              <a:ext cx="48807" cy="143559"/>
            </a:xfrm>
            <a:custGeom>
              <a:avLst/>
              <a:gdLst/>
              <a:ahLst/>
              <a:cxnLst>
                <a:cxn ang="0">
                  <a:pos x="22" y="178"/>
                </a:cxn>
                <a:cxn ang="0">
                  <a:pos x="18" y="160"/>
                </a:cxn>
                <a:cxn ang="0">
                  <a:pos x="10" y="134"/>
                </a:cxn>
                <a:cxn ang="0">
                  <a:pos x="6" y="110"/>
                </a:cxn>
                <a:cxn ang="0">
                  <a:pos x="0" y="100"/>
                </a:cxn>
                <a:cxn ang="0">
                  <a:pos x="0" y="86"/>
                </a:cxn>
                <a:cxn ang="0">
                  <a:pos x="8" y="80"/>
                </a:cxn>
                <a:cxn ang="0">
                  <a:pos x="20" y="58"/>
                </a:cxn>
                <a:cxn ang="0">
                  <a:pos x="26" y="34"/>
                </a:cxn>
                <a:cxn ang="0">
                  <a:pos x="26" y="24"/>
                </a:cxn>
                <a:cxn ang="0">
                  <a:pos x="30" y="24"/>
                </a:cxn>
                <a:cxn ang="0">
                  <a:pos x="34" y="12"/>
                </a:cxn>
                <a:cxn ang="0">
                  <a:pos x="40" y="10"/>
                </a:cxn>
                <a:cxn ang="0">
                  <a:pos x="42" y="12"/>
                </a:cxn>
                <a:cxn ang="0">
                  <a:pos x="48" y="10"/>
                </a:cxn>
                <a:cxn ang="0">
                  <a:pos x="50" y="4"/>
                </a:cxn>
                <a:cxn ang="0">
                  <a:pos x="54" y="4"/>
                </a:cxn>
                <a:cxn ang="0">
                  <a:pos x="56" y="0"/>
                </a:cxn>
                <a:cxn ang="0">
                  <a:pos x="60" y="0"/>
                </a:cxn>
                <a:cxn ang="0">
                  <a:pos x="62" y="10"/>
                </a:cxn>
                <a:cxn ang="0">
                  <a:pos x="62" y="16"/>
                </a:cxn>
                <a:cxn ang="0">
                  <a:pos x="62" y="20"/>
                </a:cxn>
                <a:cxn ang="0">
                  <a:pos x="58" y="28"/>
                </a:cxn>
                <a:cxn ang="0">
                  <a:pos x="52" y="30"/>
                </a:cxn>
                <a:cxn ang="0">
                  <a:pos x="50" y="32"/>
                </a:cxn>
                <a:cxn ang="0">
                  <a:pos x="48" y="44"/>
                </a:cxn>
                <a:cxn ang="0">
                  <a:pos x="50" y="52"/>
                </a:cxn>
                <a:cxn ang="0">
                  <a:pos x="46" y="60"/>
                </a:cxn>
                <a:cxn ang="0">
                  <a:pos x="48" y="72"/>
                </a:cxn>
                <a:cxn ang="0">
                  <a:pos x="44" y="86"/>
                </a:cxn>
                <a:cxn ang="0">
                  <a:pos x="42" y="96"/>
                </a:cxn>
                <a:cxn ang="0">
                  <a:pos x="44" y="104"/>
                </a:cxn>
                <a:cxn ang="0">
                  <a:pos x="32" y="136"/>
                </a:cxn>
                <a:cxn ang="0">
                  <a:pos x="32" y="150"/>
                </a:cxn>
                <a:cxn ang="0">
                  <a:pos x="30" y="154"/>
                </a:cxn>
                <a:cxn ang="0">
                  <a:pos x="22" y="178"/>
                </a:cxn>
              </a:cxnLst>
              <a:rect l="0" t="0" r="r" b="b"/>
              <a:pathLst>
                <a:path w="62" h="178">
                  <a:moveTo>
                    <a:pt x="22" y="178"/>
                  </a:moveTo>
                  <a:lnTo>
                    <a:pt x="18" y="160"/>
                  </a:lnTo>
                  <a:lnTo>
                    <a:pt x="10" y="134"/>
                  </a:lnTo>
                  <a:lnTo>
                    <a:pt x="6" y="110"/>
                  </a:lnTo>
                  <a:lnTo>
                    <a:pt x="0" y="100"/>
                  </a:lnTo>
                  <a:lnTo>
                    <a:pt x="0" y="86"/>
                  </a:lnTo>
                  <a:lnTo>
                    <a:pt x="8" y="80"/>
                  </a:lnTo>
                  <a:lnTo>
                    <a:pt x="20" y="58"/>
                  </a:lnTo>
                  <a:lnTo>
                    <a:pt x="26" y="34"/>
                  </a:lnTo>
                  <a:lnTo>
                    <a:pt x="26" y="24"/>
                  </a:lnTo>
                  <a:lnTo>
                    <a:pt x="30" y="24"/>
                  </a:lnTo>
                  <a:lnTo>
                    <a:pt x="34" y="12"/>
                  </a:lnTo>
                  <a:lnTo>
                    <a:pt x="40" y="10"/>
                  </a:lnTo>
                  <a:lnTo>
                    <a:pt x="42" y="12"/>
                  </a:lnTo>
                  <a:lnTo>
                    <a:pt x="48" y="10"/>
                  </a:lnTo>
                  <a:lnTo>
                    <a:pt x="50" y="4"/>
                  </a:lnTo>
                  <a:lnTo>
                    <a:pt x="54" y="4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2" y="10"/>
                  </a:lnTo>
                  <a:lnTo>
                    <a:pt x="62" y="16"/>
                  </a:lnTo>
                  <a:lnTo>
                    <a:pt x="62" y="20"/>
                  </a:lnTo>
                  <a:lnTo>
                    <a:pt x="58" y="28"/>
                  </a:lnTo>
                  <a:lnTo>
                    <a:pt x="52" y="30"/>
                  </a:lnTo>
                  <a:lnTo>
                    <a:pt x="50" y="32"/>
                  </a:lnTo>
                  <a:lnTo>
                    <a:pt x="48" y="44"/>
                  </a:lnTo>
                  <a:lnTo>
                    <a:pt x="50" y="52"/>
                  </a:lnTo>
                  <a:lnTo>
                    <a:pt x="46" y="60"/>
                  </a:lnTo>
                  <a:lnTo>
                    <a:pt x="48" y="72"/>
                  </a:lnTo>
                  <a:lnTo>
                    <a:pt x="44" y="86"/>
                  </a:lnTo>
                  <a:lnTo>
                    <a:pt x="42" y="96"/>
                  </a:lnTo>
                  <a:lnTo>
                    <a:pt x="44" y="104"/>
                  </a:lnTo>
                  <a:lnTo>
                    <a:pt x="32" y="136"/>
                  </a:lnTo>
                  <a:lnTo>
                    <a:pt x="32" y="150"/>
                  </a:lnTo>
                  <a:lnTo>
                    <a:pt x="30" y="154"/>
                  </a:lnTo>
                  <a:lnTo>
                    <a:pt x="22" y="178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18" name="Italy">
              <a:extLst>
                <a:ext uri="{FF2B5EF4-FFF2-40B4-BE49-F238E27FC236}">
                  <a16:creationId xmlns="" xmlns:a16="http://schemas.microsoft.com/office/drawing/2014/main" id="{E6039F53-3BEB-4713-9320-65E8EFCF3F8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002067" y="2857676"/>
              <a:ext cx="367034" cy="448376"/>
            </a:xfrm>
            <a:custGeom>
              <a:avLst/>
              <a:gdLst/>
              <a:ahLst/>
              <a:cxnLst>
                <a:cxn ang="0">
                  <a:pos x="264" y="46"/>
                </a:cxn>
                <a:cxn ang="0">
                  <a:pos x="266" y="80"/>
                </a:cxn>
                <a:cxn ang="0">
                  <a:pos x="222" y="80"/>
                </a:cxn>
                <a:cxn ang="0">
                  <a:pos x="218" y="122"/>
                </a:cxn>
                <a:cxn ang="0">
                  <a:pos x="220" y="170"/>
                </a:cxn>
                <a:cxn ang="0">
                  <a:pos x="272" y="236"/>
                </a:cxn>
                <a:cxn ang="0">
                  <a:pos x="342" y="280"/>
                </a:cxn>
                <a:cxn ang="0">
                  <a:pos x="362" y="300"/>
                </a:cxn>
                <a:cxn ang="0">
                  <a:pos x="412" y="324"/>
                </a:cxn>
                <a:cxn ang="0">
                  <a:pos x="434" y="342"/>
                </a:cxn>
                <a:cxn ang="0">
                  <a:pos x="454" y="390"/>
                </a:cxn>
                <a:cxn ang="0">
                  <a:pos x="430" y="372"/>
                </a:cxn>
                <a:cxn ang="0">
                  <a:pos x="384" y="384"/>
                </a:cxn>
                <a:cxn ang="0">
                  <a:pos x="408" y="418"/>
                </a:cxn>
                <a:cxn ang="0">
                  <a:pos x="392" y="450"/>
                </a:cxn>
                <a:cxn ang="0">
                  <a:pos x="346" y="486"/>
                </a:cxn>
                <a:cxn ang="0">
                  <a:pos x="352" y="454"/>
                </a:cxn>
                <a:cxn ang="0">
                  <a:pos x="362" y="436"/>
                </a:cxn>
                <a:cxn ang="0">
                  <a:pos x="318" y="372"/>
                </a:cxn>
                <a:cxn ang="0">
                  <a:pos x="268" y="320"/>
                </a:cxn>
                <a:cxn ang="0">
                  <a:pos x="206" y="280"/>
                </a:cxn>
                <a:cxn ang="0">
                  <a:pos x="164" y="256"/>
                </a:cxn>
                <a:cxn ang="0">
                  <a:pos x="146" y="228"/>
                </a:cxn>
                <a:cxn ang="0">
                  <a:pos x="118" y="154"/>
                </a:cxn>
                <a:cxn ang="0">
                  <a:pos x="90" y="146"/>
                </a:cxn>
                <a:cxn ang="0">
                  <a:pos x="72" y="168"/>
                </a:cxn>
                <a:cxn ang="0">
                  <a:pos x="52" y="162"/>
                </a:cxn>
                <a:cxn ang="0">
                  <a:pos x="12" y="162"/>
                </a:cxn>
                <a:cxn ang="0">
                  <a:pos x="2" y="128"/>
                </a:cxn>
                <a:cxn ang="0">
                  <a:pos x="16" y="106"/>
                </a:cxn>
                <a:cxn ang="0">
                  <a:pos x="26" y="68"/>
                </a:cxn>
                <a:cxn ang="0">
                  <a:pos x="56" y="64"/>
                </a:cxn>
                <a:cxn ang="0">
                  <a:pos x="78" y="42"/>
                </a:cxn>
                <a:cxn ang="0">
                  <a:pos x="98" y="60"/>
                </a:cxn>
                <a:cxn ang="0">
                  <a:pos x="104" y="32"/>
                </a:cxn>
                <a:cxn ang="0">
                  <a:pos x="140" y="42"/>
                </a:cxn>
                <a:cxn ang="0">
                  <a:pos x="148" y="16"/>
                </a:cxn>
                <a:cxn ang="0">
                  <a:pos x="184" y="0"/>
                </a:cxn>
                <a:cxn ang="0">
                  <a:pos x="220" y="14"/>
                </a:cxn>
                <a:cxn ang="0">
                  <a:pos x="268" y="34"/>
                </a:cxn>
                <a:cxn ang="0">
                  <a:pos x="80" y="362"/>
                </a:cxn>
                <a:cxn ang="0">
                  <a:pos x="80" y="414"/>
                </a:cxn>
                <a:cxn ang="0">
                  <a:pos x="104" y="424"/>
                </a:cxn>
                <a:cxn ang="0">
                  <a:pos x="122" y="416"/>
                </a:cxn>
                <a:cxn ang="0">
                  <a:pos x="118" y="378"/>
                </a:cxn>
                <a:cxn ang="0">
                  <a:pos x="120" y="332"/>
                </a:cxn>
                <a:cxn ang="0">
                  <a:pos x="88" y="334"/>
                </a:cxn>
                <a:cxn ang="0">
                  <a:pos x="72" y="358"/>
                </a:cxn>
                <a:cxn ang="0">
                  <a:pos x="230" y="512"/>
                </a:cxn>
                <a:cxn ang="0">
                  <a:pos x="266" y="528"/>
                </a:cxn>
                <a:cxn ang="0">
                  <a:pos x="298" y="546"/>
                </a:cxn>
                <a:cxn ang="0">
                  <a:pos x="326" y="526"/>
                </a:cxn>
                <a:cxn ang="0">
                  <a:pos x="336" y="476"/>
                </a:cxn>
                <a:cxn ang="0">
                  <a:pos x="278" y="486"/>
                </a:cxn>
                <a:cxn ang="0">
                  <a:pos x="242" y="482"/>
                </a:cxn>
                <a:cxn ang="0">
                  <a:pos x="222" y="496"/>
                </a:cxn>
              </a:cxnLst>
              <a:rect l="0" t="0" r="r" b="b"/>
              <a:pathLst>
                <a:path w="454" h="550">
                  <a:moveTo>
                    <a:pt x="268" y="34"/>
                  </a:moveTo>
                  <a:lnTo>
                    <a:pt x="264" y="46"/>
                  </a:lnTo>
                  <a:lnTo>
                    <a:pt x="268" y="60"/>
                  </a:lnTo>
                  <a:lnTo>
                    <a:pt x="266" y="80"/>
                  </a:lnTo>
                  <a:lnTo>
                    <a:pt x="244" y="78"/>
                  </a:lnTo>
                  <a:lnTo>
                    <a:pt x="222" y="80"/>
                  </a:lnTo>
                  <a:lnTo>
                    <a:pt x="210" y="96"/>
                  </a:lnTo>
                  <a:lnTo>
                    <a:pt x="218" y="122"/>
                  </a:lnTo>
                  <a:lnTo>
                    <a:pt x="214" y="140"/>
                  </a:lnTo>
                  <a:lnTo>
                    <a:pt x="220" y="170"/>
                  </a:lnTo>
                  <a:lnTo>
                    <a:pt x="264" y="202"/>
                  </a:lnTo>
                  <a:lnTo>
                    <a:pt x="272" y="236"/>
                  </a:lnTo>
                  <a:lnTo>
                    <a:pt x="312" y="272"/>
                  </a:lnTo>
                  <a:lnTo>
                    <a:pt x="342" y="280"/>
                  </a:lnTo>
                  <a:lnTo>
                    <a:pt x="368" y="280"/>
                  </a:lnTo>
                  <a:lnTo>
                    <a:pt x="362" y="300"/>
                  </a:lnTo>
                  <a:lnTo>
                    <a:pt x="394" y="320"/>
                  </a:lnTo>
                  <a:lnTo>
                    <a:pt x="412" y="324"/>
                  </a:lnTo>
                  <a:lnTo>
                    <a:pt x="422" y="340"/>
                  </a:lnTo>
                  <a:lnTo>
                    <a:pt x="434" y="342"/>
                  </a:lnTo>
                  <a:lnTo>
                    <a:pt x="454" y="370"/>
                  </a:lnTo>
                  <a:lnTo>
                    <a:pt x="454" y="390"/>
                  </a:lnTo>
                  <a:lnTo>
                    <a:pt x="442" y="392"/>
                  </a:lnTo>
                  <a:lnTo>
                    <a:pt x="430" y="372"/>
                  </a:lnTo>
                  <a:lnTo>
                    <a:pt x="398" y="362"/>
                  </a:lnTo>
                  <a:lnTo>
                    <a:pt x="384" y="384"/>
                  </a:lnTo>
                  <a:lnTo>
                    <a:pt x="382" y="404"/>
                  </a:lnTo>
                  <a:lnTo>
                    <a:pt x="408" y="418"/>
                  </a:lnTo>
                  <a:lnTo>
                    <a:pt x="408" y="442"/>
                  </a:lnTo>
                  <a:lnTo>
                    <a:pt x="392" y="450"/>
                  </a:lnTo>
                  <a:lnTo>
                    <a:pt x="362" y="486"/>
                  </a:lnTo>
                  <a:lnTo>
                    <a:pt x="346" y="486"/>
                  </a:lnTo>
                  <a:lnTo>
                    <a:pt x="344" y="474"/>
                  </a:lnTo>
                  <a:lnTo>
                    <a:pt x="352" y="454"/>
                  </a:lnTo>
                  <a:lnTo>
                    <a:pt x="348" y="446"/>
                  </a:lnTo>
                  <a:lnTo>
                    <a:pt x="362" y="436"/>
                  </a:lnTo>
                  <a:lnTo>
                    <a:pt x="344" y="384"/>
                  </a:lnTo>
                  <a:lnTo>
                    <a:pt x="318" y="372"/>
                  </a:lnTo>
                  <a:lnTo>
                    <a:pt x="314" y="358"/>
                  </a:lnTo>
                  <a:lnTo>
                    <a:pt x="268" y="320"/>
                  </a:lnTo>
                  <a:lnTo>
                    <a:pt x="240" y="312"/>
                  </a:lnTo>
                  <a:lnTo>
                    <a:pt x="206" y="280"/>
                  </a:lnTo>
                  <a:lnTo>
                    <a:pt x="188" y="268"/>
                  </a:lnTo>
                  <a:lnTo>
                    <a:pt x="164" y="256"/>
                  </a:lnTo>
                  <a:lnTo>
                    <a:pt x="160" y="240"/>
                  </a:lnTo>
                  <a:lnTo>
                    <a:pt x="146" y="228"/>
                  </a:lnTo>
                  <a:lnTo>
                    <a:pt x="142" y="182"/>
                  </a:lnTo>
                  <a:lnTo>
                    <a:pt x="118" y="154"/>
                  </a:lnTo>
                  <a:lnTo>
                    <a:pt x="100" y="152"/>
                  </a:lnTo>
                  <a:lnTo>
                    <a:pt x="90" y="146"/>
                  </a:lnTo>
                  <a:lnTo>
                    <a:pt x="76" y="152"/>
                  </a:lnTo>
                  <a:lnTo>
                    <a:pt x="72" y="168"/>
                  </a:lnTo>
                  <a:lnTo>
                    <a:pt x="58" y="178"/>
                  </a:lnTo>
                  <a:lnTo>
                    <a:pt x="52" y="162"/>
                  </a:lnTo>
                  <a:lnTo>
                    <a:pt x="30" y="166"/>
                  </a:lnTo>
                  <a:lnTo>
                    <a:pt x="12" y="162"/>
                  </a:lnTo>
                  <a:lnTo>
                    <a:pt x="12" y="140"/>
                  </a:lnTo>
                  <a:lnTo>
                    <a:pt x="2" y="128"/>
                  </a:lnTo>
                  <a:lnTo>
                    <a:pt x="0" y="114"/>
                  </a:lnTo>
                  <a:lnTo>
                    <a:pt x="16" y="106"/>
                  </a:lnTo>
                  <a:lnTo>
                    <a:pt x="16" y="84"/>
                  </a:lnTo>
                  <a:lnTo>
                    <a:pt x="26" y="68"/>
                  </a:lnTo>
                  <a:lnTo>
                    <a:pt x="44" y="58"/>
                  </a:lnTo>
                  <a:lnTo>
                    <a:pt x="56" y="64"/>
                  </a:lnTo>
                  <a:lnTo>
                    <a:pt x="64" y="54"/>
                  </a:lnTo>
                  <a:lnTo>
                    <a:pt x="78" y="42"/>
                  </a:lnTo>
                  <a:lnTo>
                    <a:pt x="86" y="54"/>
                  </a:lnTo>
                  <a:lnTo>
                    <a:pt x="98" y="60"/>
                  </a:lnTo>
                  <a:lnTo>
                    <a:pt x="100" y="44"/>
                  </a:lnTo>
                  <a:lnTo>
                    <a:pt x="104" y="32"/>
                  </a:lnTo>
                  <a:lnTo>
                    <a:pt x="114" y="36"/>
                  </a:lnTo>
                  <a:lnTo>
                    <a:pt x="140" y="42"/>
                  </a:lnTo>
                  <a:lnTo>
                    <a:pt x="146" y="28"/>
                  </a:lnTo>
                  <a:lnTo>
                    <a:pt x="148" y="16"/>
                  </a:lnTo>
                  <a:lnTo>
                    <a:pt x="160" y="12"/>
                  </a:lnTo>
                  <a:lnTo>
                    <a:pt x="184" y="0"/>
                  </a:lnTo>
                  <a:lnTo>
                    <a:pt x="216" y="0"/>
                  </a:lnTo>
                  <a:lnTo>
                    <a:pt x="220" y="14"/>
                  </a:lnTo>
                  <a:lnTo>
                    <a:pt x="242" y="28"/>
                  </a:lnTo>
                  <a:lnTo>
                    <a:pt x="268" y="34"/>
                  </a:lnTo>
                  <a:close/>
                  <a:moveTo>
                    <a:pt x="72" y="358"/>
                  </a:moveTo>
                  <a:lnTo>
                    <a:pt x="80" y="362"/>
                  </a:lnTo>
                  <a:lnTo>
                    <a:pt x="82" y="388"/>
                  </a:lnTo>
                  <a:lnTo>
                    <a:pt x="80" y="414"/>
                  </a:lnTo>
                  <a:lnTo>
                    <a:pt x="96" y="438"/>
                  </a:lnTo>
                  <a:lnTo>
                    <a:pt x="104" y="424"/>
                  </a:lnTo>
                  <a:lnTo>
                    <a:pt x="114" y="428"/>
                  </a:lnTo>
                  <a:lnTo>
                    <a:pt x="122" y="416"/>
                  </a:lnTo>
                  <a:lnTo>
                    <a:pt x="124" y="392"/>
                  </a:lnTo>
                  <a:lnTo>
                    <a:pt x="118" y="378"/>
                  </a:lnTo>
                  <a:lnTo>
                    <a:pt x="122" y="364"/>
                  </a:lnTo>
                  <a:lnTo>
                    <a:pt x="120" y="332"/>
                  </a:lnTo>
                  <a:lnTo>
                    <a:pt x="108" y="318"/>
                  </a:lnTo>
                  <a:lnTo>
                    <a:pt x="88" y="334"/>
                  </a:lnTo>
                  <a:lnTo>
                    <a:pt x="76" y="334"/>
                  </a:lnTo>
                  <a:lnTo>
                    <a:pt x="72" y="358"/>
                  </a:lnTo>
                  <a:close/>
                  <a:moveTo>
                    <a:pt x="222" y="496"/>
                  </a:moveTo>
                  <a:lnTo>
                    <a:pt x="230" y="512"/>
                  </a:lnTo>
                  <a:lnTo>
                    <a:pt x="246" y="512"/>
                  </a:lnTo>
                  <a:lnTo>
                    <a:pt x="266" y="528"/>
                  </a:lnTo>
                  <a:lnTo>
                    <a:pt x="294" y="536"/>
                  </a:lnTo>
                  <a:lnTo>
                    <a:pt x="298" y="546"/>
                  </a:lnTo>
                  <a:lnTo>
                    <a:pt x="322" y="550"/>
                  </a:lnTo>
                  <a:lnTo>
                    <a:pt x="326" y="526"/>
                  </a:lnTo>
                  <a:lnTo>
                    <a:pt x="322" y="510"/>
                  </a:lnTo>
                  <a:lnTo>
                    <a:pt x="336" y="476"/>
                  </a:lnTo>
                  <a:lnTo>
                    <a:pt x="320" y="476"/>
                  </a:lnTo>
                  <a:lnTo>
                    <a:pt x="278" y="486"/>
                  </a:lnTo>
                  <a:lnTo>
                    <a:pt x="258" y="476"/>
                  </a:lnTo>
                  <a:lnTo>
                    <a:pt x="242" y="482"/>
                  </a:lnTo>
                  <a:lnTo>
                    <a:pt x="230" y="482"/>
                  </a:lnTo>
                  <a:lnTo>
                    <a:pt x="222" y="496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19" name="Ivory Coast">
              <a:extLst>
                <a:ext uri="{FF2B5EF4-FFF2-40B4-BE49-F238E27FC236}">
                  <a16:creationId xmlns="" xmlns:a16="http://schemas.microsoft.com/office/drawing/2014/main" id="{E9425B8F-7488-495D-880C-369215AED727}"/>
                </a:ext>
              </a:extLst>
            </p:cNvPr>
            <p:cNvSpPr>
              <a:spLocks/>
            </p:cNvSpPr>
            <p:nvPr/>
          </p:nvSpPr>
          <p:spPr bwMode="gray">
            <a:xfrm>
              <a:off x="5543273" y="4224437"/>
              <a:ext cx="179612" cy="196656"/>
            </a:xfrm>
            <a:custGeom>
              <a:avLst/>
              <a:gdLst/>
              <a:ahLst/>
              <a:cxnLst>
                <a:cxn ang="0">
                  <a:pos x="46" y="243"/>
                </a:cxn>
                <a:cxn ang="0">
                  <a:pos x="32" y="243"/>
                </a:cxn>
                <a:cxn ang="0">
                  <a:pos x="38" y="185"/>
                </a:cxn>
                <a:cxn ang="0">
                  <a:pos x="2" y="147"/>
                </a:cxn>
                <a:cxn ang="0">
                  <a:pos x="6" y="123"/>
                </a:cxn>
                <a:cxn ang="0">
                  <a:pos x="0" y="115"/>
                </a:cxn>
                <a:cxn ang="0">
                  <a:pos x="2" y="101"/>
                </a:cxn>
                <a:cxn ang="0">
                  <a:pos x="16" y="97"/>
                </a:cxn>
                <a:cxn ang="0">
                  <a:pos x="20" y="79"/>
                </a:cxn>
                <a:cxn ang="0">
                  <a:pos x="30" y="75"/>
                </a:cxn>
                <a:cxn ang="0">
                  <a:pos x="30" y="46"/>
                </a:cxn>
                <a:cxn ang="0">
                  <a:pos x="22" y="34"/>
                </a:cxn>
                <a:cxn ang="0">
                  <a:pos x="24" y="18"/>
                </a:cxn>
                <a:cxn ang="0">
                  <a:pos x="44" y="12"/>
                </a:cxn>
                <a:cxn ang="0">
                  <a:pos x="60" y="22"/>
                </a:cxn>
                <a:cxn ang="0">
                  <a:pos x="78" y="0"/>
                </a:cxn>
                <a:cxn ang="0">
                  <a:pos x="88" y="6"/>
                </a:cxn>
                <a:cxn ang="0">
                  <a:pos x="94" y="20"/>
                </a:cxn>
                <a:cxn ang="0">
                  <a:pos x="108" y="10"/>
                </a:cxn>
                <a:cxn ang="0">
                  <a:pos x="118" y="10"/>
                </a:cxn>
                <a:cxn ang="0">
                  <a:pos x="134" y="18"/>
                </a:cxn>
                <a:cxn ang="0">
                  <a:pos x="150" y="34"/>
                </a:cxn>
                <a:cxn ang="0">
                  <a:pos x="170" y="32"/>
                </a:cxn>
                <a:cxn ang="0">
                  <a:pos x="186" y="26"/>
                </a:cxn>
                <a:cxn ang="0">
                  <a:pos x="216" y="42"/>
                </a:cxn>
                <a:cxn ang="0">
                  <a:pos x="222" y="81"/>
                </a:cxn>
                <a:cxn ang="0">
                  <a:pos x="200" y="131"/>
                </a:cxn>
                <a:cxn ang="0">
                  <a:pos x="200" y="157"/>
                </a:cxn>
                <a:cxn ang="0">
                  <a:pos x="218" y="201"/>
                </a:cxn>
                <a:cxn ang="0">
                  <a:pos x="200" y="209"/>
                </a:cxn>
                <a:cxn ang="0">
                  <a:pos x="160" y="197"/>
                </a:cxn>
                <a:cxn ang="0">
                  <a:pos x="134" y="199"/>
                </a:cxn>
                <a:cxn ang="0">
                  <a:pos x="94" y="213"/>
                </a:cxn>
                <a:cxn ang="0">
                  <a:pos x="72" y="229"/>
                </a:cxn>
                <a:cxn ang="0">
                  <a:pos x="46" y="243"/>
                </a:cxn>
              </a:cxnLst>
              <a:rect l="0" t="0" r="r" b="b"/>
              <a:pathLst>
                <a:path w="222" h="243">
                  <a:moveTo>
                    <a:pt x="46" y="243"/>
                  </a:moveTo>
                  <a:lnTo>
                    <a:pt x="32" y="243"/>
                  </a:lnTo>
                  <a:lnTo>
                    <a:pt x="38" y="185"/>
                  </a:lnTo>
                  <a:lnTo>
                    <a:pt x="2" y="147"/>
                  </a:lnTo>
                  <a:lnTo>
                    <a:pt x="6" y="123"/>
                  </a:lnTo>
                  <a:lnTo>
                    <a:pt x="0" y="115"/>
                  </a:lnTo>
                  <a:lnTo>
                    <a:pt x="2" y="101"/>
                  </a:lnTo>
                  <a:lnTo>
                    <a:pt x="16" y="97"/>
                  </a:lnTo>
                  <a:lnTo>
                    <a:pt x="20" y="79"/>
                  </a:lnTo>
                  <a:lnTo>
                    <a:pt x="30" y="75"/>
                  </a:lnTo>
                  <a:lnTo>
                    <a:pt x="30" y="46"/>
                  </a:lnTo>
                  <a:lnTo>
                    <a:pt x="22" y="34"/>
                  </a:lnTo>
                  <a:lnTo>
                    <a:pt x="24" y="18"/>
                  </a:lnTo>
                  <a:lnTo>
                    <a:pt x="44" y="12"/>
                  </a:lnTo>
                  <a:lnTo>
                    <a:pt x="60" y="22"/>
                  </a:lnTo>
                  <a:lnTo>
                    <a:pt x="78" y="0"/>
                  </a:lnTo>
                  <a:lnTo>
                    <a:pt x="88" y="6"/>
                  </a:lnTo>
                  <a:lnTo>
                    <a:pt x="94" y="20"/>
                  </a:lnTo>
                  <a:lnTo>
                    <a:pt x="108" y="10"/>
                  </a:lnTo>
                  <a:lnTo>
                    <a:pt x="118" y="10"/>
                  </a:lnTo>
                  <a:lnTo>
                    <a:pt x="134" y="18"/>
                  </a:lnTo>
                  <a:lnTo>
                    <a:pt x="150" y="34"/>
                  </a:lnTo>
                  <a:lnTo>
                    <a:pt x="170" y="32"/>
                  </a:lnTo>
                  <a:lnTo>
                    <a:pt x="186" y="26"/>
                  </a:lnTo>
                  <a:lnTo>
                    <a:pt x="216" y="42"/>
                  </a:lnTo>
                  <a:lnTo>
                    <a:pt x="222" y="81"/>
                  </a:lnTo>
                  <a:lnTo>
                    <a:pt x="200" y="131"/>
                  </a:lnTo>
                  <a:lnTo>
                    <a:pt x="200" y="157"/>
                  </a:lnTo>
                  <a:lnTo>
                    <a:pt x="218" y="201"/>
                  </a:lnTo>
                  <a:lnTo>
                    <a:pt x="200" y="209"/>
                  </a:lnTo>
                  <a:lnTo>
                    <a:pt x="160" y="197"/>
                  </a:lnTo>
                  <a:lnTo>
                    <a:pt x="134" y="199"/>
                  </a:lnTo>
                  <a:lnTo>
                    <a:pt x="94" y="213"/>
                  </a:lnTo>
                  <a:lnTo>
                    <a:pt x="72" y="229"/>
                  </a:lnTo>
                  <a:lnTo>
                    <a:pt x="46" y="243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20" name="Jamaica">
              <a:extLst>
                <a:ext uri="{FF2B5EF4-FFF2-40B4-BE49-F238E27FC236}">
                  <a16:creationId xmlns="" xmlns:a16="http://schemas.microsoft.com/office/drawing/2014/main" id="{E904B8FB-8DC4-46AA-86A5-D91C1602F380}"/>
                </a:ext>
              </a:extLst>
            </p:cNvPr>
            <p:cNvSpPr>
              <a:spLocks/>
            </p:cNvSpPr>
            <p:nvPr/>
          </p:nvSpPr>
          <p:spPr bwMode="gray">
            <a:xfrm>
              <a:off x="3339122" y="4025813"/>
              <a:ext cx="72234" cy="23599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14" y="2"/>
                </a:cxn>
                <a:cxn ang="0">
                  <a:pos x="42" y="0"/>
                </a:cxn>
                <a:cxn ang="0">
                  <a:pos x="66" y="6"/>
                </a:cxn>
                <a:cxn ang="0">
                  <a:pos x="88" y="16"/>
                </a:cxn>
                <a:cxn ang="0">
                  <a:pos x="80" y="24"/>
                </a:cxn>
                <a:cxn ang="0">
                  <a:pos x="64" y="20"/>
                </a:cxn>
                <a:cxn ang="0">
                  <a:pos x="50" y="28"/>
                </a:cxn>
                <a:cxn ang="0">
                  <a:pos x="30" y="24"/>
                </a:cxn>
                <a:cxn ang="0">
                  <a:pos x="18" y="14"/>
                </a:cxn>
                <a:cxn ang="0">
                  <a:pos x="6" y="14"/>
                </a:cxn>
                <a:cxn ang="0">
                  <a:pos x="0" y="8"/>
                </a:cxn>
              </a:cxnLst>
              <a:rect l="0" t="0" r="r" b="b"/>
              <a:pathLst>
                <a:path w="88" h="28">
                  <a:moveTo>
                    <a:pt x="0" y="8"/>
                  </a:moveTo>
                  <a:lnTo>
                    <a:pt x="14" y="2"/>
                  </a:lnTo>
                  <a:lnTo>
                    <a:pt x="42" y="0"/>
                  </a:lnTo>
                  <a:lnTo>
                    <a:pt x="66" y="6"/>
                  </a:lnTo>
                  <a:lnTo>
                    <a:pt x="88" y="16"/>
                  </a:lnTo>
                  <a:lnTo>
                    <a:pt x="80" y="24"/>
                  </a:lnTo>
                  <a:lnTo>
                    <a:pt x="64" y="20"/>
                  </a:lnTo>
                  <a:lnTo>
                    <a:pt x="50" y="28"/>
                  </a:lnTo>
                  <a:lnTo>
                    <a:pt x="30" y="24"/>
                  </a:lnTo>
                  <a:lnTo>
                    <a:pt x="18" y="14"/>
                  </a:lnTo>
                  <a:lnTo>
                    <a:pt x="6" y="14"/>
                  </a:lnTo>
                  <a:lnTo>
                    <a:pt x="0" y="8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21" name="Japan">
              <a:extLst>
                <a:ext uri="{FF2B5EF4-FFF2-40B4-BE49-F238E27FC236}">
                  <a16:creationId xmlns="" xmlns:a16="http://schemas.microsoft.com/office/drawing/2014/main" id="{43D46C30-12D2-4546-969B-16635C939EA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789535" y="2934372"/>
              <a:ext cx="505647" cy="588001"/>
            </a:xfrm>
            <a:custGeom>
              <a:avLst/>
              <a:gdLst/>
              <a:ahLst/>
              <a:cxnLst>
                <a:cxn ang="0">
                  <a:pos x="556" y="80"/>
                </a:cxn>
                <a:cxn ang="0">
                  <a:pos x="608" y="64"/>
                </a:cxn>
                <a:cxn ang="0">
                  <a:pos x="624" y="104"/>
                </a:cxn>
                <a:cxn ang="0">
                  <a:pos x="586" y="128"/>
                </a:cxn>
                <a:cxn ang="0">
                  <a:pos x="532" y="178"/>
                </a:cxn>
                <a:cxn ang="0">
                  <a:pos x="492" y="170"/>
                </a:cxn>
                <a:cxn ang="0">
                  <a:pos x="428" y="150"/>
                </a:cxn>
                <a:cxn ang="0">
                  <a:pos x="442" y="182"/>
                </a:cxn>
                <a:cxn ang="0">
                  <a:pos x="424" y="198"/>
                </a:cxn>
                <a:cxn ang="0">
                  <a:pos x="396" y="202"/>
                </a:cxn>
                <a:cxn ang="0">
                  <a:pos x="394" y="148"/>
                </a:cxn>
                <a:cxn ang="0">
                  <a:pos x="440" y="114"/>
                </a:cxn>
                <a:cxn ang="0">
                  <a:pos x="464" y="42"/>
                </a:cxn>
                <a:cxn ang="0">
                  <a:pos x="426" y="228"/>
                </a:cxn>
                <a:cxn ang="0">
                  <a:pos x="402" y="244"/>
                </a:cxn>
                <a:cxn ang="0">
                  <a:pos x="398" y="304"/>
                </a:cxn>
                <a:cxn ang="0">
                  <a:pos x="396" y="356"/>
                </a:cxn>
                <a:cxn ang="0">
                  <a:pos x="338" y="436"/>
                </a:cxn>
                <a:cxn ang="0">
                  <a:pos x="296" y="416"/>
                </a:cxn>
                <a:cxn ang="0">
                  <a:pos x="250" y="484"/>
                </a:cxn>
                <a:cxn ang="0">
                  <a:pos x="222" y="502"/>
                </a:cxn>
                <a:cxn ang="0">
                  <a:pos x="146" y="512"/>
                </a:cxn>
                <a:cxn ang="0">
                  <a:pos x="70" y="548"/>
                </a:cxn>
                <a:cxn ang="0">
                  <a:pos x="82" y="580"/>
                </a:cxn>
                <a:cxn ang="0">
                  <a:pos x="120" y="570"/>
                </a:cxn>
                <a:cxn ang="0">
                  <a:pos x="174" y="548"/>
                </a:cxn>
                <a:cxn ang="0">
                  <a:pos x="228" y="582"/>
                </a:cxn>
                <a:cxn ang="0">
                  <a:pos x="280" y="548"/>
                </a:cxn>
                <a:cxn ang="0">
                  <a:pos x="340" y="548"/>
                </a:cxn>
                <a:cxn ang="0">
                  <a:pos x="374" y="526"/>
                </a:cxn>
                <a:cxn ang="0">
                  <a:pos x="406" y="530"/>
                </a:cxn>
                <a:cxn ang="0">
                  <a:pos x="436" y="494"/>
                </a:cxn>
                <a:cxn ang="0">
                  <a:pos x="442" y="408"/>
                </a:cxn>
                <a:cxn ang="0">
                  <a:pos x="464" y="358"/>
                </a:cxn>
                <a:cxn ang="0">
                  <a:pos x="472" y="270"/>
                </a:cxn>
                <a:cxn ang="0">
                  <a:pos x="436" y="212"/>
                </a:cxn>
                <a:cxn ang="0">
                  <a:pos x="118" y="628"/>
                </a:cxn>
                <a:cxn ang="0">
                  <a:pos x="140" y="628"/>
                </a:cxn>
                <a:cxn ang="0">
                  <a:pos x="164" y="598"/>
                </a:cxn>
                <a:cxn ang="0">
                  <a:pos x="192" y="592"/>
                </a:cxn>
                <a:cxn ang="0">
                  <a:pos x="166" y="568"/>
                </a:cxn>
                <a:cxn ang="0">
                  <a:pos x="136" y="588"/>
                </a:cxn>
                <a:cxn ang="0">
                  <a:pos x="104" y="612"/>
                </a:cxn>
                <a:cxn ang="0">
                  <a:pos x="50" y="644"/>
                </a:cxn>
                <a:cxn ang="0">
                  <a:pos x="34" y="692"/>
                </a:cxn>
                <a:cxn ang="0">
                  <a:pos x="50" y="718"/>
                </a:cxn>
                <a:cxn ang="0">
                  <a:pos x="64" y="702"/>
                </a:cxn>
                <a:cxn ang="0">
                  <a:pos x="84" y="640"/>
                </a:cxn>
                <a:cxn ang="0">
                  <a:pos x="76" y="614"/>
                </a:cxn>
                <a:cxn ang="0">
                  <a:pos x="66" y="600"/>
                </a:cxn>
                <a:cxn ang="0">
                  <a:pos x="30" y="598"/>
                </a:cxn>
                <a:cxn ang="0">
                  <a:pos x="16" y="620"/>
                </a:cxn>
                <a:cxn ang="0">
                  <a:pos x="34" y="634"/>
                </a:cxn>
              </a:cxnLst>
              <a:rect l="0" t="0" r="r" b="b"/>
              <a:pathLst>
                <a:path w="624" h="718">
                  <a:moveTo>
                    <a:pt x="468" y="0"/>
                  </a:moveTo>
                  <a:lnTo>
                    <a:pt x="530" y="64"/>
                  </a:lnTo>
                  <a:lnTo>
                    <a:pt x="556" y="80"/>
                  </a:lnTo>
                  <a:lnTo>
                    <a:pt x="580" y="78"/>
                  </a:lnTo>
                  <a:lnTo>
                    <a:pt x="606" y="54"/>
                  </a:lnTo>
                  <a:lnTo>
                    <a:pt x="608" y="64"/>
                  </a:lnTo>
                  <a:lnTo>
                    <a:pt x="598" y="88"/>
                  </a:lnTo>
                  <a:lnTo>
                    <a:pt x="608" y="100"/>
                  </a:lnTo>
                  <a:lnTo>
                    <a:pt x="624" y="104"/>
                  </a:lnTo>
                  <a:lnTo>
                    <a:pt x="616" y="112"/>
                  </a:lnTo>
                  <a:lnTo>
                    <a:pt x="594" y="120"/>
                  </a:lnTo>
                  <a:lnTo>
                    <a:pt x="586" y="128"/>
                  </a:lnTo>
                  <a:lnTo>
                    <a:pt x="558" y="126"/>
                  </a:lnTo>
                  <a:lnTo>
                    <a:pt x="532" y="152"/>
                  </a:lnTo>
                  <a:lnTo>
                    <a:pt x="532" y="178"/>
                  </a:lnTo>
                  <a:lnTo>
                    <a:pt x="524" y="188"/>
                  </a:lnTo>
                  <a:lnTo>
                    <a:pt x="518" y="182"/>
                  </a:lnTo>
                  <a:lnTo>
                    <a:pt x="492" y="170"/>
                  </a:lnTo>
                  <a:lnTo>
                    <a:pt x="462" y="144"/>
                  </a:lnTo>
                  <a:lnTo>
                    <a:pt x="444" y="160"/>
                  </a:lnTo>
                  <a:lnTo>
                    <a:pt x="428" y="150"/>
                  </a:lnTo>
                  <a:lnTo>
                    <a:pt x="418" y="164"/>
                  </a:lnTo>
                  <a:lnTo>
                    <a:pt x="430" y="176"/>
                  </a:lnTo>
                  <a:lnTo>
                    <a:pt x="442" y="182"/>
                  </a:lnTo>
                  <a:lnTo>
                    <a:pt x="450" y="198"/>
                  </a:lnTo>
                  <a:lnTo>
                    <a:pt x="442" y="204"/>
                  </a:lnTo>
                  <a:lnTo>
                    <a:pt x="424" y="198"/>
                  </a:lnTo>
                  <a:lnTo>
                    <a:pt x="412" y="210"/>
                  </a:lnTo>
                  <a:lnTo>
                    <a:pt x="402" y="210"/>
                  </a:lnTo>
                  <a:lnTo>
                    <a:pt x="396" y="202"/>
                  </a:lnTo>
                  <a:lnTo>
                    <a:pt x="402" y="178"/>
                  </a:lnTo>
                  <a:lnTo>
                    <a:pt x="392" y="166"/>
                  </a:lnTo>
                  <a:lnTo>
                    <a:pt x="394" y="148"/>
                  </a:lnTo>
                  <a:lnTo>
                    <a:pt x="414" y="130"/>
                  </a:lnTo>
                  <a:lnTo>
                    <a:pt x="412" y="114"/>
                  </a:lnTo>
                  <a:lnTo>
                    <a:pt x="440" y="114"/>
                  </a:lnTo>
                  <a:lnTo>
                    <a:pt x="454" y="90"/>
                  </a:lnTo>
                  <a:lnTo>
                    <a:pt x="464" y="64"/>
                  </a:lnTo>
                  <a:lnTo>
                    <a:pt x="464" y="42"/>
                  </a:lnTo>
                  <a:lnTo>
                    <a:pt x="458" y="12"/>
                  </a:lnTo>
                  <a:lnTo>
                    <a:pt x="468" y="0"/>
                  </a:lnTo>
                  <a:close/>
                  <a:moveTo>
                    <a:pt x="426" y="228"/>
                  </a:moveTo>
                  <a:lnTo>
                    <a:pt x="410" y="224"/>
                  </a:lnTo>
                  <a:lnTo>
                    <a:pt x="410" y="236"/>
                  </a:lnTo>
                  <a:lnTo>
                    <a:pt x="402" y="244"/>
                  </a:lnTo>
                  <a:lnTo>
                    <a:pt x="404" y="262"/>
                  </a:lnTo>
                  <a:lnTo>
                    <a:pt x="404" y="284"/>
                  </a:lnTo>
                  <a:lnTo>
                    <a:pt x="398" y="304"/>
                  </a:lnTo>
                  <a:lnTo>
                    <a:pt x="406" y="326"/>
                  </a:lnTo>
                  <a:lnTo>
                    <a:pt x="396" y="342"/>
                  </a:lnTo>
                  <a:lnTo>
                    <a:pt x="396" y="356"/>
                  </a:lnTo>
                  <a:lnTo>
                    <a:pt x="366" y="396"/>
                  </a:lnTo>
                  <a:lnTo>
                    <a:pt x="364" y="406"/>
                  </a:lnTo>
                  <a:lnTo>
                    <a:pt x="338" y="436"/>
                  </a:lnTo>
                  <a:lnTo>
                    <a:pt x="304" y="444"/>
                  </a:lnTo>
                  <a:lnTo>
                    <a:pt x="292" y="444"/>
                  </a:lnTo>
                  <a:lnTo>
                    <a:pt x="296" y="416"/>
                  </a:lnTo>
                  <a:lnTo>
                    <a:pt x="278" y="426"/>
                  </a:lnTo>
                  <a:lnTo>
                    <a:pt x="274" y="458"/>
                  </a:lnTo>
                  <a:lnTo>
                    <a:pt x="250" y="484"/>
                  </a:lnTo>
                  <a:lnTo>
                    <a:pt x="250" y="498"/>
                  </a:lnTo>
                  <a:lnTo>
                    <a:pt x="234" y="508"/>
                  </a:lnTo>
                  <a:lnTo>
                    <a:pt x="222" y="502"/>
                  </a:lnTo>
                  <a:lnTo>
                    <a:pt x="222" y="490"/>
                  </a:lnTo>
                  <a:lnTo>
                    <a:pt x="174" y="506"/>
                  </a:lnTo>
                  <a:lnTo>
                    <a:pt x="146" y="512"/>
                  </a:lnTo>
                  <a:lnTo>
                    <a:pt x="134" y="504"/>
                  </a:lnTo>
                  <a:lnTo>
                    <a:pt x="82" y="548"/>
                  </a:lnTo>
                  <a:lnTo>
                    <a:pt x="70" y="548"/>
                  </a:lnTo>
                  <a:lnTo>
                    <a:pt x="50" y="568"/>
                  </a:lnTo>
                  <a:lnTo>
                    <a:pt x="64" y="584"/>
                  </a:lnTo>
                  <a:lnTo>
                    <a:pt x="82" y="580"/>
                  </a:lnTo>
                  <a:lnTo>
                    <a:pt x="96" y="586"/>
                  </a:lnTo>
                  <a:lnTo>
                    <a:pt x="106" y="574"/>
                  </a:lnTo>
                  <a:lnTo>
                    <a:pt x="120" y="570"/>
                  </a:lnTo>
                  <a:lnTo>
                    <a:pt x="154" y="556"/>
                  </a:lnTo>
                  <a:lnTo>
                    <a:pt x="168" y="562"/>
                  </a:lnTo>
                  <a:lnTo>
                    <a:pt x="174" y="548"/>
                  </a:lnTo>
                  <a:lnTo>
                    <a:pt x="224" y="548"/>
                  </a:lnTo>
                  <a:lnTo>
                    <a:pt x="220" y="568"/>
                  </a:lnTo>
                  <a:lnTo>
                    <a:pt x="228" y="582"/>
                  </a:lnTo>
                  <a:lnTo>
                    <a:pt x="252" y="602"/>
                  </a:lnTo>
                  <a:lnTo>
                    <a:pt x="260" y="588"/>
                  </a:lnTo>
                  <a:lnTo>
                    <a:pt x="280" y="548"/>
                  </a:lnTo>
                  <a:lnTo>
                    <a:pt x="296" y="558"/>
                  </a:lnTo>
                  <a:lnTo>
                    <a:pt x="312" y="548"/>
                  </a:lnTo>
                  <a:lnTo>
                    <a:pt x="340" y="548"/>
                  </a:lnTo>
                  <a:lnTo>
                    <a:pt x="352" y="538"/>
                  </a:lnTo>
                  <a:lnTo>
                    <a:pt x="368" y="548"/>
                  </a:lnTo>
                  <a:lnTo>
                    <a:pt x="374" y="526"/>
                  </a:lnTo>
                  <a:lnTo>
                    <a:pt x="380" y="518"/>
                  </a:lnTo>
                  <a:lnTo>
                    <a:pt x="400" y="514"/>
                  </a:lnTo>
                  <a:lnTo>
                    <a:pt x="406" y="530"/>
                  </a:lnTo>
                  <a:lnTo>
                    <a:pt x="422" y="520"/>
                  </a:lnTo>
                  <a:lnTo>
                    <a:pt x="424" y="510"/>
                  </a:lnTo>
                  <a:lnTo>
                    <a:pt x="436" y="494"/>
                  </a:lnTo>
                  <a:lnTo>
                    <a:pt x="432" y="472"/>
                  </a:lnTo>
                  <a:lnTo>
                    <a:pt x="444" y="424"/>
                  </a:lnTo>
                  <a:lnTo>
                    <a:pt x="442" y="408"/>
                  </a:lnTo>
                  <a:lnTo>
                    <a:pt x="448" y="376"/>
                  </a:lnTo>
                  <a:lnTo>
                    <a:pt x="464" y="384"/>
                  </a:lnTo>
                  <a:lnTo>
                    <a:pt x="464" y="358"/>
                  </a:lnTo>
                  <a:lnTo>
                    <a:pt x="476" y="332"/>
                  </a:lnTo>
                  <a:lnTo>
                    <a:pt x="472" y="308"/>
                  </a:lnTo>
                  <a:lnTo>
                    <a:pt x="472" y="270"/>
                  </a:lnTo>
                  <a:lnTo>
                    <a:pt x="452" y="232"/>
                  </a:lnTo>
                  <a:lnTo>
                    <a:pt x="452" y="210"/>
                  </a:lnTo>
                  <a:lnTo>
                    <a:pt x="436" y="212"/>
                  </a:lnTo>
                  <a:lnTo>
                    <a:pt x="426" y="228"/>
                  </a:lnTo>
                  <a:close/>
                  <a:moveTo>
                    <a:pt x="114" y="616"/>
                  </a:moveTo>
                  <a:lnTo>
                    <a:pt x="118" y="628"/>
                  </a:lnTo>
                  <a:lnTo>
                    <a:pt x="130" y="628"/>
                  </a:lnTo>
                  <a:lnTo>
                    <a:pt x="132" y="634"/>
                  </a:lnTo>
                  <a:lnTo>
                    <a:pt x="140" y="628"/>
                  </a:lnTo>
                  <a:lnTo>
                    <a:pt x="142" y="614"/>
                  </a:lnTo>
                  <a:lnTo>
                    <a:pt x="152" y="598"/>
                  </a:lnTo>
                  <a:lnTo>
                    <a:pt x="164" y="598"/>
                  </a:lnTo>
                  <a:lnTo>
                    <a:pt x="178" y="608"/>
                  </a:lnTo>
                  <a:lnTo>
                    <a:pt x="184" y="594"/>
                  </a:lnTo>
                  <a:lnTo>
                    <a:pt x="192" y="592"/>
                  </a:lnTo>
                  <a:lnTo>
                    <a:pt x="200" y="586"/>
                  </a:lnTo>
                  <a:lnTo>
                    <a:pt x="192" y="570"/>
                  </a:lnTo>
                  <a:lnTo>
                    <a:pt x="166" y="568"/>
                  </a:lnTo>
                  <a:lnTo>
                    <a:pt x="158" y="572"/>
                  </a:lnTo>
                  <a:lnTo>
                    <a:pt x="148" y="586"/>
                  </a:lnTo>
                  <a:lnTo>
                    <a:pt x="136" y="588"/>
                  </a:lnTo>
                  <a:lnTo>
                    <a:pt x="126" y="582"/>
                  </a:lnTo>
                  <a:lnTo>
                    <a:pt x="116" y="602"/>
                  </a:lnTo>
                  <a:lnTo>
                    <a:pt x="104" y="612"/>
                  </a:lnTo>
                  <a:lnTo>
                    <a:pt x="114" y="616"/>
                  </a:lnTo>
                  <a:close/>
                  <a:moveTo>
                    <a:pt x="34" y="634"/>
                  </a:moveTo>
                  <a:lnTo>
                    <a:pt x="50" y="644"/>
                  </a:lnTo>
                  <a:lnTo>
                    <a:pt x="40" y="664"/>
                  </a:lnTo>
                  <a:lnTo>
                    <a:pt x="34" y="668"/>
                  </a:lnTo>
                  <a:lnTo>
                    <a:pt x="34" y="692"/>
                  </a:lnTo>
                  <a:lnTo>
                    <a:pt x="30" y="704"/>
                  </a:lnTo>
                  <a:lnTo>
                    <a:pt x="44" y="708"/>
                  </a:lnTo>
                  <a:lnTo>
                    <a:pt x="50" y="718"/>
                  </a:lnTo>
                  <a:lnTo>
                    <a:pt x="58" y="718"/>
                  </a:lnTo>
                  <a:lnTo>
                    <a:pt x="64" y="710"/>
                  </a:lnTo>
                  <a:lnTo>
                    <a:pt x="64" y="702"/>
                  </a:lnTo>
                  <a:lnTo>
                    <a:pt x="78" y="698"/>
                  </a:lnTo>
                  <a:lnTo>
                    <a:pt x="76" y="688"/>
                  </a:lnTo>
                  <a:lnTo>
                    <a:pt x="84" y="640"/>
                  </a:lnTo>
                  <a:lnTo>
                    <a:pt x="96" y="634"/>
                  </a:lnTo>
                  <a:lnTo>
                    <a:pt x="88" y="618"/>
                  </a:lnTo>
                  <a:lnTo>
                    <a:pt x="76" y="614"/>
                  </a:lnTo>
                  <a:lnTo>
                    <a:pt x="84" y="598"/>
                  </a:lnTo>
                  <a:lnTo>
                    <a:pt x="76" y="592"/>
                  </a:lnTo>
                  <a:lnTo>
                    <a:pt x="66" y="600"/>
                  </a:lnTo>
                  <a:lnTo>
                    <a:pt x="54" y="588"/>
                  </a:lnTo>
                  <a:lnTo>
                    <a:pt x="40" y="588"/>
                  </a:lnTo>
                  <a:lnTo>
                    <a:pt x="30" y="598"/>
                  </a:lnTo>
                  <a:lnTo>
                    <a:pt x="20" y="598"/>
                  </a:lnTo>
                  <a:lnTo>
                    <a:pt x="0" y="616"/>
                  </a:lnTo>
                  <a:lnTo>
                    <a:pt x="16" y="620"/>
                  </a:lnTo>
                  <a:lnTo>
                    <a:pt x="14" y="638"/>
                  </a:lnTo>
                  <a:lnTo>
                    <a:pt x="18" y="652"/>
                  </a:lnTo>
                  <a:lnTo>
                    <a:pt x="34" y="634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22" name="Jordan">
              <a:extLst>
                <a:ext uri="{FF2B5EF4-FFF2-40B4-BE49-F238E27FC236}">
                  <a16:creationId xmlns="" xmlns:a16="http://schemas.microsoft.com/office/drawing/2014/main" id="{F37A0894-ABBB-48E4-BA94-8DC13C1620C7}"/>
                </a:ext>
              </a:extLst>
            </p:cNvPr>
            <p:cNvSpPr>
              <a:spLocks/>
            </p:cNvSpPr>
            <p:nvPr/>
          </p:nvSpPr>
          <p:spPr bwMode="gray">
            <a:xfrm>
              <a:off x="6876697" y="3433879"/>
              <a:ext cx="134708" cy="161259"/>
            </a:xfrm>
            <a:custGeom>
              <a:avLst/>
              <a:gdLst/>
              <a:ahLst/>
              <a:cxnLst>
                <a:cxn ang="0">
                  <a:pos x="44" y="196"/>
                </a:cxn>
                <a:cxn ang="0">
                  <a:pos x="60" y="182"/>
                </a:cxn>
                <a:cxn ang="0">
                  <a:pos x="70" y="166"/>
                </a:cxn>
                <a:cxn ang="0">
                  <a:pos x="98" y="158"/>
                </a:cxn>
                <a:cxn ang="0">
                  <a:pos x="104" y="144"/>
                </a:cxn>
                <a:cxn ang="0">
                  <a:pos x="118" y="134"/>
                </a:cxn>
                <a:cxn ang="0">
                  <a:pos x="80" y="88"/>
                </a:cxn>
                <a:cxn ang="0">
                  <a:pos x="154" y="64"/>
                </a:cxn>
                <a:cxn ang="0">
                  <a:pos x="166" y="50"/>
                </a:cxn>
                <a:cxn ang="0">
                  <a:pos x="166" y="46"/>
                </a:cxn>
                <a:cxn ang="0">
                  <a:pos x="156" y="48"/>
                </a:cxn>
                <a:cxn ang="0">
                  <a:pos x="154" y="40"/>
                </a:cxn>
                <a:cxn ang="0">
                  <a:pos x="158" y="38"/>
                </a:cxn>
                <a:cxn ang="0">
                  <a:pos x="146" y="0"/>
                </a:cxn>
                <a:cxn ang="0">
                  <a:pos x="76" y="50"/>
                </a:cxn>
                <a:cxn ang="0">
                  <a:pos x="58" y="46"/>
                </a:cxn>
                <a:cxn ang="0">
                  <a:pos x="50" y="40"/>
                </a:cxn>
                <a:cxn ang="0">
                  <a:pos x="48" y="40"/>
                </a:cxn>
                <a:cxn ang="0">
                  <a:pos x="42" y="30"/>
                </a:cxn>
                <a:cxn ang="0">
                  <a:pos x="36" y="30"/>
                </a:cxn>
                <a:cxn ang="0">
                  <a:pos x="30" y="32"/>
                </a:cxn>
                <a:cxn ang="0">
                  <a:pos x="28" y="34"/>
                </a:cxn>
                <a:cxn ang="0">
                  <a:pos x="26" y="46"/>
                </a:cxn>
                <a:cxn ang="0">
                  <a:pos x="28" y="54"/>
                </a:cxn>
                <a:cxn ang="0">
                  <a:pos x="24" y="62"/>
                </a:cxn>
                <a:cxn ang="0">
                  <a:pos x="26" y="74"/>
                </a:cxn>
                <a:cxn ang="0">
                  <a:pos x="22" y="88"/>
                </a:cxn>
                <a:cxn ang="0">
                  <a:pos x="20" y="98"/>
                </a:cxn>
                <a:cxn ang="0">
                  <a:pos x="22" y="106"/>
                </a:cxn>
                <a:cxn ang="0">
                  <a:pos x="10" y="138"/>
                </a:cxn>
                <a:cxn ang="0">
                  <a:pos x="10" y="152"/>
                </a:cxn>
                <a:cxn ang="0">
                  <a:pos x="8" y="156"/>
                </a:cxn>
                <a:cxn ang="0">
                  <a:pos x="0" y="180"/>
                </a:cxn>
                <a:cxn ang="0">
                  <a:pos x="44" y="196"/>
                </a:cxn>
              </a:cxnLst>
              <a:rect l="0" t="0" r="r" b="b"/>
              <a:pathLst>
                <a:path w="166" h="196">
                  <a:moveTo>
                    <a:pt x="44" y="196"/>
                  </a:moveTo>
                  <a:lnTo>
                    <a:pt x="60" y="182"/>
                  </a:lnTo>
                  <a:lnTo>
                    <a:pt x="70" y="166"/>
                  </a:lnTo>
                  <a:lnTo>
                    <a:pt x="98" y="158"/>
                  </a:lnTo>
                  <a:lnTo>
                    <a:pt x="104" y="144"/>
                  </a:lnTo>
                  <a:lnTo>
                    <a:pt x="118" y="134"/>
                  </a:lnTo>
                  <a:lnTo>
                    <a:pt x="80" y="88"/>
                  </a:lnTo>
                  <a:lnTo>
                    <a:pt x="154" y="64"/>
                  </a:lnTo>
                  <a:lnTo>
                    <a:pt x="166" y="50"/>
                  </a:lnTo>
                  <a:lnTo>
                    <a:pt x="166" y="46"/>
                  </a:lnTo>
                  <a:lnTo>
                    <a:pt x="156" y="48"/>
                  </a:lnTo>
                  <a:lnTo>
                    <a:pt x="154" y="40"/>
                  </a:lnTo>
                  <a:lnTo>
                    <a:pt x="158" y="38"/>
                  </a:lnTo>
                  <a:lnTo>
                    <a:pt x="146" y="0"/>
                  </a:lnTo>
                  <a:lnTo>
                    <a:pt x="76" y="50"/>
                  </a:lnTo>
                  <a:lnTo>
                    <a:pt x="58" y="46"/>
                  </a:lnTo>
                  <a:lnTo>
                    <a:pt x="50" y="40"/>
                  </a:lnTo>
                  <a:lnTo>
                    <a:pt x="48" y="40"/>
                  </a:lnTo>
                  <a:lnTo>
                    <a:pt x="42" y="30"/>
                  </a:lnTo>
                  <a:lnTo>
                    <a:pt x="36" y="30"/>
                  </a:lnTo>
                  <a:lnTo>
                    <a:pt x="30" y="32"/>
                  </a:lnTo>
                  <a:lnTo>
                    <a:pt x="28" y="34"/>
                  </a:lnTo>
                  <a:lnTo>
                    <a:pt x="26" y="46"/>
                  </a:lnTo>
                  <a:lnTo>
                    <a:pt x="28" y="54"/>
                  </a:lnTo>
                  <a:lnTo>
                    <a:pt x="24" y="62"/>
                  </a:lnTo>
                  <a:lnTo>
                    <a:pt x="26" y="74"/>
                  </a:lnTo>
                  <a:lnTo>
                    <a:pt x="22" y="88"/>
                  </a:lnTo>
                  <a:lnTo>
                    <a:pt x="20" y="98"/>
                  </a:lnTo>
                  <a:lnTo>
                    <a:pt x="22" y="106"/>
                  </a:lnTo>
                  <a:lnTo>
                    <a:pt x="10" y="138"/>
                  </a:lnTo>
                  <a:lnTo>
                    <a:pt x="10" y="152"/>
                  </a:lnTo>
                  <a:lnTo>
                    <a:pt x="8" y="156"/>
                  </a:lnTo>
                  <a:lnTo>
                    <a:pt x="0" y="180"/>
                  </a:lnTo>
                  <a:lnTo>
                    <a:pt x="44" y="196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23" name="Kazakhstan">
              <a:extLst>
                <a:ext uri="{FF2B5EF4-FFF2-40B4-BE49-F238E27FC236}">
                  <a16:creationId xmlns="" xmlns:a16="http://schemas.microsoft.com/office/drawing/2014/main" id="{6AF0FE67-FAE3-4124-A2CA-1F888CE75AFF}"/>
                </a:ext>
              </a:extLst>
            </p:cNvPr>
            <p:cNvSpPr>
              <a:spLocks/>
            </p:cNvSpPr>
            <p:nvPr/>
          </p:nvSpPr>
          <p:spPr bwMode="gray">
            <a:xfrm>
              <a:off x="7243731" y="2430934"/>
              <a:ext cx="1257283" cy="692229"/>
            </a:xfrm>
            <a:custGeom>
              <a:avLst/>
              <a:gdLst/>
              <a:ahLst/>
              <a:cxnLst>
                <a:cxn ang="0">
                  <a:pos x="1548" y="412"/>
                </a:cxn>
                <a:cxn ang="0">
                  <a:pos x="1466" y="360"/>
                </a:cxn>
                <a:cxn ang="0">
                  <a:pos x="1420" y="310"/>
                </a:cxn>
                <a:cxn ang="0">
                  <a:pos x="1344" y="300"/>
                </a:cxn>
                <a:cxn ang="0">
                  <a:pos x="1250" y="302"/>
                </a:cxn>
                <a:cxn ang="0">
                  <a:pos x="1186" y="188"/>
                </a:cxn>
                <a:cxn ang="0">
                  <a:pos x="1092" y="78"/>
                </a:cxn>
                <a:cxn ang="0">
                  <a:pos x="1026" y="106"/>
                </a:cxn>
                <a:cxn ang="0">
                  <a:pos x="966" y="76"/>
                </a:cxn>
                <a:cxn ang="0">
                  <a:pos x="906" y="66"/>
                </a:cxn>
                <a:cxn ang="0">
                  <a:pos x="908" y="0"/>
                </a:cxn>
                <a:cxn ang="0">
                  <a:pos x="806" y="22"/>
                </a:cxn>
                <a:cxn ang="0">
                  <a:pos x="620" y="78"/>
                </a:cxn>
                <a:cxn ang="0">
                  <a:pos x="552" y="144"/>
                </a:cxn>
                <a:cxn ang="0">
                  <a:pos x="522" y="206"/>
                </a:cxn>
                <a:cxn ang="0">
                  <a:pos x="530" y="258"/>
                </a:cxn>
                <a:cxn ang="0">
                  <a:pos x="554" y="296"/>
                </a:cxn>
                <a:cxn ang="0">
                  <a:pos x="458" y="288"/>
                </a:cxn>
                <a:cxn ang="0">
                  <a:pos x="392" y="284"/>
                </a:cxn>
                <a:cxn ang="0">
                  <a:pos x="326" y="310"/>
                </a:cxn>
                <a:cxn ang="0">
                  <a:pos x="306" y="312"/>
                </a:cxn>
                <a:cxn ang="0">
                  <a:pos x="286" y="288"/>
                </a:cxn>
                <a:cxn ang="0">
                  <a:pos x="224" y="238"/>
                </a:cxn>
                <a:cxn ang="0">
                  <a:pos x="178" y="244"/>
                </a:cxn>
                <a:cxn ang="0">
                  <a:pos x="106" y="288"/>
                </a:cxn>
                <a:cxn ang="0">
                  <a:pos x="90" y="350"/>
                </a:cxn>
                <a:cxn ang="0">
                  <a:pos x="60" y="340"/>
                </a:cxn>
                <a:cxn ang="0">
                  <a:pos x="14" y="362"/>
                </a:cxn>
                <a:cxn ang="0">
                  <a:pos x="14" y="414"/>
                </a:cxn>
                <a:cxn ang="0">
                  <a:pos x="32" y="478"/>
                </a:cxn>
                <a:cxn ang="0">
                  <a:pos x="84" y="554"/>
                </a:cxn>
                <a:cxn ang="0">
                  <a:pos x="212" y="524"/>
                </a:cxn>
                <a:cxn ang="0">
                  <a:pos x="214" y="630"/>
                </a:cxn>
                <a:cxn ang="0">
                  <a:pos x="152" y="668"/>
                </a:cxn>
                <a:cxn ang="0">
                  <a:pos x="172" y="744"/>
                </a:cxn>
                <a:cxn ang="0">
                  <a:pos x="226" y="766"/>
                </a:cxn>
                <a:cxn ang="0">
                  <a:pos x="238" y="780"/>
                </a:cxn>
                <a:cxn ang="0">
                  <a:pos x="312" y="804"/>
                </a:cxn>
                <a:cxn ang="0">
                  <a:pos x="354" y="626"/>
                </a:cxn>
                <a:cxn ang="0">
                  <a:pos x="564" y="694"/>
                </a:cxn>
                <a:cxn ang="0">
                  <a:pos x="666" y="698"/>
                </a:cxn>
                <a:cxn ang="0">
                  <a:pos x="728" y="750"/>
                </a:cxn>
                <a:cxn ang="0">
                  <a:pos x="722" y="802"/>
                </a:cxn>
                <a:cxn ang="0">
                  <a:pos x="796" y="834"/>
                </a:cxn>
                <a:cxn ang="0">
                  <a:pos x="824" y="828"/>
                </a:cxn>
                <a:cxn ang="0">
                  <a:pos x="918" y="766"/>
                </a:cxn>
                <a:cxn ang="0">
                  <a:pos x="994" y="766"/>
                </a:cxn>
                <a:cxn ang="0">
                  <a:pos x="1080" y="744"/>
                </a:cxn>
                <a:cxn ang="0">
                  <a:pos x="1232" y="740"/>
                </a:cxn>
                <a:cxn ang="0">
                  <a:pos x="1288" y="722"/>
                </a:cxn>
                <a:cxn ang="0">
                  <a:pos x="1260" y="624"/>
                </a:cxn>
                <a:cxn ang="0">
                  <a:pos x="1348" y="612"/>
                </a:cxn>
                <a:cxn ang="0">
                  <a:pos x="1406" y="526"/>
                </a:cxn>
                <a:cxn ang="0">
                  <a:pos x="1496" y="434"/>
                </a:cxn>
              </a:cxnLst>
              <a:rect l="0" t="0" r="r" b="b"/>
              <a:pathLst>
                <a:path w="1548" h="848">
                  <a:moveTo>
                    <a:pt x="1528" y="406"/>
                  </a:moveTo>
                  <a:lnTo>
                    <a:pt x="1538" y="420"/>
                  </a:lnTo>
                  <a:lnTo>
                    <a:pt x="1548" y="412"/>
                  </a:lnTo>
                  <a:lnTo>
                    <a:pt x="1538" y="388"/>
                  </a:lnTo>
                  <a:lnTo>
                    <a:pt x="1508" y="362"/>
                  </a:lnTo>
                  <a:lnTo>
                    <a:pt x="1466" y="360"/>
                  </a:lnTo>
                  <a:lnTo>
                    <a:pt x="1444" y="332"/>
                  </a:lnTo>
                  <a:lnTo>
                    <a:pt x="1430" y="328"/>
                  </a:lnTo>
                  <a:lnTo>
                    <a:pt x="1420" y="310"/>
                  </a:lnTo>
                  <a:lnTo>
                    <a:pt x="1386" y="278"/>
                  </a:lnTo>
                  <a:lnTo>
                    <a:pt x="1366" y="278"/>
                  </a:lnTo>
                  <a:lnTo>
                    <a:pt x="1344" y="300"/>
                  </a:lnTo>
                  <a:lnTo>
                    <a:pt x="1310" y="302"/>
                  </a:lnTo>
                  <a:lnTo>
                    <a:pt x="1284" y="272"/>
                  </a:lnTo>
                  <a:lnTo>
                    <a:pt x="1250" y="302"/>
                  </a:lnTo>
                  <a:lnTo>
                    <a:pt x="1230" y="268"/>
                  </a:lnTo>
                  <a:lnTo>
                    <a:pt x="1216" y="224"/>
                  </a:lnTo>
                  <a:lnTo>
                    <a:pt x="1186" y="188"/>
                  </a:lnTo>
                  <a:lnTo>
                    <a:pt x="1154" y="128"/>
                  </a:lnTo>
                  <a:lnTo>
                    <a:pt x="1108" y="98"/>
                  </a:lnTo>
                  <a:lnTo>
                    <a:pt x="1092" y="78"/>
                  </a:lnTo>
                  <a:lnTo>
                    <a:pt x="1098" y="56"/>
                  </a:lnTo>
                  <a:lnTo>
                    <a:pt x="1082" y="56"/>
                  </a:lnTo>
                  <a:lnTo>
                    <a:pt x="1026" y="106"/>
                  </a:lnTo>
                  <a:lnTo>
                    <a:pt x="1004" y="108"/>
                  </a:lnTo>
                  <a:lnTo>
                    <a:pt x="1010" y="84"/>
                  </a:lnTo>
                  <a:lnTo>
                    <a:pt x="966" y="76"/>
                  </a:lnTo>
                  <a:lnTo>
                    <a:pt x="958" y="54"/>
                  </a:lnTo>
                  <a:lnTo>
                    <a:pt x="926" y="78"/>
                  </a:lnTo>
                  <a:lnTo>
                    <a:pt x="906" y="66"/>
                  </a:lnTo>
                  <a:lnTo>
                    <a:pt x="922" y="54"/>
                  </a:lnTo>
                  <a:lnTo>
                    <a:pt x="904" y="38"/>
                  </a:lnTo>
                  <a:lnTo>
                    <a:pt x="908" y="0"/>
                  </a:lnTo>
                  <a:lnTo>
                    <a:pt x="868" y="18"/>
                  </a:lnTo>
                  <a:lnTo>
                    <a:pt x="836" y="8"/>
                  </a:lnTo>
                  <a:lnTo>
                    <a:pt x="806" y="22"/>
                  </a:lnTo>
                  <a:lnTo>
                    <a:pt x="750" y="36"/>
                  </a:lnTo>
                  <a:lnTo>
                    <a:pt x="688" y="74"/>
                  </a:lnTo>
                  <a:lnTo>
                    <a:pt x="620" y="78"/>
                  </a:lnTo>
                  <a:lnTo>
                    <a:pt x="564" y="80"/>
                  </a:lnTo>
                  <a:lnTo>
                    <a:pt x="546" y="130"/>
                  </a:lnTo>
                  <a:lnTo>
                    <a:pt x="552" y="144"/>
                  </a:lnTo>
                  <a:lnTo>
                    <a:pt x="530" y="176"/>
                  </a:lnTo>
                  <a:lnTo>
                    <a:pt x="542" y="202"/>
                  </a:lnTo>
                  <a:lnTo>
                    <a:pt x="522" y="206"/>
                  </a:lnTo>
                  <a:lnTo>
                    <a:pt x="488" y="234"/>
                  </a:lnTo>
                  <a:lnTo>
                    <a:pt x="488" y="246"/>
                  </a:lnTo>
                  <a:lnTo>
                    <a:pt x="530" y="258"/>
                  </a:lnTo>
                  <a:lnTo>
                    <a:pt x="566" y="256"/>
                  </a:lnTo>
                  <a:lnTo>
                    <a:pt x="568" y="288"/>
                  </a:lnTo>
                  <a:lnTo>
                    <a:pt x="554" y="296"/>
                  </a:lnTo>
                  <a:lnTo>
                    <a:pt x="510" y="292"/>
                  </a:lnTo>
                  <a:lnTo>
                    <a:pt x="460" y="304"/>
                  </a:lnTo>
                  <a:lnTo>
                    <a:pt x="458" y="288"/>
                  </a:lnTo>
                  <a:lnTo>
                    <a:pt x="432" y="272"/>
                  </a:lnTo>
                  <a:lnTo>
                    <a:pt x="410" y="296"/>
                  </a:lnTo>
                  <a:lnTo>
                    <a:pt x="392" y="284"/>
                  </a:lnTo>
                  <a:lnTo>
                    <a:pt x="370" y="290"/>
                  </a:lnTo>
                  <a:lnTo>
                    <a:pt x="354" y="318"/>
                  </a:lnTo>
                  <a:lnTo>
                    <a:pt x="326" y="310"/>
                  </a:lnTo>
                  <a:lnTo>
                    <a:pt x="312" y="280"/>
                  </a:lnTo>
                  <a:lnTo>
                    <a:pt x="304" y="292"/>
                  </a:lnTo>
                  <a:lnTo>
                    <a:pt x="306" y="312"/>
                  </a:lnTo>
                  <a:lnTo>
                    <a:pt x="294" y="326"/>
                  </a:lnTo>
                  <a:lnTo>
                    <a:pt x="288" y="314"/>
                  </a:lnTo>
                  <a:lnTo>
                    <a:pt x="286" y="288"/>
                  </a:lnTo>
                  <a:lnTo>
                    <a:pt x="262" y="260"/>
                  </a:lnTo>
                  <a:lnTo>
                    <a:pt x="232" y="270"/>
                  </a:lnTo>
                  <a:lnTo>
                    <a:pt x="224" y="238"/>
                  </a:lnTo>
                  <a:lnTo>
                    <a:pt x="202" y="238"/>
                  </a:lnTo>
                  <a:lnTo>
                    <a:pt x="186" y="266"/>
                  </a:lnTo>
                  <a:lnTo>
                    <a:pt x="178" y="244"/>
                  </a:lnTo>
                  <a:lnTo>
                    <a:pt x="158" y="236"/>
                  </a:lnTo>
                  <a:lnTo>
                    <a:pt x="132" y="288"/>
                  </a:lnTo>
                  <a:lnTo>
                    <a:pt x="106" y="288"/>
                  </a:lnTo>
                  <a:lnTo>
                    <a:pt x="110" y="304"/>
                  </a:lnTo>
                  <a:lnTo>
                    <a:pt x="78" y="320"/>
                  </a:lnTo>
                  <a:lnTo>
                    <a:pt x="90" y="350"/>
                  </a:lnTo>
                  <a:lnTo>
                    <a:pt x="80" y="364"/>
                  </a:lnTo>
                  <a:lnTo>
                    <a:pt x="68" y="362"/>
                  </a:lnTo>
                  <a:lnTo>
                    <a:pt x="60" y="340"/>
                  </a:lnTo>
                  <a:lnTo>
                    <a:pt x="42" y="328"/>
                  </a:lnTo>
                  <a:lnTo>
                    <a:pt x="32" y="348"/>
                  </a:lnTo>
                  <a:lnTo>
                    <a:pt x="14" y="362"/>
                  </a:lnTo>
                  <a:lnTo>
                    <a:pt x="6" y="380"/>
                  </a:lnTo>
                  <a:lnTo>
                    <a:pt x="6" y="402"/>
                  </a:lnTo>
                  <a:lnTo>
                    <a:pt x="14" y="414"/>
                  </a:lnTo>
                  <a:lnTo>
                    <a:pt x="0" y="454"/>
                  </a:lnTo>
                  <a:lnTo>
                    <a:pt x="22" y="456"/>
                  </a:lnTo>
                  <a:lnTo>
                    <a:pt x="32" y="478"/>
                  </a:lnTo>
                  <a:lnTo>
                    <a:pt x="58" y="480"/>
                  </a:lnTo>
                  <a:lnTo>
                    <a:pt x="90" y="534"/>
                  </a:lnTo>
                  <a:lnTo>
                    <a:pt x="84" y="554"/>
                  </a:lnTo>
                  <a:lnTo>
                    <a:pt x="136" y="546"/>
                  </a:lnTo>
                  <a:lnTo>
                    <a:pt x="168" y="518"/>
                  </a:lnTo>
                  <a:lnTo>
                    <a:pt x="212" y="524"/>
                  </a:lnTo>
                  <a:lnTo>
                    <a:pt x="262" y="548"/>
                  </a:lnTo>
                  <a:lnTo>
                    <a:pt x="248" y="616"/>
                  </a:lnTo>
                  <a:lnTo>
                    <a:pt x="214" y="630"/>
                  </a:lnTo>
                  <a:lnTo>
                    <a:pt x="180" y="626"/>
                  </a:lnTo>
                  <a:lnTo>
                    <a:pt x="178" y="672"/>
                  </a:lnTo>
                  <a:lnTo>
                    <a:pt x="152" y="668"/>
                  </a:lnTo>
                  <a:lnTo>
                    <a:pt x="138" y="686"/>
                  </a:lnTo>
                  <a:lnTo>
                    <a:pt x="152" y="688"/>
                  </a:lnTo>
                  <a:lnTo>
                    <a:pt x="172" y="744"/>
                  </a:lnTo>
                  <a:lnTo>
                    <a:pt x="188" y="744"/>
                  </a:lnTo>
                  <a:lnTo>
                    <a:pt x="200" y="766"/>
                  </a:lnTo>
                  <a:lnTo>
                    <a:pt x="226" y="766"/>
                  </a:lnTo>
                  <a:lnTo>
                    <a:pt x="222" y="808"/>
                  </a:lnTo>
                  <a:lnTo>
                    <a:pt x="236" y="800"/>
                  </a:lnTo>
                  <a:lnTo>
                    <a:pt x="238" y="780"/>
                  </a:lnTo>
                  <a:lnTo>
                    <a:pt x="286" y="762"/>
                  </a:lnTo>
                  <a:lnTo>
                    <a:pt x="308" y="790"/>
                  </a:lnTo>
                  <a:lnTo>
                    <a:pt x="312" y="804"/>
                  </a:lnTo>
                  <a:lnTo>
                    <a:pt x="338" y="834"/>
                  </a:lnTo>
                  <a:lnTo>
                    <a:pt x="354" y="834"/>
                  </a:lnTo>
                  <a:lnTo>
                    <a:pt x="354" y="626"/>
                  </a:lnTo>
                  <a:lnTo>
                    <a:pt x="448" y="602"/>
                  </a:lnTo>
                  <a:lnTo>
                    <a:pt x="552" y="660"/>
                  </a:lnTo>
                  <a:lnTo>
                    <a:pt x="564" y="694"/>
                  </a:lnTo>
                  <a:lnTo>
                    <a:pt x="576" y="710"/>
                  </a:lnTo>
                  <a:lnTo>
                    <a:pt x="596" y="698"/>
                  </a:lnTo>
                  <a:lnTo>
                    <a:pt x="666" y="698"/>
                  </a:lnTo>
                  <a:lnTo>
                    <a:pt x="678" y="686"/>
                  </a:lnTo>
                  <a:lnTo>
                    <a:pt x="710" y="750"/>
                  </a:lnTo>
                  <a:lnTo>
                    <a:pt x="728" y="750"/>
                  </a:lnTo>
                  <a:lnTo>
                    <a:pt x="732" y="778"/>
                  </a:lnTo>
                  <a:lnTo>
                    <a:pt x="722" y="784"/>
                  </a:lnTo>
                  <a:lnTo>
                    <a:pt x="722" y="802"/>
                  </a:lnTo>
                  <a:lnTo>
                    <a:pt x="742" y="808"/>
                  </a:lnTo>
                  <a:lnTo>
                    <a:pt x="746" y="832"/>
                  </a:lnTo>
                  <a:lnTo>
                    <a:pt x="796" y="834"/>
                  </a:lnTo>
                  <a:lnTo>
                    <a:pt x="814" y="848"/>
                  </a:lnTo>
                  <a:lnTo>
                    <a:pt x="824" y="842"/>
                  </a:lnTo>
                  <a:lnTo>
                    <a:pt x="824" y="828"/>
                  </a:lnTo>
                  <a:lnTo>
                    <a:pt x="866" y="804"/>
                  </a:lnTo>
                  <a:lnTo>
                    <a:pt x="918" y="790"/>
                  </a:lnTo>
                  <a:lnTo>
                    <a:pt x="918" y="766"/>
                  </a:lnTo>
                  <a:lnTo>
                    <a:pt x="936" y="762"/>
                  </a:lnTo>
                  <a:lnTo>
                    <a:pt x="956" y="762"/>
                  </a:lnTo>
                  <a:lnTo>
                    <a:pt x="994" y="766"/>
                  </a:lnTo>
                  <a:lnTo>
                    <a:pt x="1010" y="740"/>
                  </a:lnTo>
                  <a:lnTo>
                    <a:pt x="1044" y="722"/>
                  </a:lnTo>
                  <a:lnTo>
                    <a:pt x="1080" y="744"/>
                  </a:lnTo>
                  <a:lnTo>
                    <a:pt x="1152" y="740"/>
                  </a:lnTo>
                  <a:lnTo>
                    <a:pt x="1218" y="748"/>
                  </a:lnTo>
                  <a:lnTo>
                    <a:pt x="1232" y="740"/>
                  </a:lnTo>
                  <a:lnTo>
                    <a:pt x="1238" y="752"/>
                  </a:lnTo>
                  <a:lnTo>
                    <a:pt x="1276" y="764"/>
                  </a:lnTo>
                  <a:lnTo>
                    <a:pt x="1288" y="722"/>
                  </a:lnTo>
                  <a:lnTo>
                    <a:pt x="1266" y="644"/>
                  </a:lnTo>
                  <a:lnTo>
                    <a:pt x="1250" y="638"/>
                  </a:lnTo>
                  <a:lnTo>
                    <a:pt x="1260" y="624"/>
                  </a:lnTo>
                  <a:lnTo>
                    <a:pt x="1316" y="618"/>
                  </a:lnTo>
                  <a:lnTo>
                    <a:pt x="1336" y="626"/>
                  </a:lnTo>
                  <a:lnTo>
                    <a:pt x="1348" y="612"/>
                  </a:lnTo>
                  <a:lnTo>
                    <a:pt x="1334" y="604"/>
                  </a:lnTo>
                  <a:lnTo>
                    <a:pt x="1366" y="514"/>
                  </a:lnTo>
                  <a:lnTo>
                    <a:pt x="1406" y="526"/>
                  </a:lnTo>
                  <a:lnTo>
                    <a:pt x="1450" y="506"/>
                  </a:lnTo>
                  <a:lnTo>
                    <a:pt x="1452" y="474"/>
                  </a:lnTo>
                  <a:lnTo>
                    <a:pt x="1496" y="434"/>
                  </a:lnTo>
                  <a:lnTo>
                    <a:pt x="1498" y="408"/>
                  </a:lnTo>
                  <a:lnTo>
                    <a:pt x="1528" y="406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24" name="Kenya">
              <a:extLst>
                <a:ext uri="{FF2B5EF4-FFF2-40B4-BE49-F238E27FC236}">
                  <a16:creationId xmlns="" xmlns:a16="http://schemas.microsoft.com/office/drawing/2014/main" id="{0E107CA0-1D2E-404D-8E90-AAEEF47E8CF9}"/>
                </a:ext>
              </a:extLst>
            </p:cNvPr>
            <p:cNvSpPr>
              <a:spLocks/>
            </p:cNvSpPr>
            <p:nvPr/>
          </p:nvSpPr>
          <p:spPr bwMode="gray">
            <a:xfrm>
              <a:off x="6851317" y="4407326"/>
              <a:ext cx="253799" cy="308751"/>
            </a:xfrm>
            <a:custGeom>
              <a:avLst/>
              <a:gdLst/>
              <a:ahLst/>
              <a:cxnLst>
                <a:cxn ang="0">
                  <a:pos x="2" y="232"/>
                </a:cxn>
                <a:cxn ang="0">
                  <a:pos x="0" y="200"/>
                </a:cxn>
                <a:cxn ang="0">
                  <a:pos x="8" y="186"/>
                </a:cxn>
                <a:cxn ang="0">
                  <a:pos x="12" y="170"/>
                </a:cxn>
                <a:cxn ang="0">
                  <a:pos x="22" y="148"/>
                </a:cxn>
                <a:cxn ang="0">
                  <a:pos x="36" y="138"/>
                </a:cxn>
                <a:cxn ang="0">
                  <a:pos x="42" y="118"/>
                </a:cxn>
                <a:cxn ang="0">
                  <a:pos x="50" y="100"/>
                </a:cxn>
                <a:cxn ang="0">
                  <a:pos x="46" y="76"/>
                </a:cxn>
                <a:cxn ang="0">
                  <a:pos x="28" y="68"/>
                </a:cxn>
                <a:cxn ang="0">
                  <a:pos x="28" y="48"/>
                </a:cxn>
                <a:cxn ang="0">
                  <a:pos x="16" y="36"/>
                </a:cxn>
                <a:cxn ang="0">
                  <a:pos x="34" y="16"/>
                </a:cxn>
                <a:cxn ang="0">
                  <a:pos x="64" y="0"/>
                </a:cxn>
                <a:cxn ang="0">
                  <a:pos x="82" y="12"/>
                </a:cxn>
                <a:cxn ang="0">
                  <a:pos x="130" y="14"/>
                </a:cxn>
                <a:cxn ang="0">
                  <a:pos x="158" y="38"/>
                </a:cxn>
                <a:cxn ang="0">
                  <a:pos x="188" y="40"/>
                </a:cxn>
                <a:cxn ang="0">
                  <a:pos x="216" y="50"/>
                </a:cxn>
                <a:cxn ang="0">
                  <a:pos x="236" y="36"/>
                </a:cxn>
                <a:cxn ang="0">
                  <a:pos x="246" y="36"/>
                </a:cxn>
                <a:cxn ang="0">
                  <a:pos x="274" y="16"/>
                </a:cxn>
                <a:cxn ang="0">
                  <a:pos x="294" y="32"/>
                </a:cxn>
                <a:cxn ang="0">
                  <a:pos x="310" y="32"/>
                </a:cxn>
                <a:cxn ang="0">
                  <a:pos x="302" y="48"/>
                </a:cxn>
                <a:cxn ang="0">
                  <a:pos x="296" y="62"/>
                </a:cxn>
                <a:cxn ang="0">
                  <a:pos x="278" y="90"/>
                </a:cxn>
                <a:cxn ang="0">
                  <a:pos x="278" y="220"/>
                </a:cxn>
                <a:cxn ang="0">
                  <a:pos x="310" y="254"/>
                </a:cxn>
                <a:cxn ang="0">
                  <a:pos x="296" y="272"/>
                </a:cxn>
                <a:cxn ang="0">
                  <a:pos x="280" y="274"/>
                </a:cxn>
                <a:cxn ang="0">
                  <a:pos x="270" y="294"/>
                </a:cxn>
                <a:cxn ang="0">
                  <a:pos x="256" y="304"/>
                </a:cxn>
                <a:cxn ang="0">
                  <a:pos x="252" y="320"/>
                </a:cxn>
                <a:cxn ang="0">
                  <a:pos x="230" y="346"/>
                </a:cxn>
                <a:cxn ang="0">
                  <a:pos x="228" y="364"/>
                </a:cxn>
                <a:cxn ang="0">
                  <a:pos x="210" y="376"/>
                </a:cxn>
                <a:cxn ang="0">
                  <a:pos x="144" y="338"/>
                </a:cxn>
                <a:cxn ang="0">
                  <a:pos x="152" y="314"/>
                </a:cxn>
                <a:cxn ang="0">
                  <a:pos x="2" y="232"/>
                </a:cxn>
              </a:cxnLst>
              <a:rect l="0" t="0" r="r" b="b"/>
              <a:pathLst>
                <a:path w="310" h="376">
                  <a:moveTo>
                    <a:pt x="2" y="232"/>
                  </a:moveTo>
                  <a:lnTo>
                    <a:pt x="0" y="200"/>
                  </a:lnTo>
                  <a:lnTo>
                    <a:pt x="8" y="186"/>
                  </a:lnTo>
                  <a:lnTo>
                    <a:pt x="12" y="170"/>
                  </a:lnTo>
                  <a:lnTo>
                    <a:pt x="22" y="148"/>
                  </a:lnTo>
                  <a:lnTo>
                    <a:pt x="36" y="138"/>
                  </a:lnTo>
                  <a:lnTo>
                    <a:pt x="42" y="118"/>
                  </a:lnTo>
                  <a:lnTo>
                    <a:pt x="50" y="100"/>
                  </a:lnTo>
                  <a:lnTo>
                    <a:pt x="46" y="76"/>
                  </a:lnTo>
                  <a:lnTo>
                    <a:pt x="28" y="68"/>
                  </a:lnTo>
                  <a:lnTo>
                    <a:pt x="28" y="48"/>
                  </a:lnTo>
                  <a:lnTo>
                    <a:pt x="16" y="36"/>
                  </a:lnTo>
                  <a:lnTo>
                    <a:pt x="34" y="16"/>
                  </a:lnTo>
                  <a:lnTo>
                    <a:pt x="64" y="0"/>
                  </a:lnTo>
                  <a:lnTo>
                    <a:pt x="82" y="12"/>
                  </a:lnTo>
                  <a:lnTo>
                    <a:pt x="130" y="14"/>
                  </a:lnTo>
                  <a:lnTo>
                    <a:pt x="158" y="38"/>
                  </a:lnTo>
                  <a:lnTo>
                    <a:pt x="188" y="40"/>
                  </a:lnTo>
                  <a:lnTo>
                    <a:pt x="216" y="50"/>
                  </a:lnTo>
                  <a:lnTo>
                    <a:pt x="236" y="36"/>
                  </a:lnTo>
                  <a:lnTo>
                    <a:pt x="246" y="36"/>
                  </a:lnTo>
                  <a:lnTo>
                    <a:pt x="274" y="16"/>
                  </a:lnTo>
                  <a:lnTo>
                    <a:pt x="294" y="32"/>
                  </a:lnTo>
                  <a:lnTo>
                    <a:pt x="310" y="32"/>
                  </a:lnTo>
                  <a:lnTo>
                    <a:pt x="302" y="48"/>
                  </a:lnTo>
                  <a:lnTo>
                    <a:pt x="296" y="62"/>
                  </a:lnTo>
                  <a:lnTo>
                    <a:pt x="278" y="90"/>
                  </a:lnTo>
                  <a:lnTo>
                    <a:pt x="278" y="220"/>
                  </a:lnTo>
                  <a:lnTo>
                    <a:pt x="310" y="254"/>
                  </a:lnTo>
                  <a:lnTo>
                    <a:pt x="296" y="272"/>
                  </a:lnTo>
                  <a:lnTo>
                    <a:pt x="280" y="274"/>
                  </a:lnTo>
                  <a:lnTo>
                    <a:pt x="270" y="294"/>
                  </a:lnTo>
                  <a:lnTo>
                    <a:pt x="256" y="304"/>
                  </a:lnTo>
                  <a:lnTo>
                    <a:pt x="252" y="320"/>
                  </a:lnTo>
                  <a:lnTo>
                    <a:pt x="230" y="346"/>
                  </a:lnTo>
                  <a:lnTo>
                    <a:pt x="228" y="364"/>
                  </a:lnTo>
                  <a:lnTo>
                    <a:pt x="210" y="376"/>
                  </a:lnTo>
                  <a:lnTo>
                    <a:pt x="144" y="338"/>
                  </a:lnTo>
                  <a:lnTo>
                    <a:pt x="152" y="314"/>
                  </a:lnTo>
                  <a:lnTo>
                    <a:pt x="2" y="232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25" name="Korea">
              <a:extLst>
                <a:ext uri="{FF2B5EF4-FFF2-40B4-BE49-F238E27FC236}">
                  <a16:creationId xmlns="" xmlns:a16="http://schemas.microsoft.com/office/drawing/2014/main" id="{6A1E36C1-712D-44EB-9273-BAD53C48FCEB}"/>
                </a:ext>
              </a:extLst>
            </p:cNvPr>
            <p:cNvSpPr>
              <a:spLocks/>
            </p:cNvSpPr>
            <p:nvPr/>
          </p:nvSpPr>
          <p:spPr bwMode="gray">
            <a:xfrm>
              <a:off x="9678254" y="3237223"/>
              <a:ext cx="111283" cy="169124"/>
            </a:xfrm>
            <a:custGeom>
              <a:avLst/>
              <a:gdLst/>
              <a:ahLst/>
              <a:cxnLst>
                <a:cxn ang="0">
                  <a:pos x="20" y="34"/>
                </a:cxn>
                <a:cxn ang="0">
                  <a:pos x="26" y="24"/>
                </a:cxn>
                <a:cxn ang="0">
                  <a:pos x="52" y="10"/>
                </a:cxn>
                <a:cxn ang="0">
                  <a:pos x="76" y="14"/>
                </a:cxn>
                <a:cxn ang="0">
                  <a:pos x="90" y="6"/>
                </a:cxn>
                <a:cxn ang="0">
                  <a:pos x="102" y="0"/>
                </a:cxn>
                <a:cxn ang="0">
                  <a:pos x="104" y="22"/>
                </a:cxn>
                <a:cxn ang="0">
                  <a:pos x="114" y="42"/>
                </a:cxn>
                <a:cxn ang="0">
                  <a:pos x="128" y="72"/>
                </a:cxn>
                <a:cxn ang="0">
                  <a:pos x="130" y="94"/>
                </a:cxn>
                <a:cxn ang="0">
                  <a:pos x="126" y="112"/>
                </a:cxn>
                <a:cxn ang="0">
                  <a:pos x="134" y="124"/>
                </a:cxn>
                <a:cxn ang="0">
                  <a:pos x="114" y="160"/>
                </a:cxn>
                <a:cxn ang="0">
                  <a:pos x="100" y="150"/>
                </a:cxn>
                <a:cxn ang="0">
                  <a:pos x="94" y="158"/>
                </a:cxn>
                <a:cxn ang="0">
                  <a:pos x="106" y="170"/>
                </a:cxn>
                <a:cxn ang="0">
                  <a:pos x="104" y="178"/>
                </a:cxn>
                <a:cxn ang="0">
                  <a:pos x="98" y="178"/>
                </a:cxn>
                <a:cxn ang="0">
                  <a:pos x="78" y="162"/>
                </a:cxn>
                <a:cxn ang="0">
                  <a:pos x="72" y="174"/>
                </a:cxn>
                <a:cxn ang="0">
                  <a:pos x="84" y="176"/>
                </a:cxn>
                <a:cxn ang="0">
                  <a:pos x="84" y="184"/>
                </a:cxn>
                <a:cxn ang="0">
                  <a:pos x="68" y="184"/>
                </a:cxn>
                <a:cxn ang="0">
                  <a:pos x="58" y="190"/>
                </a:cxn>
                <a:cxn ang="0">
                  <a:pos x="44" y="182"/>
                </a:cxn>
                <a:cxn ang="0">
                  <a:pos x="38" y="192"/>
                </a:cxn>
                <a:cxn ang="0">
                  <a:pos x="26" y="200"/>
                </a:cxn>
                <a:cxn ang="0">
                  <a:pos x="20" y="194"/>
                </a:cxn>
                <a:cxn ang="0">
                  <a:pos x="10" y="206"/>
                </a:cxn>
                <a:cxn ang="0">
                  <a:pos x="4" y="204"/>
                </a:cxn>
                <a:cxn ang="0">
                  <a:pos x="4" y="196"/>
                </a:cxn>
                <a:cxn ang="0">
                  <a:pos x="12" y="194"/>
                </a:cxn>
                <a:cxn ang="0">
                  <a:pos x="10" y="184"/>
                </a:cxn>
                <a:cxn ang="0">
                  <a:pos x="26" y="176"/>
                </a:cxn>
                <a:cxn ang="0">
                  <a:pos x="18" y="172"/>
                </a:cxn>
                <a:cxn ang="0">
                  <a:pos x="18" y="160"/>
                </a:cxn>
                <a:cxn ang="0">
                  <a:pos x="24" y="154"/>
                </a:cxn>
                <a:cxn ang="0">
                  <a:pos x="26" y="140"/>
                </a:cxn>
                <a:cxn ang="0">
                  <a:pos x="22" y="128"/>
                </a:cxn>
                <a:cxn ang="0">
                  <a:pos x="26" y="98"/>
                </a:cxn>
                <a:cxn ang="0">
                  <a:pos x="16" y="90"/>
                </a:cxn>
                <a:cxn ang="0">
                  <a:pos x="10" y="94"/>
                </a:cxn>
                <a:cxn ang="0">
                  <a:pos x="0" y="94"/>
                </a:cxn>
                <a:cxn ang="0">
                  <a:pos x="0" y="84"/>
                </a:cxn>
                <a:cxn ang="0">
                  <a:pos x="6" y="76"/>
                </a:cxn>
                <a:cxn ang="0">
                  <a:pos x="34" y="74"/>
                </a:cxn>
                <a:cxn ang="0">
                  <a:pos x="22" y="56"/>
                </a:cxn>
                <a:cxn ang="0">
                  <a:pos x="28" y="48"/>
                </a:cxn>
                <a:cxn ang="0">
                  <a:pos x="18" y="46"/>
                </a:cxn>
                <a:cxn ang="0">
                  <a:pos x="26" y="36"/>
                </a:cxn>
                <a:cxn ang="0">
                  <a:pos x="20" y="34"/>
                </a:cxn>
              </a:cxnLst>
              <a:rect l="0" t="0" r="r" b="b"/>
              <a:pathLst>
                <a:path w="134" h="206">
                  <a:moveTo>
                    <a:pt x="20" y="34"/>
                  </a:moveTo>
                  <a:lnTo>
                    <a:pt x="26" y="24"/>
                  </a:lnTo>
                  <a:lnTo>
                    <a:pt x="52" y="10"/>
                  </a:lnTo>
                  <a:lnTo>
                    <a:pt x="76" y="14"/>
                  </a:lnTo>
                  <a:lnTo>
                    <a:pt x="90" y="6"/>
                  </a:lnTo>
                  <a:lnTo>
                    <a:pt x="102" y="0"/>
                  </a:lnTo>
                  <a:lnTo>
                    <a:pt x="104" y="22"/>
                  </a:lnTo>
                  <a:lnTo>
                    <a:pt x="114" y="42"/>
                  </a:lnTo>
                  <a:lnTo>
                    <a:pt x="128" y="72"/>
                  </a:lnTo>
                  <a:lnTo>
                    <a:pt x="130" y="94"/>
                  </a:lnTo>
                  <a:lnTo>
                    <a:pt x="126" y="112"/>
                  </a:lnTo>
                  <a:lnTo>
                    <a:pt x="134" y="124"/>
                  </a:lnTo>
                  <a:lnTo>
                    <a:pt x="114" y="160"/>
                  </a:lnTo>
                  <a:lnTo>
                    <a:pt x="100" y="150"/>
                  </a:lnTo>
                  <a:lnTo>
                    <a:pt x="94" y="158"/>
                  </a:lnTo>
                  <a:lnTo>
                    <a:pt x="106" y="170"/>
                  </a:lnTo>
                  <a:lnTo>
                    <a:pt x="104" y="178"/>
                  </a:lnTo>
                  <a:lnTo>
                    <a:pt x="98" y="178"/>
                  </a:lnTo>
                  <a:lnTo>
                    <a:pt x="78" y="162"/>
                  </a:lnTo>
                  <a:lnTo>
                    <a:pt x="72" y="174"/>
                  </a:lnTo>
                  <a:lnTo>
                    <a:pt x="84" y="176"/>
                  </a:lnTo>
                  <a:lnTo>
                    <a:pt x="84" y="184"/>
                  </a:lnTo>
                  <a:lnTo>
                    <a:pt x="68" y="184"/>
                  </a:lnTo>
                  <a:lnTo>
                    <a:pt x="58" y="190"/>
                  </a:lnTo>
                  <a:lnTo>
                    <a:pt x="44" y="182"/>
                  </a:lnTo>
                  <a:lnTo>
                    <a:pt x="38" y="192"/>
                  </a:lnTo>
                  <a:lnTo>
                    <a:pt x="26" y="200"/>
                  </a:lnTo>
                  <a:lnTo>
                    <a:pt x="20" y="194"/>
                  </a:lnTo>
                  <a:lnTo>
                    <a:pt x="10" y="206"/>
                  </a:lnTo>
                  <a:lnTo>
                    <a:pt x="4" y="204"/>
                  </a:lnTo>
                  <a:lnTo>
                    <a:pt x="4" y="196"/>
                  </a:lnTo>
                  <a:lnTo>
                    <a:pt x="12" y="194"/>
                  </a:lnTo>
                  <a:lnTo>
                    <a:pt x="10" y="184"/>
                  </a:lnTo>
                  <a:lnTo>
                    <a:pt x="26" y="176"/>
                  </a:lnTo>
                  <a:lnTo>
                    <a:pt x="18" y="172"/>
                  </a:lnTo>
                  <a:lnTo>
                    <a:pt x="18" y="160"/>
                  </a:lnTo>
                  <a:lnTo>
                    <a:pt x="24" y="154"/>
                  </a:lnTo>
                  <a:lnTo>
                    <a:pt x="26" y="140"/>
                  </a:lnTo>
                  <a:lnTo>
                    <a:pt x="22" y="128"/>
                  </a:lnTo>
                  <a:lnTo>
                    <a:pt x="26" y="98"/>
                  </a:lnTo>
                  <a:lnTo>
                    <a:pt x="16" y="90"/>
                  </a:lnTo>
                  <a:lnTo>
                    <a:pt x="10" y="94"/>
                  </a:lnTo>
                  <a:lnTo>
                    <a:pt x="0" y="94"/>
                  </a:lnTo>
                  <a:lnTo>
                    <a:pt x="0" y="84"/>
                  </a:lnTo>
                  <a:lnTo>
                    <a:pt x="6" y="76"/>
                  </a:lnTo>
                  <a:lnTo>
                    <a:pt x="34" y="74"/>
                  </a:lnTo>
                  <a:lnTo>
                    <a:pt x="22" y="56"/>
                  </a:lnTo>
                  <a:lnTo>
                    <a:pt x="28" y="48"/>
                  </a:lnTo>
                  <a:lnTo>
                    <a:pt x="18" y="46"/>
                  </a:lnTo>
                  <a:lnTo>
                    <a:pt x="26" y="36"/>
                  </a:lnTo>
                  <a:lnTo>
                    <a:pt x="20" y="34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26" name="Kuwait">
              <a:extLst>
                <a:ext uri="{FF2B5EF4-FFF2-40B4-BE49-F238E27FC236}">
                  <a16:creationId xmlns="" xmlns:a16="http://schemas.microsoft.com/office/drawing/2014/main" id="{EE5AADC7-8444-43B9-AF9E-9A0548B273D5}"/>
                </a:ext>
              </a:extLst>
            </p:cNvPr>
            <p:cNvSpPr>
              <a:spLocks/>
            </p:cNvSpPr>
            <p:nvPr/>
          </p:nvSpPr>
          <p:spPr bwMode="gray">
            <a:xfrm>
              <a:off x="7237874" y="3559739"/>
              <a:ext cx="68331" cy="70796"/>
            </a:xfrm>
            <a:custGeom>
              <a:avLst/>
              <a:gdLst/>
              <a:ahLst/>
              <a:cxnLst>
                <a:cxn ang="0">
                  <a:pos x="0" y="56"/>
                </a:cxn>
                <a:cxn ang="0">
                  <a:pos x="12" y="48"/>
                </a:cxn>
                <a:cxn ang="0">
                  <a:pos x="20" y="40"/>
                </a:cxn>
                <a:cxn ang="0">
                  <a:pos x="22" y="24"/>
                </a:cxn>
                <a:cxn ang="0">
                  <a:pos x="30" y="8"/>
                </a:cxn>
                <a:cxn ang="0">
                  <a:pos x="42" y="0"/>
                </a:cxn>
                <a:cxn ang="0">
                  <a:pos x="58" y="4"/>
                </a:cxn>
                <a:cxn ang="0">
                  <a:pos x="66" y="18"/>
                </a:cxn>
                <a:cxn ang="0">
                  <a:pos x="56" y="28"/>
                </a:cxn>
                <a:cxn ang="0">
                  <a:pos x="54" y="36"/>
                </a:cxn>
                <a:cxn ang="0">
                  <a:pos x="74" y="40"/>
                </a:cxn>
                <a:cxn ang="0">
                  <a:pos x="84" y="70"/>
                </a:cxn>
                <a:cxn ang="0">
                  <a:pos x="52" y="86"/>
                </a:cxn>
                <a:cxn ang="0">
                  <a:pos x="34" y="64"/>
                </a:cxn>
                <a:cxn ang="0">
                  <a:pos x="10" y="62"/>
                </a:cxn>
                <a:cxn ang="0">
                  <a:pos x="0" y="56"/>
                </a:cxn>
              </a:cxnLst>
              <a:rect l="0" t="0" r="r" b="b"/>
              <a:pathLst>
                <a:path w="84" h="86">
                  <a:moveTo>
                    <a:pt x="0" y="56"/>
                  </a:moveTo>
                  <a:lnTo>
                    <a:pt x="12" y="48"/>
                  </a:lnTo>
                  <a:lnTo>
                    <a:pt x="20" y="40"/>
                  </a:lnTo>
                  <a:lnTo>
                    <a:pt x="22" y="24"/>
                  </a:lnTo>
                  <a:lnTo>
                    <a:pt x="30" y="8"/>
                  </a:lnTo>
                  <a:lnTo>
                    <a:pt x="42" y="0"/>
                  </a:lnTo>
                  <a:lnTo>
                    <a:pt x="58" y="4"/>
                  </a:lnTo>
                  <a:lnTo>
                    <a:pt x="66" y="18"/>
                  </a:lnTo>
                  <a:lnTo>
                    <a:pt x="56" y="28"/>
                  </a:lnTo>
                  <a:lnTo>
                    <a:pt x="54" y="36"/>
                  </a:lnTo>
                  <a:lnTo>
                    <a:pt x="74" y="40"/>
                  </a:lnTo>
                  <a:lnTo>
                    <a:pt x="84" y="70"/>
                  </a:lnTo>
                  <a:lnTo>
                    <a:pt x="52" y="86"/>
                  </a:lnTo>
                  <a:lnTo>
                    <a:pt x="34" y="64"/>
                  </a:lnTo>
                  <a:lnTo>
                    <a:pt x="10" y="62"/>
                  </a:lnTo>
                  <a:lnTo>
                    <a:pt x="0" y="56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27" name="Kyrgyzstan">
              <a:extLst>
                <a:ext uri="{FF2B5EF4-FFF2-40B4-BE49-F238E27FC236}">
                  <a16:creationId xmlns="" xmlns:a16="http://schemas.microsoft.com/office/drawing/2014/main" id="{FB75566D-B7EC-4293-B3C7-07FCAB82D6E0}"/>
                </a:ext>
              </a:extLst>
            </p:cNvPr>
            <p:cNvSpPr>
              <a:spLocks/>
            </p:cNvSpPr>
            <p:nvPr/>
          </p:nvSpPr>
          <p:spPr bwMode="gray">
            <a:xfrm>
              <a:off x="7936798" y="3020902"/>
              <a:ext cx="343607" cy="178957"/>
            </a:xfrm>
            <a:custGeom>
              <a:avLst/>
              <a:gdLst/>
              <a:ahLst/>
              <a:cxnLst>
                <a:cxn ang="0">
                  <a:pos x="410" y="90"/>
                </a:cxn>
                <a:cxn ang="0">
                  <a:pos x="422" y="42"/>
                </a:cxn>
                <a:cxn ang="0">
                  <a:pos x="384" y="30"/>
                </a:cxn>
                <a:cxn ang="0">
                  <a:pos x="378" y="18"/>
                </a:cxn>
                <a:cxn ang="0">
                  <a:pos x="364" y="26"/>
                </a:cxn>
                <a:cxn ang="0">
                  <a:pos x="298" y="18"/>
                </a:cxn>
                <a:cxn ang="0">
                  <a:pos x="226" y="22"/>
                </a:cxn>
                <a:cxn ang="0">
                  <a:pos x="190" y="0"/>
                </a:cxn>
                <a:cxn ang="0">
                  <a:pos x="156" y="18"/>
                </a:cxn>
                <a:cxn ang="0">
                  <a:pos x="140" y="44"/>
                </a:cxn>
                <a:cxn ang="0">
                  <a:pos x="102" y="40"/>
                </a:cxn>
                <a:cxn ang="0">
                  <a:pos x="82" y="40"/>
                </a:cxn>
                <a:cxn ang="0">
                  <a:pos x="64" y="44"/>
                </a:cxn>
                <a:cxn ang="0">
                  <a:pos x="64" y="68"/>
                </a:cxn>
                <a:cxn ang="0">
                  <a:pos x="68" y="84"/>
                </a:cxn>
                <a:cxn ang="0">
                  <a:pos x="30" y="92"/>
                </a:cxn>
                <a:cxn ang="0">
                  <a:pos x="32" y="104"/>
                </a:cxn>
                <a:cxn ang="0">
                  <a:pos x="58" y="122"/>
                </a:cxn>
                <a:cxn ang="0">
                  <a:pos x="80" y="98"/>
                </a:cxn>
                <a:cxn ang="0">
                  <a:pos x="88" y="116"/>
                </a:cxn>
                <a:cxn ang="0">
                  <a:pos x="110" y="132"/>
                </a:cxn>
                <a:cxn ang="0">
                  <a:pos x="134" y="134"/>
                </a:cxn>
                <a:cxn ang="0">
                  <a:pos x="134" y="156"/>
                </a:cxn>
                <a:cxn ang="0">
                  <a:pos x="126" y="162"/>
                </a:cxn>
                <a:cxn ang="0">
                  <a:pos x="112" y="160"/>
                </a:cxn>
                <a:cxn ang="0">
                  <a:pos x="102" y="176"/>
                </a:cxn>
                <a:cxn ang="0">
                  <a:pos x="86" y="166"/>
                </a:cxn>
                <a:cxn ang="0">
                  <a:pos x="58" y="184"/>
                </a:cxn>
                <a:cxn ang="0">
                  <a:pos x="44" y="174"/>
                </a:cxn>
                <a:cxn ang="0">
                  <a:pos x="38" y="184"/>
                </a:cxn>
                <a:cxn ang="0">
                  <a:pos x="14" y="180"/>
                </a:cxn>
                <a:cxn ang="0">
                  <a:pos x="0" y="192"/>
                </a:cxn>
                <a:cxn ang="0">
                  <a:pos x="12" y="200"/>
                </a:cxn>
                <a:cxn ang="0">
                  <a:pos x="44" y="202"/>
                </a:cxn>
                <a:cxn ang="0">
                  <a:pos x="60" y="202"/>
                </a:cxn>
                <a:cxn ang="0">
                  <a:pos x="84" y="206"/>
                </a:cxn>
                <a:cxn ang="0">
                  <a:pos x="88" y="218"/>
                </a:cxn>
                <a:cxn ang="0">
                  <a:pos x="114" y="218"/>
                </a:cxn>
                <a:cxn ang="0">
                  <a:pos x="130" y="208"/>
                </a:cxn>
                <a:cxn ang="0">
                  <a:pos x="150" y="204"/>
                </a:cxn>
                <a:cxn ang="0">
                  <a:pos x="172" y="212"/>
                </a:cxn>
                <a:cxn ang="0">
                  <a:pos x="172" y="198"/>
                </a:cxn>
                <a:cxn ang="0">
                  <a:pos x="178" y="174"/>
                </a:cxn>
                <a:cxn ang="0">
                  <a:pos x="200" y="164"/>
                </a:cxn>
                <a:cxn ang="0">
                  <a:pos x="212" y="152"/>
                </a:cxn>
                <a:cxn ang="0">
                  <a:pos x="228" y="154"/>
                </a:cxn>
                <a:cxn ang="0">
                  <a:pos x="240" y="146"/>
                </a:cxn>
                <a:cxn ang="0">
                  <a:pos x="250" y="164"/>
                </a:cxn>
                <a:cxn ang="0">
                  <a:pos x="270" y="162"/>
                </a:cxn>
                <a:cxn ang="0">
                  <a:pos x="286" y="134"/>
                </a:cxn>
                <a:cxn ang="0">
                  <a:pos x="330" y="122"/>
                </a:cxn>
                <a:cxn ang="0">
                  <a:pos x="410" y="90"/>
                </a:cxn>
              </a:cxnLst>
              <a:rect l="0" t="0" r="r" b="b"/>
              <a:pathLst>
                <a:path w="422" h="218">
                  <a:moveTo>
                    <a:pt x="410" y="90"/>
                  </a:moveTo>
                  <a:lnTo>
                    <a:pt x="422" y="42"/>
                  </a:lnTo>
                  <a:lnTo>
                    <a:pt x="384" y="30"/>
                  </a:lnTo>
                  <a:lnTo>
                    <a:pt x="378" y="18"/>
                  </a:lnTo>
                  <a:lnTo>
                    <a:pt x="364" y="26"/>
                  </a:lnTo>
                  <a:lnTo>
                    <a:pt x="298" y="18"/>
                  </a:lnTo>
                  <a:lnTo>
                    <a:pt x="226" y="22"/>
                  </a:lnTo>
                  <a:lnTo>
                    <a:pt x="190" y="0"/>
                  </a:lnTo>
                  <a:lnTo>
                    <a:pt x="156" y="18"/>
                  </a:lnTo>
                  <a:lnTo>
                    <a:pt x="140" y="44"/>
                  </a:lnTo>
                  <a:lnTo>
                    <a:pt x="102" y="40"/>
                  </a:lnTo>
                  <a:lnTo>
                    <a:pt x="82" y="40"/>
                  </a:lnTo>
                  <a:lnTo>
                    <a:pt x="64" y="44"/>
                  </a:lnTo>
                  <a:lnTo>
                    <a:pt x="64" y="68"/>
                  </a:lnTo>
                  <a:lnTo>
                    <a:pt x="68" y="84"/>
                  </a:lnTo>
                  <a:lnTo>
                    <a:pt x="30" y="92"/>
                  </a:lnTo>
                  <a:lnTo>
                    <a:pt x="32" y="104"/>
                  </a:lnTo>
                  <a:lnTo>
                    <a:pt x="58" y="122"/>
                  </a:lnTo>
                  <a:lnTo>
                    <a:pt x="80" y="98"/>
                  </a:lnTo>
                  <a:lnTo>
                    <a:pt x="88" y="116"/>
                  </a:lnTo>
                  <a:lnTo>
                    <a:pt x="110" y="132"/>
                  </a:lnTo>
                  <a:lnTo>
                    <a:pt x="134" y="134"/>
                  </a:lnTo>
                  <a:lnTo>
                    <a:pt x="134" y="156"/>
                  </a:lnTo>
                  <a:lnTo>
                    <a:pt x="126" y="162"/>
                  </a:lnTo>
                  <a:lnTo>
                    <a:pt x="112" y="160"/>
                  </a:lnTo>
                  <a:lnTo>
                    <a:pt x="102" y="176"/>
                  </a:lnTo>
                  <a:lnTo>
                    <a:pt x="86" y="166"/>
                  </a:lnTo>
                  <a:lnTo>
                    <a:pt x="58" y="184"/>
                  </a:lnTo>
                  <a:lnTo>
                    <a:pt x="44" y="174"/>
                  </a:lnTo>
                  <a:lnTo>
                    <a:pt x="38" y="184"/>
                  </a:lnTo>
                  <a:lnTo>
                    <a:pt x="14" y="180"/>
                  </a:lnTo>
                  <a:lnTo>
                    <a:pt x="0" y="192"/>
                  </a:lnTo>
                  <a:lnTo>
                    <a:pt x="12" y="200"/>
                  </a:lnTo>
                  <a:lnTo>
                    <a:pt x="44" y="202"/>
                  </a:lnTo>
                  <a:lnTo>
                    <a:pt x="60" y="202"/>
                  </a:lnTo>
                  <a:lnTo>
                    <a:pt x="84" y="206"/>
                  </a:lnTo>
                  <a:lnTo>
                    <a:pt x="88" y="218"/>
                  </a:lnTo>
                  <a:lnTo>
                    <a:pt x="114" y="218"/>
                  </a:lnTo>
                  <a:lnTo>
                    <a:pt x="130" y="208"/>
                  </a:lnTo>
                  <a:lnTo>
                    <a:pt x="150" y="204"/>
                  </a:lnTo>
                  <a:lnTo>
                    <a:pt x="172" y="212"/>
                  </a:lnTo>
                  <a:lnTo>
                    <a:pt x="172" y="198"/>
                  </a:lnTo>
                  <a:lnTo>
                    <a:pt x="178" y="174"/>
                  </a:lnTo>
                  <a:lnTo>
                    <a:pt x="200" y="164"/>
                  </a:lnTo>
                  <a:lnTo>
                    <a:pt x="212" y="152"/>
                  </a:lnTo>
                  <a:lnTo>
                    <a:pt x="228" y="154"/>
                  </a:lnTo>
                  <a:lnTo>
                    <a:pt x="240" y="146"/>
                  </a:lnTo>
                  <a:lnTo>
                    <a:pt x="250" y="164"/>
                  </a:lnTo>
                  <a:lnTo>
                    <a:pt x="270" y="162"/>
                  </a:lnTo>
                  <a:lnTo>
                    <a:pt x="286" y="134"/>
                  </a:lnTo>
                  <a:lnTo>
                    <a:pt x="330" y="122"/>
                  </a:lnTo>
                  <a:lnTo>
                    <a:pt x="410" y="90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28" name="Laos">
              <a:extLst>
                <a:ext uri="{FF2B5EF4-FFF2-40B4-BE49-F238E27FC236}">
                  <a16:creationId xmlns="" xmlns:a16="http://schemas.microsoft.com/office/drawing/2014/main" id="{0B1204B4-ECE1-44E2-82B2-D9A76F1E79CB}"/>
                </a:ext>
              </a:extLst>
            </p:cNvPr>
            <p:cNvSpPr>
              <a:spLocks/>
            </p:cNvSpPr>
            <p:nvPr/>
          </p:nvSpPr>
          <p:spPr bwMode="gray">
            <a:xfrm>
              <a:off x="8895381" y="3829157"/>
              <a:ext cx="232324" cy="279252"/>
            </a:xfrm>
            <a:custGeom>
              <a:avLst/>
              <a:gdLst/>
              <a:ahLst/>
              <a:cxnLst>
                <a:cxn ang="0">
                  <a:pos x="96" y="32"/>
                </a:cxn>
                <a:cxn ang="0">
                  <a:pos x="98" y="52"/>
                </a:cxn>
                <a:cxn ang="0">
                  <a:pos x="120" y="64"/>
                </a:cxn>
                <a:cxn ang="0">
                  <a:pos x="140" y="54"/>
                </a:cxn>
                <a:cxn ang="0">
                  <a:pos x="174" y="92"/>
                </a:cxn>
                <a:cxn ang="0">
                  <a:pos x="162" y="100"/>
                </a:cxn>
                <a:cxn ang="0">
                  <a:pos x="146" y="98"/>
                </a:cxn>
                <a:cxn ang="0">
                  <a:pos x="146" y="118"/>
                </a:cxn>
                <a:cxn ang="0">
                  <a:pos x="188" y="156"/>
                </a:cxn>
                <a:cxn ang="0">
                  <a:pos x="188" y="168"/>
                </a:cxn>
                <a:cxn ang="0">
                  <a:pos x="216" y="202"/>
                </a:cxn>
                <a:cxn ang="0">
                  <a:pos x="218" y="216"/>
                </a:cxn>
                <a:cxn ang="0">
                  <a:pos x="238" y="242"/>
                </a:cxn>
                <a:cxn ang="0">
                  <a:pos x="248" y="238"/>
                </a:cxn>
                <a:cxn ang="0">
                  <a:pos x="270" y="260"/>
                </a:cxn>
                <a:cxn ang="0">
                  <a:pos x="262" y="274"/>
                </a:cxn>
                <a:cxn ang="0">
                  <a:pos x="286" y="296"/>
                </a:cxn>
                <a:cxn ang="0">
                  <a:pos x="282" y="306"/>
                </a:cxn>
                <a:cxn ang="0">
                  <a:pos x="274" y="314"/>
                </a:cxn>
                <a:cxn ang="0">
                  <a:pos x="260" y="316"/>
                </a:cxn>
                <a:cxn ang="0">
                  <a:pos x="252" y="310"/>
                </a:cxn>
                <a:cxn ang="0">
                  <a:pos x="244" y="310"/>
                </a:cxn>
                <a:cxn ang="0">
                  <a:pos x="232" y="322"/>
                </a:cxn>
                <a:cxn ang="0">
                  <a:pos x="218" y="326"/>
                </a:cxn>
                <a:cxn ang="0">
                  <a:pos x="214" y="342"/>
                </a:cxn>
                <a:cxn ang="0">
                  <a:pos x="190" y="332"/>
                </a:cxn>
                <a:cxn ang="0">
                  <a:pos x="180" y="316"/>
                </a:cxn>
                <a:cxn ang="0">
                  <a:pos x="196" y="306"/>
                </a:cxn>
                <a:cxn ang="0">
                  <a:pos x="198" y="290"/>
                </a:cxn>
                <a:cxn ang="0">
                  <a:pos x="204" y="272"/>
                </a:cxn>
                <a:cxn ang="0">
                  <a:pos x="188" y="256"/>
                </a:cxn>
                <a:cxn ang="0">
                  <a:pos x="160" y="232"/>
                </a:cxn>
                <a:cxn ang="0">
                  <a:pos x="156" y="192"/>
                </a:cxn>
                <a:cxn ang="0">
                  <a:pos x="138" y="172"/>
                </a:cxn>
                <a:cxn ang="0">
                  <a:pos x="114" y="166"/>
                </a:cxn>
                <a:cxn ang="0">
                  <a:pos x="100" y="176"/>
                </a:cxn>
                <a:cxn ang="0">
                  <a:pos x="58" y="182"/>
                </a:cxn>
                <a:cxn ang="0">
                  <a:pos x="42" y="204"/>
                </a:cxn>
                <a:cxn ang="0">
                  <a:pos x="34" y="204"/>
                </a:cxn>
                <a:cxn ang="0">
                  <a:pos x="30" y="160"/>
                </a:cxn>
                <a:cxn ang="0">
                  <a:pos x="36" y="146"/>
                </a:cxn>
                <a:cxn ang="0">
                  <a:pos x="38" y="114"/>
                </a:cxn>
                <a:cxn ang="0">
                  <a:pos x="26" y="118"/>
                </a:cxn>
                <a:cxn ang="0">
                  <a:pos x="16" y="108"/>
                </a:cxn>
                <a:cxn ang="0">
                  <a:pos x="14" y="90"/>
                </a:cxn>
                <a:cxn ang="0">
                  <a:pos x="4" y="88"/>
                </a:cxn>
                <a:cxn ang="0">
                  <a:pos x="0" y="82"/>
                </a:cxn>
                <a:cxn ang="0">
                  <a:pos x="24" y="46"/>
                </a:cxn>
                <a:cxn ang="0">
                  <a:pos x="34" y="38"/>
                </a:cxn>
                <a:cxn ang="0">
                  <a:pos x="44" y="56"/>
                </a:cxn>
                <a:cxn ang="0">
                  <a:pos x="56" y="38"/>
                </a:cxn>
                <a:cxn ang="0">
                  <a:pos x="54" y="0"/>
                </a:cxn>
                <a:cxn ang="0">
                  <a:pos x="68" y="0"/>
                </a:cxn>
                <a:cxn ang="0">
                  <a:pos x="96" y="32"/>
                </a:cxn>
              </a:cxnLst>
              <a:rect l="0" t="0" r="r" b="b"/>
              <a:pathLst>
                <a:path w="286" h="342">
                  <a:moveTo>
                    <a:pt x="96" y="32"/>
                  </a:moveTo>
                  <a:lnTo>
                    <a:pt x="98" y="52"/>
                  </a:lnTo>
                  <a:lnTo>
                    <a:pt x="120" y="64"/>
                  </a:lnTo>
                  <a:lnTo>
                    <a:pt x="140" y="54"/>
                  </a:lnTo>
                  <a:lnTo>
                    <a:pt x="174" y="92"/>
                  </a:lnTo>
                  <a:lnTo>
                    <a:pt x="162" y="100"/>
                  </a:lnTo>
                  <a:lnTo>
                    <a:pt x="146" y="98"/>
                  </a:lnTo>
                  <a:lnTo>
                    <a:pt x="146" y="118"/>
                  </a:lnTo>
                  <a:lnTo>
                    <a:pt x="188" y="156"/>
                  </a:lnTo>
                  <a:lnTo>
                    <a:pt x="188" y="168"/>
                  </a:lnTo>
                  <a:lnTo>
                    <a:pt x="216" y="202"/>
                  </a:lnTo>
                  <a:lnTo>
                    <a:pt x="218" y="216"/>
                  </a:lnTo>
                  <a:lnTo>
                    <a:pt x="238" y="242"/>
                  </a:lnTo>
                  <a:lnTo>
                    <a:pt x="248" y="238"/>
                  </a:lnTo>
                  <a:lnTo>
                    <a:pt x="270" y="260"/>
                  </a:lnTo>
                  <a:lnTo>
                    <a:pt x="262" y="274"/>
                  </a:lnTo>
                  <a:lnTo>
                    <a:pt x="286" y="296"/>
                  </a:lnTo>
                  <a:lnTo>
                    <a:pt x="282" y="306"/>
                  </a:lnTo>
                  <a:lnTo>
                    <a:pt x="274" y="314"/>
                  </a:lnTo>
                  <a:lnTo>
                    <a:pt x="260" y="316"/>
                  </a:lnTo>
                  <a:lnTo>
                    <a:pt x="252" y="310"/>
                  </a:lnTo>
                  <a:lnTo>
                    <a:pt x="244" y="310"/>
                  </a:lnTo>
                  <a:lnTo>
                    <a:pt x="232" y="322"/>
                  </a:lnTo>
                  <a:lnTo>
                    <a:pt x="218" y="326"/>
                  </a:lnTo>
                  <a:lnTo>
                    <a:pt x="214" y="342"/>
                  </a:lnTo>
                  <a:lnTo>
                    <a:pt x="190" y="332"/>
                  </a:lnTo>
                  <a:lnTo>
                    <a:pt x="180" y="316"/>
                  </a:lnTo>
                  <a:lnTo>
                    <a:pt x="196" y="306"/>
                  </a:lnTo>
                  <a:lnTo>
                    <a:pt x="198" y="290"/>
                  </a:lnTo>
                  <a:lnTo>
                    <a:pt x="204" y="272"/>
                  </a:lnTo>
                  <a:lnTo>
                    <a:pt x="188" y="256"/>
                  </a:lnTo>
                  <a:lnTo>
                    <a:pt x="160" y="232"/>
                  </a:lnTo>
                  <a:lnTo>
                    <a:pt x="156" y="192"/>
                  </a:lnTo>
                  <a:lnTo>
                    <a:pt x="138" y="172"/>
                  </a:lnTo>
                  <a:lnTo>
                    <a:pt x="114" y="166"/>
                  </a:lnTo>
                  <a:lnTo>
                    <a:pt x="100" y="176"/>
                  </a:lnTo>
                  <a:lnTo>
                    <a:pt x="58" y="182"/>
                  </a:lnTo>
                  <a:lnTo>
                    <a:pt x="42" y="204"/>
                  </a:lnTo>
                  <a:lnTo>
                    <a:pt x="34" y="204"/>
                  </a:lnTo>
                  <a:lnTo>
                    <a:pt x="30" y="160"/>
                  </a:lnTo>
                  <a:lnTo>
                    <a:pt x="36" y="146"/>
                  </a:lnTo>
                  <a:lnTo>
                    <a:pt x="38" y="114"/>
                  </a:lnTo>
                  <a:lnTo>
                    <a:pt x="26" y="118"/>
                  </a:lnTo>
                  <a:lnTo>
                    <a:pt x="16" y="108"/>
                  </a:lnTo>
                  <a:lnTo>
                    <a:pt x="14" y="90"/>
                  </a:lnTo>
                  <a:lnTo>
                    <a:pt x="4" y="88"/>
                  </a:lnTo>
                  <a:lnTo>
                    <a:pt x="0" y="82"/>
                  </a:lnTo>
                  <a:lnTo>
                    <a:pt x="24" y="46"/>
                  </a:lnTo>
                  <a:lnTo>
                    <a:pt x="34" y="38"/>
                  </a:lnTo>
                  <a:lnTo>
                    <a:pt x="44" y="56"/>
                  </a:lnTo>
                  <a:lnTo>
                    <a:pt x="56" y="38"/>
                  </a:lnTo>
                  <a:lnTo>
                    <a:pt x="54" y="0"/>
                  </a:lnTo>
                  <a:lnTo>
                    <a:pt x="68" y="0"/>
                  </a:lnTo>
                  <a:lnTo>
                    <a:pt x="96" y="32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29" name="Latvia">
              <a:extLst>
                <a:ext uri="{FF2B5EF4-FFF2-40B4-BE49-F238E27FC236}">
                  <a16:creationId xmlns="" xmlns:a16="http://schemas.microsoft.com/office/drawing/2014/main" id="{338C1673-94D0-4A26-8EF5-FC2EDF2DFA7A}"/>
                </a:ext>
              </a:extLst>
            </p:cNvPr>
            <p:cNvSpPr>
              <a:spLocks/>
            </p:cNvSpPr>
            <p:nvPr/>
          </p:nvSpPr>
          <p:spPr bwMode="gray">
            <a:xfrm>
              <a:off x="6445238" y="2287375"/>
              <a:ext cx="232325" cy="139627"/>
            </a:xfrm>
            <a:custGeom>
              <a:avLst/>
              <a:gdLst/>
              <a:ahLst/>
              <a:cxnLst>
                <a:cxn ang="0">
                  <a:pos x="132" y="6"/>
                </a:cxn>
                <a:cxn ang="0">
                  <a:pos x="154" y="8"/>
                </a:cxn>
                <a:cxn ang="0">
                  <a:pos x="168" y="0"/>
                </a:cxn>
                <a:cxn ang="0">
                  <a:pos x="180" y="2"/>
                </a:cxn>
                <a:cxn ang="0">
                  <a:pos x="186" y="12"/>
                </a:cxn>
                <a:cxn ang="0">
                  <a:pos x="212" y="34"/>
                </a:cxn>
                <a:cxn ang="0">
                  <a:pos x="216" y="44"/>
                </a:cxn>
                <a:cxn ang="0">
                  <a:pos x="236" y="46"/>
                </a:cxn>
                <a:cxn ang="0">
                  <a:pos x="252" y="54"/>
                </a:cxn>
                <a:cxn ang="0">
                  <a:pos x="268" y="38"/>
                </a:cxn>
                <a:cxn ang="0">
                  <a:pos x="274" y="64"/>
                </a:cxn>
                <a:cxn ang="0">
                  <a:pos x="272" y="88"/>
                </a:cxn>
                <a:cxn ang="0">
                  <a:pos x="288" y="94"/>
                </a:cxn>
                <a:cxn ang="0">
                  <a:pos x="280" y="116"/>
                </a:cxn>
                <a:cxn ang="0">
                  <a:pos x="266" y="150"/>
                </a:cxn>
                <a:cxn ang="0">
                  <a:pos x="264" y="166"/>
                </a:cxn>
                <a:cxn ang="0">
                  <a:pos x="254" y="172"/>
                </a:cxn>
                <a:cxn ang="0">
                  <a:pos x="242" y="162"/>
                </a:cxn>
                <a:cxn ang="0">
                  <a:pos x="220" y="170"/>
                </a:cxn>
                <a:cxn ang="0">
                  <a:pos x="208" y="152"/>
                </a:cxn>
                <a:cxn ang="0">
                  <a:pos x="204" y="136"/>
                </a:cxn>
                <a:cxn ang="0">
                  <a:pos x="184" y="118"/>
                </a:cxn>
                <a:cxn ang="0">
                  <a:pos x="170" y="118"/>
                </a:cxn>
                <a:cxn ang="0">
                  <a:pos x="154" y="106"/>
                </a:cxn>
                <a:cxn ang="0">
                  <a:pos x="96" y="116"/>
                </a:cxn>
                <a:cxn ang="0">
                  <a:pos x="72" y="106"/>
                </a:cxn>
                <a:cxn ang="0">
                  <a:pos x="56" y="110"/>
                </a:cxn>
                <a:cxn ang="0">
                  <a:pos x="38" y="102"/>
                </a:cxn>
                <a:cxn ang="0">
                  <a:pos x="0" y="118"/>
                </a:cxn>
                <a:cxn ang="0">
                  <a:pos x="0" y="90"/>
                </a:cxn>
                <a:cxn ang="0">
                  <a:pos x="14" y="66"/>
                </a:cxn>
                <a:cxn ang="0">
                  <a:pos x="18" y="38"/>
                </a:cxn>
                <a:cxn ang="0">
                  <a:pos x="40" y="18"/>
                </a:cxn>
                <a:cxn ang="0">
                  <a:pos x="62" y="16"/>
                </a:cxn>
                <a:cxn ang="0">
                  <a:pos x="60" y="30"/>
                </a:cxn>
                <a:cxn ang="0">
                  <a:pos x="78" y="50"/>
                </a:cxn>
                <a:cxn ang="0">
                  <a:pos x="80" y="64"/>
                </a:cxn>
                <a:cxn ang="0">
                  <a:pos x="112" y="74"/>
                </a:cxn>
                <a:cxn ang="0">
                  <a:pos x="128" y="62"/>
                </a:cxn>
                <a:cxn ang="0">
                  <a:pos x="130" y="36"/>
                </a:cxn>
                <a:cxn ang="0">
                  <a:pos x="132" y="6"/>
                </a:cxn>
              </a:cxnLst>
              <a:rect l="0" t="0" r="r" b="b"/>
              <a:pathLst>
                <a:path w="288" h="172">
                  <a:moveTo>
                    <a:pt x="132" y="6"/>
                  </a:moveTo>
                  <a:lnTo>
                    <a:pt x="154" y="8"/>
                  </a:lnTo>
                  <a:lnTo>
                    <a:pt x="168" y="0"/>
                  </a:lnTo>
                  <a:lnTo>
                    <a:pt x="180" y="2"/>
                  </a:lnTo>
                  <a:lnTo>
                    <a:pt x="186" y="12"/>
                  </a:lnTo>
                  <a:lnTo>
                    <a:pt x="212" y="34"/>
                  </a:lnTo>
                  <a:lnTo>
                    <a:pt x="216" y="44"/>
                  </a:lnTo>
                  <a:lnTo>
                    <a:pt x="236" y="46"/>
                  </a:lnTo>
                  <a:lnTo>
                    <a:pt x="252" y="54"/>
                  </a:lnTo>
                  <a:lnTo>
                    <a:pt x="268" y="38"/>
                  </a:lnTo>
                  <a:lnTo>
                    <a:pt x="274" y="64"/>
                  </a:lnTo>
                  <a:lnTo>
                    <a:pt x="272" y="88"/>
                  </a:lnTo>
                  <a:lnTo>
                    <a:pt x="288" y="94"/>
                  </a:lnTo>
                  <a:lnTo>
                    <a:pt x="280" y="116"/>
                  </a:lnTo>
                  <a:lnTo>
                    <a:pt x="266" y="150"/>
                  </a:lnTo>
                  <a:lnTo>
                    <a:pt x="264" y="166"/>
                  </a:lnTo>
                  <a:lnTo>
                    <a:pt x="254" y="172"/>
                  </a:lnTo>
                  <a:lnTo>
                    <a:pt x="242" y="162"/>
                  </a:lnTo>
                  <a:lnTo>
                    <a:pt x="220" y="170"/>
                  </a:lnTo>
                  <a:lnTo>
                    <a:pt x="208" y="152"/>
                  </a:lnTo>
                  <a:lnTo>
                    <a:pt x="204" y="136"/>
                  </a:lnTo>
                  <a:lnTo>
                    <a:pt x="184" y="118"/>
                  </a:lnTo>
                  <a:lnTo>
                    <a:pt x="170" y="118"/>
                  </a:lnTo>
                  <a:lnTo>
                    <a:pt x="154" y="106"/>
                  </a:lnTo>
                  <a:lnTo>
                    <a:pt x="96" y="116"/>
                  </a:lnTo>
                  <a:lnTo>
                    <a:pt x="72" y="106"/>
                  </a:lnTo>
                  <a:lnTo>
                    <a:pt x="56" y="110"/>
                  </a:lnTo>
                  <a:lnTo>
                    <a:pt x="38" y="102"/>
                  </a:lnTo>
                  <a:lnTo>
                    <a:pt x="0" y="118"/>
                  </a:lnTo>
                  <a:lnTo>
                    <a:pt x="0" y="90"/>
                  </a:lnTo>
                  <a:lnTo>
                    <a:pt x="14" y="66"/>
                  </a:lnTo>
                  <a:lnTo>
                    <a:pt x="18" y="38"/>
                  </a:lnTo>
                  <a:lnTo>
                    <a:pt x="40" y="18"/>
                  </a:lnTo>
                  <a:lnTo>
                    <a:pt x="62" y="16"/>
                  </a:lnTo>
                  <a:lnTo>
                    <a:pt x="60" y="30"/>
                  </a:lnTo>
                  <a:lnTo>
                    <a:pt x="78" y="50"/>
                  </a:lnTo>
                  <a:lnTo>
                    <a:pt x="80" y="64"/>
                  </a:lnTo>
                  <a:lnTo>
                    <a:pt x="112" y="74"/>
                  </a:lnTo>
                  <a:lnTo>
                    <a:pt x="128" y="62"/>
                  </a:lnTo>
                  <a:lnTo>
                    <a:pt x="130" y="36"/>
                  </a:lnTo>
                  <a:lnTo>
                    <a:pt x="132" y="6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30" name="Lebanon">
              <a:extLst>
                <a:ext uri="{FF2B5EF4-FFF2-40B4-BE49-F238E27FC236}">
                  <a16:creationId xmlns="" xmlns:a16="http://schemas.microsoft.com/office/drawing/2014/main" id="{2BF42ABE-C0DC-47C6-8DF4-B8ADDA34679F}"/>
                </a:ext>
              </a:extLst>
            </p:cNvPr>
            <p:cNvSpPr>
              <a:spLocks/>
            </p:cNvSpPr>
            <p:nvPr/>
          </p:nvSpPr>
          <p:spPr bwMode="gray">
            <a:xfrm>
              <a:off x="6888411" y="3386682"/>
              <a:ext cx="37094" cy="57029"/>
            </a:xfrm>
            <a:custGeom>
              <a:avLst/>
              <a:gdLst/>
              <a:ahLst/>
              <a:cxnLst>
                <a:cxn ang="0">
                  <a:pos x="26" y="60"/>
                </a:cxn>
                <a:cxn ang="0">
                  <a:pos x="22" y="60"/>
                </a:cxn>
                <a:cxn ang="0">
                  <a:pos x="20" y="64"/>
                </a:cxn>
                <a:cxn ang="0">
                  <a:pos x="16" y="64"/>
                </a:cxn>
                <a:cxn ang="0">
                  <a:pos x="14" y="70"/>
                </a:cxn>
                <a:cxn ang="0">
                  <a:pos x="8" y="72"/>
                </a:cxn>
                <a:cxn ang="0">
                  <a:pos x="6" y="70"/>
                </a:cxn>
                <a:cxn ang="0">
                  <a:pos x="0" y="72"/>
                </a:cxn>
                <a:cxn ang="0">
                  <a:pos x="18" y="32"/>
                </a:cxn>
                <a:cxn ang="0">
                  <a:pos x="22" y="0"/>
                </a:cxn>
                <a:cxn ang="0">
                  <a:pos x="28" y="0"/>
                </a:cxn>
                <a:cxn ang="0">
                  <a:pos x="34" y="6"/>
                </a:cxn>
                <a:cxn ang="0">
                  <a:pos x="42" y="14"/>
                </a:cxn>
                <a:cxn ang="0">
                  <a:pos x="44" y="32"/>
                </a:cxn>
                <a:cxn ang="0">
                  <a:pos x="40" y="44"/>
                </a:cxn>
                <a:cxn ang="0">
                  <a:pos x="32" y="54"/>
                </a:cxn>
                <a:cxn ang="0">
                  <a:pos x="28" y="60"/>
                </a:cxn>
                <a:cxn ang="0">
                  <a:pos x="26" y="60"/>
                </a:cxn>
              </a:cxnLst>
              <a:rect l="0" t="0" r="r" b="b"/>
              <a:pathLst>
                <a:path w="44" h="72">
                  <a:moveTo>
                    <a:pt x="26" y="60"/>
                  </a:moveTo>
                  <a:lnTo>
                    <a:pt x="22" y="60"/>
                  </a:lnTo>
                  <a:lnTo>
                    <a:pt x="20" y="64"/>
                  </a:lnTo>
                  <a:lnTo>
                    <a:pt x="16" y="64"/>
                  </a:lnTo>
                  <a:lnTo>
                    <a:pt x="14" y="70"/>
                  </a:lnTo>
                  <a:lnTo>
                    <a:pt x="8" y="72"/>
                  </a:lnTo>
                  <a:lnTo>
                    <a:pt x="6" y="70"/>
                  </a:lnTo>
                  <a:lnTo>
                    <a:pt x="0" y="72"/>
                  </a:lnTo>
                  <a:lnTo>
                    <a:pt x="18" y="32"/>
                  </a:lnTo>
                  <a:lnTo>
                    <a:pt x="22" y="0"/>
                  </a:lnTo>
                  <a:lnTo>
                    <a:pt x="28" y="0"/>
                  </a:lnTo>
                  <a:lnTo>
                    <a:pt x="34" y="6"/>
                  </a:lnTo>
                  <a:lnTo>
                    <a:pt x="42" y="14"/>
                  </a:lnTo>
                  <a:lnTo>
                    <a:pt x="44" y="32"/>
                  </a:lnTo>
                  <a:lnTo>
                    <a:pt x="40" y="44"/>
                  </a:lnTo>
                  <a:lnTo>
                    <a:pt x="32" y="54"/>
                  </a:lnTo>
                  <a:lnTo>
                    <a:pt x="28" y="60"/>
                  </a:lnTo>
                  <a:lnTo>
                    <a:pt x="26" y="60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31" name="Lesotho">
              <a:extLst>
                <a:ext uri="{FF2B5EF4-FFF2-40B4-BE49-F238E27FC236}">
                  <a16:creationId xmlns="" xmlns:a16="http://schemas.microsoft.com/office/drawing/2014/main" id="{F1D54DDA-41FD-4CAB-9FFE-F4170FEA87B8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644372" y="5520397"/>
              <a:ext cx="74187" cy="74730"/>
            </a:xfrm>
            <a:custGeom>
              <a:avLst/>
              <a:gdLst/>
              <a:ahLst/>
              <a:cxnLst>
                <a:cxn ang="0">
                  <a:pos x="0" y="49"/>
                </a:cxn>
                <a:cxn ang="0">
                  <a:pos x="5" y="66"/>
                </a:cxn>
                <a:cxn ang="0">
                  <a:pos x="14" y="73"/>
                </a:cxn>
                <a:cxn ang="0">
                  <a:pos x="26" y="94"/>
                </a:cxn>
                <a:cxn ang="0">
                  <a:pos x="43" y="106"/>
                </a:cxn>
                <a:cxn ang="0">
                  <a:pos x="47" y="92"/>
                </a:cxn>
                <a:cxn ang="0">
                  <a:pos x="50" y="78"/>
                </a:cxn>
                <a:cxn ang="0">
                  <a:pos x="66" y="78"/>
                </a:cxn>
                <a:cxn ang="0">
                  <a:pos x="83" y="78"/>
                </a:cxn>
                <a:cxn ang="0">
                  <a:pos x="95" y="66"/>
                </a:cxn>
                <a:cxn ang="0">
                  <a:pos x="104" y="47"/>
                </a:cxn>
                <a:cxn ang="0">
                  <a:pos x="109" y="28"/>
                </a:cxn>
                <a:cxn ang="0">
                  <a:pos x="99" y="19"/>
                </a:cxn>
                <a:cxn ang="0">
                  <a:pos x="88" y="19"/>
                </a:cxn>
                <a:cxn ang="0">
                  <a:pos x="78" y="11"/>
                </a:cxn>
                <a:cxn ang="0">
                  <a:pos x="64" y="0"/>
                </a:cxn>
                <a:cxn ang="0">
                  <a:pos x="50" y="2"/>
                </a:cxn>
                <a:cxn ang="0">
                  <a:pos x="26" y="21"/>
                </a:cxn>
                <a:cxn ang="0">
                  <a:pos x="3" y="40"/>
                </a:cxn>
                <a:cxn ang="0">
                  <a:pos x="0" y="49"/>
                </a:cxn>
              </a:cxnLst>
              <a:rect l="0" t="0" r="r" b="b"/>
              <a:pathLst>
                <a:path w="109" h="106">
                  <a:moveTo>
                    <a:pt x="0" y="49"/>
                  </a:moveTo>
                  <a:lnTo>
                    <a:pt x="5" y="66"/>
                  </a:lnTo>
                  <a:lnTo>
                    <a:pt x="14" y="73"/>
                  </a:lnTo>
                  <a:lnTo>
                    <a:pt x="26" y="94"/>
                  </a:lnTo>
                  <a:lnTo>
                    <a:pt x="43" y="106"/>
                  </a:lnTo>
                  <a:lnTo>
                    <a:pt x="47" y="92"/>
                  </a:lnTo>
                  <a:lnTo>
                    <a:pt x="50" y="78"/>
                  </a:lnTo>
                  <a:lnTo>
                    <a:pt x="66" y="78"/>
                  </a:lnTo>
                  <a:lnTo>
                    <a:pt x="83" y="78"/>
                  </a:lnTo>
                  <a:lnTo>
                    <a:pt x="95" y="66"/>
                  </a:lnTo>
                  <a:lnTo>
                    <a:pt x="104" y="47"/>
                  </a:lnTo>
                  <a:lnTo>
                    <a:pt x="109" y="28"/>
                  </a:lnTo>
                  <a:lnTo>
                    <a:pt x="99" y="19"/>
                  </a:lnTo>
                  <a:lnTo>
                    <a:pt x="88" y="19"/>
                  </a:lnTo>
                  <a:lnTo>
                    <a:pt x="78" y="11"/>
                  </a:lnTo>
                  <a:lnTo>
                    <a:pt x="64" y="0"/>
                  </a:lnTo>
                  <a:lnTo>
                    <a:pt x="50" y="2"/>
                  </a:lnTo>
                  <a:lnTo>
                    <a:pt x="26" y="21"/>
                  </a:lnTo>
                  <a:lnTo>
                    <a:pt x="3" y="40"/>
                  </a:lnTo>
                  <a:lnTo>
                    <a:pt x="0" y="49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 cmpd="sng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32" name="Liberia">
              <a:extLst>
                <a:ext uri="{FF2B5EF4-FFF2-40B4-BE49-F238E27FC236}">
                  <a16:creationId xmlns="" xmlns:a16="http://schemas.microsoft.com/office/drawing/2014/main" id="{35838E79-509C-4F92-82D4-36B89941B4C6}"/>
                </a:ext>
              </a:extLst>
            </p:cNvPr>
            <p:cNvSpPr>
              <a:spLocks/>
            </p:cNvSpPr>
            <p:nvPr/>
          </p:nvSpPr>
          <p:spPr bwMode="gray">
            <a:xfrm>
              <a:off x="5441753" y="4289332"/>
              <a:ext cx="130805" cy="131760"/>
            </a:xfrm>
            <a:custGeom>
              <a:avLst/>
              <a:gdLst/>
              <a:ahLst/>
              <a:cxnLst>
                <a:cxn ang="0">
                  <a:pos x="28" y="70"/>
                </a:cxn>
                <a:cxn ang="0">
                  <a:pos x="0" y="64"/>
                </a:cxn>
                <a:cxn ang="0">
                  <a:pos x="20" y="48"/>
                </a:cxn>
                <a:cxn ang="0">
                  <a:pos x="32" y="46"/>
                </a:cxn>
                <a:cxn ang="0">
                  <a:pos x="66" y="18"/>
                </a:cxn>
                <a:cxn ang="0">
                  <a:pos x="60" y="4"/>
                </a:cxn>
                <a:cxn ang="0">
                  <a:pos x="84" y="0"/>
                </a:cxn>
                <a:cxn ang="0">
                  <a:pos x="86" y="26"/>
                </a:cxn>
                <a:cxn ang="0">
                  <a:pos x="102" y="28"/>
                </a:cxn>
                <a:cxn ang="0">
                  <a:pos x="124" y="20"/>
                </a:cxn>
                <a:cxn ang="0">
                  <a:pos x="122" y="34"/>
                </a:cxn>
                <a:cxn ang="0">
                  <a:pos x="128" y="42"/>
                </a:cxn>
                <a:cxn ang="0">
                  <a:pos x="124" y="66"/>
                </a:cxn>
                <a:cxn ang="0">
                  <a:pos x="160" y="104"/>
                </a:cxn>
                <a:cxn ang="0">
                  <a:pos x="154" y="162"/>
                </a:cxn>
                <a:cxn ang="0">
                  <a:pos x="134" y="162"/>
                </a:cxn>
                <a:cxn ang="0">
                  <a:pos x="116" y="140"/>
                </a:cxn>
                <a:cxn ang="0">
                  <a:pos x="102" y="128"/>
                </a:cxn>
                <a:cxn ang="0">
                  <a:pos x="92" y="126"/>
                </a:cxn>
                <a:cxn ang="0">
                  <a:pos x="48" y="80"/>
                </a:cxn>
                <a:cxn ang="0">
                  <a:pos x="28" y="70"/>
                </a:cxn>
              </a:cxnLst>
              <a:rect l="0" t="0" r="r" b="b"/>
              <a:pathLst>
                <a:path w="160" h="162">
                  <a:moveTo>
                    <a:pt x="28" y="70"/>
                  </a:moveTo>
                  <a:lnTo>
                    <a:pt x="0" y="64"/>
                  </a:lnTo>
                  <a:lnTo>
                    <a:pt x="20" y="48"/>
                  </a:lnTo>
                  <a:lnTo>
                    <a:pt x="32" y="46"/>
                  </a:lnTo>
                  <a:lnTo>
                    <a:pt x="66" y="18"/>
                  </a:lnTo>
                  <a:lnTo>
                    <a:pt x="60" y="4"/>
                  </a:lnTo>
                  <a:lnTo>
                    <a:pt x="84" y="0"/>
                  </a:lnTo>
                  <a:lnTo>
                    <a:pt x="86" y="26"/>
                  </a:lnTo>
                  <a:lnTo>
                    <a:pt x="102" y="28"/>
                  </a:lnTo>
                  <a:lnTo>
                    <a:pt x="124" y="20"/>
                  </a:lnTo>
                  <a:lnTo>
                    <a:pt x="122" y="34"/>
                  </a:lnTo>
                  <a:lnTo>
                    <a:pt x="128" y="42"/>
                  </a:lnTo>
                  <a:lnTo>
                    <a:pt x="124" y="66"/>
                  </a:lnTo>
                  <a:lnTo>
                    <a:pt x="160" y="104"/>
                  </a:lnTo>
                  <a:lnTo>
                    <a:pt x="154" y="162"/>
                  </a:lnTo>
                  <a:lnTo>
                    <a:pt x="134" y="162"/>
                  </a:lnTo>
                  <a:lnTo>
                    <a:pt x="116" y="140"/>
                  </a:lnTo>
                  <a:lnTo>
                    <a:pt x="102" y="128"/>
                  </a:lnTo>
                  <a:lnTo>
                    <a:pt x="92" y="126"/>
                  </a:lnTo>
                  <a:lnTo>
                    <a:pt x="48" y="80"/>
                  </a:lnTo>
                  <a:lnTo>
                    <a:pt x="28" y="70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33" name="Libya">
              <a:extLst>
                <a:ext uri="{FF2B5EF4-FFF2-40B4-BE49-F238E27FC236}">
                  <a16:creationId xmlns="" xmlns:a16="http://schemas.microsoft.com/office/drawing/2014/main" id="{80653AA1-5BEC-4AD4-BAE9-72D148B44C94}"/>
                </a:ext>
              </a:extLst>
            </p:cNvPr>
            <p:cNvSpPr>
              <a:spLocks/>
            </p:cNvSpPr>
            <p:nvPr/>
          </p:nvSpPr>
          <p:spPr bwMode="gray">
            <a:xfrm>
              <a:off x="6101633" y="3435845"/>
              <a:ext cx="482220" cy="499507"/>
            </a:xfrm>
            <a:custGeom>
              <a:avLst/>
              <a:gdLst/>
              <a:ahLst/>
              <a:cxnLst>
                <a:cxn ang="0">
                  <a:pos x="112" y="16"/>
                </a:cxn>
                <a:cxn ang="0">
                  <a:pos x="80" y="0"/>
                </a:cxn>
                <a:cxn ang="0">
                  <a:pos x="84" y="40"/>
                </a:cxn>
                <a:cxn ang="0">
                  <a:pos x="76" y="48"/>
                </a:cxn>
                <a:cxn ang="0">
                  <a:pos x="60" y="54"/>
                </a:cxn>
                <a:cxn ang="0">
                  <a:pos x="50" y="64"/>
                </a:cxn>
                <a:cxn ang="0">
                  <a:pos x="38" y="66"/>
                </a:cxn>
                <a:cxn ang="0">
                  <a:pos x="26" y="78"/>
                </a:cxn>
                <a:cxn ang="0">
                  <a:pos x="26" y="96"/>
                </a:cxn>
                <a:cxn ang="0">
                  <a:pos x="32" y="124"/>
                </a:cxn>
                <a:cxn ang="0">
                  <a:pos x="8" y="158"/>
                </a:cxn>
                <a:cxn ang="0">
                  <a:pos x="16" y="251"/>
                </a:cxn>
                <a:cxn ang="0">
                  <a:pos x="10" y="279"/>
                </a:cxn>
                <a:cxn ang="0">
                  <a:pos x="18" y="299"/>
                </a:cxn>
                <a:cxn ang="0">
                  <a:pos x="0" y="321"/>
                </a:cxn>
                <a:cxn ang="0">
                  <a:pos x="22" y="359"/>
                </a:cxn>
                <a:cxn ang="0">
                  <a:pos x="16" y="367"/>
                </a:cxn>
                <a:cxn ang="0">
                  <a:pos x="32" y="381"/>
                </a:cxn>
                <a:cxn ang="0">
                  <a:pos x="52" y="381"/>
                </a:cxn>
                <a:cxn ang="0">
                  <a:pos x="76" y="399"/>
                </a:cxn>
                <a:cxn ang="0">
                  <a:pos x="104" y="439"/>
                </a:cxn>
                <a:cxn ang="0">
                  <a:pos x="154" y="449"/>
                </a:cxn>
                <a:cxn ang="0">
                  <a:pos x="174" y="465"/>
                </a:cxn>
                <a:cxn ang="0">
                  <a:pos x="206" y="455"/>
                </a:cxn>
                <a:cxn ang="0">
                  <a:pos x="250" y="441"/>
                </a:cxn>
                <a:cxn ang="0">
                  <a:pos x="539" y="611"/>
                </a:cxn>
                <a:cxn ang="0">
                  <a:pos x="541" y="587"/>
                </a:cxn>
                <a:cxn ang="0">
                  <a:pos x="547" y="577"/>
                </a:cxn>
                <a:cxn ang="0">
                  <a:pos x="589" y="577"/>
                </a:cxn>
                <a:cxn ang="0">
                  <a:pos x="589" y="507"/>
                </a:cxn>
                <a:cxn ang="0">
                  <a:pos x="585" y="176"/>
                </a:cxn>
                <a:cxn ang="0">
                  <a:pos x="575" y="160"/>
                </a:cxn>
                <a:cxn ang="0">
                  <a:pos x="585" y="132"/>
                </a:cxn>
                <a:cxn ang="0">
                  <a:pos x="575" y="108"/>
                </a:cxn>
                <a:cxn ang="0">
                  <a:pos x="579" y="98"/>
                </a:cxn>
                <a:cxn ang="0">
                  <a:pos x="593" y="78"/>
                </a:cxn>
                <a:cxn ang="0">
                  <a:pos x="579" y="64"/>
                </a:cxn>
                <a:cxn ang="0">
                  <a:pos x="549" y="62"/>
                </a:cxn>
                <a:cxn ang="0">
                  <a:pos x="525" y="48"/>
                </a:cxn>
                <a:cxn ang="0">
                  <a:pos x="497" y="46"/>
                </a:cxn>
                <a:cxn ang="0">
                  <a:pos x="495" y="32"/>
                </a:cxn>
                <a:cxn ang="0">
                  <a:pos x="457" y="16"/>
                </a:cxn>
                <a:cxn ang="0">
                  <a:pos x="435" y="16"/>
                </a:cxn>
                <a:cxn ang="0">
                  <a:pos x="407" y="38"/>
                </a:cxn>
                <a:cxn ang="0">
                  <a:pos x="394" y="68"/>
                </a:cxn>
                <a:cxn ang="0">
                  <a:pos x="400" y="102"/>
                </a:cxn>
                <a:cxn ang="0">
                  <a:pos x="374" y="130"/>
                </a:cxn>
                <a:cxn ang="0">
                  <a:pos x="344" y="132"/>
                </a:cxn>
                <a:cxn ang="0">
                  <a:pos x="310" y="108"/>
                </a:cxn>
                <a:cxn ang="0">
                  <a:pos x="284" y="104"/>
                </a:cxn>
                <a:cxn ang="0">
                  <a:pos x="258" y="94"/>
                </a:cxn>
                <a:cxn ang="0">
                  <a:pos x="224" y="90"/>
                </a:cxn>
                <a:cxn ang="0">
                  <a:pos x="208" y="74"/>
                </a:cxn>
                <a:cxn ang="0">
                  <a:pos x="204" y="42"/>
                </a:cxn>
                <a:cxn ang="0">
                  <a:pos x="164" y="24"/>
                </a:cxn>
                <a:cxn ang="0">
                  <a:pos x="138" y="14"/>
                </a:cxn>
                <a:cxn ang="0">
                  <a:pos x="112" y="16"/>
                </a:cxn>
              </a:cxnLst>
              <a:rect l="0" t="0" r="r" b="b"/>
              <a:pathLst>
                <a:path w="593" h="611">
                  <a:moveTo>
                    <a:pt x="112" y="16"/>
                  </a:moveTo>
                  <a:lnTo>
                    <a:pt x="80" y="0"/>
                  </a:lnTo>
                  <a:lnTo>
                    <a:pt x="84" y="40"/>
                  </a:lnTo>
                  <a:lnTo>
                    <a:pt x="76" y="48"/>
                  </a:lnTo>
                  <a:lnTo>
                    <a:pt x="60" y="54"/>
                  </a:lnTo>
                  <a:lnTo>
                    <a:pt x="50" y="64"/>
                  </a:lnTo>
                  <a:lnTo>
                    <a:pt x="38" y="66"/>
                  </a:lnTo>
                  <a:lnTo>
                    <a:pt x="26" y="78"/>
                  </a:lnTo>
                  <a:lnTo>
                    <a:pt x="26" y="96"/>
                  </a:lnTo>
                  <a:lnTo>
                    <a:pt x="32" y="124"/>
                  </a:lnTo>
                  <a:lnTo>
                    <a:pt x="8" y="158"/>
                  </a:lnTo>
                  <a:lnTo>
                    <a:pt x="16" y="251"/>
                  </a:lnTo>
                  <a:lnTo>
                    <a:pt x="10" y="279"/>
                  </a:lnTo>
                  <a:lnTo>
                    <a:pt x="18" y="299"/>
                  </a:lnTo>
                  <a:lnTo>
                    <a:pt x="0" y="321"/>
                  </a:lnTo>
                  <a:lnTo>
                    <a:pt x="22" y="359"/>
                  </a:lnTo>
                  <a:lnTo>
                    <a:pt x="16" y="367"/>
                  </a:lnTo>
                  <a:lnTo>
                    <a:pt x="32" y="381"/>
                  </a:lnTo>
                  <a:lnTo>
                    <a:pt x="52" y="381"/>
                  </a:lnTo>
                  <a:lnTo>
                    <a:pt x="76" y="399"/>
                  </a:lnTo>
                  <a:lnTo>
                    <a:pt x="104" y="439"/>
                  </a:lnTo>
                  <a:lnTo>
                    <a:pt x="154" y="449"/>
                  </a:lnTo>
                  <a:lnTo>
                    <a:pt x="174" y="465"/>
                  </a:lnTo>
                  <a:lnTo>
                    <a:pt x="206" y="455"/>
                  </a:lnTo>
                  <a:lnTo>
                    <a:pt x="250" y="441"/>
                  </a:lnTo>
                  <a:lnTo>
                    <a:pt x="539" y="611"/>
                  </a:lnTo>
                  <a:lnTo>
                    <a:pt x="541" y="587"/>
                  </a:lnTo>
                  <a:lnTo>
                    <a:pt x="547" y="577"/>
                  </a:lnTo>
                  <a:lnTo>
                    <a:pt x="589" y="577"/>
                  </a:lnTo>
                  <a:lnTo>
                    <a:pt x="589" y="507"/>
                  </a:lnTo>
                  <a:lnTo>
                    <a:pt x="585" y="176"/>
                  </a:lnTo>
                  <a:lnTo>
                    <a:pt x="575" y="160"/>
                  </a:lnTo>
                  <a:lnTo>
                    <a:pt x="585" y="132"/>
                  </a:lnTo>
                  <a:lnTo>
                    <a:pt x="575" y="108"/>
                  </a:lnTo>
                  <a:lnTo>
                    <a:pt x="579" y="98"/>
                  </a:lnTo>
                  <a:lnTo>
                    <a:pt x="593" y="78"/>
                  </a:lnTo>
                  <a:lnTo>
                    <a:pt x="579" y="64"/>
                  </a:lnTo>
                  <a:lnTo>
                    <a:pt x="549" y="62"/>
                  </a:lnTo>
                  <a:lnTo>
                    <a:pt x="525" y="48"/>
                  </a:lnTo>
                  <a:lnTo>
                    <a:pt x="497" y="46"/>
                  </a:lnTo>
                  <a:lnTo>
                    <a:pt x="495" y="32"/>
                  </a:lnTo>
                  <a:lnTo>
                    <a:pt x="457" y="16"/>
                  </a:lnTo>
                  <a:lnTo>
                    <a:pt x="435" y="16"/>
                  </a:lnTo>
                  <a:lnTo>
                    <a:pt x="407" y="38"/>
                  </a:lnTo>
                  <a:lnTo>
                    <a:pt x="394" y="68"/>
                  </a:lnTo>
                  <a:lnTo>
                    <a:pt x="400" y="102"/>
                  </a:lnTo>
                  <a:lnTo>
                    <a:pt x="374" y="130"/>
                  </a:lnTo>
                  <a:lnTo>
                    <a:pt x="344" y="132"/>
                  </a:lnTo>
                  <a:lnTo>
                    <a:pt x="310" y="108"/>
                  </a:lnTo>
                  <a:lnTo>
                    <a:pt x="284" y="104"/>
                  </a:lnTo>
                  <a:lnTo>
                    <a:pt x="258" y="94"/>
                  </a:lnTo>
                  <a:lnTo>
                    <a:pt x="224" y="90"/>
                  </a:lnTo>
                  <a:lnTo>
                    <a:pt x="208" y="74"/>
                  </a:lnTo>
                  <a:lnTo>
                    <a:pt x="204" y="42"/>
                  </a:lnTo>
                  <a:lnTo>
                    <a:pt x="164" y="24"/>
                  </a:lnTo>
                  <a:lnTo>
                    <a:pt x="138" y="14"/>
                  </a:lnTo>
                  <a:lnTo>
                    <a:pt x="112" y="16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34" name="Liechtenstein">
              <a:extLst>
                <a:ext uri="{FF2B5EF4-FFF2-40B4-BE49-F238E27FC236}">
                  <a16:creationId xmlns="" xmlns:a16="http://schemas.microsoft.com/office/drawing/2014/main" id="{BC93B34B-69C6-4945-ADF1-ED9F6B0246D2}"/>
                </a:ext>
              </a:extLst>
            </p:cNvPr>
            <p:cNvSpPr>
              <a:spLocks/>
            </p:cNvSpPr>
            <p:nvPr/>
          </p:nvSpPr>
          <p:spPr bwMode="gray">
            <a:xfrm>
              <a:off x="6084063" y="2841944"/>
              <a:ext cx="13667" cy="15732"/>
            </a:xfrm>
            <a:custGeom>
              <a:avLst/>
              <a:gdLst/>
              <a:ahLst/>
              <a:cxnLst>
                <a:cxn ang="0">
                  <a:pos x="82" y="50"/>
                </a:cxn>
                <a:cxn ang="0">
                  <a:pos x="83" y="46"/>
                </a:cxn>
                <a:cxn ang="0">
                  <a:pos x="83" y="46"/>
                </a:cxn>
                <a:cxn ang="0">
                  <a:pos x="83" y="41"/>
                </a:cxn>
                <a:cxn ang="0">
                  <a:pos x="83" y="37"/>
                </a:cxn>
                <a:cxn ang="0">
                  <a:pos x="83" y="36"/>
                </a:cxn>
                <a:cxn ang="0">
                  <a:pos x="82" y="33"/>
                </a:cxn>
                <a:cxn ang="0">
                  <a:pos x="82" y="32"/>
                </a:cxn>
                <a:cxn ang="0">
                  <a:pos x="81" y="29"/>
                </a:cxn>
                <a:cxn ang="0">
                  <a:pos x="81" y="29"/>
                </a:cxn>
                <a:cxn ang="0">
                  <a:pos x="41" y="0"/>
                </a:cxn>
                <a:cxn ang="0">
                  <a:pos x="0" y="39"/>
                </a:cxn>
                <a:cxn ang="0">
                  <a:pos x="0" y="41"/>
                </a:cxn>
                <a:cxn ang="0">
                  <a:pos x="41" y="83"/>
                </a:cxn>
                <a:cxn ang="0">
                  <a:pos x="82" y="50"/>
                </a:cxn>
                <a:cxn ang="0">
                  <a:pos x="82" y="50"/>
                </a:cxn>
              </a:cxnLst>
              <a:rect l="0" t="0" r="r" b="b"/>
              <a:pathLst>
                <a:path w="83" h="83">
                  <a:moveTo>
                    <a:pt x="82" y="50"/>
                  </a:moveTo>
                  <a:cubicBezTo>
                    <a:pt x="82" y="49"/>
                    <a:pt x="83" y="47"/>
                    <a:pt x="83" y="46"/>
                  </a:cubicBezTo>
                  <a:cubicBezTo>
                    <a:pt x="83" y="46"/>
                    <a:pt x="83" y="46"/>
                    <a:pt x="83" y="46"/>
                  </a:cubicBezTo>
                  <a:cubicBezTo>
                    <a:pt x="83" y="44"/>
                    <a:pt x="83" y="43"/>
                    <a:pt x="83" y="41"/>
                  </a:cubicBezTo>
                  <a:cubicBezTo>
                    <a:pt x="83" y="40"/>
                    <a:pt x="83" y="38"/>
                    <a:pt x="83" y="37"/>
                  </a:cubicBezTo>
                  <a:cubicBezTo>
                    <a:pt x="83" y="37"/>
                    <a:pt x="83" y="37"/>
                    <a:pt x="83" y="36"/>
                  </a:cubicBezTo>
                  <a:cubicBezTo>
                    <a:pt x="83" y="35"/>
                    <a:pt x="82" y="34"/>
                    <a:pt x="82" y="33"/>
                  </a:cubicBezTo>
                  <a:cubicBezTo>
                    <a:pt x="82" y="33"/>
                    <a:pt x="82" y="33"/>
                    <a:pt x="82" y="32"/>
                  </a:cubicBezTo>
                  <a:cubicBezTo>
                    <a:pt x="82" y="31"/>
                    <a:pt x="82" y="30"/>
                    <a:pt x="81" y="29"/>
                  </a:cubicBezTo>
                  <a:cubicBezTo>
                    <a:pt x="81" y="29"/>
                    <a:pt x="81" y="29"/>
                    <a:pt x="81" y="29"/>
                  </a:cubicBezTo>
                  <a:cubicBezTo>
                    <a:pt x="76" y="12"/>
                    <a:pt x="60" y="0"/>
                    <a:pt x="41" y="0"/>
                  </a:cubicBezTo>
                  <a:cubicBezTo>
                    <a:pt x="19" y="0"/>
                    <a:pt x="1" y="17"/>
                    <a:pt x="0" y="39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64"/>
                    <a:pt x="19" y="83"/>
                    <a:pt x="41" y="83"/>
                  </a:cubicBezTo>
                  <a:cubicBezTo>
                    <a:pt x="61" y="83"/>
                    <a:pt x="78" y="69"/>
                    <a:pt x="82" y="50"/>
                  </a:cubicBezTo>
                  <a:cubicBezTo>
                    <a:pt x="82" y="50"/>
                    <a:pt x="82" y="50"/>
                    <a:pt x="82" y="50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35" name="Lithuania">
              <a:extLst>
                <a:ext uri="{FF2B5EF4-FFF2-40B4-BE49-F238E27FC236}">
                  <a16:creationId xmlns="" xmlns:a16="http://schemas.microsoft.com/office/drawing/2014/main" id="{F6E4088A-9534-48CA-AF79-443847281302}"/>
                </a:ext>
              </a:extLst>
            </p:cNvPr>
            <p:cNvSpPr>
              <a:spLocks/>
            </p:cNvSpPr>
            <p:nvPr/>
          </p:nvSpPr>
          <p:spPr bwMode="gray">
            <a:xfrm>
              <a:off x="6445238" y="2369970"/>
              <a:ext cx="183517" cy="143559"/>
            </a:xfrm>
            <a:custGeom>
              <a:avLst/>
              <a:gdLst/>
              <a:ahLst/>
              <a:cxnLst>
                <a:cxn ang="0">
                  <a:pos x="220" y="68"/>
                </a:cxn>
                <a:cxn ang="0">
                  <a:pos x="208" y="50"/>
                </a:cxn>
                <a:cxn ang="0">
                  <a:pos x="204" y="34"/>
                </a:cxn>
                <a:cxn ang="0">
                  <a:pos x="184" y="16"/>
                </a:cxn>
                <a:cxn ang="0">
                  <a:pos x="170" y="16"/>
                </a:cxn>
                <a:cxn ang="0">
                  <a:pos x="154" y="4"/>
                </a:cxn>
                <a:cxn ang="0">
                  <a:pos x="96" y="14"/>
                </a:cxn>
                <a:cxn ang="0">
                  <a:pos x="72" y="4"/>
                </a:cxn>
                <a:cxn ang="0">
                  <a:pos x="56" y="8"/>
                </a:cxn>
                <a:cxn ang="0">
                  <a:pos x="38" y="0"/>
                </a:cxn>
                <a:cxn ang="0">
                  <a:pos x="0" y="16"/>
                </a:cxn>
                <a:cxn ang="0">
                  <a:pos x="0" y="38"/>
                </a:cxn>
                <a:cxn ang="0">
                  <a:pos x="8" y="62"/>
                </a:cxn>
                <a:cxn ang="0">
                  <a:pos x="10" y="80"/>
                </a:cxn>
                <a:cxn ang="0">
                  <a:pos x="58" y="106"/>
                </a:cxn>
                <a:cxn ang="0">
                  <a:pos x="92" y="110"/>
                </a:cxn>
                <a:cxn ang="0">
                  <a:pos x="80" y="124"/>
                </a:cxn>
                <a:cxn ang="0">
                  <a:pos x="78" y="138"/>
                </a:cxn>
                <a:cxn ang="0">
                  <a:pos x="102" y="158"/>
                </a:cxn>
                <a:cxn ang="0">
                  <a:pos x="108" y="176"/>
                </a:cxn>
                <a:cxn ang="0">
                  <a:pos x="148" y="176"/>
                </a:cxn>
                <a:cxn ang="0">
                  <a:pos x="156" y="154"/>
                </a:cxn>
                <a:cxn ang="0">
                  <a:pos x="170" y="154"/>
                </a:cxn>
                <a:cxn ang="0">
                  <a:pos x="196" y="166"/>
                </a:cxn>
                <a:cxn ang="0">
                  <a:pos x="200" y="152"/>
                </a:cxn>
                <a:cxn ang="0">
                  <a:pos x="194" y="130"/>
                </a:cxn>
                <a:cxn ang="0">
                  <a:pos x="212" y="94"/>
                </a:cxn>
                <a:cxn ang="0">
                  <a:pos x="226" y="88"/>
                </a:cxn>
                <a:cxn ang="0">
                  <a:pos x="220" y="68"/>
                </a:cxn>
              </a:cxnLst>
              <a:rect l="0" t="0" r="r" b="b"/>
              <a:pathLst>
                <a:path w="226" h="176">
                  <a:moveTo>
                    <a:pt x="220" y="68"/>
                  </a:moveTo>
                  <a:lnTo>
                    <a:pt x="208" y="50"/>
                  </a:lnTo>
                  <a:lnTo>
                    <a:pt x="204" y="34"/>
                  </a:lnTo>
                  <a:lnTo>
                    <a:pt x="184" y="16"/>
                  </a:lnTo>
                  <a:lnTo>
                    <a:pt x="170" y="16"/>
                  </a:lnTo>
                  <a:lnTo>
                    <a:pt x="154" y="4"/>
                  </a:lnTo>
                  <a:lnTo>
                    <a:pt x="96" y="14"/>
                  </a:lnTo>
                  <a:lnTo>
                    <a:pt x="72" y="4"/>
                  </a:lnTo>
                  <a:lnTo>
                    <a:pt x="56" y="8"/>
                  </a:lnTo>
                  <a:lnTo>
                    <a:pt x="38" y="0"/>
                  </a:lnTo>
                  <a:lnTo>
                    <a:pt x="0" y="16"/>
                  </a:lnTo>
                  <a:lnTo>
                    <a:pt x="0" y="38"/>
                  </a:lnTo>
                  <a:lnTo>
                    <a:pt x="8" y="62"/>
                  </a:lnTo>
                  <a:lnTo>
                    <a:pt x="10" y="80"/>
                  </a:lnTo>
                  <a:lnTo>
                    <a:pt x="58" y="106"/>
                  </a:lnTo>
                  <a:lnTo>
                    <a:pt x="92" y="110"/>
                  </a:lnTo>
                  <a:lnTo>
                    <a:pt x="80" y="124"/>
                  </a:lnTo>
                  <a:lnTo>
                    <a:pt x="78" y="138"/>
                  </a:lnTo>
                  <a:lnTo>
                    <a:pt x="102" y="158"/>
                  </a:lnTo>
                  <a:lnTo>
                    <a:pt x="108" y="176"/>
                  </a:lnTo>
                  <a:lnTo>
                    <a:pt x="148" y="176"/>
                  </a:lnTo>
                  <a:lnTo>
                    <a:pt x="156" y="154"/>
                  </a:lnTo>
                  <a:lnTo>
                    <a:pt x="170" y="154"/>
                  </a:lnTo>
                  <a:lnTo>
                    <a:pt x="196" y="166"/>
                  </a:lnTo>
                  <a:lnTo>
                    <a:pt x="200" y="152"/>
                  </a:lnTo>
                  <a:lnTo>
                    <a:pt x="194" y="130"/>
                  </a:lnTo>
                  <a:lnTo>
                    <a:pt x="212" y="94"/>
                  </a:lnTo>
                  <a:lnTo>
                    <a:pt x="226" y="88"/>
                  </a:lnTo>
                  <a:lnTo>
                    <a:pt x="220" y="68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36" name="Luxembourg">
              <a:extLst>
                <a:ext uri="{FF2B5EF4-FFF2-40B4-BE49-F238E27FC236}">
                  <a16:creationId xmlns="" xmlns:a16="http://schemas.microsoft.com/office/drawing/2014/main" id="{8AA57D16-F389-41DA-BAE7-24D91320555F}"/>
                </a:ext>
              </a:extLst>
            </p:cNvPr>
            <p:cNvSpPr>
              <a:spLocks/>
            </p:cNvSpPr>
            <p:nvPr/>
          </p:nvSpPr>
          <p:spPr bwMode="gray">
            <a:xfrm>
              <a:off x="5980589" y="2708219"/>
              <a:ext cx="23427" cy="33433"/>
            </a:xfrm>
            <a:custGeom>
              <a:avLst/>
              <a:gdLst/>
              <a:ahLst/>
              <a:cxnLst>
                <a:cxn ang="0">
                  <a:pos x="26" y="40"/>
                </a:cxn>
                <a:cxn ang="0">
                  <a:pos x="26" y="20"/>
                </a:cxn>
                <a:cxn ang="0">
                  <a:pos x="12" y="0"/>
                </a:cxn>
                <a:cxn ang="0">
                  <a:pos x="4" y="8"/>
                </a:cxn>
                <a:cxn ang="0">
                  <a:pos x="0" y="16"/>
                </a:cxn>
                <a:cxn ang="0">
                  <a:pos x="4" y="22"/>
                </a:cxn>
                <a:cxn ang="0">
                  <a:pos x="0" y="40"/>
                </a:cxn>
                <a:cxn ang="0">
                  <a:pos x="26" y="40"/>
                </a:cxn>
              </a:cxnLst>
              <a:rect l="0" t="0" r="r" b="b"/>
              <a:pathLst>
                <a:path w="26" h="40">
                  <a:moveTo>
                    <a:pt x="26" y="40"/>
                  </a:moveTo>
                  <a:lnTo>
                    <a:pt x="26" y="20"/>
                  </a:lnTo>
                  <a:lnTo>
                    <a:pt x="12" y="0"/>
                  </a:lnTo>
                  <a:lnTo>
                    <a:pt x="4" y="8"/>
                  </a:lnTo>
                  <a:lnTo>
                    <a:pt x="0" y="16"/>
                  </a:lnTo>
                  <a:lnTo>
                    <a:pt x="4" y="22"/>
                  </a:lnTo>
                  <a:lnTo>
                    <a:pt x="0" y="40"/>
                  </a:lnTo>
                  <a:lnTo>
                    <a:pt x="26" y="40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37" name="Macao">
              <a:extLst>
                <a:ext uri="{FF2B5EF4-FFF2-40B4-BE49-F238E27FC236}">
                  <a16:creationId xmlns="" xmlns:a16="http://schemas.microsoft.com/office/drawing/2014/main" id="{357DEA0E-0C39-46D4-8D5B-6736A426A6B2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258508" y="3827191"/>
              <a:ext cx="17570" cy="17698"/>
            </a:xfrm>
            <a:custGeom>
              <a:avLst/>
              <a:gdLst/>
              <a:ahLst/>
              <a:cxnLst>
                <a:cxn ang="0">
                  <a:pos x="188" y="94"/>
                </a:cxn>
                <a:cxn ang="0">
                  <a:pos x="94" y="188"/>
                </a:cxn>
                <a:cxn ang="0">
                  <a:pos x="0" y="94"/>
                </a:cxn>
                <a:cxn ang="0">
                  <a:pos x="0" y="90"/>
                </a:cxn>
                <a:cxn ang="0">
                  <a:pos x="94" y="0"/>
                </a:cxn>
                <a:cxn ang="0">
                  <a:pos x="188" y="94"/>
                </a:cxn>
              </a:cxnLst>
              <a:rect l="0" t="0" r="r" b="b"/>
              <a:pathLst>
                <a:path w="188" h="188">
                  <a:moveTo>
                    <a:pt x="188" y="94"/>
                  </a:moveTo>
                  <a:cubicBezTo>
                    <a:pt x="188" y="146"/>
                    <a:pt x="146" y="188"/>
                    <a:pt x="94" y="188"/>
                  </a:cubicBezTo>
                  <a:cubicBezTo>
                    <a:pt x="42" y="188"/>
                    <a:pt x="0" y="146"/>
                    <a:pt x="0" y="94"/>
                  </a:cubicBezTo>
                  <a:cubicBezTo>
                    <a:pt x="0" y="93"/>
                    <a:pt x="0" y="91"/>
                    <a:pt x="0" y="90"/>
                  </a:cubicBezTo>
                  <a:cubicBezTo>
                    <a:pt x="3" y="40"/>
                    <a:pt x="44" y="0"/>
                    <a:pt x="94" y="0"/>
                  </a:cubicBezTo>
                  <a:cubicBezTo>
                    <a:pt x="146" y="0"/>
                    <a:pt x="188" y="43"/>
                    <a:pt x="188" y="94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38" name="Macedonia">
              <a:extLst>
                <a:ext uri="{FF2B5EF4-FFF2-40B4-BE49-F238E27FC236}">
                  <a16:creationId xmlns="" xmlns:a16="http://schemas.microsoft.com/office/drawing/2014/main" id="{743BC7F1-E88D-4E81-AEFE-9D44B9131199}"/>
                </a:ext>
              </a:extLst>
            </p:cNvPr>
            <p:cNvSpPr>
              <a:spLocks/>
            </p:cNvSpPr>
            <p:nvPr/>
          </p:nvSpPr>
          <p:spPr bwMode="gray">
            <a:xfrm>
              <a:off x="6437430" y="3066132"/>
              <a:ext cx="74187" cy="76696"/>
            </a:xfrm>
            <a:custGeom>
              <a:avLst/>
              <a:gdLst/>
              <a:ahLst/>
              <a:cxnLst>
                <a:cxn ang="0">
                  <a:pos x="8" y="56"/>
                </a:cxn>
                <a:cxn ang="0">
                  <a:pos x="10" y="70"/>
                </a:cxn>
                <a:cxn ang="0">
                  <a:pos x="18" y="76"/>
                </a:cxn>
                <a:cxn ang="0">
                  <a:pos x="24" y="84"/>
                </a:cxn>
                <a:cxn ang="0">
                  <a:pos x="30" y="92"/>
                </a:cxn>
                <a:cxn ang="0">
                  <a:pos x="48" y="78"/>
                </a:cxn>
                <a:cxn ang="0">
                  <a:pos x="68" y="68"/>
                </a:cxn>
                <a:cxn ang="0">
                  <a:pos x="84" y="58"/>
                </a:cxn>
                <a:cxn ang="0">
                  <a:pos x="94" y="54"/>
                </a:cxn>
                <a:cxn ang="0">
                  <a:pos x="86" y="26"/>
                </a:cxn>
                <a:cxn ang="0">
                  <a:pos x="76" y="18"/>
                </a:cxn>
                <a:cxn ang="0">
                  <a:pos x="74" y="0"/>
                </a:cxn>
                <a:cxn ang="0">
                  <a:pos x="62" y="4"/>
                </a:cxn>
                <a:cxn ang="0">
                  <a:pos x="44" y="0"/>
                </a:cxn>
                <a:cxn ang="0">
                  <a:pos x="24" y="10"/>
                </a:cxn>
                <a:cxn ang="0">
                  <a:pos x="10" y="18"/>
                </a:cxn>
                <a:cxn ang="0">
                  <a:pos x="0" y="36"/>
                </a:cxn>
                <a:cxn ang="0">
                  <a:pos x="8" y="56"/>
                </a:cxn>
              </a:cxnLst>
              <a:rect l="0" t="0" r="r" b="b"/>
              <a:pathLst>
                <a:path w="94" h="92">
                  <a:moveTo>
                    <a:pt x="8" y="56"/>
                  </a:moveTo>
                  <a:lnTo>
                    <a:pt x="10" y="70"/>
                  </a:lnTo>
                  <a:lnTo>
                    <a:pt x="18" y="76"/>
                  </a:lnTo>
                  <a:lnTo>
                    <a:pt x="24" y="84"/>
                  </a:lnTo>
                  <a:lnTo>
                    <a:pt x="30" y="92"/>
                  </a:lnTo>
                  <a:lnTo>
                    <a:pt x="48" y="78"/>
                  </a:lnTo>
                  <a:lnTo>
                    <a:pt x="68" y="68"/>
                  </a:lnTo>
                  <a:lnTo>
                    <a:pt x="84" y="58"/>
                  </a:lnTo>
                  <a:lnTo>
                    <a:pt x="94" y="54"/>
                  </a:lnTo>
                  <a:lnTo>
                    <a:pt x="86" y="26"/>
                  </a:lnTo>
                  <a:lnTo>
                    <a:pt x="76" y="18"/>
                  </a:lnTo>
                  <a:lnTo>
                    <a:pt x="74" y="0"/>
                  </a:lnTo>
                  <a:lnTo>
                    <a:pt x="62" y="4"/>
                  </a:lnTo>
                  <a:lnTo>
                    <a:pt x="44" y="0"/>
                  </a:lnTo>
                  <a:lnTo>
                    <a:pt x="24" y="10"/>
                  </a:lnTo>
                  <a:lnTo>
                    <a:pt x="10" y="18"/>
                  </a:lnTo>
                  <a:lnTo>
                    <a:pt x="0" y="36"/>
                  </a:lnTo>
                  <a:lnTo>
                    <a:pt x="8" y="56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39" name="Madagascar">
              <a:extLst>
                <a:ext uri="{FF2B5EF4-FFF2-40B4-BE49-F238E27FC236}">
                  <a16:creationId xmlns="" xmlns:a16="http://schemas.microsoft.com/office/drawing/2014/main" id="{7FE18FEB-C3CA-49CF-ACFA-A81F84BA6D35}"/>
                </a:ext>
              </a:extLst>
            </p:cNvPr>
            <p:cNvSpPr>
              <a:spLocks/>
            </p:cNvSpPr>
            <p:nvPr/>
          </p:nvSpPr>
          <p:spPr bwMode="gray">
            <a:xfrm>
              <a:off x="7148067" y="4946163"/>
              <a:ext cx="226467" cy="470008"/>
            </a:xfrm>
            <a:custGeom>
              <a:avLst/>
              <a:gdLst/>
              <a:ahLst/>
              <a:cxnLst>
                <a:cxn ang="0">
                  <a:pos x="232" y="0"/>
                </a:cxn>
                <a:cxn ang="0">
                  <a:pos x="246" y="20"/>
                </a:cxn>
                <a:cxn ang="0">
                  <a:pos x="266" y="75"/>
                </a:cxn>
                <a:cxn ang="0">
                  <a:pos x="262" y="101"/>
                </a:cxn>
                <a:cxn ang="0">
                  <a:pos x="268" y="105"/>
                </a:cxn>
                <a:cxn ang="0">
                  <a:pos x="278" y="139"/>
                </a:cxn>
                <a:cxn ang="0">
                  <a:pos x="260" y="171"/>
                </a:cxn>
                <a:cxn ang="0">
                  <a:pos x="248" y="153"/>
                </a:cxn>
                <a:cxn ang="0">
                  <a:pos x="250" y="187"/>
                </a:cxn>
                <a:cxn ang="0">
                  <a:pos x="240" y="213"/>
                </a:cxn>
                <a:cxn ang="0">
                  <a:pos x="240" y="249"/>
                </a:cxn>
                <a:cxn ang="0">
                  <a:pos x="218" y="327"/>
                </a:cxn>
                <a:cxn ang="0">
                  <a:pos x="188" y="409"/>
                </a:cxn>
                <a:cxn ang="0">
                  <a:pos x="188" y="435"/>
                </a:cxn>
                <a:cxn ang="0">
                  <a:pos x="154" y="537"/>
                </a:cxn>
                <a:cxn ang="0">
                  <a:pos x="142" y="553"/>
                </a:cxn>
                <a:cxn ang="0">
                  <a:pos x="102" y="557"/>
                </a:cxn>
                <a:cxn ang="0">
                  <a:pos x="92" y="565"/>
                </a:cxn>
                <a:cxn ang="0">
                  <a:pos x="76" y="567"/>
                </a:cxn>
                <a:cxn ang="0">
                  <a:pos x="64" y="575"/>
                </a:cxn>
                <a:cxn ang="0">
                  <a:pos x="52" y="557"/>
                </a:cxn>
                <a:cxn ang="0">
                  <a:pos x="42" y="553"/>
                </a:cxn>
                <a:cxn ang="0">
                  <a:pos x="16" y="523"/>
                </a:cxn>
                <a:cxn ang="0">
                  <a:pos x="18" y="479"/>
                </a:cxn>
                <a:cxn ang="0">
                  <a:pos x="6" y="459"/>
                </a:cxn>
                <a:cxn ang="0">
                  <a:pos x="0" y="421"/>
                </a:cxn>
                <a:cxn ang="0">
                  <a:pos x="8" y="385"/>
                </a:cxn>
                <a:cxn ang="0">
                  <a:pos x="20" y="377"/>
                </a:cxn>
                <a:cxn ang="0">
                  <a:pos x="20" y="369"/>
                </a:cxn>
                <a:cxn ang="0">
                  <a:pos x="40" y="333"/>
                </a:cxn>
                <a:cxn ang="0">
                  <a:pos x="42" y="301"/>
                </a:cxn>
                <a:cxn ang="0">
                  <a:pos x="30" y="263"/>
                </a:cxn>
                <a:cxn ang="0">
                  <a:pos x="30" y="249"/>
                </a:cxn>
                <a:cxn ang="0">
                  <a:pos x="22" y="237"/>
                </a:cxn>
                <a:cxn ang="0">
                  <a:pos x="42" y="201"/>
                </a:cxn>
                <a:cxn ang="0">
                  <a:pos x="42" y="175"/>
                </a:cxn>
                <a:cxn ang="0">
                  <a:pos x="94" y="165"/>
                </a:cxn>
                <a:cxn ang="0">
                  <a:pos x="122" y="157"/>
                </a:cxn>
                <a:cxn ang="0">
                  <a:pos x="136" y="157"/>
                </a:cxn>
                <a:cxn ang="0">
                  <a:pos x="146" y="139"/>
                </a:cxn>
                <a:cxn ang="0">
                  <a:pos x="184" y="85"/>
                </a:cxn>
                <a:cxn ang="0">
                  <a:pos x="178" y="63"/>
                </a:cxn>
                <a:cxn ang="0">
                  <a:pos x="196" y="61"/>
                </a:cxn>
                <a:cxn ang="0">
                  <a:pos x="220" y="38"/>
                </a:cxn>
                <a:cxn ang="0">
                  <a:pos x="214" y="20"/>
                </a:cxn>
                <a:cxn ang="0">
                  <a:pos x="232" y="0"/>
                </a:cxn>
              </a:cxnLst>
              <a:rect l="0" t="0" r="r" b="b"/>
              <a:pathLst>
                <a:path w="278" h="575">
                  <a:moveTo>
                    <a:pt x="232" y="0"/>
                  </a:moveTo>
                  <a:lnTo>
                    <a:pt x="246" y="20"/>
                  </a:lnTo>
                  <a:lnTo>
                    <a:pt x="266" y="75"/>
                  </a:lnTo>
                  <a:lnTo>
                    <a:pt x="262" y="101"/>
                  </a:lnTo>
                  <a:lnTo>
                    <a:pt x="268" y="105"/>
                  </a:lnTo>
                  <a:lnTo>
                    <a:pt x="278" y="139"/>
                  </a:lnTo>
                  <a:lnTo>
                    <a:pt x="260" y="171"/>
                  </a:lnTo>
                  <a:lnTo>
                    <a:pt x="248" y="153"/>
                  </a:lnTo>
                  <a:lnTo>
                    <a:pt x="250" y="187"/>
                  </a:lnTo>
                  <a:lnTo>
                    <a:pt x="240" y="213"/>
                  </a:lnTo>
                  <a:lnTo>
                    <a:pt x="240" y="249"/>
                  </a:lnTo>
                  <a:lnTo>
                    <a:pt x="218" y="327"/>
                  </a:lnTo>
                  <a:lnTo>
                    <a:pt x="188" y="409"/>
                  </a:lnTo>
                  <a:lnTo>
                    <a:pt x="188" y="435"/>
                  </a:lnTo>
                  <a:lnTo>
                    <a:pt x="154" y="537"/>
                  </a:lnTo>
                  <a:lnTo>
                    <a:pt x="142" y="553"/>
                  </a:lnTo>
                  <a:lnTo>
                    <a:pt x="102" y="557"/>
                  </a:lnTo>
                  <a:lnTo>
                    <a:pt x="92" y="565"/>
                  </a:lnTo>
                  <a:lnTo>
                    <a:pt x="76" y="567"/>
                  </a:lnTo>
                  <a:lnTo>
                    <a:pt x="64" y="575"/>
                  </a:lnTo>
                  <a:lnTo>
                    <a:pt x="52" y="557"/>
                  </a:lnTo>
                  <a:lnTo>
                    <a:pt x="42" y="553"/>
                  </a:lnTo>
                  <a:lnTo>
                    <a:pt x="16" y="523"/>
                  </a:lnTo>
                  <a:lnTo>
                    <a:pt x="18" y="479"/>
                  </a:lnTo>
                  <a:lnTo>
                    <a:pt x="6" y="459"/>
                  </a:lnTo>
                  <a:lnTo>
                    <a:pt x="0" y="421"/>
                  </a:lnTo>
                  <a:lnTo>
                    <a:pt x="8" y="385"/>
                  </a:lnTo>
                  <a:lnTo>
                    <a:pt x="20" y="377"/>
                  </a:lnTo>
                  <a:lnTo>
                    <a:pt x="20" y="369"/>
                  </a:lnTo>
                  <a:lnTo>
                    <a:pt x="40" y="333"/>
                  </a:lnTo>
                  <a:lnTo>
                    <a:pt x="42" y="301"/>
                  </a:lnTo>
                  <a:lnTo>
                    <a:pt x="30" y="263"/>
                  </a:lnTo>
                  <a:lnTo>
                    <a:pt x="30" y="249"/>
                  </a:lnTo>
                  <a:lnTo>
                    <a:pt x="22" y="237"/>
                  </a:lnTo>
                  <a:lnTo>
                    <a:pt x="42" y="201"/>
                  </a:lnTo>
                  <a:lnTo>
                    <a:pt x="42" y="175"/>
                  </a:lnTo>
                  <a:lnTo>
                    <a:pt x="94" y="165"/>
                  </a:lnTo>
                  <a:lnTo>
                    <a:pt x="122" y="157"/>
                  </a:lnTo>
                  <a:lnTo>
                    <a:pt x="136" y="157"/>
                  </a:lnTo>
                  <a:lnTo>
                    <a:pt x="146" y="139"/>
                  </a:lnTo>
                  <a:lnTo>
                    <a:pt x="184" y="85"/>
                  </a:lnTo>
                  <a:lnTo>
                    <a:pt x="178" y="63"/>
                  </a:lnTo>
                  <a:lnTo>
                    <a:pt x="196" y="61"/>
                  </a:lnTo>
                  <a:lnTo>
                    <a:pt x="220" y="38"/>
                  </a:lnTo>
                  <a:lnTo>
                    <a:pt x="214" y="20"/>
                  </a:lnTo>
                  <a:lnTo>
                    <a:pt x="232" y="0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40" name="Malawi">
              <a:extLst>
                <a:ext uri="{FF2B5EF4-FFF2-40B4-BE49-F238E27FC236}">
                  <a16:creationId xmlns="" xmlns:a16="http://schemas.microsoft.com/office/drawing/2014/main" id="{E6D7B502-EBFA-4801-B58E-3E2E45C842BE}"/>
                </a:ext>
              </a:extLst>
            </p:cNvPr>
            <p:cNvSpPr>
              <a:spLocks/>
            </p:cNvSpPr>
            <p:nvPr/>
          </p:nvSpPr>
          <p:spPr bwMode="gray">
            <a:xfrm>
              <a:off x="6812270" y="4861602"/>
              <a:ext cx="93711" cy="261551"/>
            </a:xfrm>
            <a:custGeom>
              <a:avLst/>
              <a:gdLst/>
              <a:ahLst/>
              <a:cxnLst>
                <a:cxn ang="0">
                  <a:pos x="32" y="215"/>
                </a:cxn>
                <a:cxn ang="0">
                  <a:pos x="66" y="217"/>
                </a:cxn>
                <a:cxn ang="0">
                  <a:pos x="68" y="243"/>
                </a:cxn>
                <a:cxn ang="0">
                  <a:pos x="58" y="285"/>
                </a:cxn>
                <a:cxn ang="0">
                  <a:pos x="80" y="299"/>
                </a:cxn>
                <a:cxn ang="0">
                  <a:pos x="84" y="317"/>
                </a:cxn>
                <a:cxn ang="0">
                  <a:pos x="104" y="311"/>
                </a:cxn>
                <a:cxn ang="0">
                  <a:pos x="96" y="285"/>
                </a:cxn>
                <a:cxn ang="0">
                  <a:pos x="114" y="257"/>
                </a:cxn>
                <a:cxn ang="0">
                  <a:pos x="108" y="205"/>
                </a:cxn>
                <a:cxn ang="0">
                  <a:pos x="84" y="157"/>
                </a:cxn>
                <a:cxn ang="0">
                  <a:pos x="74" y="122"/>
                </a:cxn>
                <a:cxn ang="0">
                  <a:pos x="84" y="100"/>
                </a:cxn>
                <a:cxn ang="0">
                  <a:pos x="78" y="90"/>
                </a:cxn>
                <a:cxn ang="0">
                  <a:pos x="66" y="58"/>
                </a:cxn>
                <a:cxn ang="0">
                  <a:pos x="54" y="12"/>
                </a:cxn>
                <a:cxn ang="0">
                  <a:pos x="44" y="12"/>
                </a:cxn>
                <a:cxn ang="0">
                  <a:pos x="30" y="0"/>
                </a:cxn>
                <a:cxn ang="0">
                  <a:pos x="14" y="8"/>
                </a:cxn>
                <a:cxn ang="0">
                  <a:pos x="32" y="22"/>
                </a:cxn>
                <a:cxn ang="0">
                  <a:pos x="38" y="56"/>
                </a:cxn>
                <a:cxn ang="0">
                  <a:pos x="24" y="74"/>
                </a:cxn>
                <a:cxn ang="0">
                  <a:pos x="28" y="100"/>
                </a:cxn>
                <a:cxn ang="0">
                  <a:pos x="20" y="126"/>
                </a:cxn>
                <a:cxn ang="0">
                  <a:pos x="6" y="146"/>
                </a:cxn>
                <a:cxn ang="0">
                  <a:pos x="0" y="177"/>
                </a:cxn>
                <a:cxn ang="0">
                  <a:pos x="10" y="191"/>
                </a:cxn>
                <a:cxn ang="0">
                  <a:pos x="32" y="215"/>
                </a:cxn>
              </a:cxnLst>
              <a:rect l="0" t="0" r="r" b="b"/>
              <a:pathLst>
                <a:path w="114" h="317">
                  <a:moveTo>
                    <a:pt x="32" y="215"/>
                  </a:moveTo>
                  <a:lnTo>
                    <a:pt x="66" y="217"/>
                  </a:lnTo>
                  <a:lnTo>
                    <a:pt x="68" y="243"/>
                  </a:lnTo>
                  <a:lnTo>
                    <a:pt x="58" y="285"/>
                  </a:lnTo>
                  <a:lnTo>
                    <a:pt x="80" y="299"/>
                  </a:lnTo>
                  <a:lnTo>
                    <a:pt x="84" y="317"/>
                  </a:lnTo>
                  <a:lnTo>
                    <a:pt x="104" y="311"/>
                  </a:lnTo>
                  <a:lnTo>
                    <a:pt x="96" y="285"/>
                  </a:lnTo>
                  <a:lnTo>
                    <a:pt x="114" y="257"/>
                  </a:lnTo>
                  <a:lnTo>
                    <a:pt x="108" y="205"/>
                  </a:lnTo>
                  <a:lnTo>
                    <a:pt x="84" y="157"/>
                  </a:lnTo>
                  <a:lnTo>
                    <a:pt x="74" y="122"/>
                  </a:lnTo>
                  <a:lnTo>
                    <a:pt x="84" y="100"/>
                  </a:lnTo>
                  <a:lnTo>
                    <a:pt x="78" y="90"/>
                  </a:lnTo>
                  <a:lnTo>
                    <a:pt x="66" y="58"/>
                  </a:lnTo>
                  <a:lnTo>
                    <a:pt x="54" y="12"/>
                  </a:lnTo>
                  <a:lnTo>
                    <a:pt x="44" y="12"/>
                  </a:lnTo>
                  <a:lnTo>
                    <a:pt x="30" y="0"/>
                  </a:lnTo>
                  <a:lnTo>
                    <a:pt x="14" y="8"/>
                  </a:lnTo>
                  <a:lnTo>
                    <a:pt x="32" y="22"/>
                  </a:lnTo>
                  <a:lnTo>
                    <a:pt x="38" y="56"/>
                  </a:lnTo>
                  <a:lnTo>
                    <a:pt x="24" y="74"/>
                  </a:lnTo>
                  <a:lnTo>
                    <a:pt x="28" y="100"/>
                  </a:lnTo>
                  <a:lnTo>
                    <a:pt x="20" y="126"/>
                  </a:lnTo>
                  <a:lnTo>
                    <a:pt x="6" y="146"/>
                  </a:lnTo>
                  <a:lnTo>
                    <a:pt x="0" y="177"/>
                  </a:lnTo>
                  <a:lnTo>
                    <a:pt x="10" y="191"/>
                  </a:lnTo>
                  <a:lnTo>
                    <a:pt x="32" y="215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41" name="Malaysia">
              <a:extLst>
                <a:ext uri="{FF2B5EF4-FFF2-40B4-BE49-F238E27FC236}">
                  <a16:creationId xmlns="" xmlns:a16="http://schemas.microsoft.com/office/drawing/2014/main" id="{B05D2098-6B7D-416A-A044-8E512EE5579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891476" y="4316864"/>
              <a:ext cx="593499" cy="200590"/>
            </a:xfrm>
            <a:custGeom>
              <a:avLst/>
              <a:gdLst/>
              <a:ahLst/>
              <a:cxnLst>
                <a:cxn ang="0">
                  <a:pos x="24" y="20"/>
                </a:cxn>
                <a:cxn ang="0">
                  <a:pos x="38" y="46"/>
                </a:cxn>
                <a:cxn ang="0">
                  <a:pos x="78" y="30"/>
                </a:cxn>
                <a:cxn ang="0">
                  <a:pos x="90" y="54"/>
                </a:cxn>
                <a:cxn ang="0">
                  <a:pos x="124" y="126"/>
                </a:cxn>
                <a:cxn ang="0">
                  <a:pos x="140" y="172"/>
                </a:cxn>
                <a:cxn ang="0">
                  <a:pos x="156" y="202"/>
                </a:cxn>
                <a:cxn ang="0">
                  <a:pos x="170" y="228"/>
                </a:cxn>
                <a:cxn ang="0">
                  <a:pos x="152" y="226"/>
                </a:cxn>
                <a:cxn ang="0">
                  <a:pos x="122" y="210"/>
                </a:cxn>
                <a:cxn ang="0">
                  <a:pos x="82" y="182"/>
                </a:cxn>
                <a:cxn ang="0">
                  <a:pos x="56" y="166"/>
                </a:cxn>
                <a:cxn ang="0">
                  <a:pos x="32" y="114"/>
                </a:cxn>
                <a:cxn ang="0">
                  <a:pos x="20" y="92"/>
                </a:cxn>
                <a:cxn ang="0">
                  <a:pos x="10" y="32"/>
                </a:cxn>
                <a:cxn ang="0">
                  <a:pos x="582" y="74"/>
                </a:cxn>
                <a:cxn ang="0">
                  <a:pos x="588" y="96"/>
                </a:cxn>
                <a:cxn ang="0">
                  <a:pos x="568" y="102"/>
                </a:cxn>
                <a:cxn ang="0">
                  <a:pos x="536" y="88"/>
                </a:cxn>
                <a:cxn ang="0">
                  <a:pos x="440" y="164"/>
                </a:cxn>
                <a:cxn ang="0">
                  <a:pos x="432" y="182"/>
                </a:cxn>
                <a:cxn ang="0">
                  <a:pos x="396" y="206"/>
                </a:cxn>
                <a:cxn ang="0">
                  <a:pos x="416" y="246"/>
                </a:cxn>
                <a:cxn ang="0">
                  <a:pos x="456" y="244"/>
                </a:cxn>
                <a:cxn ang="0">
                  <a:pos x="484" y="224"/>
                </a:cxn>
                <a:cxn ang="0">
                  <a:pos x="518" y="228"/>
                </a:cxn>
                <a:cxn ang="0">
                  <a:pos x="566" y="218"/>
                </a:cxn>
                <a:cxn ang="0">
                  <a:pos x="582" y="160"/>
                </a:cxn>
                <a:cxn ang="0">
                  <a:pos x="614" y="104"/>
                </a:cxn>
                <a:cxn ang="0">
                  <a:pos x="668" y="100"/>
                </a:cxn>
                <a:cxn ang="0">
                  <a:pos x="714" y="94"/>
                </a:cxn>
                <a:cxn ang="0">
                  <a:pos x="688" y="74"/>
                </a:cxn>
                <a:cxn ang="0">
                  <a:pos x="724" y="74"/>
                </a:cxn>
                <a:cxn ang="0">
                  <a:pos x="714" y="54"/>
                </a:cxn>
                <a:cxn ang="0">
                  <a:pos x="686" y="48"/>
                </a:cxn>
                <a:cxn ang="0">
                  <a:pos x="664" y="24"/>
                </a:cxn>
                <a:cxn ang="0">
                  <a:pos x="648" y="0"/>
                </a:cxn>
                <a:cxn ang="0">
                  <a:pos x="596" y="44"/>
                </a:cxn>
                <a:cxn ang="0">
                  <a:pos x="578" y="56"/>
                </a:cxn>
                <a:cxn ang="0">
                  <a:pos x="582" y="74"/>
                </a:cxn>
              </a:cxnLst>
              <a:rect l="0" t="0" r="r" b="b"/>
              <a:pathLst>
                <a:path w="732" h="246">
                  <a:moveTo>
                    <a:pt x="0" y="20"/>
                  </a:moveTo>
                  <a:lnTo>
                    <a:pt x="24" y="20"/>
                  </a:lnTo>
                  <a:lnTo>
                    <a:pt x="38" y="30"/>
                  </a:lnTo>
                  <a:lnTo>
                    <a:pt x="38" y="46"/>
                  </a:lnTo>
                  <a:lnTo>
                    <a:pt x="68" y="46"/>
                  </a:lnTo>
                  <a:lnTo>
                    <a:pt x="78" y="30"/>
                  </a:lnTo>
                  <a:lnTo>
                    <a:pt x="86" y="40"/>
                  </a:lnTo>
                  <a:lnTo>
                    <a:pt x="90" y="54"/>
                  </a:lnTo>
                  <a:lnTo>
                    <a:pt x="124" y="90"/>
                  </a:lnTo>
                  <a:lnTo>
                    <a:pt x="124" y="126"/>
                  </a:lnTo>
                  <a:lnTo>
                    <a:pt x="126" y="166"/>
                  </a:lnTo>
                  <a:lnTo>
                    <a:pt x="140" y="172"/>
                  </a:lnTo>
                  <a:lnTo>
                    <a:pt x="144" y="186"/>
                  </a:lnTo>
                  <a:lnTo>
                    <a:pt x="156" y="202"/>
                  </a:lnTo>
                  <a:lnTo>
                    <a:pt x="166" y="212"/>
                  </a:lnTo>
                  <a:lnTo>
                    <a:pt x="170" y="228"/>
                  </a:lnTo>
                  <a:lnTo>
                    <a:pt x="160" y="222"/>
                  </a:lnTo>
                  <a:lnTo>
                    <a:pt x="152" y="226"/>
                  </a:lnTo>
                  <a:lnTo>
                    <a:pt x="148" y="234"/>
                  </a:lnTo>
                  <a:lnTo>
                    <a:pt x="122" y="210"/>
                  </a:lnTo>
                  <a:lnTo>
                    <a:pt x="112" y="208"/>
                  </a:lnTo>
                  <a:lnTo>
                    <a:pt x="82" y="182"/>
                  </a:lnTo>
                  <a:lnTo>
                    <a:pt x="72" y="180"/>
                  </a:lnTo>
                  <a:lnTo>
                    <a:pt x="56" y="166"/>
                  </a:lnTo>
                  <a:lnTo>
                    <a:pt x="32" y="124"/>
                  </a:lnTo>
                  <a:lnTo>
                    <a:pt x="32" y="114"/>
                  </a:lnTo>
                  <a:lnTo>
                    <a:pt x="20" y="106"/>
                  </a:lnTo>
                  <a:lnTo>
                    <a:pt x="20" y="92"/>
                  </a:lnTo>
                  <a:lnTo>
                    <a:pt x="4" y="52"/>
                  </a:lnTo>
                  <a:lnTo>
                    <a:pt x="10" y="32"/>
                  </a:lnTo>
                  <a:lnTo>
                    <a:pt x="0" y="20"/>
                  </a:lnTo>
                  <a:close/>
                  <a:moveTo>
                    <a:pt x="582" y="74"/>
                  </a:moveTo>
                  <a:lnTo>
                    <a:pt x="588" y="80"/>
                  </a:lnTo>
                  <a:lnTo>
                    <a:pt x="588" y="96"/>
                  </a:lnTo>
                  <a:lnTo>
                    <a:pt x="568" y="88"/>
                  </a:lnTo>
                  <a:lnTo>
                    <a:pt x="568" y="102"/>
                  </a:lnTo>
                  <a:lnTo>
                    <a:pt x="560" y="112"/>
                  </a:lnTo>
                  <a:lnTo>
                    <a:pt x="536" y="88"/>
                  </a:lnTo>
                  <a:lnTo>
                    <a:pt x="498" y="150"/>
                  </a:lnTo>
                  <a:lnTo>
                    <a:pt x="440" y="164"/>
                  </a:lnTo>
                  <a:lnTo>
                    <a:pt x="438" y="182"/>
                  </a:lnTo>
                  <a:lnTo>
                    <a:pt x="432" y="182"/>
                  </a:lnTo>
                  <a:lnTo>
                    <a:pt x="424" y="216"/>
                  </a:lnTo>
                  <a:lnTo>
                    <a:pt x="396" y="206"/>
                  </a:lnTo>
                  <a:lnTo>
                    <a:pt x="376" y="208"/>
                  </a:lnTo>
                  <a:lnTo>
                    <a:pt x="416" y="246"/>
                  </a:lnTo>
                  <a:lnTo>
                    <a:pt x="440" y="238"/>
                  </a:lnTo>
                  <a:lnTo>
                    <a:pt x="456" y="244"/>
                  </a:lnTo>
                  <a:lnTo>
                    <a:pt x="472" y="240"/>
                  </a:lnTo>
                  <a:lnTo>
                    <a:pt x="484" y="224"/>
                  </a:lnTo>
                  <a:lnTo>
                    <a:pt x="508" y="218"/>
                  </a:lnTo>
                  <a:lnTo>
                    <a:pt x="518" y="228"/>
                  </a:lnTo>
                  <a:lnTo>
                    <a:pt x="552" y="228"/>
                  </a:lnTo>
                  <a:lnTo>
                    <a:pt x="566" y="218"/>
                  </a:lnTo>
                  <a:lnTo>
                    <a:pt x="568" y="170"/>
                  </a:lnTo>
                  <a:lnTo>
                    <a:pt x="582" y="160"/>
                  </a:lnTo>
                  <a:lnTo>
                    <a:pt x="598" y="110"/>
                  </a:lnTo>
                  <a:lnTo>
                    <a:pt x="614" y="104"/>
                  </a:lnTo>
                  <a:lnTo>
                    <a:pt x="660" y="108"/>
                  </a:lnTo>
                  <a:lnTo>
                    <a:pt x="668" y="100"/>
                  </a:lnTo>
                  <a:lnTo>
                    <a:pt x="712" y="104"/>
                  </a:lnTo>
                  <a:lnTo>
                    <a:pt x="714" y="94"/>
                  </a:lnTo>
                  <a:lnTo>
                    <a:pt x="706" y="94"/>
                  </a:lnTo>
                  <a:lnTo>
                    <a:pt x="688" y="74"/>
                  </a:lnTo>
                  <a:lnTo>
                    <a:pt x="700" y="74"/>
                  </a:lnTo>
                  <a:lnTo>
                    <a:pt x="724" y="74"/>
                  </a:lnTo>
                  <a:lnTo>
                    <a:pt x="732" y="56"/>
                  </a:lnTo>
                  <a:lnTo>
                    <a:pt x="714" y="54"/>
                  </a:lnTo>
                  <a:lnTo>
                    <a:pt x="698" y="42"/>
                  </a:lnTo>
                  <a:lnTo>
                    <a:pt x="686" y="48"/>
                  </a:lnTo>
                  <a:lnTo>
                    <a:pt x="662" y="38"/>
                  </a:lnTo>
                  <a:lnTo>
                    <a:pt x="664" y="24"/>
                  </a:lnTo>
                  <a:lnTo>
                    <a:pt x="650" y="12"/>
                  </a:lnTo>
                  <a:lnTo>
                    <a:pt x="648" y="0"/>
                  </a:lnTo>
                  <a:lnTo>
                    <a:pt x="632" y="0"/>
                  </a:lnTo>
                  <a:lnTo>
                    <a:pt x="596" y="44"/>
                  </a:lnTo>
                  <a:lnTo>
                    <a:pt x="590" y="44"/>
                  </a:lnTo>
                  <a:lnTo>
                    <a:pt x="578" y="56"/>
                  </a:lnTo>
                  <a:lnTo>
                    <a:pt x="590" y="60"/>
                  </a:lnTo>
                  <a:lnTo>
                    <a:pt x="582" y="74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42" name="Mali">
              <a:extLst>
                <a:ext uri="{FF2B5EF4-FFF2-40B4-BE49-F238E27FC236}">
                  <a16:creationId xmlns="" xmlns:a16="http://schemas.microsoft.com/office/drawing/2014/main" id="{6B8C4854-96CD-4240-A7D8-43B503D17FA7}"/>
                </a:ext>
              </a:extLst>
            </p:cNvPr>
            <p:cNvSpPr>
              <a:spLocks/>
            </p:cNvSpPr>
            <p:nvPr/>
          </p:nvSpPr>
          <p:spPr bwMode="gray">
            <a:xfrm>
              <a:off x="5433945" y="3738695"/>
              <a:ext cx="501743" cy="503440"/>
            </a:xfrm>
            <a:custGeom>
              <a:avLst/>
              <a:gdLst/>
              <a:ahLst/>
              <a:cxnLst>
                <a:cxn ang="0">
                  <a:pos x="444" y="402"/>
                </a:cxn>
                <a:cxn ang="0">
                  <a:pos x="386" y="424"/>
                </a:cxn>
                <a:cxn ang="0">
                  <a:pos x="376" y="450"/>
                </a:cxn>
                <a:cxn ang="0">
                  <a:pos x="334" y="490"/>
                </a:cxn>
                <a:cxn ang="0">
                  <a:pos x="302" y="488"/>
                </a:cxn>
                <a:cxn ang="0">
                  <a:pos x="286" y="536"/>
                </a:cxn>
                <a:cxn ang="0">
                  <a:pos x="266" y="562"/>
                </a:cxn>
                <a:cxn ang="0">
                  <a:pos x="252" y="602"/>
                </a:cxn>
                <a:cxn ang="0">
                  <a:pos x="228" y="612"/>
                </a:cxn>
                <a:cxn ang="0">
                  <a:pos x="212" y="592"/>
                </a:cxn>
                <a:cxn ang="0">
                  <a:pos x="178" y="604"/>
                </a:cxn>
                <a:cxn ang="0">
                  <a:pos x="152" y="586"/>
                </a:cxn>
                <a:cxn ang="0">
                  <a:pos x="142" y="570"/>
                </a:cxn>
                <a:cxn ang="0">
                  <a:pos x="126" y="554"/>
                </a:cxn>
                <a:cxn ang="0">
                  <a:pos x="110" y="516"/>
                </a:cxn>
                <a:cxn ang="0">
                  <a:pos x="44" y="528"/>
                </a:cxn>
                <a:cxn ang="0">
                  <a:pos x="16" y="520"/>
                </a:cxn>
                <a:cxn ang="0">
                  <a:pos x="2" y="472"/>
                </a:cxn>
                <a:cxn ang="0">
                  <a:pos x="0" y="426"/>
                </a:cxn>
                <a:cxn ang="0">
                  <a:pos x="46" y="402"/>
                </a:cxn>
                <a:cxn ang="0">
                  <a:pos x="80" y="382"/>
                </a:cxn>
                <a:cxn ang="0">
                  <a:pos x="118" y="380"/>
                </a:cxn>
                <a:cxn ang="0">
                  <a:pos x="254" y="358"/>
                </a:cxn>
                <a:cxn ang="0">
                  <a:pos x="220" y="4"/>
                </a:cxn>
                <a:cxn ang="0">
                  <a:pos x="490" y="164"/>
                </a:cxn>
                <a:cxn ang="0">
                  <a:pos x="516" y="184"/>
                </a:cxn>
                <a:cxn ang="0">
                  <a:pos x="554" y="196"/>
                </a:cxn>
                <a:cxn ang="0">
                  <a:pos x="582" y="244"/>
                </a:cxn>
                <a:cxn ang="0">
                  <a:pos x="620" y="244"/>
                </a:cxn>
                <a:cxn ang="0">
                  <a:pos x="600" y="390"/>
                </a:cxn>
                <a:cxn ang="0">
                  <a:pos x="552" y="392"/>
                </a:cxn>
                <a:cxn ang="0">
                  <a:pos x="504" y="400"/>
                </a:cxn>
                <a:cxn ang="0">
                  <a:pos x="472" y="410"/>
                </a:cxn>
              </a:cxnLst>
              <a:rect l="0" t="0" r="r" b="b"/>
              <a:pathLst>
                <a:path w="620" h="614">
                  <a:moveTo>
                    <a:pt x="472" y="410"/>
                  </a:moveTo>
                  <a:lnTo>
                    <a:pt x="444" y="402"/>
                  </a:lnTo>
                  <a:lnTo>
                    <a:pt x="416" y="420"/>
                  </a:lnTo>
                  <a:lnTo>
                    <a:pt x="386" y="424"/>
                  </a:lnTo>
                  <a:lnTo>
                    <a:pt x="382" y="444"/>
                  </a:lnTo>
                  <a:lnTo>
                    <a:pt x="376" y="450"/>
                  </a:lnTo>
                  <a:lnTo>
                    <a:pt x="368" y="444"/>
                  </a:lnTo>
                  <a:lnTo>
                    <a:pt x="334" y="490"/>
                  </a:lnTo>
                  <a:lnTo>
                    <a:pt x="316" y="476"/>
                  </a:lnTo>
                  <a:lnTo>
                    <a:pt x="302" y="488"/>
                  </a:lnTo>
                  <a:lnTo>
                    <a:pt x="304" y="506"/>
                  </a:lnTo>
                  <a:lnTo>
                    <a:pt x="286" y="536"/>
                  </a:lnTo>
                  <a:lnTo>
                    <a:pt x="266" y="538"/>
                  </a:lnTo>
                  <a:lnTo>
                    <a:pt x="266" y="562"/>
                  </a:lnTo>
                  <a:lnTo>
                    <a:pt x="252" y="588"/>
                  </a:lnTo>
                  <a:lnTo>
                    <a:pt x="252" y="602"/>
                  </a:lnTo>
                  <a:lnTo>
                    <a:pt x="242" y="602"/>
                  </a:lnTo>
                  <a:lnTo>
                    <a:pt x="228" y="612"/>
                  </a:lnTo>
                  <a:lnTo>
                    <a:pt x="222" y="598"/>
                  </a:lnTo>
                  <a:lnTo>
                    <a:pt x="212" y="592"/>
                  </a:lnTo>
                  <a:lnTo>
                    <a:pt x="194" y="614"/>
                  </a:lnTo>
                  <a:lnTo>
                    <a:pt x="178" y="604"/>
                  </a:lnTo>
                  <a:lnTo>
                    <a:pt x="158" y="610"/>
                  </a:lnTo>
                  <a:lnTo>
                    <a:pt x="152" y="586"/>
                  </a:lnTo>
                  <a:lnTo>
                    <a:pt x="132" y="586"/>
                  </a:lnTo>
                  <a:lnTo>
                    <a:pt x="142" y="570"/>
                  </a:lnTo>
                  <a:lnTo>
                    <a:pt x="142" y="558"/>
                  </a:lnTo>
                  <a:lnTo>
                    <a:pt x="126" y="554"/>
                  </a:lnTo>
                  <a:lnTo>
                    <a:pt x="120" y="524"/>
                  </a:lnTo>
                  <a:lnTo>
                    <a:pt x="110" y="516"/>
                  </a:lnTo>
                  <a:lnTo>
                    <a:pt x="52" y="544"/>
                  </a:lnTo>
                  <a:lnTo>
                    <a:pt x="44" y="528"/>
                  </a:lnTo>
                  <a:lnTo>
                    <a:pt x="28" y="532"/>
                  </a:lnTo>
                  <a:lnTo>
                    <a:pt x="16" y="520"/>
                  </a:lnTo>
                  <a:lnTo>
                    <a:pt x="18" y="502"/>
                  </a:lnTo>
                  <a:lnTo>
                    <a:pt x="2" y="472"/>
                  </a:lnTo>
                  <a:lnTo>
                    <a:pt x="6" y="460"/>
                  </a:lnTo>
                  <a:lnTo>
                    <a:pt x="0" y="426"/>
                  </a:lnTo>
                  <a:lnTo>
                    <a:pt x="24" y="384"/>
                  </a:lnTo>
                  <a:lnTo>
                    <a:pt x="46" y="402"/>
                  </a:lnTo>
                  <a:lnTo>
                    <a:pt x="60" y="384"/>
                  </a:lnTo>
                  <a:lnTo>
                    <a:pt x="80" y="382"/>
                  </a:lnTo>
                  <a:lnTo>
                    <a:pt x="96" y="388"/>
                  </a:lnTo>
                  <a:lnTo>
                    <a:pt x="118" y="380"/>
                  </a:lnTo>
                  <a:lnTo>
                    <a:pt x="244" y="386"/>
                  </a:lnTo>
                  <a:lnTo>
                    <a:pt x="254" y="358"/>
                  </a:lnTo>
                  <a:lnTo>
                    <a:pt x="246" y="350"/>
                  </a:lnTo>
                  <a:lnTo>
                    <a:pt x="220" y="4"/>
                  </a:lnTo>
                  <a:lnTo>
                    <a:pt x="262" y="0"/>
                  </a:lnTo>
                  <a:lnTo>
                    <a:pt x="490" y="164"/>
                  </a:lnTo>
                  <a:lnTo>
                    <a:pt x="502" y="184"/>
                  </a:lnTo>
                  <a:lnTo>
                    <a:pt x="516" y="184"/>
                  </a:lnTo>
                  <a:lnTo>
                    <a:pt x="540" y="204"/>
                  </a:lnTo>
                  <a:lnTo>
                    <a:pt x="554" y="196"/>
                  </a:lnTo>
                  <a:lnTo>
                    <a:pt x="580" y="210"/>
                  </a:lnTo>
                  <a:lnTo>
                    <a:pt x="582" y="244"/>
                  </a:lnTo>
                  <a:lnTo>
                    <a:pt x="594" y="250"/>
                  </a:lnTo>
                  <a:lnTo>
                    <a:pt x="620" y="244"/>
                  </a:lnTo>
                  <a:lnTo>
                    <a:pt x="620" y="358"/>
                  </a:lnTo>
                  <a:lnTo>
                    <a:pt x="600" y="390"/>
                  </a:lnTo>
                  <a:lnTo>
                    <a:pt x="576" y="386"/>
                  </a:lnTo>
                  <a:lnTo>
                    <a:pt x="552" y="392"/>
                  </a:lnTo>
                  <a:lnTo>
                    <a:pt x="536" y="400"/>
                  </a:lnTo>
                  <a:lnTo>
                    <a:pt x="504" y="400"/>
                  </a:lnTo>
                  <a:lnTo>
                    <a:pt x="490" y="412"/>
                  </a:lnTo>
                  <a:lnTo>
                    <a:pt x="472" y="410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43" name="Malta">
              <a:extLst>
                <a:ext uri="{FF2B5EF4-FFF2-40B4-BE49-F238E27FC236}">
                  <a16:creationId xmlns="" xmlns:a16="http://schemas.microsoft.com/office/drawing/2014/main" id="{66A18739-3000-420A-BD65-A4F1F223C0E0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2438" y="3343418"/>
              <a:ext cx="15618" cy="1376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0" y="0"/>
                </a:cxn>
                <a:cxn ang="0">
                  <a:pos x="20" y="4"/>
                </a:cxn>
                <a:cxn ang="0">
                  <a:pos x="16" y="16"/>
                </a:cxn>
                <a:cxn ang="0">
                  <a:pos x="2" y="12"/>
                </a:cxn>
                <a:cxn ang="0">
                  <a:pos x="0" y="0"/>
                </a:cxn>
              </a:cxnLst>
              <a:rect l="0" t="0" r="r" b="b"/>
              <a:pathLst>
                <a:path w="20" h="16">
                  <a:moveTo>
                    <a:pt x="0" y="0"/>
                  </a:moveTo>
                  <a:lnTo>
                    <a:pt x="10" y="0"/>
                  </a:lnTo>
                  <a:lnTo>
                    <a:pt x="20" y="4"/>
                  </a:lnTo>
                  <a:lnTo>
                    <a:pt x="16" y="16"/>
                  </a:lnTo>
                  <a:lnTo>
                    <a:pt x="2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44" name="Mauritania">
              <a:extLst>
                <a:ext uri="{FF2B5EF4-FFF2-40B4-BE49-F238E27FC236}">
                  <a16:creationId xmlns="" xmlns:a16="http://schemas.microsoft.com/office/drawing/2014/main" id="{959B7159-0F1D-4D6F-8A4B-68B65FE09988}"/>
                </a:ext>
              </a:extLst>
            </p:cNvPr>
            <p:cNvSpPr>
              <a:spLocks/>
            </p:cNvSpPr>
            <p:nvPr/>
          </p:nvSpPr>
          <p:spPr bwMode="gray">
            <a:xfrm>
              <a:off x="5279713" y="3662001"/>
              <a:ext cx="367034" cy="426742"/>
            </a:xfrm>
            <a:custGeom>
              <a:avLst/>
              <a:gdLst/>
              <a:ahLst/>
              <a:cxnLst>
                <a:cxn ang="0">
                  <a:pos x="0" y="248"/>
                </a:cxn>
                <a:cxn ang="0">
                  <a:pos x="142" y="250"/>
                </a:cxn>
                <a:cxn ang="0">
                  <a:pos x="144" y="182"/>
                </a:cxn>
                <a:cxn ang="0">
                  <a:pos x="156" y="164"/>
                </a:cxn>
                <a:cxn ang="0">
                  <a:pos x="185" y="168"/>
                </a:cxn>
                <a:cxn ang="0">
                  <a:pos x="185" y="52"/>
                </a:cxn>
                <a:cxn ang="0">
                  <a:pos x="319" y="50"/>
                </a:cxn>
                <a:cxn ang="0">
                  <a:pos x="319" y="0"/>
                </a:cxn>
                <a:cxn ang="0">
                  <a:pos x="453" y="94"/>
                </a:cxn>
                <a:cxn ang="0">
                  <a:pos x="411" y="98"/>
                </a:cxn>
                <a:cxn ang="0">
                  <a:pos x="437" y="444"/>
                </a:cxn>
                <a:cxn ang="0">
                  <a:pos x="445" y="452"/>
                </a:cxn>
                <a:cxn ang="0">
                  <a:pos x="435" y="480"/>
                </a:cxn>
                <a:cxn ang="0">
                  <a:pos x="309" y="474"/>
                </a:cxn>
                <a:cxn ang="0">
                  <a:pos x="287" y="482"/>
                </a:cxn>
                <a:cxn ang="0">
                  <a:pos x="271" y="476"/>
                </a:cxn>
                <a:cxn ang="0">
                  <a:pos x="251" y="478"/>
                </a:cxn>
                <a:cxn ang="0">
                  <a:pos x="237" y="496"/>
                </a:cxn>
                <a:cxn ang="0">
                  <a:pos x="215" y="478"/>
                </a:cxn>
                <a:cxn ang="0">
                  <a:pos x="191" y="520"/>
                </a:cxn>
                <a:cxn ang="0">
                  <a:pos x="168" y="504"/>
                </a:cxn>
                <a:cxn ang="0">
                  <a:pos x="146" y="476"/>
                </a:cxn>
                <a:cxn ang="0">
                  <a:pos x="120" y="466"/>
                </a:cxn>
                <a:cxn ang="0">
                  <a:pos x="104" y="448"/>
                </a:cxn>
                <a:cxn ang="0">
                  <a:pos x="50" y="460"/>
                </a:cxn>
                <a:cxn ang="0">
                  <a:pos x="36" y="452"/>
                </a:cxn>
                <a:cxn ang="0">
                  <a:pos x="18" y="462"/>
                </a:cxn>
                <a:cxn ang="0">
                  <a:pos x="20" y="438"/>
                </a:cxn>
                <a:cxn ang="0">
                  <a:pos x="32" y="408"/>
                </a:cxn>
                <a:cxn ang="0">
                  <a:pos x="32" y="344"/>
                </a:cxn>
                <a:cxn ang="0">
                  <a:pos x="26" y="330"/>
                </a:cxn>
                <a:cxn ang="0">
                  <a:pos x="28" y="296"/>
                </a:cxn>
                <a:cxn ang="0">
                  <a:pos x="20" y="274"/>
                </a:cxn>
                <a:cxn ang="0">
                  <a:pos x="6" y="262"/>
                </a:cxn>
                <a:cxn ang="0">
                  <a:pos x="0" y="248"/>
                </a:cxn>
              </a:cxnLst>
              <a:rect l="0" t="0" r="r" b="b"/>
              <a:pathLst>
                <a:path w="453" h="520">
                  <a:moveTo>
                    <a:pt x="0" y="248"/>
                  </a:moveTo>
                  <a:lnTo>
                    <a:pt x="142" y="250"/>
                  </a:lnTo>
                  <a:lnTo>
                    <a:pt x="144" y="182"/>
                  </a:lnTo>
                  <a:lnTo>
                    <a:pt x="156" y="164"/>
                  </a:lnTo>
                  <a:lnTo>
                    <a:pt x="185" y="168"/>
                  </a:lnTo>
                  <a:lnTo>
                    <a:pt x="185" y="52"/>
                  </a:lnTo>
                  <a:lnTo>
                    <a:pt x="319" y="50"/>
                  </a:lnTo>
                  <a:lnTo>
                    <a:pt x="319" y="0"/>
                  </a:lnTo>
                  <a:lnTo>
                    <a:pt x="453" y="94"/>
                  </a:lnTo>
                  <a:lnTo>
                    <a:pt x="411" y="98"/>
                  </a:lnTo>
                  <a:lnTo>
                    <a:pt x="437" y="444"/>
                  </a:lnTo>
                  <a:lnTo>
                    <a:pt x="445" y="452"/>
                  </a:lnTo>
                  <a:lnTo>
                    <a:pt x="435" y="480"/>
                  </a:lnTo>
                  <a:lnTo>
                    <a:pt x="309" y="474"/>
                  </a:lnTo>
                  <a:lnTo>
                    <a:pt x="287" y="482"/>
                  </a:lnTo>
                  <a:lnTo>
                    <a:pt x="271" y="476"/>
                  </a:lnTo>
                  <a:lnTo>
                    <a:pt x="251" y="478"/>
                  </a:lnTo>
                  <a:lnTo>
                    <a:pt x="237" y="496"/>
                  </a:lnTo>
                  <a:lnTo>
                    <a:pt x="215" y="478"/>
                  </a:lnTo>
                  <a:lnTo>
                    <a:pt x="191" y="520"/>
                  </a:lnTo>
                  <a:lnTo>
                    <a:pt x="168" y="504"/>
                  </a:lnTo>
                  <a:lnTo>
                    <a:pt x="146" y="476"/>
                  </a:lnTo>
                  <a:lnTo>
                    <a:pt x="120" y="466"/>
                  </a:lnTo>
                  <a:lnTo>
                    <a:pt x="104" y="448"/>
                  </a:lnTo>
                  <a:lnTo>
                    <a:pt x="50" y="460"/>
                  </a:lnTo>
                  <a:lnTo>
                    <a:pt x="36" y="452"/>
                  </a:lnTo>
                  <a:lnTo>
                    <a:pt x="18" y="462"/>
                  </a:lnTo>
                  <a:lnTo>
                    <a:pt x="20" y="438"/>
                  </a:lnTo>
                  <a:lnTo>
                    <a:pt x="32" y="408"/>
                  </a:lnTo>
                  <a:lnTo>
                    <a:pt x="32" y="344"/>
                  </a:lnTo>
                  <a:lnTo>
                    <a:pt x="26" y="330"/>
                  </a:lnTo>
                  <a:lnTo>
                    <a:pt x="28" y="296"/>
                  </a:lnTo>
                  <a:lnTo>
                    <a:pt x="20" y="274"/>
                  </a:lnTo>
                  <a:lnTo>
                    <a:pt x="6" y="262"/>
                  </a:lnTo>
                  <a:lnTo>
                    <a:pt x="0" y="248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45" name="Mexico">
              <a:extLst>
                <a:ext uri="{FF2B5EF4-FFF2-40B4-BE49-F238E27FC236}">
                  <a16:creationId xmlns="" xmlns:a16="http://schemas.microsoft.com/office/drawing/2014/main" id="{4232519A-EF54-41AC-B4DF-4179BA456ADD}"/>
                </a:ext>
              </a:extLst>
            </p:cNvPr>
            <p:cNvSpPr>
              <a:spLocks/>
            </p:cNvSpPr>
            <p:nvPr/>
          </p:nvSpPr>
          <p:spPr bwMode="gray">
            <a:xfrm>
              <a:off x="1997889" y="3479110"/>
              <a:ext cx="1007388" cy="670598"/>
            </a:xfrm>
            <a:custGeom>
              <a:avLst/>
              <a:gdLst/>
              <a:ahLst/>
              <a:cxnLst>
                <a:cxn ang="0">
                  <a:pos x="838" y="481"/>
                </a:cxn>
                <a:cxn ang="0">
                  <a:pos x="862" y="565"/>
                </a:cxn>
                <a:cxn ang="0">
                  <a:pos x="910" y="645"/>
                </a:cxn>
                <a:cxn ang="0">
                  <a:pos x="1016" y="668"/>
                </a:cxn>
                <a:cxn ang="0">
                  <a:pos x="1098" y="649"/>
                </a:cxn>
                <a:cxn ang="0">
                  <a:pos x="1188" y="549"/>
                </a:cxn>
                <a:cxn ang="0">
                  <a:pos x="1228" y="601"/>
                </a:cxn>
                <a:cxn ang="0">
                  <a:pos x="1210" y="678"/>
                </a:cxn>
                <a:cxn ang="0">
                  <a:pos x="1152" y="692"/>
                </a:cxn>
                <a:cxn ang="0">
                  <a:pos x="1068" y="714"/>
                </a:cxn>
                <a:cxn ang="0">
                  <a:pos x="1058" y="770"/>
                </a:cxn>
                <a:cxn ang="0">
                  <a:pos x="972" y="776"/>
                </a:cxn>
                <a:cxn ang="0">
                  <a:pos x="946" y="774"/>
                </a:cxn>
                <a:cxn ang="0">
                  <a:pos x="835" y="772"/>
                </a:cxn>
                <a:cxn ang="0">
                  <a:pos x="683" y="688"/>
                </a:cxn>
                <a:cxn ang="0">
                  <a:pos x="547" y="597"/>
                </a:cxn>
                <a:cxn ang="0">
                  <a:pos x="533" y="493"/>
                </a:cxn>
                <a:cxn ang="0">
                  <a:pos x="443" y="411"/>
                </a:cxn>
                <a:cxn ang="0">
                  <a:pos x="399" y="371"/>
                </a:cxn>
                <a:cxn ang="0">
                  <a:pos x="383" y="333"/>
                </a:cxn>
                <a:cxn ang="0">
                  <a:pos x="350" y="296"/>
                </a:cxn>
                <a:cxn ang="0">
                  <a:pos x="312" y="254"/>
                </a:cxn>
                <a:cxn ang="0">
                  <a:pos x="276" y="218"/>
                </a:cxn>
                <a:cxn ang="0">
                  <a:pos x="254" y="174"/>
                </a:cxn>
                <a:cxn ang="0">
                  <a:pos x="158" y="82"/>
                </a:cxn>
                <a:cxn ang="0">
                  <a:pos x="194" y="196"/>
                </a:cxn>
                <a:cxn ang="0">
                  <a:pos x="254" y="248"/>
                </a:cxn>
                <a:cxn ang="0">
                  <a:pos x="280" y="310"/>
                </a:cxn>
                <a:cxn ang="0">
                  <a:pos x="306" y="329"/>
                </a:cxn>
                <a:cxn ang="0">
                  <a:pos x="346" y="405"/>
                </a:cxn>
                <a:cxn ang="0">
                  <a:pos x="377" y="443"/>
                </a:cxn>
                <a:cxn ang="0">
                  <a:pos x="365" y="477"/>
                </a:cxn>
                <a:cxn ang="0">
                  <a:pos x="300" y="413"/>
                </a:cxn>
                <a:cxn ang="0">
                  <a:pos x="282" y="357"/>
                </a:cxn>
                <a:cxn ang="0">
                  <a:pos x="176" y="286"/>
                </a:cxn>
                <a:cxn ang="0">
                  <a:pos x="158" y="214"/>
                </a:cxn>
                <a:cxn ang="0">
                  <a:pos x="74" y="94"/>
                </a:cxn>
                <a:cxn ang="0">
                  <a:pos x="0" y="0"/>
                </a:cxn>
                <a:cxn ang="0">
                  <a:pos x="365" y="106"/>
                </a:cxn>
                <a:cxn ang="0">
                  <a:pos x="493" y="96"/>
                </a:cxn>
                <a:cxn ang="0">
                  <a:pos x="563" y="166"/>
                </a:cxn>
                <a:cxn ang="0">
                  <a:pos x="577" y="218"/>
                </a:cxn>
                <a:cxn ang="0">
                  <a:pos x="639" y="198"/>
                </a:cxn>
                <a:cxn ang="0">
                  <a:pos x="673" y="200"/>
                </a:cxn>
                <a:cxn ang="0">
                  <a:pos x="703" y="216"/>
                </a:cxn>
                <a:cxn ang="0">
                  <a:pos x="747" y="290"/>
                </a:cxn>
                <a:cxn ang="0">
                  <a:pos x="779" y="355"/>
                </a:cxn>
                <a:cxn ang="0">
                  <a:pos x="815" y="383"/>
                </a:cxn>
                <a:cxn ang="0">
                  <a:pos x="860" y="389"/>
                </a:cxn>
              </a:cxnLst>
              <a:rect l="0" t="0" r="r" b="b"/>
              <a:pathLst>
                <a:path w="1244" h="822">
                  <a:moveTo>
                    <a:pt x="850" y="419"/>
                  </a:moveTo>
                  <a:lnTo>
                    <a:pt x="840" y="431"/>
                  </a:lnTo>
                  <a:lnTo>
                    <a:pt x="840" y="453"/>
                  </a:lnTo>
                  <a:lnTo>
                    <a:pt x="838" y="481"/>
                  </a:lnTo>
                  <a:lnTo>
                    <a:pt x="844" y="493"/>
                  </a:lnTo>
                  <a:lnTo>
                    <a:pt x="842" y="541"/>
                  </a:lnTo>
                  <a:lnTo>
                    <a:pt x="856" y="547"/>
                  </a:lnTo>
                  <a:lnTo>
                    <a:pt x="862" y="565"/>
                  </a:lnTo>
                  <a:lnTo>
                    <a:pt x="864" y="581"/>
                  </a:lnTo>
                  <a:lnTo>
                    <a:pt x="876" y="589"/>
                  </a:lnTo>
                  <a:lnTo>
                    <a:pt x="900" y="601"/>
                  </a:lnTo>
                  <a:lnTo>
                    <a:pt x="910" y="645"/>
                  </a:lnTo>
                  <a:lnTo>
                    <a:pt x="968" y="674"/>
                  </a:lnTo>
                  <a:lnTo>
                    <a:pt x="992" y="674"/>
                  </a:lnTo>
                  <a:lnTo>
                    <a:pt x="1004" y="664"/>
                  </a:lnTo>
                  <a:lnTo>
                    <a:pt x="1016" y="668"/>
                  </a:lnTo>
                  <a:lnTo>
                    <a:pt x="1030" y="653"/>
                  </a:lnTo>
                  <a:lnTo>
                    <a:pt x="1056" y="653"/>
                  </a:lnTo>
                  <a:lnTo>
                    <a:pt x="1066" y="662"/>
                  </a:lnTo>
                  <a:lnTo>
                    <a:pt x="1098" y="649"/>
                  </a:lnTo>
                  <a:lnTo>
                    <a:pt x="1134" y="569"/>
                  </a:lnTo>
                  <a:lnTo>
                    <a:pt x="1158" y="557"/>
                  </a:lnTo>
                  <a:lnTo>
                    <a:pt x="1176" y="557"/>
                  </a:lnTo>
                  <a:lnTo>
                    <a:pt x="1188" y="549"/>
                  </a:lnTo>
                  <a:lnTo>
                    <a:pt x="1214" y="555"/>
                  </a:lnTo>
                  <a:lnTo>
                    <a:pt x="1240" y="563"/>
                  </a:lnTo>
                  <a:lnTo>
                    <a:pt x="1244" y="579"/>
                  </a:lnTo>
                  <a:lnTo>
                    <a:pt x="1228" y="601"/>
                  </a:lnTo>
                  <a:lnTo>
                    <a:pt x="1220" y="621"/>
                  </a:lnTo>
                  <a:lnTo>
                    <a:pt x="1226" y="637"/>
                  </a:lnTo>
                  <a:lnTo>
                    <a:pt x="1216" y="678"/>
                  </a:lnTo>
                  <a:lnTo>
                    <a:pt x="1210" y="678"/>
                  </a:lnTo>
                  <a:lnTo>
                    <a:pt x="1208" y="658"/>
                  </a:lnTo>
                  <a:lnTo>
                    <a:pt x="1196" y="672"/>
                  </a:lnTo>
                  <a:lnTo>
                    <a:pt x="1174" y="674"/>
                  </a:lnTo>
                  <a:lnTo>
                    <a:pt x="1152" y="692"/>
                  </a:lnTo>
                  <a:lnTo>
                    <a:pt x="1150" y="702"/>
                  </a:lnTo>
                  <a:lnTo>
                    <a:pt x="1084" y="702"/>
                  </a:lnTo>
                  <a:lnTo>
                    <a:pt x="1080" y="714"/>
                  </a:lnTo>
                  <a:lnTo>
                    <a:pt x="1068" y="714"/>
                  </a:lnTo>
                  <a:lnTo>
                    <a:pt x="1096" y="746"/>
                  </a:lnTo>
                  <a:lnTo>
                    <a:pt x="1116" y="758"/>
                  </a:lnTo>
                  <a:lnTo>
                    <a:pt x="1116" y="764"/>
                  </a:lnTo>
                  <a:lnTo>
                    <a:pt x="1058" y="770"/>
                  </a:lnTo>
                  <a:lnTo>
                    <a:pt x="1040" y="822"/>
                  </a:lnTo>
                  <a:lnTo>
                    <a:pt x="1022" y="810"/>
                  </a:lnTo>
                  <a:lnTo>
                    <a:pt x="980" y="768"/>
                  </a:lnTo>
                  <a:lnTo>
                    <a:pt x="972" y="776"/>
                  </a:lnTo>
                  <a:lnTo>
                    <a:pt x="960" y="774"/>
                  </a:lnTo>
                  <a:lnTo>
                    <a:pt x="960" y="764"/>
                  </a:lnTo>
                  <a:lnTo>
                    <a:pt x="940" y="766"/>
                  </a:lnTo>
                  <a:lnTo>
                    <a:pt x="946" y="774"/>
                  </a:lnTo>
                  <a:lnTo>
                    <a:pt x="912" y="786"/>
                  </a:lnTo>
                  <a:lnTo>
                    <a:pt x="892" y="796"/>
                  </a:lnTo>
                  <a:lnTo>
                    <a:pt x="868" y="776"/>
                  </a:lnTo>
                  <a:lnTo>
                    <a:pt x="835" y="772"/>
                  </a:lnTo>
                  <a:lnTo>
                    <a:pt x="793" y="748"/>
                  </a:lnTo>
                  <a:lnTo>
                    <a:pt x="765" y="746"/>
                  </a:lnTo>
                  <a:lnTo>
                    <a:pt x="715" y="722"/>
                  </a:lnTo>
                  <a:lnTo>
                    <a:pt x="683" y="688"/>
                  </a:lnTo>
                  <a:lnTo>
                    <a:pt x="641" y="690"/>
                  </a:lnTo>
                  <a:lnTo>
                    <a:pt x="593" y="641"/>
                  </a:lnTo>
                  <a:lnTo>
                    <a:pt x="579" y="637"/>
                  </a:lnTo>
                  <a:lnTo>
                    <a:pt x="547" y="597"/>
                  </a:lnTo>
                  <a:lnTo>
                    <a:pt x="561" y="581"/>
                  </a:lnTo>
                  <a:lnTo>
                    <a:pt x="563" y="565"/>
                  </a:lnTo>
                  <a:lnTo>
                    <a:pt x="555" y="547"/>
                  </a:lnTo>
                  <a:lnTo>
                    <a:pt x="533" y="493"/>
                  </a:lnTo>
                  <a:lnTo>
                    <a:pt x="519" y="487"/>
                  </a:lnTo>
                  <a:lnTo>
                    <a:pt x="501" y="473"/>
                  </a:lnTo>
                  <a:lnTo>
                    <a:pt x="461" y="421"/>
                  </a:lnTo>
                  <a:lnTo>
                    <a:pt x="443" y="411"/>
                  </a:lnTo>
                  <a:lnTo>
                    <a:pt x="439" y="397"/>
                  </a:lnTo>
                  <a:lnTo>
                    <a:pt x="417" y="397"/>
                  </a:lnTo>
                  <a:lnTo>
                    <a:pt x="401" y="387"/>
                  </a:lnTo>
                  <a:lnTo>
                    <a:pt x="399" y="371"/>
                  </a:lnTo>
                  <a:lnTo>
                    <a:pt x="409" y="355"/>
                  </a:lnTo>
                  <a:lnTo>
                    <a:pt x="403" y="339"/>
                  </a:lnTo>
                  <a:lnTo>
                    <a:pt x="389" y="341"/>
                  </a:lnTo>
                  <a:lnTo>
                    <a:pt x="383" y="333"/>
                  </a:lnTo>
                  <a:lnTo>
                    <a:pt x="379" y="323"/>
                  </a:lnTo>
                  <a:lnTo>
                    <a:pt x="379" y="314"/>
                  </a:lnTo>
                  <a:lnTo>
                    <a:pt x="354" y="312"/>
                  </a:lnTo>
                  <a:lnTo>
                    <a:pt x="350" y="296"/>
                  </a:lnTo>
                  <a:lnTo>
                    <a:pt x="350" y="280"/>
                  </a:lnTo>
                  <a:lnTo>
                    <a:pt x="330" y="290"/>
                  </a:lnTo>
                  <a:lnTo>
                    <a:pt x="324" y="280"/>
                  </a:lnTo>
                  <a:lnTo>
                    <a:pt x="312" y="254"/>
                  </a:lnTo>
                  <a:lnTo>
                    <a:pt x="300" y="252"/>
                  </a:lnTo>
                  <a:lnTo>
                    <a:pt x="302" y="242"/>
                  </a:lnTo>
                  <a:lnTo>
                    <a:pt x="294" y="230"/>
                  </a:lnTo>
                  <a:lnTo>
                    <a:pt x="276" y="218"/>
                  </a:lnTo>
                  <a:lnTo>
                    <a:pt x="272" y="202"/>
                  </a:lnTo>
                  <a:lnTo>
                    <a:pt x="268" y="192"/>
                  </a:lnTo>
                  <a:lnTo>
                    <a:pt x="256" y="186"/>
                  </a:lnTo>
                  <a:lnTo>
                    <a:pt x="254" y="174"/>
                  </a:lnTo>
                  <a:lnTo>
                    <a:pt x="242" y="158"/>
                  </a:lnTo>
                  <a:lnTo>
                    <a:pt x="244" y="124"/>
                  </a:lnTo>
                  <a:lnTo>
                    <a:pt x="186" y="86"/>
                  </a:lnTo>
                  <a:lnTo>
                    <a:pt x="158" y="82"/>
                  </a:lnTo>
                  <a:lnTo>
                    <a:pt x="172" y="110"/>
                  </a:lnTo>
                  <a:lnTo>
                    <a:pt x="180" y="138"/>
                  </a:lnTo>
                  <a:lnTo>
                    <a:pt x="190" y="172"/>
                  </a:lnTo>
                  <a:lnTo>
                    <a:pt x="194" y="196"/>
                  </a:lnTo>
                  <a:lnTo>
                    <a:pt x="204" y="212"/>
                  </a:lnTo>
                  <a:lnTo>
                    <a:pt x="220" y="222"/>
                  </a:lnTo>
                  <a:lnTo>
                    <a:pt x="234" y="238"/>
                  </a:lnTo>
                  <a:lnTo>
                    <a:pt x="254" y="248"/>
                  </a:lnTo>
                  <a:lnTo>
                    <a:pt x="260" y="262"/>
                  </a:lnTo>
                  <a:lnTo>
                    <a:pt x="262" y="278"/>
                  </a:lnTo>
                  <a:lnTo>
                    <a:pt x="274" y="294"/>
                  </a:lnTo>
                  <a:lnTo>
                    <a:pt x="280" y="310"/>
                  </a:lnTo>
                  <a:lnTo>
                    <a:pt x="294" y="316"/>
                  </a:lnTo>
                  <a:lnTo>
                    <a:pt x="294" y="335"/>
                  </a:lnTo>
                  <a:lnTo>
                    <a:pt x="302" y="343"/>
                  </a:lnTo>
                  <a:lnTo>
                    <a:pt x="306" y="329"/>
                  </a:lnTo>
                  <a:lnTo>
                    <a:pt x="320" y="339"/>
                  </a:lnTo>
                  <a:lnTo>
                    <a:pt x="324" y="365"/>
                  </a:lnTo>
                  <a:lnTo>
                    <a:pt x="342" y="389"/>
                  </a:lnTo>
                  <a:lnTo>
                    <a:pt x="346" y="405"/>
                  </a:lnTo>
                  <a:lnTo>
                    <a:pt x="350" y="429"/>
                  </a:lnTo>
                  <a:lnTo>
                    <a:pt x="352" y="439"/>
                  </a:lnTo>
                  <a:lnTo>
                    <a:pt x="363" y="433"/>
                  </a:lnTo>
                  <a:lnTo>
                    <a:pt x="377" y="443"/>
                  </a:lnTo>
                  <a:lnTo>
                    <a:pt x="387" y="457"/>
                  </a:lnTo>
                  <a:lnTo>
                    <a:pt x="395" y="463"/>
                  </a:lnTo>
                  <a:lnTo>
                    <a:pt x="373" y="493"/>
                  </a:lnTo>
                  <a:lnTo>
                    <a:pt x="365" y="477"/>
                  </a:lnTo>
                  <a:lnTo>
                    <a:pt x="330" y="447"/>
                  </a:lnTo>
                  <a:lnTo>
                    <a:pt x="320" y="443"/>
                  </a:lnTo>
                  <a:lnTo>
                    <a:pt x="312" y="435"/>
                  </a:lnTo>
                  <a:lnTo>
                    <a:pt x="300" y="413"/>
                  </a:lnTo>
                  <a:lnTo>
                    <a:pt x="288" y="423"/>
                  </a:lnTo>
                  <a:lnTo>
                    <a:pt x="286" y="397"/>
                  </a:lnTo>
                  <a:lnTo>
                    <a:pt x="288" y="373"/>
                  </a:lnTo>
                  <a:lnTo>
                    <a:pt x="282" y="357"/>
                  </a:lnTo>
                  <a:lnTo>
                    <a:pt x="256" y="335"/>
                  </a:lnTo>
                  <a:lnTo>
                    <a:pt x="250" y="327"/>
                  </a:lnTo>
                  <a:lnTo>
                    <a:pt x="208" y="310"/>
                  </a:lnTo>
                  <a:lnTo>
                    <a:pt x="176" y="286"/>
                  </a:lnTo>
                  <a:lnTo>
                    <a:pt x="194" y="280"/>
                  </a:lnTo>
                  <a:lnTo>
                    <a:pt x="210" y="266"/>
                  </a:lnTo>
                  <a:lnTo>
                    <a:pt x="194" y="242"/>
                  </a:lnTo>
                  <a:lnTo>
                    <a:pt x="158" y="214"/>
                  </a:lnTo>
                  <a:lnTo>
                    <a:pt x="136" y="180"/>
                  </a:lnTo>
                  <a:lnTo>
                    <a:pt x="120" y="158"/>
                  </a:lnTo>
                  <a:lnTo>
                    <a:pt x="94" y="114"/>
                  </a:lnTo>
                  <a:lnTo>
                    <a:pt x="74" y="94"/>
                  </a:lnTo>
                  <a:lnTo>
                    <a:pt x="58" y="66"/>
                  </a:lnTo>
                  <a:lnTo>
                    <a:pt x="32" y="42"/>
                  </a:lnTo>
                  <a:lnTo>
                    <a:pt x="6" y="16"/>
                  </a:lnTo>
                  <a:lnTo>
                    <a:pt x="0" y="0"/>
                  </a:lnTo>
                  <a:lnTo>
                    <a:pt x="108" y="4"/>
                  </a:lnTo>
                  <a:lnTo>
                    <a:pt x="106" y="12"/>
                  </a:lnTo>
                  <a:lnTo>
                    <a:pt x="268" y="94"/>
                  </a:lnTo>
                  <a:lnTo>
                    <a:pt x="365" y="106"/>
                  </a:lnTo>
                  <a:lnTo>
                    <a:pt x="405" y="108"/>
                  </a:lnTo>
                  <a:lnTo>
                    <a:pt x="411" y="86"/>
                  </a:lnTo>
                  <a:lnTo>
                    <a:pt x="485" y="94"/>
                  </a:lnTo>
                  <a:lnTo>
                    <a:pt x="493" y="96"/>
                  </a:lnTo>
                  <a:lnTo>
                    <a:pt x="501" y="110"/>
                  </a:lnTo>
                  <a:lnTo>
                    <a:pt x="509" y="116"/>
                  </a:lnTo>
                  <a:lnTo>
                    <a:pt x="537" y="146"/>
                  </a:lnTo>
                  <a:lnTo>
                    <a:pt x="563" y="166"/>
                  </a:lnTo>
                  <a:lnTo>
                    <a:pt x="563" y="176"/>
                  </a:lnTo>
                  <a:lnTo>
                    <a:pt x="569" y="184"/>
                  </a:lnTo>
                  <a:lnTo>
                    <a:pt x="569" y="204"/>
                  </a:lnTo>
                  <a:lnTo>
                    <a:pt x="577" y="218"/>
                  </a:lnTo>
                  <a:lnTo>
                    <a:pt x="615" y="230"/>
                  </a:lnTo>
                  <a:lnTo>
                    <a:pt x="619" y="228"/>
                  </a:lnTo>
                  <a:lnTo>
                    <a:pt x="633" y="200"/>
                  </a:lnTo>
                  <a:lnTo>
                    <a:pt x="639" y="198"/>
                  </a:lnTo>
                  <a:lnTo>
                    <a:pt x="647" y="202"/>
                  </a:lnTo>
                  <a:lnTo>
                    <a:pt x="651" y="194"/>
                  </a:lnTo>
                  <a:lnTo>
                    <a:pt x="661" y="198"/>
                  </a:lnTo>
                  <a:lnTo>
                    <a:pt x="673" y="200"/>
                  </a:lnTo>
                  <a:lnTo>
                    <a:pt x="681" y="204"/>
                  </a:lnTo>
                  <a:lnTo>
                    <a:pt x="687" y="202"/>
                  </a:lnTo>
                  <a:lnTo>
                    <a:pt x="699" y="208"/>
                  </a:lnTo>
                  <a:lnTo>
                    <a:pt x="703" y="216"/>
                  </a:lnTo>
                  <a:lnTo>
                    <a:pt x="707" y="218"/>
                  </a:lnTo>
                  <a:lnTo>
                    <a:pt x="727" y="236"/>
                  </a:lnTo>
                  <a:lnTo>
                    <a:pt x="731" y="270"/>
                  </a:lnTo>
                  <a:lnTo>
                    <a:pt x="747" y="290"/>
                  </a:lnTo>
                  <a:lnTo>
                    <a:pt x="769" y="308"/>
                  </a:lnTo>
                  <a:lnTo>
                    <a:pt x="769" y="325"/>
                  </a:lnTo>
                  <a:lnTo>
                    <a:pt x="773" y="341"/>
                  </a:lnTo>
                  <a:lnTo>
                    <a:pt x="779" y="355"/>
                  </a:lnTo>
                  <a:lnTo>
                    <a:pt x="781" y="363"/>
                  </a:lnTo>
                  <a:lnTo>
                    <a:pt x="787" y="365"/>
                  </a:lnTo>
                  <a:lnTo>
                    <a:pt x="797" y="371"/>
                  </a:lnTo>
                  <a:lnTo>
                    <a:pt x="815" y="383"/>
                  </a:lnTo>
                  <a:lnTo>
                    <a:pt x="831" y="385"/>
                  </a:lnTo>
                  <a:lnTo>
                    <a:pt x="848" y="395"/>
                  </a:lnTo>
                  <a:lnTo>
                    <a:pt x="854" y="389"/>
                  </a:lnTo>
                  <a:lnTo>
                    <a:pt x="860" y="389"/>
                  </a:lnTo>
                  <a:lnTo>
                    <a:pt x="850" y="419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46" name="Moldova">
              <a:extLst>
                <a:ext uri="{FF2B5EF4-FFF2-40B4-BE49-F238E27FC236}">
                  <a16:creationId xmlns="" xmlns:a16="http://schemas.microsoft.com/office/drawing/2014/main" id="{D94B18FA-45D1-439B-844E-7E4ABA4A1A79}"/>
                </a:ext>
              </a:extLst>
            </p:cNvPr>
            <p:cNvSpPr>
              <a:spLocks/>
            </p:cNvSpPr>
            <p:nvPr/>
          </p:nvSpPr>
          <p:spPr bwMode="gray">
            <a:xfrm>
              <a:off x="6615088" y="2788847"/>
              <a:ext cx="121043" cy="143558"/>
            </a:xfrm>
            <a:custGeom>
              <a:avLst/>
              <a:gdLst/>
              <a:ahLst/>
              <a:cxnLst>
                <a:cxn ang="0">
                  <a:pos x="18" y="0"/>
                </a:cxn>
                <a:cxn ang="0">
                  <a:pos x="48" y="18"/>
                </a:cxn>
                <a:cxn ang="0">
                  <a:pos x="68" y="24"/>
                </a:cxn>
                <a:cxn ang="0">
                  <a:pos x="84" y="20"/>
                </a:cxn>
                <a:cxn ang="0">
                  <a:pos x="100" y="28"/>
                </a:cxn>
                <a:cxn ang="0">
                  <a:pos x="114" y="36"/>
                </a:cxn>
                <a:cxn ang="0">
                  <a:pos x="128" y="52"/>
                </a:cxn>
                <a:cxn ang="0">
                  <a:pos x="134" y="76"/>
                </a:cxn>
                <a:cxn ang="0">
                  <a:pos x="140" y="100"/>
                </a:cxn>
                <a:cxn ang="0">
                  <a:pos x="150" y="122"/>
                </a:cxn>
                <a:cxn ang="0">
                  <a:pos x="126" y="126"/>
                </a:cxn>
                <a:cxn ang="0">
                  <a:pos x="104" y="120"/>
                </a:cxn>
                <a:cxn ang="0">
                  <a:pos x="96" y="146"/>
                </a:cxn>
                <a:cxn ang="0">
                  <a:pos x="84" y="168"/>
                </a:cxn>
                <a:cxn ang="0">
                  <a:pos x="66" y="178"/>
                </a:cxn>
                <a:cxn ang="0">
                  <a:pos x="62" y="160"/>
                </a:cxn>
                <a:cxn ang="0">
                  <a:pos x="66" y="138"/>
                </a:cxn>
                <a:cxn ang="0">
                  <a:pos x="64" y="124"/>
                </a:cxn>
                <a:cxn ang="0">
                  <a:pos x="58" y="96"/>
                </a:cxn>
                <a:cxn ang="0">
                  <a:pos x="46" y="78"/>
                </a:cxn>
                <a:cxn ang="0">
                  <a:pos x="34" y="50"/>
                </a:cxn>
                <a:cxn ang="0">
                  <a:pos x="18" y="28"/>
                </a:cxn>
                <a:cxn ang="0">
                  <a:pos x="0" y="16"/>
                </a:cxn>
                <a:cxn ang="0">
                  <a:pos x="2" y="4"/>
                </a:cxn>
                <a:cxn ang="0">
                  <a:pos x="18" y="0"/>
                </a:cxn>
              </a:cxnLst>
              <a:rect l="0" t="0" r="r" b="b"/>
              <a:pathLst>
                <a:path w="150" h="178">
                  <a:moveTo>
                    <a:pt x="18" y="0"/>
                  </a:moveTo>
                  <a:lnTo>
                    <a:pt x="48" y="18"/>
                  </a:lnTo>
                  <a:lnTo>
                    <a:pt x="68" y="24"/>
                  </a:lnTo>
                  <a:lnTo>
                    <a:pt x="84" y="20"/>
                  </a:lnTo>
                  <a:lnTo>
                    <a:pt x="100" y="28"/>
                  </a:lnTo>
                  <a:lnTo>
                    <a:pt x="114" y="36"/>
                  </a:lnTo>
                  <a:lnTo>
                    <a:pt x="128" y="52"/>
                  </a:lnTo>
                  <a:lnTo>
                    <a:pt x="134" y="76"/>
                  </a:lnTo>
                  <a:lnTo>
                    <a:pt x="140" y="100"/>
                  </a:lnTo>
                  <a:lnTo>
                    <a:pt x="150" y="122"/>
                  </a:lnTo>
                  <a:lnTo>
                    <a:pt x="126" y="126"/>
                  </a:lnTo>
                  <a:lnTo>
                    <a:pt x="104" y="120"/>
                  </a:lnTo>
                  <a:lnTo>
                    <a:pt x="96" y="146"/>
                  </a:lnTo>
                  <a:lnTo>
                    <a:pt x="84" y="168"/>
                  </a:lnTo>
                  <a:lnTo>
                    <a:pt x="66" y="178"/>
                  </a:lnTo>
                  <a:lnTo>
                    <a:pt x="62" y="160"/>
                  </a:lnTo>
                  <a:lnTo>
                    <a:pt x="66" y="138"/>
                  </a:lnTo>
                  <a:lnTo>
                    <a:pt x="64" y="124"/>
                  </a:lnTo>
                  <a:lnTo>
                    <a:pt x="58" y="96"/>
                  </a:lnTo>
                  <a:lnTo>
                    <a:pt x="46" y="78"/>
                  </a:lnTo>
                  <a:lnTo>
                    <a:pt x="34" y="50"/>
                  </a:lnTo>
                  <a:lnTo>
                    <a:pt x="18" y="28"/>
                  </a:lnTo>
                  <a:lnTo>
                    <a:pt x="0" y="16"/>
                  </a:lnTo>
                  <a:lnTo>
                    <a:pt x="2" y="4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47" name="Monaco">
              <a:extLst>
                <a:ext uri="{FF2B5EF4-FFF2-40B4-BE49-F238E27FC236}">
                  <a16:creationId xmlns="" xmlns:a16="http://schemas.microsoft.com/office/drawing/2014/main" id="{3A23EC6A-694F-4233-9591-EDE9DA228721}"/>
                </a:ext>
              </a:extLst>
            </p:cNvPr>
            <p:cNvSpPr>
              <a:spLocks/>
            </p:cNvSpPr>
            <p:nvPr/>
          </p:nvSpPr>
          <p:spPr bwMode="gray">
            <a:xfrm>
              <a:off x="6013779" y="3003203"/>
              <a:ext cx="13667" cy="15732"/>
            </a:xfrm>
            <a:custGeom>
              <a:avLst/>
              <a:gdLst/>
              <a:ahLst/>
              <a:cxnLst>
                <a:cxn ang="0">
                  <a:pos x="188" y="94"/>
                </a:cxn>
                <a:cxn ang="0">
                  <a:pos x="94" y="188"/>
                </a:cxn>
                <a:cxn ang="0">
                  <a:pos x="0" y="94"/>
                </a:cxn>
                <a:cxn ang="0">
                  <a:pos x="0" y="90"/>
                </a:cxn>
                <a:cxn ang="0">
                  <a:pos x="94" y="0"/>
                </a:cxn>
                <a:cxn ang="0">
                  <a:pos x="188" y="94"/>
                </a:cxn>
              </a:cxnLst>
              <a:rect l="0" t="0" r="r" b="b"/>
              <a:pathLst>
                <a:path w="188" h="188">
                  <a:moveTo>
                    <a:pt x="188" y="94"/>
                  </a:moveTo>
                  <a:cubicBezTo>
                    <a:pt x="188" y="146"/>
                    <a:pt x="146" y="188"/>
                    <a:pt x="94" y="188"/>
                  </a:cubicBezTo>
                  <a:cubicBezTo>
                    <a:pt x="42" y="188"/>
                    <a:pt x="0" y="146"/>
                    <a:pt x="0" y="94"/>
                  </a:cubicBezTo>
                  <a:cubicBezTo>
                    <a:pt x="0" y="93"/>
                    <a:pt x="0" y="91"/>
                    <a:pt x="0" y="90"/>
                  </a:cubicBezTo>
                  <a:cubicBezTo>
                    <a:pt x="3" y="40"/>
                    <a:pt x="44" y="0"/>
                    <a:pt x="94" y="0"/>
                  </a:cubicBezTo>
                  <a:cubicBezTo>
                    <a:pt x="146" y="0"/>
                    <a:pt x="188" y="43"/>
                    <a:pt x="188" y="94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48" name="Mongolia">
              <a:extLst>
                <a:ext uri="{FF2B5EF4-FFF2-40B4-BE49-F238E27FC236}">
                  <a16:creationId xmlns="" xmlns:a16="http://schemas.microsoft.com/office/drawing/2014/main" id="{362B3301-5214-44D4-B851-69EA83B89D03}"/>
                </a:ext>
              </a:extLst>
            </p:cNvPr>
            <p:cNvSpPr>
              <a:spLocks/>
            </p:cNvSpPr>
            <p:nvPr/>
          </p:nvSpPr>
          <p:spPr bwMode="gray">
            <a:xfrm>
              <a:off x="8493205" y="2619723"/>
              <a:ext cx="995675" cy="481806"/>
            </a:xfrm>
            <a:custGeom>
              <a:avLst/>
              <a:gdLst/>
              <a:ahLst/>
              <a:cxnLst>
                <a:cxn ang="0">
                  <a:pos x="70" y="226"/>
                </a:cxn>
                <a:cxn ang="0">
                  <a:pos x="134" y="300"/>
                </a:cxn>
                <a:cxn ang="0">
                  <a:pos x="132" y="372"/>
                </a:cxn>
                <a:cxn ang="0">
                  <a:pos x="212" y="394"/>
                </a:cxn>
                <a:cxn ang="0">
                  <a:pos x="302" y="448"/>
                </a:cxn>
                <a:cxn ang="0">
                  <a:pos x="352" y="532"/>
                </a:cxn>
                <a:cxn ang="0">
                  <a:pos x="408" y="542"/>
                </a:cxn>
                <a:cxn ang="0">
                  <a:pos x="556" y="540"/>
                </a:cxn>
                <a:cxn ang="0">
                  <a:pos x="608" y="566"/>
                </a:cxn>
                <a:cxn ang="0">
                  <a:pos x="658" y="578"/>
                </a:cxn>
                <a:cxn ang="0">
                  <a:pos x="700" y="582"/>
                </a:cxn>
                <a:cxn ang="0">
                  <a:pos x="788" y="536"/>
                </a:cxn>
                <a:cxn ang="0">
                  <a:pos x="890" y="506"/>
                </a:cxn>
                <a:cxn ang="0">
                  <a:pos x="936" y="464"/>
                </a:cxn>
                <a:cxn ang="0">
                  <a:pos x="906" y="424"/>
                </a:cxn>
                <a:cxn ang="0">
                  <a:pos x="954" y="388"/>
                </a:cxn>
                <a:cxn ang="0">
                  <a:pos x="1052" y="374"/>
                </a:cxn>
                <a:cxn ang="0">
                  <a:pos x="1132" y="358"/>
                </a:cxn>
                <a:cxn ang="0">
                  <a:pos x="1166" y="344"/>
                </a:cxn>
                <a:cxn ang="0">
                  <a:pos x="1206" y="354"/>
                </a:cxn>
                <a:cxn ang="0">
                  <a:pos x="1198" y="284"/>
                </a:cxn>
                <a:cxn ang="0">
                  <a:pos x="1164" y="248"/>
                </a:cxn>
                <a:cxn ang="0">
                  <a:pos x="1136" y="268"/>
                </a:cxn>
                <a:cxn ang="0">
                  <a:pos x="1086" y="256"/>
                </a:cxn>
                <a:cxn ang="0">
                  <a:pos x="1094" y="192"/>
                </a:cxn>
                <a:cxn ang="0">
                  <a:pos x="1110" y="138"/>
                </a:cxn>
                <a:cxn ang="0">
                  <a:pos x="1070" y="128"/>
                </a:cxn>
                <a:cxn ang="0">
                  <a:pos x="978" y="144"/>
                </a:cxn>
                <a:cxn ang="0">
                  <a:pos x="850" y="164"/>
                </a:cxn>
                <a:cxn ang="0">
                  <a:pos x="768" y="134"/>
                </a:cxn>
                <a:cxn ang="0">
                  <a:pos x="716" y="98"/>
                </a:cxn>
                <a:cxn ang="0">
                  <a:pos x="562" y="78"/>
                </a:cxn>
                <a:cxn ang="0">
                  <a:pos x="470" y="0"/>
                </a:cxn>
                <a:cxn ang="0">
                  <a:pos x="416" y="86"/>
                </a:cxn>
                <a:cxn ang="0">
                  <a:pos x="402" y="124"/>
                </a:cxn>
                <a:cxn ang="0">
                  <a:pos x="338" y="124"/>
                </a:cxn>
                <a:cxn ang="0">
                  <a:pos x="258" y="112"/>
                </a:cxn>
                <a:cxn ang="0">
                  <a:pos x="192" y="82"/>
                </a:cxn>
                <a:cxn ang="0">
                  <a:pos x="90" y="122"/>
                </a:cxn>
                <a:cxn ang="0">
                  <a:pos x="34" y="162"/>
                </a:cxn>
                <a:cxn ang="0">
                  <a:pos x="10" y="182"/>
                </a:cxn>
                <a:cxn ang="0">
                  <a:pos x="18" y="204"/>
                </a:cxn>
                <a:cxn ang="0">
                  <a:pos x="38" y="220"/>
                </a:cxn>
              </a:cxnLst>
              <a:rect l="0" t="0" r="r" b="b"/>
              <a:pathLst>
                <a:path w="1228" h="590">
                  <a:moveTo>
                    <a:pt x="38" y="220"/>
                  </a:moveTo>
                  <a:lnTo>
                    <a:pt x="70" y="226"/>
                  </a:lnTo>
                  <a:lnTo>
                    <a:pt x="98" y="244"/>
                  </a:lnTo>
                  <a:lnTo>
                    <a:pt x="134" y="300"/>
                  </a:lnTo>
                  <a:lnTo>
                    <a:pt x="158" y="320"/>
                  </a:lnTo>
                  <a:lnTo>
                    <a:pt x="132" y="372"/>
                  </a:lnTo>
                  <a:lnTo>
                    <a:pt x="144" y="386"/>
                  </a:lnTo>
                  <a:lnTo>
                    <a:pt x="212" y="394"/>
                  </a:lnTo>
                  <a:lnTo>
                    <a:pt x="272" y="416"/>
                  </a:lnTo>
                  <a:lnTo>
                    <a:pt x="302" y="448"/>
                  </a:lnTo>
                  <a:lnTo>
                    <a:pt x="314" y="456"/>
                  </a:lnTo>
                  <a:lnTo>
                    <a:pt x="352" y="532"/>
                  </a:lnTo>
                  <a:lnTo>
                    <a:pt x="382" y="532"/>
                  </a:lnTo>
                  <a:lnTo>
                    <a:pt x="408" y="542"/>
                  </a:lnTo>
                  <a:lnTo>
                    <a:pt x="500" y="544"/>
                  </a:lnTo>
                  <a:lnTo>
                    <a:pt x="556" y="540"/>
                  </a:lnTo>
                  <a:lnTo>
                    <a:pt x="578" y="564"/>
                  </a:lnTo>
                  <a:lnTo>
                    <a:pt x="608" y="566"/>
                  </a:lnTo>
                  <a:lnTo>
                    <a:pt x="630" y="582"/>
                  </a:lnTo>
                  <a:lnTo>
                    <a:pt x="658" y="578"/>
                  </a:lnTo>
                  <a:lnTo>
                    <a:pt x="676" y="590"/>
                  </a:lnTo>
                  <a:lnTo>
                    <a:pt x="700" y="582"/>
                  </a:lnTo>
                  <a:lnTo>
                    <a:pt x="716" y="562"/>
                  </a:lnTo>
                  <a:lnTo>
                    <a:pt x="788" y="536"/>
                  </a:lnTo>
                  <a:lnTo>
                    <a:pt x="872" y="534"/>
                  </a:lnTo>
                  <a:lnTo>
                    <a:pt x="890" y="506"/>
                  </a:lnTo>
                  <a:lnTo>
                    <a:pt x="926" y="488"/>
                  </a:lnTo>
                  <a:lnTo>
                    <a:pt x="936" y="464"/>
                  </a:lnTo>
                  <a:lnTo>
                    <a:pt x="906" y="442"/>
                  </a:lnTo>
                  <a:lnTo>
                    <a:pt x="906" y="424"/>
                  </a:lnTo>
                  <a:lnTo>
                    <a:pt x="940" y="390"/>
                  </a:lnTo>
                  <a:lnTo>
                    <a:pt x="954" y="388"/>
                  </a:lnTo>
                  <a:lnTo>
                    <a:pt x="990" y="410"/>
                  </a:lnTo>
                  <a:lnTo>
                    <a:pt x="1052" y="374"/>
                  </a:lnTo>
                  <a:lnTo>
                    <a:pt x="1092" y="380"/>
                  </a:lnTo>
                  <a:lnTo>
                    <a:pt x="1132" y="358"/>
                  </a:lnTo>
                  <a:lnTo>
                    <a:pt x="1154" y="356"/>
                  </a:lnTo>
                  <a:lnTo>
                    <a:pt x="1166" y="344"/>
                  </a:lnTo>
                  <a:lnTo>
                    <a:pt x="1186" y="342"/>
                  </a:lnTo>
                  <a:lnTo>
                    <a:pt x="1206" y="354"/>
                  </a:lnTo>
                  <a:lnTo>
                    <a:pt x="1228" y="320"/>
                  </a:lnTo>
                  <a:lnTo>
                    <a:pt x="1198" y="284"/>
                  </a:lnTo>
                  <a:lnTo>
                    <a:pt x="1196" y="268"/>
                  </a:lnTo>
                  <a:lnTo>
                    <a:pt x="1164" y="248"/>
                  </a:lnTo>
                  <a:lnTo>
                    <a:pt x="1152" y="250"/>
                  </a:lnTo>
                  <a:lnTo>
                    <a:pt x="1136" y="268"/>
                  </a:lnTo>
                  <a:lnTo>
                    <a:pt x="1118" y="258"/>
                  </a:lnTo>
                  <a:lnTo>
                    <a:pt x="1086" y="256"/>
                  </a:lnTo>
                  <a:lnTo>
                    <a:pt x="1074" y="234"/>
                  </a:lnTo>
                  <a:lnTo>
                    <a:pt x="1094" y="192"/>
                  </a:lnTo>
                  <a:lnTo>
                    <a:pt x="1098" y="158"/>
                  </a:lnTo>
                  <a:lnTo>
                    <a:pt x="1110" y="138"/>
                  </a:lnTo>
                  <a:lnTo>
                    <a:pt x="1102" y="128"/>
                  </a:lnTo>
                  <a:lnTo>
                    <a:pt x="1070" y="128"/>
                  </a:lnTo>
                  <a:lnTo>
                    <a:pt x="1038" y="108"/>
                  </a:lnTo>
                  <a:lnTo>
                    <a:pt x="978" y="144"/>
                  </a:lnTo>
                  <a:lnTo>
                    <a:pt x="926" y="162"/>
                  </a:lnTo>
                  <a:lnTo>
                    <a:pt x="850" y="164"/>
                  </a:lnTo>
                  <a:lnTo>
                    <a:pt x="800" y="154"/>
                  </a:lnTo>
                  <a:lnTo>
                    <a:pt x="768" y="134"/>
                  </a:lnTo>
                  <a:lnTo>
                    <a:pt x="746" y="104"/>
                  </a:lnTo>
                  <a:lnTo>
                    <a:pt x="716" y="98"/>
                  </a:lnTo>
                  <a:lnTo>
                    <a:pt x="592" y="110"/>
                  </a:lnTo>
                  <a:lnTo>
                    <a:pt x="562" y="78"/>
                  </a:lnTo>
                  <a:lnTo>
                    <a:pt x="554" y="30"/>
                  </a:lnTo>
                  <a:lnTo>
                    <a:pt x="470" y="0"/>
                  </a:lnTo>
                  <a:lnTo>
                    <a:pt x="418" y="44"/>
                  </a:lnTo>
                  <a:lnTo>
                    <a:pt x="416" y="86"/>
                  </a:lnTo>
                  <a:lnTo>
                    <a:pt x="400" y="106"/>
                  </a:lnTo>
                  <a:lnTo>
                    <a:pt x="402" y="124"/>
                  </a:lnTo>
                  <a:lnTo>
                    <a:pt x="370" y="140"/>
                  </a:lnTo>
                  <a:lnTo>
                    <a:pt x="338" y="124"/>
                  </a:lnTo>
                  <a:lnTo>
                    <a:pt x="300" y="134"/>
                  </a:lnTo>
                  <a:lnTo>
                    <a:pt x="258" y="112"/>
                  </a:lnTo>
                  <a:lnTo>
                    <a:pt x="230" y="116"/>
                  </a:lnTo>
                  <a:lnTo>
                    <a:pt x="192" y="82"/>
                  </a:lnTo>
                  <a:lnTo>
                    <a:pt x="164" y="82"/>
                  </a:lnTo>
                  <a:lnTo>
                    <a:pt x="90" y="122"/>
                  </a:lnTo>
                  <a:lnTo>
                    <a:pt x="88" y="140"/>
                  </a:lnTo>
                  <a:lnTo>
                    <a:pt x="34" y="162"/>
                  </a:lnTo>
                  <a:lnTo>
                    <a:pt x="22" y="180"/>
                  </a:lnTo>
                  <a:lnTo>
                    <a:pt x="10" y="182"/>
                  </a:lnTo>
                  <a:lnTo>
                    <a:pt x="0" y="190"/>
                  </a:lnTo>
                  <a:lnTo>
                    <a:pt x="18" y="204"/>
                  </a:lnTo>
                  <a:lnTo>
                    <a:pt x="24" y="206"/>
                  </a:lnTo>
                  <a:lnTo>
                    <a:pt x="38" y="220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49" name="Montenegro">
              <a:extLst>
                <a:ext uri="{FF2B5EF4-FFF2-40B4-BE49-F238E27FC236}">
                  <a16:creationId xmlns="" xmlns:a16="http://schemas.microsoft.com/office/drawing/2014/main" id="{587FEE2A-E8F3-4379-BF77-E01143F36B5E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371051" y="3016969"/>
              <a:ext cx="62474" cy="66863"/>
            </a:xfrm>
            <a:custGeom>
              <a:avLst/>
              <a:gdLst/>
              <a:ahLst/>
              <a:cxnLst>
                <a:cxn ang="0">
                  <a:pos x="668" y="246"/>
                </a:cxn>
                <a:cxn ang="0">
                  <a:pos x="912" y="395"/>
                </a:cxn>
                <a:cxn ang="0">
                  <a:pos x="784" y="520"/>
                </a:cxn>
                <a:cxn ang="0">
                  <a:pos x="732" y="709"/>
                </a:cxn>
                <a:cxn ang="0">
                  <a:pos x="590" y="614"/>
                </a:cxn>
                <a:cxn ang="0">
                  <a:pos x="449" y="780"/>
                </a:cxn>
                <a:cxn ang="0">
                  <a:pos x="425" y="992"/>
                </a:cxn>
                <a:cxn ang="0">
                  <a:pos x="307" y="921"/>
                </a:cxn>
                <a:cxn ang="0">
                  <a:pos x="236" y="756"/>
                </a:cxn>
                <a:cxn ang="0">
                  <a:pos x="0" y="567"/>
                </a:cxn>
                <a:cxn ang="0">
                  <a:pos x="0" y="567"/>
                </a:cxn>
                <a:cxn ang="0">
                  <a:pos x="94" y="425"/>
                </a:cxn>
                <a:cxn ang="0">
                  <a:pos x="331" y="213"/>
                </a:cxn>
                <a:cxn ang="0">
                  <a:pos x="401" y="0"/>
                </a:cxn>
                <a:cxn ang="0">
                  <a:pos x="668" y="246"/>
                </a:cxn>
              </a:cxnLst>
              <a:rect l="0" t="0" r="r" b="b"/>
              <a:pathLst>
                <a:path w="912" h="992">
                  <a:moveTo>
                    <a:pt x="668" y="246"/>
                  </a:moveTo>
                  <a:lnTo>
                    <a:pt x="912" y="395"/>
                  </a:lnTo>
                  <a:lnTo>
                    <a:pt x="784" y="520"/>
                  </a:lnTo>
                  <a:lnTo>
                    <a:pt x="732" y="709"/>
                  </a:lnTo>
                  <a:lnTo>
                    <a:pt x="590" y="614"/>
                  </a:lnTo>
                  <a:lnTo>
                    <a:pt x="449" y="780"/>
                  </a:lnTo>
                  <a:lnTo>
                    <a:pt x="425" y="992"/>
                  </a:lnTo>
                  <a:lnTo>
                    <a:pt x="307" y="921"/>
                  </a:lnTo>
                  <a:lnTo>
                    <a:pt x="236" y="756"/>
                  </a:lnTo>
                  <a:lnTo>
                    <a:pt x="0" y="567"/>
                  </a:lnTo>
                  <a:lnTo>
                    <a:pt x="0" y="567"/>
                  </a:lnTo>
                  <a:lnTo>
                    <a:pt x="94" y="425"/>
                  </a:lnTo>
                  <a:lnTo>
                    <a:pt x="331" y="213"/>
                  </a:lnTo>
                  <a:lnTo>
                    <a:pt x="401" y="0"/>
                  </a:lnTo>
                  <a:lnTo>
                    <a:pt x="668" y="246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50" name="Morocco">
              <a:extLst>
                <a:ext uri="{FF2B5EF4-FFF2-40B4-BE49-F238E27FC236}">
                  <a16:creationId xmlns="" xmlns:a16="http://schemas.microsoft.com/office/drawing/2014/main" id="{5A80B737-A420-4D02-B5C2-628CFD5A952A}"/>
                </a:ext>
              </a:extLst>
            </p:cNvPr>
            <p:cNvSpPr>
              <a:spLocks/>
            </p:cNvSpPr>
            <p:nvPr/>
          </p:nvSpPr>
          <p:spPr bwMode="gray">
            <a:xfrm>
              <a:off x="5398803" y="3339485"/>
              <a:ext cx="368987" cy="302851"/>
            </a:xfrm>
            <a:custGeom>
              <a:avLst/>
              <a:gdLst/>
              <a:ahLst/>
              <a:cxnLst>
                <a:cxn ang="0">
                  <a:pos x="55" y="339"/>
                </a:cxn>
                <a:cxn ang="0">
                  <a:pos x="131" y="276"/>
                </a:cxn>
                <a:cxn ang="0">
                  <a:pos x="133" y="256"/>
                </a:cxn>
                <a:cxn ang="0">
                  <a:pos x="125" y="204"/>
                </a:cxn>
                <a:cxn ang="0">
                  <a:pos x="147" y="170"/>
                </a:cxn>
                <a:cxn ang="0">
                  <a:pos x="171" y="124"/>
                </a:cxn>
                <a:cxn ang="0">
                  <a:pos x="229" y="92"/>
                </a:cxn>
                <a:cxn ang="0">
                  <a:pos x="251" y="56"/>
                </a:cxn>
                <a:cxn ang="0">
                  <a:pos x="269" y="8"/>
                </a:cxn>
                <a:cxn ang="0">
                  <a:pos x="287" y="0"/>
                </a:cxn>
                <a:cxn ang="0">
                  <a:pos x="299" y="2"/>
                </a:cxn>
                <a:cxn ang="0">
                  <a:pos x="295" y="16"/>
                </a:cxn>
                <a:cxn ang="0">
                  <a:pos x="333" y="32"/>
                </a:cxn>
                <a:cxn ang="0">
                  <a:pos x="385" y="26"/>
                </a:cxn>
                <a:cxn ang="0">
                  <a:pos x="413" y="34"/>
                </a:cxn>
                <a:cxn ang="0">
                  <a:pos x="423" y="68"/>
                </a:cxn>
                <a:cxn ang="0">
                  <a:pos x="423" y="104"/>
                </a:cxn>
                <a:cxn ang="0">
                  <a:pos x="433" y="134"/>
                </a:cxn>
                <a:cxn ang="0">
                  <a:pos x="451" y="150"/>
                </a:cxn>
                <a:cxn ang="0">
                  <a:pos x="443" y="176"/>
                </a:cxn>
                <a:cxn ang="0">
                  <a:pos x="399" y="170"/>
                </a:cxn>
                <a:cxn ang="0">
                  <a:pos x="383" y="186"/>
                </a:cxn>
                <a:cxn ang="0">
                  <a:pos x="383" y="206"/>
                </a:cxn>
                <a:cxn ang="0">
                  <a:pos x="275" y="286"/>
                </a:cxn>
                <a:cxn ang="0">
                  <a:pos x="263" y="303"/>
                </a:cxn>
                <a:cxn ang="0">
                  <a:pos x="233" y="307"/>
                </a:cxn>
                <a:cxn ang="0">
                  <a:pos x="189" y="327"/>
                </a:cxn>
                <a:cxn ang="0">
                  <a:pos x="169" y="351"/>
                </a:cxn>
                <a:cxn ang="0">
                  <a:pos x="169" y="369"/>
                </a:cxn>
                <a:cxn ang="0">
                  <a:pos x="0" y="371"/>
                </a:cxn>
                <a:cxn ang="0">
                  <a:pos x="10" y="359"/>
                </a:cxn>
                <a:cxn ang="0">
                  <a:pos x="55" y="339"/>
                </a:cxn>
              </a:cxnLst>
              <a:rect l="0" t="0" r="r" b="b"/>
              <a:pathLst>
                <a:path w="451" h="371">
                  <a:moveTo>
                    <a:pt x="55" y="339"/>
                  </a:moveTo>
                  <a:lnTo>
                    <a:pt x="131" y="276"/>
                  </a:lnTo>
                  <a:lnTo>
                    <a:pt x="133" y="256"/>
                  </a:lnTo>
                  <a:lnTo>
                    <a:pt x="125" y="204"/>
                  </a:lnTo>
                  <a:lnTo>
                    <a:pt x="147" y="170"/>
                  </a:lnTo>
                  <a:lnTo>
                    <a:pt x="171" y="124"/>
                  </a:lnTo>
                  <a:lnTo>
                    <a:pt x="229" y="92"/>
                  </a:lnTo>
                  <a:lnTo>
                    <a:pt x="251" y="56"/>
                  </a:lnTo>
                  <a:lnTo>
                    <a:pt x="269" y="8"/>
                  </a:lnTo>
                  <a:lnTo>
                    <a:pt x="287" y="0"/>
                  </a:lnTo>
                  <a:lnTo>
                    <a:pt x="299" y="2"/>
                  </a:lnTo>
                  <a:lnTo>
                    <a:pt x="295" y="16"/>
                  </a:lnTo>
                  <a:lnTo>
                    <a:pt x="333" y="32"/>
                  </a:lnTo>
                  <a:lnTo>
                    <a:pt x="385" y="26"/>
                  </a:lnTo>
                  <a:lnTo>
                    <a:pt x="413" y="34"/>
                  </a:lnTo>
                  <a:lnTo>
                    <a:pt x="423" y="68"/>
                  </a:lnTo>
                  <a:lnTo>
                    <a:pt x="423" y="104"/>
                  </a:lnTo>
                  <a:lnTo>
                    <a:pt x="433" y="134"/>
                  </a:lnTo>
                  <a:lnTo>
                    <a:pt x="451" y="150"/>
                  </a:lnTo>
                  <a:lnTo>
                    <a:pt x="443" y="176"/>
                  </a:lnTo>
                  <a:lnTo>
                    <a:pt x="399" y="170"/>
                  </a:lnTo>
                  <a:lnTo>
                    <a:pt x="383" y="186"/>
                  </a:lnTo>
                  <a:lnTo>
                    <a:pt x="383" y="206"/>
                  </a:lnTo>
                  <a:lnTo>
                    <a:pt x="275" y="286"/>
                  </a:lnTo>
                  <a:lnTo>
                    <a:pt x="263" y="303"/>
                  </a:lnTo>
                  <a:lnTo>
                    <a:pt x="233" y="307"/>
                  </a:lnTo>
                  <a:lnTo>
                    <a:pt x="189" y="327"/>
                  </a:lnTo>
                  <a:lnTo>
                    <a:pt x="169" y="351"/>
                  </a:lnTo>
                  <a:lnTo>
                    <a:pt x="169" y="369"/>
                  </a:lnTo>
                  <a:lnTo>
                    <a:pt x="0" y="371"/>
                  </a:lnTo>
                  <a:lnTo>
                    <a:pt x="10" y="359"/>
                  </a:lnTo>
                  <a:lnTo>
                    <a:pt x="55" y="339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51" name="Mozambique">
              <a:extLst>
                <a:ext uri="{FF2B5EF4-FFF2-40B4-BE49-F238E27FC236}">
                  <a16:creationId xmlns="" xmlns:a16="http://schemas.microsoft.com/office/drawing/2014/main" id="{3A9A7288-8FC9-4CE8-9763-1C79B4ECDA78}"/>
                </a:ext>
              </a:extLst>
            </p:cNvPr>
            <p:cNvSpPr>
              <a:spLocks/>
            </p:cNvSpPr>
            <p:nvPr/>
          </p:nvSpPr>
          <p:spPr bwMode="gray">
            <a:xfrm>
              <a:off x="6738084" y="4898965"/>
              <a:ext cx="327987" cy="556536"/>
            </a:xfrm>
            <a:custGeom>
              <a:avLst/>
              <a:gdLst/>
              <a:ahLst/>
              <a:cxnLst>
                <a:cxn ang="0">
                  <a:pos x="0" y="193"/>
                </a:cxn>
                <a:cxn ang="0">
                  <a:pos x="46" y="171"/>
                </a:cxn>
                <a:cxn ang="0">
                  <a:pos x="122" y="171"/>
                </a:cxn>
                <a:cxn ang="0">
                  <a:pos x="158" y="199"/>
                </a:cxn>
                <a:cxn ang="0">
                  <a:pos x="170" y="255"/>
                </a:cxn>
                <a:cxn ang="0">
                  <a:pos x="194" y="267"/>
                </a:cxn>
                <a:cxn ang="0">
                  <a:pos x="204" y="213"/>
                </a:cxn>
                <a:cxn ang="0">
                  <a:pos x="174" y="113"/>
                </a:cxn>
                <a:cxn ang="0">
                  <a:pos x="174" y="56"/>
                </a:cxn>
                <a:cxn ang="0">
                  <a:pos x="210" y="34"/>
                </a:cxn>
                <a:cxn ang="0">
                  <a:pos x="260" y="34"/>
                </a:cxn>
                <a:cxn ang="0">
                  <a:pos x="300" y="28"/>
                </a:cxn>
                <a:cxn ang="0">
                  <a:pos x="382" y="2"/>
                </a:cxn>
                <a:cxn ang="0">
                  <a:pos x="400" y="24"/>
                </a:cxn>
                <a:cxn ang="0">
                  <a:pos x="398" y="86"/>
                </a:cxn>
                <a:cxn ang="0">
                  <a:pos x="398" y="151"/>
                </a:cxn>
                <a:cxn ang="0">
                  <a:pos x="392" y="191"/>
                </a:cxn>
                <a:cxn ang="0">
                  <a:pos x="382" y="235"/>
                </a:cxn>
                <a:cxn ang="0">
                  <a:pos x="320" y="269"/>
                </a:cxn>
                <a:cxn ang="0">
                  <a:pos x="274" y="285"/>
                </a:cxn>
                <a:cxn ang="0">
                  <a:pos x="246" y="305"/>
                </a:cxn>
                <a:cxn ang="0">
                  <a:pos x="236" y="339"/>
                </a:cxn>
                <a:cxn ang="0">
                  <a:pos x="174" y="371"/>
                </a:cxn>
                <a:cxn ang="0">
                  <a:pos x="180" y="413"/>
                </a:cxn>
                <a:cxn ang="0">
                  <a:pos x="200" y="485"/>
                </a:cxn>
                <a:cxn ang="0">
                  <a:pos x="188" y="549"/>
                </a:cxn>
                <a:cxn ang="0">
                  <a:pos x="182" y="587"/>
                </a:cxn>
                <a:cxn ang="0">
                  <a:pos x="94" y="627"/>
                </a:cxn>
                <a:cxn ang="0">
                  <a:pos x="104" y="679"/>
                </a:cxn>
                <a:cxn ang="0">
                  <a:pos x="74" y="659"/>
                </a:cxn>
                <a:cxn ang="0">
                  <a:pos x="50" y="639"/>
                </a:cxn>
                <a:cxn ang="0">
                  <a:pos x="54" y="517"/>
                </a:cxn>
                <a:cxn ang="0">
                  <a:pos x="86" y="451"/>
                </a:cxn>
                <a:cxn ang="0">
                  <a:pos x="106" y="405"/>
                </a:cxn>
                <a:cxn ang="0">
                  <a:pos x="110" y="351"/>
                </a:cxn>
                <a:cxn ang="0">
                  <a:pos x="102" y="255"/>
                </a:cxn>
                <a:cxn ang="0">
                  <a:pos x="20" y="229"/>
                </a:cxn>
              </a:cxnLst>
              <a:rect l="0" t="0" r="r" b="b"/>
              <a:pathLst>
                <a:path w="402" h="681">
                  <a:moveTo>
                    <a:pt x="4" y="213"/>
                  </a:moveTo>
                  <a:lnTo>
                    <a:pt x="0" y="193"/>
                  </a:lnTo>
                  <a:lnTo>
                    <a:pt x="14" y="177"/>
                  </a:lnTo>
                  <a:lnTo>
                    <a:pt x="46" y="171"/>
                  </a:lnTo>
                  <a:lnTo>
                    <a:pt x="100" y="147"/>
                  </a:lnTo>
                  <a:lnTo>
                    <a:pt x="122" y="171"/>
                  </a:lnTo>
                  <a:lnTo>
                    <a:pt x="156" y="173"/>
                  </a:lnTo>
                  <a:lnTo>
                    <a:pt x="158" y="199"/>
                  </a:lnTo>
                  <a:lnTo>
                    <a:pt x="148" y="241"/>
                  </a:lnTo>
                  <a:lnTo>
                    <a:pt x="170" y="255"/>
                  </a:lnTo>
                  <a:lnTo>
                    <a:pt x="174" y="273"/>
                  </a:lnTo>
                  <a:lnTo>
                    <a:pt x="194" y="267"/>
                  </a:lnTo>
                  <a:lnTo>
                    <a:pt x="186" y="241"/>
                  </a:lnTo>
                  <a:lnTo>
                    <a:pt x="204" y="213"/>
                  </a:lnTo>
                  <a:lnTo>
                    <a:pt x="198" y="161"/>
                  </a:lnTo>
                  <a:lnTo>
                    <a:pt x="174" y="113"/>
                  </a:lnTo>
                  <a:lnTo>
                    <a:pt x="164" y="78"/>
                  </a:lnTo>
                  <a:lnTo>
                    <a:pt x="174" y="56"/>
                  </a:lnTo>
                  <a:lnTo>
                    <a:pt x="168" y="46"/>
                  </a:lnTo>
                  <a:lnTo>
                    <a:pt x="210" y="34"/>
                  </a:lnTo>
                  <a:lnTo>
                    <a:pt x="236" y="48"/>
                  </a:lnTo>
                  <a:lnTo>
                    <a:pt x="260" y="34"/>
                  </a:lnTo>
                  <a:lnTo>
                    <a:pt x="282" y="42"/>
                  </a:lnTo>
                  <a:lnTo>
                    <a:pt x="300" y="28"/>
                  </a:lnTo>
                  <a:lnTo>
                    <a:pt x="340" y="26"/>
                  </a:lnTo>
                  <a:lnTo>
                    <a:pt x="382" y="2"/>
                  </a:lnTo>
                  <a:lnTo>
                    <a:pt x="396" y="0"/>
                  </a:lnTo>
                  <a:lnTo>
                    <a:pt x="400" y="24"/>
                  </a:lnTo>
                  <a:lnTo>
                    <a:pt x="394" y="46"/>
                  </a:lnTo>
                  <a:lnTo>
                    <a:pt x="398" y="86"/>
                  </a:lnTo>
                  <a:lnTo>
                    <a:pt x="394" y="141"/>
                  </a:lnTo>
                  <a:lnTo>
                    <a:pt x="398" y="151"/>
                  </a:lnTo>
                  <a:lnTo>
                    <a:pt x="402" y="183"/>
                  </a:lnTo>
                  <a:lnTo>
                    <a:pt x="392" y="191"/>
                  </a:lnTo>
                  <a:lnTo>
                    <a:pt x="394" y="209"/>
                  </a:lnTo>
                  <a:lnTo>
                    <a:pt x="382" y="235"/>
                  </a:lnTo>
                  <a:lnTo>
                    <a:pt x="364" y="249"/>
                  </a:lnTo>
                  <a:lnTo>
                    <a:pt x="320" y="269"/>
                  </a:lnTo>
                  <a:lnTo>
                    <a:pt x="310" y="267"/>
                  </a:lnTo>
                  <a:lnTo>
                    <a:pt x="274" y="285"/>
                  </a:lnTo>
                  <a:lnTo>
                    <a:pt x="264" y="301"/>
                  </a:lnTo>
                  <a:lnTo>
                    <a:pt x="246" y="305"/>
                  </a:lnTo>
                  <a:lnTo>
                    <a:pt x="248" y="325"/>
                  </a:lnTo>
                  <a:lnTo>
                    <a:pt x="236" y="339"/>
                  </a:lnTo>
                  <a:lnTo>
                    <a:pt x="206" y="349"/>
                  </a:lnTo>
                  <a:lnTo>
                    <a:pt x="174" y="371"/>
                  </a:lnTo>
                  <a:lnTo>
                    <a:pt x="164" y="411"/>
                  </a:lnTo>
                  <a:lnTo>
                    <a:pt x="180" y="413"/>
                  </a:lnTo>
                  <a:lnTo>
                    <a:pt x="188" y="475"/>
                  </a:lnTo>
                  <a:lnTo>
                    <a:pt x="200" y="485"/>
                  </a:lnTo>
                  <a:lnTo>
                    <a:pt x="196" y="519"/>
                  </a:lnTo>
                  <a:lnTo>
                    <a:pt x="188" y="549"/>
                  </a:lnTo>
                  <a:lnTo>
                    <a:pt x="196" y="557"/>
                  </a:lnTo>
                  <a:lnTo>
                    <a:pt x="182" y="587"/>
                  </a:lnTo>
                  <a:lnTo>
                    <a:pt x="124" y="609"/>
                  </a:lnTo>
                  <a:lnTo>
                    <a:pt x="94" y="627"/>
                  </a:lnTo>
                  <a:lnTo>
                    <a:pt x="100" y="651"/>
                  </a:lnTo>
                  <a:lnTo>
                    <a:pt x="104" y="679"/>
                  </a:lnTo>
                  <a:lnTo>
                    <a:pt x="76" y="681"/>
                  </a:lnTo>
                  <a:lnTo>
                    <a:pt x="74" y="659"/>
                  </a:lnTo>
                  <a:lnTo>
                    <a:pt x="64" y="647"/>
                  </a:lnTo>
                  <a:lnTo>
                    <a:pt x="50" y="639"/>
                  </a:lnTo>
                  <a:lnTo>
                    <a:pt x="64" y="619"/>
                  </a:lnTo>
                  <a:lnTo>
                    <a:pt x="54" y="517"/>
                  </a:lnTo>
                  <a:lnTo>
                    <a:pt x="48" y="491"/>
                  </a:lnTo>
                  <a:lnTo>
                    <a:pt x="86" y="451"/>
                  </a:lnTo>
                  <a:lnTo>
                    <a:pt x="88" y="423"/>
                  </a:lnTo>
                  <a:lnTo>
                    <a:pt x="106" y="405"/>
                  </a:lnTo>
                  <a:lnTo>
                    <a:pt x="102" y="371"/>
                  </a:lnTo>
                  <a:lnTo>
                    <a:pt x="110" y="351"/>
                  </a:lnTo>
                  <a:lnTo>
                    <a:pt x="104" y="315"/>
                  </a:lnTo>
                  <a:lnTo>
                    <a:pt x="102" y="255"/>
                  </a:lnTo>
                  <a:lnTo>
                    <a:pt x="62" y="231"/>
                  </a:lnTo>
                  <a:lnTo>
                    <a:pt x="20" y="229"/>
                  </a:lnTo>
                  <a:lnTo>
                    <a:pt x="4" y="213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52" name="Myanmar">
              <a:extLst>
                <a:ext uri="{FF2B5EF4-FFF2-40B4-BE49-F238E27FC236}">
                  <a16:creationId xmlns="" xmlns:a16="http://schemas.microsoft.com/office/drawing/2014/main" id="{9F57F72F-21AC-4487-9F62-73DD55B262B9}"/>
                </a:ext>
              </a:extLst>
            </p:cNvPr>
            <p:cNvSpPr>
              <a:spLocks/>
            </p:cNvSpPr>
            <p:nvPr/>
          </p:nvSpPr>
          <p:spPr bwMode="gray">
            <a:xfrm>
              <a:off x="8659150" y="3628568"/>
              <a:ext cx="263561" cy="603735"/>
            </a:xfrm>
            <a:custGeom>
              <a:avLst/>
              <a:gdLst/>
              <a:ahLst/>
              <a:cxnLst>
                <a:cxn ang="0">
                  <a:pos x="2" y="298"/>
                </a:cxn>
                <a:cxn ang="0">
                  <a:pos x="2" y="270"/>
                </a:cxn>
                <a:cxn ang="0">
                  <a:pos x="18" y="238"/>
                </a:cxn>
                <a:cxn ang="0">
                  <a:pos x="30" y="192"/>
                </a:cxn>
                <a:cxn ang="0">
                  <a:pos x="46" y="172"/>
                </a:cxn>
                <a:cxn ang="0">
                  <a:pos x="72" y="108"/>
                </a:cxn>
                <a:cxn ang="0">
                  <a:pos x="136" y="34"/>
                </a:cxn>
                <a:cxn ang="0">
                  <a:pos x="158" y="40"/>
                </a:cxn>
                <a:cxn ang="0">
                  <a:pos x="166" y="16"/>
                </a:cxn>
                <a:cxn ang="0">
                  <a:pos x="176" y="0"/>
                </a:cxn>
                <a:cxn ang="0">
                  <a:pos x="212" y="24"/>
                </a:cxn>
                <a:cxn ang="0">
                  <a:pos x="186" y="132"/>
                </a:cxn>
                <a:cxn ang="0">
                  <a:pos x="196" y="162"/>
                </a:cxn>
                <a:cxn ang="0">
                  <a:pos x="230" y="182"/>
                </a:cxn>
                <a:cxn ang="0">
                  <a:pos x="264" y="218"/>
                </a:cxn>
                <a:cxn ang="0">
                  <a:pos x="254" y="272"/>
                </a:cxn>
                <a:cxn ang="0">
                  <a:pos x="294" y="288"/>
                </a:cxn>
                <a:cxn ang="0">
                  <a:pos x="324" y="286"/>
                </a:cxn>
                <a:cxn ang="0">
                  <a:pos x="290" y="330"/>
                </a:cxn>
                <a:cxn ang="0">
                  <a:pos x="254" y="344"/>
                </a:cxn>
                <a:cxn ang="0">
                  <a:pos x="210" y="360"/>
                </a:cxn>
                <a:cxn ang="0">
                  <a:pos x="198" y="398"/>
                </a:cxn>
                <a:cxn ang="0">
                  <a:pos x="192" y="420"/>
                </a:cxn>
                <a:cxn ang="0">
                  <a:pos x="218" y="486"/>
                </a:cxn>
                <a:cxn ang="0">
                  <a:pos x="230" y="512"/>
                </a:cxn>
                <a:cxn ang="0">
                  <a:pos x="210" y="538"/>
                </a:cxn>
                <a:cxn ang="0">
                  <a:pos x="244" y="580"/>
                </a:cxn>
                <a:cxn ang="0">
                  <a:pos x="260" y="626"/>
                </a:cxn>
                <a:cxn ang="0">
                  <a:pos x="254" y="652"/>
                </a:cxn>
                <a:cxn ang="0">
                  <a:pos x="260" y="686"/>
                </a:cxn>
                <a:cxn ang="0">
                  <a:pos x="222" y="718"/>
                </a:cxn>
                <a:cxn ang="0">
                  <a:pos x="232" y="642"/>
                </a:cxn>
                <a:cxn ang="0">
                  <a:pos x="208" y="592"/>
                </a:cxn>
                <a:cxn ang="0">
                  <a:pos x="196" y="556"/>
                </a:cxn>
                <a:cxn ang="0">
                  <a:pos x="186" y="498"/>
                </a:cxn>
                <a:cxn ang="0">
                  <a:pos x="158" y="462"/>
                </a:cxn>
                <a:cxn ang="0">
                  <a:pos x="124" y="484"/>
                </a:cxn>
                <a:cxn ang="0">
                  <a:pos x="88" y="506"/>
                </a:cxn>
                <a:cxn ang="0">
                  <a:pos x="48" y="508"/>
                </a:cxn>
                <a:cxn ang="0">
                  <a:pos x="62" y="462"/>
                </a:cxn>
                <a:cxn ang="0">
                  <a:pos x="58" y="376"/>
                </a:cxn>
                <a:cxn ang="0">
                  <a:pos x="32" y="350"/>
                </a:cxn>
                <a:cxn ang="0">
                  <a:pos x="0" y="328"/>
                </a:cxn>
              </a:cxnLst>
              <a:rect l="0" t="0" r="r" b="b"/>
              <a:pathLst>
                <a:path w="324" h="740">
                  <a:moveTo>
                    <a:pt x="0" y="328"/>
                  </a:moveTo>
                  <a:lnTo>
                    <a:pt x="2" y="298"/>
                  </a:lnTo>
                  <a:lnTo>
                    <a:pt x="6" y="294"/>
                  </a:lnTo>
                  <a:lnTo>
                    <a:pt x="2" y="270"/>
                  </a:lnTo>
                  <a:lnTo>
                    <a:pt x="18" y="272"/>
                  </a:lnTo>
                  <a:lnTo>
                    <a:pt x="18" y="238"/>
                  </a:lnTo>
                  <a:lnTo>
                    <a:pt x="32" y="224"/>
                  </a:lnTo>
                  <a:lnTo>
                    <a:pt x="30" y="192"/>
                  </a:lnTo>
                  <a:lnTo>
                    <a:pt x="28" y="170"/>
                  </a:lnTo>
                  <a:lnTo>
                    <a:pt x="46" y="172"/>
                  </a:lnTo>
                  <a:lnTo>
                    <a:pt x="72" y="134"/>
                  </a:lnTo>
                  <a:lnTo>
                    <a:pt x="72" y="108"/>
                  </a:lnTo>
                  <a:lnTo>
                    <a:pt x="110" y="50"/>
                  </a:lnTo>
                  <a:lnTo>
                    <a:pt x="136" y="34"/>
                  </a:lnTo>
                  <a:lnTo>
                    <a:pt x="148" y="46"/>
                  </a:lnTo>
                  <a:lnTo>
                    <a:pt x="158" y="40"/>
                  </a:lnTo>
                  <a:lnTo>
                    <a:pt x="154" y="24"/>
                  </a:lnTo>
                  <a:lnTo>
                    <a:pt x="166" y="16"/>
                  </a:lnTo>
                  <a:lnTo>
                    <a:pt x="168" y="4"/>
                  </a:lnTo>
                  <a:lnTo>
                    <a:pt x="176" y="0"/>
                  </a:lnTo>
                  <a:lnTo>
                    <a:pt x="194" y="6"/>
                  </a:lnTo>
                  <a:lnTo>
                    <a:pt x="212" y="24"/>
                  </a:lnTo>
                  <a:lnTo>
                    <a:pt x="222" y="94"/>
                  </a:lnTo>
                  <a:lnTo>
                    <a:pt x="186" y="132"/>
                  </a:lnTo>
                  <a:lnTo>
                    <a:pt x="180" y="144"/>
                  </a:lnTo>
                  <a:lnTo>
                    <a:pt x="196" y="162"/>
                  </a:lnTo>
                  <a:lnTo>
                    <a:pt x="186" y="184"/>
                  </a:lnTo>
                  <a:lnTo>
                    <a:pt x="230" y="182"/>
                  </a:lnTo>
                  <a:lnTo>
                    <a:pt x="246" y="214"/>
                  </a:lnTo>
                  <a:lnTo>
                    <a:pt x="264" y="218"/>
                  </a:lnTo>
                  <a:lnTo>
                    <a:pt x="240" y="258"/>
                  </a:lnTo>
                  <a:lnTo>
                    <a:pt x="254" y="272"/>
                  </a:lnTo>
                  <a:lnTo>
                    <a:pt x="272" y="270"/>
                  </a:lnTo>
                  <a:lnTo>
                    <a:pt x="294" y="288"/>
                  </a:lnTo>
                  <a:lnTo>
                    <a:pt x="318" y="272"/>
                  </a:lnTo>
                  <a:lnTo>
                    <a:pt x="324" y="286"/>
                  </a:lnTo>
                  <a:lnTo>
                    <a:pt x="314" y="294"/>
                  </a:lnTo>
                  <a:lnTo>
                    <a:pt x="290" y="330"/>
                  </a:lnTo>
                  <a:lnTo>
                    <a:pt x="264" y="328"/>
                  </a:lnTo>
                  <a:lnTo>
                    <a:pt x="254" y="344"/>
                  </a:lnTo>
                  <a:lnTo>
                    <a:pt x="222" y="364"/>
                  </a:lnTo>
                  <a:lnTo>
                    <a:pt x="210" y="360"/>
                  </a:lnTo>
                  <a:lnTo>
                    <a:pt x="200" y="372"/>
                  </a:lnTo>
                  <a:lnTo>
                    <a:pt x="198" y="398"/>
                  </a:lnTo>
                  <a:lnTo>
                    <a:pt x="182" y="406"/>
                  </a:lnTo>
                  <a:lnTo>
                    <a:pt x="192" y="420"/>
                  </a:lnTo>
                  <a:lnTo>
                    <a:pt x="192" y="456"/>
                  </a:lnTo>
                  <a:lnTo>
                    <a:pt x="218" y="486"/>
                  </a:lnTo>
                  <a:lnTo>
                    <a:pt x="224" y="502"/>
                  </a:lnTo>
                  <a:lnTo>
                    <a:pt x="230" y="512"/>
                  </a:lnTo>
                  <a:lnTo>
                    <a:pt x="216" y="532"/>
                  </a:lnTo>
                  <a:lnTo>
                    <a:pt x="210" y="538"/>
                  </a:lnTo>
                  <a:lnTo>
                    <a:pt x="216" y="552"/>
                  </a:lnTo>
                  <a:lnTo>
                    <a:pt x="244" y="580"/>
                  </a:lnTo>
                  <a:lnTo>
                    <a:pt x="258" y="604"/>
                  </a:lnTo>
                  <a:lnTo>
                    <a:pt x="260" y="626"/>
                  </a:lnTo>
                  <a:lnTo>
                    <a:pt x="254" y="636"/>
                  </a:lnTo>
                  <a:lnTo>
                    <a:pt x="254" y="652"/>
                  </a:lnTo>
                  <a:lnTo>
                    <a:pt x="262" y="668"/>
                  </a:lnTo>
                  <a:lnTo>
                    <a:pt x="260" y="686"/>
                  </a:lnTo>
                  <a:lnTo>
                    <a:pt x="220" y="740"/>
                  </a:lnTo>
                  <a:lnTo>
                    <a:pt x="222" y="718"/>
                  </a:lnTo>
                  <a:lnTo>
                    <a:pt x="232" y="684"/>
                  </a:lnTo>
                  <a:lnTo>
                    <a:pt x="232" y="642"/>
                  </a:lnTo>
                  <a:lnTo>
                    <a:pt x="224" y="612"/>
                  </a:lnTo>
                  <a:lnTo>
                    <a:pt x="208" y="592"/>
                  </a:lnTo>
                  <a:lnTo>
                    <a:pt x="200" y="596"/>
                  </a:lnTo>
                  <a:lnTo>
                    <a:pt x="196" y="556"/>
                  </a:lnTo>
                  <a:lnTo>
                    <a:pt x="190" y="556"/>
                  </a:lnTo>
                  <a:lnTo>
                    <a:pt x="186" y="498"/>
                  </a:lnTo>
                  <a:lnTo>
                    <a:pt x="178" y="496"/>
                  </a:lnTo>
                  <a:lnTo>
                    <a:pt x="158" y="462"/>
                  </a:lnTo>
                  <a:lnTo>
                    <a:pt x="140" y="484"/>
                  </a:lnTo>
                  <a:lnTo>
                    <a:pt x="124" y="484"/>
                  </a:lnTo>
                  <a:lnTo>
                    <a:pt x="102" y="512"/>
                  </a:lnTo>
                  <a:lnTo>
                    <a:pt x="88" y="506"/>
                  </a:lnTo>
                  <a:lnTo>
                    <a:pt x="66" y="512"/>
                  </a:lnTo>
                  <a:lnTo>
                    <a:pt x="48" y="508"/>
                  </a:lnTo>
                  <a:lnTo>
                    <a:pt x="50" y="486"/>
                  </a:lnTo>
                  <a:lnTo>
                    <a:pt x="62" y="462"/>
                  </a:lnTo>
                  <a:lnTo>
                    <a:pt x="64" y="406"/>
                  </a:lnTo>
                  <a:lnTo>
                    <a:pt x="58" y="376"/>
                  </a:lnTo>
                  <a:lnTo>
                    <a:pt x="46" y="368"/>
                  </a:lnTo>
                  <a:lnTo>
                    <a:pt x="32" y="350"/>
                  </a:lnTo>
                  <a:lnTo>
                    <a:pt x="18" y="332"/>
                  </a:lnTo>
                  <a:lnTo>
                    <a:pt x="0" y="328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53" name="Namibia">
              <a:extLst>
                <a:ext uri="{FF2B5EF4-FFF2-40B4-BE49-F238E27FC236}">
                  <a16:creationId xmlns="" xmlns:a16="http://schemas.microsoft.com/office/drawing/2014/main" id="{3A629575-DD89-4972-BE0B-22FA0AB59424}"/>
                </a:ext>
              </a:extLst>
            </p:cNvPr>
            <p:cNvSpPr>
              <a:spLocks/>
            </p:cNvSpPr>
            <p:nvPr/>
          </p:nvSpPr>
          <p:spPr bwMode="gray">
            <a:xfrm>
              <a:off x="6169964" y="5113322"/>
              <a:ext cx="409984" cy="422810"/>
            </a:xfrm>
            <a:custGeom>
              <a:avLst/>
              <a:gdLst/>
              <a:ahLst/>
              <a:cxnLst>
                <a:cxn ang="0">
                  <a:pos x="152" y="476"/>
                </a:cxn>
                <a:cxn ang="0">
                  <a:pos x="168" y="496"/>
                </a:cxn>
                <a:cxn ang="0">
                  <a:pos x="188" y="482"/>
                </a:cxn>
                <a:cxn ang="0">
                  <a:pos x="204" y="482"/>
                </a:cxn>
                <a:cxn ang="0">
                  <a:pos x="198" y="496"/>
                </a:cxn>
                <a:cxn ang="0">
                  <a:pos x="206" y="506"/>
                </a:cxn>
                <a:cxn ang="0">
                  <a:pos x="222" y="508"/>
                </a:cxn>
                <a:cxn ang="0">
                  <a:pos x="242" y="516"/>
                </a:cxn>
                <a:cxn ang="0">
                  <a:pos x="256" y="512"/>
                </a:cxn>
                <a:cxn ang="0">
                  <a:pos x="282" y="516"/>
                </a:cxn>
                <a:cxn ang="0">
                  <a:pos x="286" y="502"/>
                </a:cxn>
                <a:cxn ang="0">
                  <a:pos x="306" y="498"/>
                </a:cxn>
                <a:cxn ang="0">
                  <a:pos x="318" y="484"/>
                </a:cxn>
                <a:cxn ang="0">
                  <a:pos x="316" y="340"/>
                </a:cxn>
                <a:cxn ang="0">
                  <a:pos x="314" y="226"/>
                </a:cxn>
                <a:cxn ang="0">
                  <a:pos x="353" y="224"/>
                </a:cxn>
                <a:cxn ang="0">
                  <a:pos x="355" y="54"/>
                </a:cxn>
                <a:cxn ang="0">
                  <a:pos x="437" y="32"/>
                </a:cxn>
                <a:cxn ang="0">
                  <a:pos x="441" y="52"/>
                </a:cxn>
                <a:cxn ang="0">
                  <a:pos x="453" y="60"/>
                </a:cxn>
                <a:cxn ang="0">
                  <a:pos x="463" y="48"/>
                </a:cxn>
                <a:cxn ang="0">
                  <a:pos x="475" y="44"/>
                </a:cxn>
                <a:cxn ang="0">
                  <a:pos x="485" y="46"/>
                </a:cxn>
                <a:cxn ang="0">
                  <a:pos x="505" y="30"/>
                </a:cxn>
                <a:cxn ang="0">
                  <a:pos x="475" y="14"/>
                </a:cxn>
                <a:cxn ang="0">
                  <a:pos x="441" y="20"/>
                </a:cxn>
                <a:cxn ang="0">
                  <a:pos x="371" y="36"/>
                </a:cxn>
                <a:cxn ang="0">
                  <a:pos x="325" y="40"/>
                </a:cxn>
                <a:cxn ang="0">
                  <a:pos x="308" y="38"/>
                </a:cxn>
                <a:cxn ang="0">
                  <a:pos x="280" y="28"/>
                </a:cxn>
                <a:cxn ang="0">
                  <a:pos x="256" y="10"/>
                </a:cxn>
                <a:cxn ang="0">
                  <a:pos x="102" y="14"/>
                </a:cxn>
                <a:cxn ang="0">
                  <a:pos x="86" y="20"/>
                </a:cxn>
                <a:cxn ang="0">
                  <a:pos x="64" y="2"/>
                </a:cxn>
                <a:cxn ang="0">
                  <a:pos x="50" y="0"/>
                </a:cxn>
                <a:cxn ang="0">
                  <a:pos x="24" y="4"/>
                </a:cxn>
                <a:cxn ang="0">
                  <a:pos x="0" y="10"/>
                </a:cxn>
                <a:cxn ang="0">
                  <a:pos x="0" y="54"/>
                </a:cxn>
                <a:cxn ang="0">
                  <a:pos x="40" y="116"/>
                </a:cxn>
                <a:cxn ang="0">
                  <a:pos x="56" y="148"/>
                </a:cxn>
                <a:cxn ang="0">
                  <a:pos x="98" y="232"/>
                </a:cxn>
                <a:cxn ang="0">
                  <a:pos x="98" y="276"/>
                </a:cxn>
                <a:cxn ang="0">
                  <a:pos x="102" y="290"/>
                </a:cxn>
                <a:cxn ang="0">
                  <a:pos x="98" y="312"/>
                </a:cxn>
                <a:cxn ang="0">
                  <a:pos x="112" y="352"/>
                </a:cxn>
                <a:cxn ang="0">
                  <a:pos x="108" y="364"/>
                </a:cxn>
                <a:cxn ang="0">
                  <a:pos x="116" y="378"/>
                </a:cxn>
                <a:cxn ang="0">
                  <a:pos x="126" y="398"/>
                </a:cxn>
                <a:cxn ang="0">
                  <a:pos x="126" y="428"/>
                </a:cxn>
                <a:cxn ang="0">
                  <a:pos x="152" y="476"/>
                </a:cxn>
              </a:cxnLst>
              <a:rect l="0" t="0" r="r" b="b"/>
              <a:pathLst>
                <a:path w="505" h="516">
                  <a:moveTo>
                    <a:pt x="152" y="476"/>
                  </a:moveTo>
                  <a:lnTo>
                    <a:pt x="168" y="496"/>
                  </a:lnTo>
                  <a:lnTo>
                    <a:pt x="188" y="482"/>
                  </a:lnTo>
                  <a:lnTo>
                    <a:pt x="204" y="482"/>
                  </a:lnTo>
                  <a:lnTo>
                    <a:pt x="198" y="496"/>
                  </a:lnTo>
                  <a:lnTo>
                    <a:pt x="206" y="506"/>
                  </a:lnTo>
                  <a:lnTo>
                    <a:pt x="222" y="508"/>
                  </a:lnTo>
                  <a:lnTo>
                    <a:pt x="242" y="516"/>
                  </a:lnTo>
                  <a:lnTo>
                    <a:pt x="256" y="512"/>
                  </a:lnTo>
                  <a:lnTo>
                    <a:pt x="282" y="516"/>
                  </a:lnTo>
                  <a:lnTo>
                    <a:pt x="286" y="502"/>
                  </a:lnTo>
                  <a:lnTo>
                    <a:pt x="306" y="498"/>
                  </a:lnTo>
                  <a:lnTo>
                    <a:pt x="318" y="484"/>
                  </a:lnTo>
                  <a:lnTo>
                    <a:pt x="316" y="340"/>
                  </a:lnTo>
                  <a:lnTo>
                    <a:pt x="314" y="226"/>
                  </a:lnTo>
                  <a:lnTo>
                    <a:pt x="353" y="224"/>
                  </a:lnTo>
                  <a:lnTo>
                    <a:pt x="355" y="54"/>
                  </a:lnTo>
                  <a:lnTo>
                    <a:pt x="437" y="32"/>
                  </a:lnTo>
                  <a:lnTo>
                    <a:pt x="441" y="52"/>
                  </a:lnTo>
                  <a:lnTo>
                    <a:pt x="453" y="60"/>
                  </a:lnTo>
                  <a:lnTo>
                    <a:pt x="463" y="48"/>
                  </a:lnTo>
                  <a:lnTo>
                    <a:pt x="475" y="44"/>
                  </a:lnTo>
                  <a:lnTo>
                    <a:pt x="485" y="46"/>
                  </a:lnTo>
                  <a:lnTo>
                    <a:pt x="505" y="30"/>
                  </a:lnTo>
                  <a:lnTo>
                    <a:pt x="475" y="14"/>
                  </a:lnTo>
                  <a:lnTo>
                    <a:pt x="441" y="20"/>
                  </a:lnTo>
                  <a:lnTo>
                    <a:pt x="371" y="36"/>
                  </a:lnTo>
                  <a:lnTo>
                    <a:pt x="325" y="40"/>
                  </a:lnTo>
                  <a:lnTo>
                    <a:pt x="308" y="38"/>
                  </a:lnTo>
                  <a:lnTo>
                    <a:pt x="280" y="28"/>
                  </a:lnTo>
                  <a:lnTo>
                    <a:pt x="256" y="10"/>
                  </a:lnTo>
                  <a:lnTo>
                    <a:pt x="102" y="14"/>
                  </a:lnTo>
                  <a:lnTo>
                    <a:pt x="86" y="20"/>
                  </a:lnTo>
                  <a:lnTo>
                    <a:pt x="64" y="2"/>
                  </a:lnTo>
                  <a:lnTo>
                    <a:pt x="50" y="0"/>
                  </a:lnTo>
                  <a:lnTo>
                    <a:pt x="24" y="4"/>
                  </a:lnTo>
                  <a:lnTo>
                    <a:pt x="0" y="10"/>
                  </a:lnTo>
                  <a:lnTo>
                    <a:pt x="0" y="54"/>
                  </a:lnTo>
                  <a:lnTo>
                    <a:pt x="40" y="116"/>
                  </a:lnTo>
                  <a:lnTo>
                    <a:pt x="56" y="148"/>
                  </a:lnTo>
                  <a:lnTo>
                    <a:pt x="98" y="232"/>
                  </a:lnTo>
                  <a:lnTo>
                    <a:pt x="98" y="276"/>
                  </a:lnTo>
                  <a:lnTo>
                    <a:pt x="102" y="290"/>
                  </a:lnTo>
                  <a:lnTo>
                    <a:pt x="98" y="312"/>
                  </a:lnTo>
                  <a:lnTo>
                    <a:pt x="112" y="352"/>
                  </a:lnTo>
                  <a:lnTo>
                    <a:pt x="108" y="364"/>
                  </a:lnTo>
                  <a:lnTo>
                    <a:pt x="116" y="378"/>
                  </a:lnTo>
                  <a:lnTo>
                    <a:pt x="126" y="398"/>
                  </a:lnTo>
                  <a:lnTo>
                    <a:pt x="126" y="428"/>
                  </a:lnTo>
                  <a:lnTo>
                    <a:pt x="152" y="476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54" name="Nepal">
              <a:extLst>
                <a:ext uri="{FF2B5EF4-FFF2-40B4-BE49-F238E27FC236}">
                  <a16:creationId xmlns="" xmlns:a16="http://schemas.microsoft.com/office/drawing/2014/main" id="{09393C99-DD16-4D7B-8C26-CAB09CA9C390}"/>
                </a:ext>
              </a:extLst>
            </p:cNvPr>
            <p:cNvSpPr>
              <a:spLocks/>
            </p:cNvSpPr>
            <p:nvPr/>
          </p:nvSpPr>
          <p:spPr bwMode="gray">
            <a:xfrm>
              <a:off x="8270643" y="3542039"/>
              <a:ext cx="249896" cy="153392"/>
            </a:xfrm>
            <a:custGeom>
              <a:avLst/>
              <a:gdLst/>
              <a:ahLst/>
              <a:cxnLst>
                <a:cxn ang="0">
                  <a:pos x="308" y="170"/>
                </a:cxn>
                <a:cxn ang="0">
                  <a:pos x="302" y="186"/>
                </a:cxn>
                <a:cxn ang="0">
                  <a:pos x="284" y="190"/>
                </a:cxn>
                <a:cxn ang="0">
                  <a:pos x="256" y="182"/>
                </a:cxn>
                <a:cxn ang="0">
                  <a:pos x="220" y="178"/>
                </a:cxn>
                <a:cxn ang="0">
                  <a:pos x="176" y="154"/>
                </a:cxn>
                <a:cxn ang="0">
                  <a:pos x="162" y="144"/>
                </a:cxn>
                <a:cxn ang="0">
                  <a:pos x="136" y="150"/>
                </a:cxn>
                <a:cxn ang="0">
                  <a:pos x="102" y="146"/>
                </a:cxn>
                <a:cxn ang="0">
                  <a:pos x="34" y="104"/>
                </a:cxn>
                <a:cxn ang="0">
                  <a:pos x="28" y="90"/>
                </a:cxn>
                <a:cxn ang="0">
                  <a:pos x="0" y="82"/>
                </a:cxn>
                <a:cxn ang="0">
                  <a:pos x="2" y="64"/>
                </a:cxn>
                <a:cxn ang="0">
                  <a:pos x="2" y="38"/>
                </a:cxn>
                <a:cxn ang="0">
                  <a:pos x="18" y="14"/>
                </a:cxn>
                <a:cxn ang="0">
                  <a:pos x="20" y="0"/>
                </a:cxn>
                <a:cxn ang="0">
                  <a:pos x="36" y="16"/>
                </a:cxn>
                <a:cxn ang="0">
                  <a:pos x="50" y="10"/>
                </a:cxn>
                <a:cxn ang="0">
                  <a:pos x="88" y="44"/>
                </a:cxn>
                <a:cxn ang="0">
                  <a:pos x="136" y="74"/>
                </a:cxn>
                <a:cxn ang="0">
                  <a:pos x="148" y="66"/>
                </a:cxn>
                <a:cxn ang="0">
                  <a:pos x="192" y="106"/>
                </a:cxn>
                <a:cxn ang="0">
                  <a:pos x="236" y="124"/>
                </a:cxn>
                <a:cxn ang="0">
                  <a:pos x="248" y="118"/>
                </a:cxn>
                <a:cxn ang="0">
                  <a:pos x="310" y="124"/>
                </a:cxn>
                <a:cxn ang="0">
                  <a:pos x="308" y="170"/>
                </a:cxn>
              </a:cxnLst>
              <a:rect l="0" t="0" r="r" b="b"/>
              <a:pathLst>
                <a:path w="310" h="190">
                  <a:moveTo>
                    <a:pt x="308" y="170"/>
                  </a:moveTo>
                  <a:lnTo>
                    <a:pt x="302" y="186"/>
                  </a:lnTo>
                  <a:lnTo>
                    <a:pt x="284" y="190"/>
                  </a:lnTo>
                  <a:lnTo>
                    <a:pt x="256" y="182"/>
                  </a:lnTo>
                  <a:lnTo>
                    <a:pt x="220" y="178"/>
                  </a:lnTo>
                  <a:lnTo>
                    <a:pt x="176" y="154"/>
                  </a:lnTo>
                  <a:lnTo>
                    <a:pt x="162" y="144"/>
                  </a:lnTo>
                  <a:lnTo>
                    <a:pt x="136" y="150"/>
                  </a:lnTo>
                  <a:lnTo>
                    <a:pt x="102" y="146"/>
                  </a:lnTo>
                  <a:lnTo>
                    <a:pt x="34" y="104"/>
                  </a:lnTo>
                  <a:lnTo>
                    <a:pt x="28" y="90"/>
                  </a:lnTo>
                  <a:lnTo>
                    <a:pt x="0" y="82"/>
                  </a:lnTo>
                  <a:lnTo>
                    <a:pt x="2" y="64"/>
                  </a:lnTo>
                  <a:lnTo>
                    <a:pt x="2" y="38"/>
                  </a:lnTo>
                  <a:lnTo>
                    <a:pt x="18" y="14"/>
                  </a:lnTo>
                  <a:lnTo>
                    <a:pt x="20" y="0"/>
                  </a:lnTo>
                  <a:lnTo>
                    <a:pt x="36" y="16"/>
                  </a:lnTo>
                  <a:lnTo>
                    <a:pt x="50" y="10"/>
                  </a:lnTo>
                  <a:lnTo>
                    <a:pt x="88" y="44"/>
                  </a:lnTo>
                  <a:lnTo>
                    <a:pt x="136" y="74"/>
                  </a:lnTo>
                  <a:lnTo>
                    <a:pt x="148" y="66"/>
                  </a:lnTo>
                  <a:lnTo>
                    <a:pt x="192" y="106"/>
                  </a:lnTo>
                  <a:lnTo>
                    <a:pt x="236" y="124"/>
                  </a:lnTo>
                  <a:lnTo>
                    <a:pt x="248" y="118"/>
                  </a:lnTo>
                  <a:lnTo>
                    <a:pt x="310" y="124"/>
                  </a:lnTo>
                  <a:lnTo>
                    <a:pt x="308" y="170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55" name="Netherlands">
              <a:extLst>
                <a:ext uri="{FF2B5EF4-FFF2-40B4-BE49-F238E27FC236}">
                  <a16:creationId xmlns="" xmlns:a16="http://schemas.microsoft.com/office/drawing/2014/main" id="{C39DE480-8F93-48C5-89D0-4DE3BACB7B58}"/>
                </a:ext>
              </a:extLst>
            </p:cNvPr>
            <p:cNvSpPr>
              <a:spLocks/>
            </p:cNvSpPr>
            <p:nvPr/>
          </p:nvSpPr>
          <p:spPr bwMode="gray">
            <a:xfrm>
              <a:off x="5765603" y="2520855"/>
              <a:ext cx="259889" cy="159832"/>
            </a:xfrm>
            <a:custGeom>
              <a:avLst/>
              <a:gdLst/>
              <a:ahLst/>
              <a:cxnLst>
                <a:cxn ang="0">
                  <a:pos x="82" y="12"/>
                </a:cxn>
                <a:cxn ang="0">
                  <a:pos x="84" y="22"/>
                </a:cxn>
                <a:cxn ang="0">
                  <a:pos x="86" y="32"/>
                </a:cxn>
                <a:cxn ang="0">
                  <a:pos x="92" y="38"/>
                </a:cxn>
                <a:cxn ang="0">
                  <a:pos x="78" y="46"/>
                </a:cxn>
                <a:cxn ang="0">
                  <a:pos x="80" y="54"/>
                </a:cxn>
                <a:cxn ang="0">
                  <a:pos x="74" y="60"/>
                </a:cxn>
                <a:cxn ang="0">
                  <a:pos x="80" y="66"/>
                </a:cxn>
                <a:cxn ang="0">
                  <a:pos x="86" y="68"/>
                </a:cxn>
                <a:cxn ang="0">
                  <a:pos x="92" y="58"/>
                </a:cxn>
                <a:cxn ang="0">
                  <a:pos x="102" y="50"/>
                </a:cxn>
                <a:cxn ang="0">
                  <a:pos x="106" y="42"/>
                </a:cxn>
                <a:cxn ang="0">
                  <a:pos x="104" y="32"/>
                </a:cxn>
                <a:cxn ang="0">
                  <a:pos x="98" y="30"/>
                </a:cxn>
                <a:cxn ang="0">
                  <a:pos x="96" y="18"/>
                </a:cxn>
                <a:cxn ang="0">
                  <a:pos x="96" y="4"/>
                </a:cxn>
                <a:cxn ang="0">
                  <a:pos x="110" y="2"/>
                </a:cxn>
                <a:cxn ang="0">
                  <a:pos x="124" y="0"/>
                </a:cxn>
                <a:cxn ang="0">
                  <a:pos x="138" y="0"/>
                </a:cxn>
                <a:cxn ang="0">
                  <a:pos x="154" y="12"/>
                </a:cxn>
                <a:cxn ang="0">
                  <a:pos x="146" y="42"/>
                </a:cxn>
                <a:cxn ang="0">
                  <a:pos x="132" y="42"/>
                </a:cxn>
                <a:cxn ang="0">
                  <a:pos x="134" y="52"/>
                </a:cxn>
                <a:cxn ang="0">
                  <a:pos x="144" y="56"/>
                </a:cxn>
                <a:cxn ang="0">
                  <a:pos x="144" y="72"/>
                </a:cxn>
                <a:cxn ang="0">
                  <a:pos x="134" y="82"/>
                </a:cxn>
                <a:cxn ang="0">
                  <a:pos x="128" y="94"/>
                </a:cxn>
                <a:cxn ang="0">
                  <a:pos x="114" y="94"/>
                </a:cxn>
                <a:cxn ang="0">
                  <a:pos x="106" y="100"/>
                </a:cxn>
                <a:cxn ang="0">
                  <a:pos x="108" y="114"/>
                </a:cxn>
                <a:cxn ang="0">
                  <a:pos x="114" y="128"/>
                </a:cxn>
                <a:cxn ang="0">
                  <a:pos x="106" y="142"/>
                </a:cxn>
                <a:cxn ang="0">
                  <a:pos x="110" y="156"/>
                </a:cxn>
                <a:cxn ang="0">
                  <a:pos x="110" y="166"/>
                </a:cxn>
                <a:cxn ang="0">
                  <a:pos x="98" y="166"/>
                </a:cxn>
                <a:cxn ang="0">
                  <a:pos x="94" y="162"/>
                </a:cxn>
                <a:cxn ang="0">
                  <a:pos x="100" y="152"/>
                </a:cxn>
                <a:cxn ang="0">
                  <a:pos x="100" y="138"/>
                </a:cxn>
                <a:cxn ang="0">
                  <a:pos x="88" y="130"/>
                </a:cxn>
                <a:cxn ang="0">
                  <a:pos x="72" y="128"/>
                </a:cxn>
                <a:cxn ang="0">
                  <a:pos x="52" y="118"/>
                </a:cxn>
                <a:cxn ang="0">
                  <a:pos x="42" y="124"/>
                </a:cxn>
                <a:cxn ang="0">
                  <a:pos x="34" y="136"/>
                </a:cxn>
                <a:cxn ang="0">
                  <a:pos x="6" y="138"/>
                </a:cxn>
                <a:cxn ang="0">
                  <a:pos x="0" y="124"/>
                </a:cxn>
                <a:cxn ang="0">
                  <a:pos x="8" y="122"/>
                </a:cxn>
                <a:cxn ang="0">
                  <a:pos x="10" y="112"/>
                </a:cxn>
                <a:cxn ang="0">
                  <a:pos x="22" y="110"/>
                </a:cxn>
                <a:cxn ang="0">
                  <a:pos x="22" y="100"/>
                </a:cxn>
                <a:cxn ang="0">
                  <a:pos x="32" y="98"/>
                </a:cxn>
                <a:cxn ang="0">
                  <a:pos x="32" y="90"/>
                </a:cxn>
                <a:cxn ang="0">
                  <a:pos x="40" y="84"/>
                </a:cxn>
                <a:cxn ang="0">
                  <a:pos x="52" y="58"/>
                </a:cxn>
                <a:cxn ang="0">
                  <a:pos x="60" y="44"/>
                </a:cxn>
                <a:cxn ang="0">
                  <a:pos x="66" y="32"/>
                </a:cxn>
                <a:cxn ang="0">
                  <a:pos x="68" y="20"/>
                </a:cxn>
                <a:cxn ang="0">
                  <a:pos x="82" y="12"/>
                </a:cxn>
              </a:cxnLst>
              <a:rect l="0" t="0" r="r" b="b"/>
              <a:pathLst>
                <a:path w="154" h="166">
                  <a:moveTo>
                    <a:pt x="82" y="12"/>
                  </a:moveTo>
                  <a:lnTo>
                    <a:pt x="84" y="22"/>
                  </a:lnTo>
                  <a:lnTo>
                    <a:pt x="86" y="32"/>
                  </a:lnTo>
                  <a:lnTo>
                    <a:pt x="92" y="38"/>
                  </a:lnTo>
                  <a:lnTo>
                    <a:pt x="78" y="46"/>
                  </a:lnTo>
                  <a:lnTo>
                    <a:pt x="80" y="54"/>
                  </a:lnTo>
                  <a:lnTo>
                    <a:pt x="74" y="60"/>
                  </a:lnTo>
                  <a:lnTo>
                    <a:pt x="80" y="66"/>
                  </a:lnTo>
                  <a:lnTo>
                    <a:pt x="86" y="68"/>
                  </a:lnTo>
                  <a:lnTo>
                    <a:pt x="92" y="58"/>
                  </a:lnTo>
                  <a:lnTo>
                    <a:pt x="102" y="50"/>
                  </a:lnTo>
                  <a:lnTo>
                    <a:pt x="106" y="42"/>
                  </a:lnTo>
                  <a:lnTo>
                    <a:pt x="104" y="32"/>
                  </a:lnTo>
                  <a:lnTo>
                    <a:pt x="98" y="30"/>
                  </a:lnTo>
                  <a:lnTo>
                    <a:pt x="96" y="18"/>
                  </a:lnTo>
                  <a:lnTo>
                    <a:pt x="96" y="4"/>
                  </a:lnTo>
                  <a:lnTo>
                    <a:pt x="110" y="2"/>
                  </a:lnTo>
                  <a:lnTo>
                    <a:pt x="124" y="0"/>
                  </a:lnTo>
                  <a:lnTo>
                    <a:pt x="138" y="0"/>
                  </a:lnTo>
                  <a:lnTo>
                    <a:pt x="154" y="12"/>
                  </a:lnTo>
                  <a:lnTo>
                    <a:pt x="146" y="42"/>
                  </a:lnTo>
                  <a:lnTo>
                    <a:pt x="132" y="42"/>
                  </a:lnTo>
                  <a:lnTo>
                    <a:pt x="134" y="52"/>
                  </a:lnTo>
                  <a:lnTo>
                    <a:pt x="144" y="56"/>
                  </a:lnTo>
                  <a:lnTo>
                    <a:pt x="144" y="72"/>
                  </a:lnTo>
                  <a:lnTo>
                    <a:pt x="134" y="82"/>
                  </a:lnTo>
                  <a:lnTo>
                    <a:pt x="128" y="94"/>
                  </a:lnTo>
                  <a:lnTo>
                    <a:pt x="114" y="94"/>
                  </a:lnTo>
                  <a:lnTo>
                    <a:pt x="106" y="100"/>
                  </a:lnTo>
                  <a:lnTo>
                    <a:pt x="108" y="114"/>
                  </a:lnTo>
                  <a:lnTo>
                    <a:pt x="114" y="128"/>
                  </a:lnTo>
                  <a:lnTo>
                    <a:pt x="106" y="142"/>
                  </a:lnTo>
                  <a:lnTo>
                    <a:pt x="110" y="156"/>
                  </a:lnTo>
                  <a:lnTo>
                    <a:pt x="110" y="166"/>
                  </a:lnTo>
                  <a:lnTo>
                    <a:pt x="98" y="166"/>
                  </a:lnTo>
                  <a:lnTo>
                    <a:pt x="94" y="162"/>
                  </a:lnTo>
                  <a:lnTo>
                    <a:pt x="100" y="152"/>
                  </a:lnTo>
                  <a:lnTo>
                    <a:pt x="100" y="138"/>
                  </a:lnTo>
                  <a:lnTo>
                    <a:pt x="88" y="130"/>
                  </a:lnTo>
                  <a:lnTo>
                    <a:pt x="72" y="128"/>
                  </a:lnTo>
                  <a:lnTo>
                    <a:pt x="52" y="118"/>
                  </a:lnTo>
                  <a:lnTo>
                    <a:pt x="42" y="124"/>
                  </a:lnTo>
                  <a:lnTo>
                    <a:pt x="34" y="136"/>
                  </a:lnTo>
                  <a:lnTo>
                    <a:pt x="6" y="138"/>
                  </a:lnTo>
                  <a:lnTo>
                    <a:pt x="0" y="124"/>
                  </a:lnTo>
                  <a:lnTo>
                    <a:pt x="8" y="122"/>
                  </a:lnTo>
                  <a:lnTo>
                    <a:pt x="10" y="112"/>
                  </a:lnTo>
                  <a:lnTo>
                    <a:pt x="22" y="110"/>
                  </a:lnTo>
                  <a:lnTo>
                    <a:pt x="22" y="100"/>
                  </a:lnTo>
                  <a:lnTo>
                    <a:pt x="32" y="98"/>
                  </a:lnTo>
                  <a:lnTo>
                    <a:pt x="32" y="90"/>
                  </a:lnTo>
                  <a:lnTo>
                    <a:pt x="40" y="84"/>
                  </a:lnTo>
                  <a:lnTo>
                    <a:pt x="52" y="58"/>
                  </a:lnTo>
                  <a:lnTo>
                    <a:pt x="60" y="44"/>
                  </a:lnTo>
                  <a:lnTo>
                    <a:pt x="66" y="32"/>
                  </a:lnTo>
                  <a:lnTo>
                    <a:pt x="68" y="20"/>
                  </a:lnTo>
                  <a:lnTo>
                    <a:pt x="82" y="12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56" name="New Zealand">
              <a:extLst>
                <a:ext uri="{FF2B5EF4-FFF2-40B4-BE49-F238E27FC236}">
                  <a16:creationId xmlns="" xmlns:a16="http://schemas.microsoft.com/office/drawing/2014/main" id="{C320E09E-AD84-44B0-B374-11155DD936E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951156" y="5711155"/>
              <a:ext cx="374842" cy="521139"/>
            </a:xfrm>
            <a:custGeom>
              <a:avLst/>
              <a:gdLst/>
              <a:ahLst/>
              <a:cxnLst>
                <a:cxn ang="0">
                  <a:pos x="246" y="328"/>
                </a:cxn>
                <a:cxn ang="0">
                  <a:pos x="280" y="342"/>
                </a:cxn>
                <a:cxn ang="0">
                  <a:pos x="264" y="410"/>
                </a:cxn>
                <a:cxn ang="0">
                  <a:pos x="256" y="450"/>
                </a:cxn>
                <a:cxn ang="0">
                  <a:pos x="224" y="476"/>
                </a:cxn>
                <a:cxn ang="0">
                  <a:pos x="182" y="530"/>
                </a:cxn>
                <a:cxn ang="0">
                  <a:pos x="144" y="612"/>
                </a:cxn>
                <a:cxn ang="0">
                  <a:pos x="116" y="632"/>
                </a:cxn>
                <a:cxn ang="0">
                  <a:pos x="76" y="622"/>
                </a:cxn>
                <a:cxn ang="0">
                  <a:pos x="56" y="588"/>
                </a:cxn>
                <a:cxn ang="0">
                  <a:pos x="8" y="608"/>
                </a:cxn>
                <a:cxn ang="0">
                  <a:pos x="16" y="578"/>
                </a:cxn>
                <a:cxn ang="0">
                  <a:pos x="32" y="536"/>
                </a:cxn>
                <a:cxn ang="0">
                  <a:pos x="62" y="502"/>
                </a:cxn>
                <a:cxn ang="0">
                  <a:pos x="94" y="484"/>
                </a:cxn>
                <a:cxn ang="0">
                  <a:pos x="146" y="450"/>
                </a:cxn>
                <a:cxn ang="0">
                  <a:pos x="180" y="400"/>
                </a:cxn>
                <a:cxn ang="0">
                  <a:pos x="200" y="358"/>
                </a:cxn>
                <a:cxn ang="0">
                  <a:pos x="214" y="316"/>
                </a:cxn>
                <a:cxn ang="0">
                  <a:pos x="250" y="48"/>
                </a:cxn>
                <a:cxn ang="0">
                  <a:pos x="298" y="118"/>
                </a:cxn>
                <a:cxn ang="0">
                  <a:pos x="300" y="192"/>
                </a:cxn>
                <a:cxn ang="0">
                  <a:pos x="286" y="224"/>
                </a:cxn>
                <a:cxn ang="0">
                  <a:pos x="296" y="266"/>
                </a:cxn>
                <a:cxn ang="0">
                  <a:pos x="322" y="302"/>
                </a:cxn>
                <a:cxn ang="0">
                  <a:pos x="302" y="354"/>
                </a:cxn>
                <a:cxn ang="0">
                  <a:pos x="338" y="364"/>
                </a:cxn>
                <a:cxn ang="0">
                  <a:pos x="372" y="318"/>
                </a:cxn>
                <a:cxn ang="0">
                  <a:pos x="396" y="262"/>
                </a:cxn>
                <a:cxn ang="0">
                  <a:pos x="430" y="244"/>
                </a:cxn>
                <a:cxn ang="0">
                  <a:pos x="448" y="204"/>
                </a:cxn>
                <a:cxn ang="0">
                  <a:pos x="446" y="144"/>
                </a:cxn>
                <a:cxn ang="0">
                  <a:pos x="400" y="172"/>
                </a:cxn>
                <a:cxn ang="0">
                  <a:pos x="344" y="146"/>
                </a:cxn>
                <a:cxn ang="0">
                  <a:pos x="322" y="110"/>
                </a:cxn>
                <a:cxn ang="0">
                  <a:pos x="294" y="42"/>
                </a:cxn>
                <a:cxn ang="0">
                  <a:pos x="246" y="0"/>
                </a:cxn>
                <a:cxn ang="0">
                  <a:pos x="250" y="48"/>
                </a:cxn>
              </a:cxnLst>
              <a:rect l="0" t="0" r="r" b="b"/>
              <a:pathLst>
                <a:path w="462" h="638">
                  <a:moveTo>
                    <a:pt x="228" y="308"/>
                  </a:moveTo>
                  <a:lnTo>
                    <a:pt x="246" y="328"/>
                  </a:lnTo>
                  <a:lnTo>
                    <a:pt x="252" y="342"/>
                  </a:lnTo>
                  <a:lnTo>
                    <a:pt x="280" y="342"/>
                  </a:lnTo>
                  <a:lnTo>
                    <a:pt x="276" y="374"/>
                  </a:lnTo>
                  <a:lnTo>
                    <a:pt x="264" y="410"/>
                  </a:lnTo>
                  <a:lnTo>
                    <a:pt x="244" y="436"/>
                  </a:lnTo>
                  <a:lnTo>
                    <a:pt x="256" y="450"/>
                  </a:lnTo>
                  <a:lnTo>
                    <a:pt x="256" y="474"/>
                  </a:lnTo>
                  <a:lnTo>
                    <a:pt x="224" y="476"/>
                  </a:lnTo>
                  <a:lnTo>
                    <a:pt x="194" y="486"/>
                  </a:lnTo>
                  <a:lnTo>
                    <a:pt x="182" y="530"/>
                  </a:lnTo>
                  <a:lnTo>
                    <a:pt x="176" y="566"/>
                  </a:lnTo>
                  <a:lnTo>
                    <a:pt x="144" y="612"/>
                  </a:lnTo>
                  <a:lnTo>
                    <a:pt x="130" y="612"/>
                  </a:lnTo>
                  <a:lnTo>
                    <a:pt x="116" y="632"/>
                  </a:lnTo>
                  <a:lnTo>
                    <a:pt x="82" y="638"/>
                  </a:lnTo>
                  <a:lnTo>
                    <a:pt x="76" y="622"/>
                  </a:lnTo>
                  <a:lnTo>
                    <a:pt x="58" y="612"/>
                  </a:lnTo>
                  <a:lnTo>
                    <a:pt x="56" y="588"/>
                  </a:lnTo>
                  <a:lnTo>
                    <a:pt x="32" y="612"/>
                  </a:lnTo>
                  <a:lnTo>
                    <a:pt x="8" y="608"/>
                  </a:lnTo>
                  <a:lnTo>
                    <a:pt x="0" y="594"/>
                  </a:lnTo>
                  <a:lnTo>
                    <a:pt x="16" y="578"/>
                  </a:lnTo>
                  <a:lnTo>
                    <a:pt x="16" y="556"/>
                  </a:lnTo>
                  <a:lnTo>
                    <a:pt x="32" y="536"/>
                  </a:lnTo>
                  <a:lnTo>
                    <a:pt x="60" y="518"/>
                  </a:lnTo>
                  <a:lnTo>
                    <a:pt x="62" y="502"/>
                  </a:lnTo>
                  <a:lnTo>
                    <a:pt x="76" y="490"/>
                  </a:lnTo>
                  <a:lnTo>
                    <a:pt x="94" y="484"/>
                  </a:lnTo>
                  <a:lnTo>
                    <a:pt x="130" y="452"/>
                  </a:lnTo>
                  <a:lnTo>
                    <a:pt x="146" y="450"/>
                  </a:lnTo>
                  <a:lnTo>
                    <a:pt x="162" y="430"/>
                  </a:lnTo>
                  <a:lnTo>
                    <a:pt x="180" y="400"/>
                  </a:lnTo>
                  <a:lnTo>
                    <a:pt x="186" y="370"/>
                  </a:lnTo>
                  <a:lnTo>
                    <a:pt x="200" y="358"/>
                  </a:lnTo>
                  <a:lnTo>
                    <a:pt x="214" y="332"/>
                  </a:lnTo>
                  <a:lnTo>
                    <a:pt x="214" y="316"/>
                  </a:lnTo>
                  <a:lnTo>
                    <a:pt x="228" y="308"/>
                  </a:lnTo>
                  <a:close/>
                  <a:moveTo>
                    <a:pt x="250" y="48"/>
                  </a:moveTo>
                  <a:lnTo>
                    <a:pt x="272" y="70"/>
                  </a:lnTo>
                  <a:lnTo>
                    <a:pt x="298" y="118"/>
                  </a:lnTo>
                  <a:lnTo>
                    <a:pt x="310" y="152"/>
                  </a:lnTo>
                  <a:lnTo>
                    <a:pt x="300" y="192"/>
                  </a:lnTo>
                  <a:lnTo>
                    <a:pt x="296" y="220"/>
                  </a:lnTo>
                  <a:lnTo>
                    <a:pt x="286" y="224"/>
                  </a:lnTo>
                  <a:lnTo>
                    <a:pt x="274" y="244"/>
                  </a:lnTo>
                  <a:lnTo>
                    <a:pt x="296" y="266"/>
                  </a:lnTo>
                  <a:lnTo>
                    <a:pt x="316" y="270"/>
                  </a:lnTo>
                  <a:lnTo>
                    <a:pt x="322" y="302"/>
                  </a:lnTo>
                  <a:lnTo>
                    <a:pt x="312" y="328"/>
                  </a:lnTo>
                  <a:lnTo>
                    <a:pt x="302" y="354"/>
                  </a:lnTo>
                  <a:lnTo>
                    <a:pt x="320" y="356"/>
                  </a:lnTo>
                  <a:lnTo>
                    <a:pt x="338" y="364"/>
                  </a:lnTo>
                  <a:lnTo>
                    <a:pt x="358" y="346"/>
                  </a:lnTo>
                  <a:lnTo>
                    <a:pt x="372" y="318"/>
                  </a:lnTo>
                  <a:lnTo>
                    <a:pt x="386" y="288"/>
                  </a:lnTo>
                  <a:lnTo>
                    <a:pt x="396" y="262"/>
                  </a:lnTo>
                  <a:lnTo>
                    <a:pt x="406" y="240"/>
                  </a:lnTo>
                  <a:lnTo>
                    <a:pt x="430" y="244"/>
                  </a:lnTo>
                  <a:lnTo>
                    <a:pt x="440" y="236"/>
                  </a:lnTo>
                  <a:lnTo>
                    <a:pt x="448" y="204"/>
                  </a:lnTo>
                  <a:lnTo>
                    <a:pt x="462" y="154"/>
                  </a:lnTo>
                  <a:lnTo>
                    <a:pt x="446" y="144"/>
                  </a:lnTo>
                  <a:lnTo>
                    <a:pt x="428" y="160"/>
                  </a:lnTo>
                  <a:lnTo>
                    <a:pt x="400" y="172"/>
                  </a:lnTo>
                  <a:lnTo>
                    <a:pt x="362" y="162"/>
                  </a:lnTo>
                  <a:lnTo>
                    <a:pt x="344" y="146"/>
                  </a:lnTo>
                  <a:lnTo>
                    <a:pt x="340" y="120"/>
                  </a:lnTo>
                  <a:lnTo>
                    <a:pt x="322" y="110"/>
                  </a:lnTo>
                  <a:lnTo>
                    <a:pt x="312" y="92"/>
                  </a:lnTo>
                  <a:lnTo>
                    <a:pt x="294" y="42"/>
                  </a:lnTo>
                  <a:lnTo>
                    <a:pt x="258" y="24"/>
                  </a:lnTo>
                  <a:lnTo>
                    <a:pt x="246" y="0"/>
                  </a:lnTo>
                  <a:lnTo>
                    <a:pt x="236" y="8"/>
                  </a:lnTo>
                  <a:lnTo>
                    <a:pt x="250" y="48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57" name="Nicaragua">
              <a:extLst>
                <a:ext uri="{FF2B5EF4-FFF2-40B4-BE49-F238E27FC236}">
                  <a16:creationId xmlns="" xmlns:a16="http://schemas.microsoft.com/office/drawing/2014/main" id="{64ADCE11-A9CD-4EFD-9908-56D45D93EF80}"/>
                </a:ext>
              </a:extLst>
            </p:cNvPr>
            <p:cNvSpPr>
              <a:spLocks/>
            </p:cNvSpPr>
            <p:nvPr/>
          </p:nvSpPr>
          <p:spPr bwMode="gray">
            <a:xfrm>
              <a:off x="2987708" y="4141840"/>
              <a:ext cx="138613" cy="145525"/>
            </a:xfrm>
            <a:custGeom>
              <a:avLst/>
              <a:gdLst/>
              <a:ahLst/>
              <a:cxnLst>
                <a:cxn ang="0">
                  <a:pos x="50" y="140"/>
                </a:cxn>
                <a:cxn ang="0">
                  <a:pos x="66" y="152"/>
                </a:cxn>
                <a:cxn ang="0">
                  <a:pos x="74" y="162"/>
                </a:cxn>
                <a:cxn ang="0">
                  <a:pos x="98" y="160"/>
                </a:cxn>
                <a:cxn ang="0">
                  <a:pos x="116" y="158"/>
                </a:cxn>
                <a:cxn ang="0">
                  <a:pos x="136" y="178"/>
                </a:cxn>
                <a:cxn ang="0">
                  <a:pos x="142" y="176"/>
                </a:cxn>
                <a:cxn ang="0">
                  <a:pos x="150" y="168"/>
                </a:cxn>
                <a:cxn ang="0">
                  <a:pos x="146" y="150"/>
                </a:cxn>
                <a:cxn ang="0">
                  <a:pos x="150" y="144"/>
                </a:cxn>
                <a:cxn ang="0">
                  <a:pos x="150" y="112"/>
                </a:cxn>
                <a:cxn ang="0">
                  <a:pos x="156" y="108"/>
                </a:cxn>
                <a:cxn ang="0">
                  <a:pos x="158" y="94"/>
                </a:cxn>
                <a:cxn ang="0">
                  <a:pos x="158" y="72"/>
                </a:cxn>
                <a:cxn ang="0">
                  <a:pos x="158" y="62"/>
                </a:cxn>
                <a:cxn ang="0">
                  <a:pos x="162" y="48"/>
                </a:cxn>
                <a:cxn ang="0">
                  <a:pos x="170" y="40"/>
                </a:cxn>
                <a:cxn ang="0">
                  <a:pos x="170" y="16"/>
                </a:cxn>
                <a:cxn ang="0">
                  <a:pos x="166" y="6"/>
                </a:cxn>
                <a:cxn ang="0">
                  <a:pos x="158" y="0"/>
                </a:cxn>
                <a:cxn ang="0">
                  <a:pos x="146" y="4"/>
                </a:cxn>
                <a:cxn ang="0">
                  <a:pos x="134" y="18"/>
                </a:cxn>
                <a:cxn ang="0">
                  <a:pos x="92" y="20"/>
                </a:cxn>
                <a:cxn ang="0">
                  <a:pos x="78" y="36"/>
                </a:cxn>
                <a:cxn ang="0">
                  <a:pos x="46" y="48"/>
                </a:cxn>
                <a:cxn ang="0">
                  <a:pos x="20" y="52"/>
                </a:cxn>
                <a:cxn ang="0">
                  <a:pos x="16" y="74"/>
                </a:cxn>
                <a:cxn ang="0">
                  <a:pos x="0" y="94"/>
                </a:cxn>
                <a:cxn ang="0">
                  <a:pos x="16" y="106"/>
                </a:cxn>
                <a:cxn ang="0">
                  <a:pos x="22" y="114"/>
                </a:cxn>
                <a:cxn ang="0">
                  <a:pos x="30" y="114"/>
                </a:cxn>
                <a:cxn ang="0">
                  <a:pos x="50" y="140"/>
                </a:cxn>
              </a:cxnLst>
              <a:rect l="0" t="0" r="r" b="b"/>
              <a:pathLst>
                <a:path w="170" h="178">
                  <a:moveTo>
                    <a:pt x="50" y="140"/>
                  </a:moveTo>
                  <a:lnTo>
                    <a:pt x="66" y="152"/>
                  </a:lnTo>
                  <a:lnTo>
                    <a:pt x="74" y="162"/>
                  </a:lnTo>
                  <a:lnTo>
                    <a:pt x="98" y="160"/>
                  </a:lnTo>
                  <a:lnTo>
                    <a:pt x="116" y="158"/>
                  </a:lnTo>
                  <a:lnTo>
                    <a:pt x="136" y="178"/>
                  </a:lnTo>
                  <a:lnTo>
                    <a:pt x="142" y="176"/>
                  </a:lnTo>
                  <a:lnTo>
                    <a:pt x="150" y="168"/>
                  </a:lnTo>
                  <a:lnTo>
                    <a:pt x="146" y="150"/>
                  </a:lnTo>
                  <a:lnTo>
                    <a:pt x="150" y="144"/>
                  </a:lnTo>
                  <a:lnTo>
                    <a:pt x="150" y="112"/>
                  </a:lnTo>
                  <a:lnTo>
                    <a:pt x="156" y="108"/>
                  </a:lnTo>
                  <a:lnTo>
                    <a:pt x="158" y="94"/>
                  </a:lnTo>
                  <a:lnTo>
                    <a:pt x="158" y="72"/>
                  </a:lnTo>
                  <a:lnTo>
                    <a:pt x="158" y="62"/>
                  </a:lnTo>
                  <a:lnTo>
                    <a:pt x="162" y="48"/>
                  </a:lnTo>
                  <a:lnTo>
                    <a:pt x="170" y="40"/>
                  </a:lnTo>
                  <a:lnTo>
                    <a:pt x="170" y="16"/>
                  </a:lnTo>
                  <a:lnTo>
                    <a:pt x="166" y="6"/>
                  </a:lnTo>
                  <a:lnTo>
                    <a:pt x="158" y="0"/>
                  </a:lnTo>
                  <a:lnTo>
                    <a:pt x="146" y="4"/>
                  </a:lnTo>
                  <a:lnTo>
                    <a:pt x="134" y="18"/>
                  </a:lnTo>
                  <a:lnTo>
                    <a:pt x="92" y="20"/>
                  </a:lnTo>
                  <a:lnTo>
                    <a:pt x="78" y="36"/>
                  </a:lnTo>
                  <a:lnTo>
                    <a:pt x="46" y="48"/>
                  </a:lnTo>
                  <a:lnTo>
                    <a:pt x="20" y="52"/>
                  </a:lnTo>
                  <a:lnTo>
                    <a:pt x="16" y="74"/>
                  </a:lnTo>
                  <a:lnTo>
                    <a:pt x="0" y="94"/>
                  </a:lnTo>
                  <a:lnTo>
                    <a:pt x="16" y="106"/>
                  </a:lnTo>
                  <a:lnTo>
                    <a:pt x="22" y="114"/>
                  </a:lnTo>
                  <a:lnTo>
                    <a:pt x="30" y="114"/>
                  </a:lnTo>
                  <a:lnTo>
                    <a:pt x="50" y="140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58" name="Niger">
              <a:extLst>
                <a:ext uri="{FF2B5EF4-FFF2-40B4-BE49-F238E27FC236}">
                  <a16:creationId xmlns="" xmlns:a16="http://schemas.microsoft.com/office/drawing/2014/main" id="{36E1CAC7-BD21-492A-9E90-CE22C3C529B5}"/>
                </a:ext>
              </a:extLst>
            </p:cNvPr>
            <p:cNvSpPr>
              <a:spLocks/>
            </p:cNvSpPr>
            <p:nvPr/>
          </p:nvSpPr>
          <p:spPr bwMode="gray">
            <a:xfrm>
              <a:off x="5816595" y="3793759"/>
              <a:ext cx="484171" cy="389378"/>
            </a:xfrm>
            <a:custGeom>
              <a:avLst/>
              <a:gdLst/>
              <a:ahLst/>
              <a:cxnLst>
                <a:cxn ang="0">
                  <a:pos x="126" y="464"/>
                </a:cxn>
                <a:cxn ang="0">
                  <a:pos x="90" y="448"/>
                </a:cxn>
                <a:cxn ang="0">
                  <a:pos x="80" y="450"/>
                </a:cxn>
                <a:cxn ang="0">
                  <a:pos x="72" y="474"/>
                </a:cxn>
                <a:cxn ang="0">
                  <a:pos x="60" y="458"/>
                </a:cxn>
                <a:cxn ang="0">
                  <a:pos x="62" y="448"/>
                </a:cxn>
                <a:cxn ang="0">
                  <a:pos x="66" y="436"/>
                </a:cxn>
                <a:cxn ang="0">
                  <a:pos x="54" y="428"/>
                </a:cxn>
                <a:cxn ang="0">
                  <a:pos x="50" y="434"/>
                </a:cxn>
                <a:cxn ang="0">
                  <a:pos x="24" y="424"/>
                </a:cxn>
                <a:cxn ang="0">
                  <a:pos x="24" y="410"/>
                </a:cxn>
                <a:cxn ang="0">
                  <a:pos x="0" y="384"/>
                </a:cxn>
                <a:cxn ang="0">
                  <a:pos x="0" y="342"/>
                </a:cxn>
                <a:cxn ang="0">
                  <a:pos x="18" y="344"/>
                </a:cxn>
                <a:cxn ang="0">
                  <a:pos x="32" y="332"/>
                </a:cxn>
                <a:cxn ang="0">
                  <a:pos x="64" y="332"/>
                </a:cxn>
                <a:cxn ang="0">
                  <a:pos x="80" y="324"/>
                </a:cxn>
                <a:cxn ang="0">
                  <a:pos x="104" y="318"/>
                </a:cxn>
                <a:cxn ang="0">
                  <a:pos x="128" y="322"/>
                </a:cxn>
                <a:cxn ang="0">
                  <a:pos x="148" y="290"/>
                </a:cxn>
                <a:cxn ang="0">
                  <a:pos x="148" y="176"/>
                </a:cxn>
                <a:cxn ang="0">
                  <a:pos x="236" y="142"/>
                </a:cxn>
                <a:cxn ang="0">
                  <a:pos x="456" y="0"/>
                </a:cxn>
                <a:cxn ang="0">
                  <a:pos x="506" y="10"/>
                </a:cxn>
                <a:cxn ang="0">
                  <a:pos x="526" y="26"/>
                </a:cxn>
                <a:cxn ang="0">
                  <a:pos x="558" y="16"/>
                </a:cxn>
                <a:cxn ang="0">
                  <a:pos x="576" y="48"/>
                </a:cxn>
                <a:cxn ang="0">
                  <a:pos x="572" y="88"/>
                </a:cxn>
                <a:cxn ang="0">
                  <a:pos x="596" y="122"/>
                </a:cxn>
                <a:cxn ang="0">
                  <a:pos x="574" y="152"/>
                </a:cxn>
                <a:cxn ang="0">
                  <a:pos x="564" y="282"/>
                </a:cxn>
                <a:cxn ang="0">
                  <a:pos x="492" y="362"/>
                </a:cxn>
                <a:cxn ang="0">
                  <a:pos x="498" y="386"/>
                </a:cxn>
                <a:cxn ang="0">
                  <a:pos x="456" y="418"/>
                </a:cxn>
                <a:cxn ang="0">
                  <a:pos x="424" y="404"/>
                </a:cxn>
                <a:cxn ang="0">
                  <a:pos x="398" y="404"/>
                </a:cxn>
                <a:cxn ang="0">
                  <a:pos x="368" y="422"/>
                </a:cxn>
                <a:cxn ang="0">
                  <a:pos x="340" y="422"/>
                </a:cxn>
                <a:cxn ang="0">
                  <a:pos x="320" y="404"/>
                </a:cxn>
                <a:cxn ang="0">
                  <a:pos x="270" y="412"/>
                </a:cxn>
                <a:cxn ang="0">
                  <a:pos x="238" y="388"/>
                </a:cxn>
                <a:cxn ang="0">
                  <a:pos x="192" y="404"/>
                </a:cxn>
                <a:cxn ang="0">
                  <a:pos x="168" y="398"/>
                </a:cxn>
                <a:cxn ang="0">
                  <a:pos x="150" y="408"/>
                </a:cxn>
                <a:cxn ang="0">
                  <a:pos x="148" y="430"/>
                </a:cxn>
                <a:cxn ang="0">
                  <a:pos x="130" y="448"/>
                </a:cxn>
                <a:cxn ang="0">
                  <a:pos x="126" y="464"/>
                </a:cxn>
              </a:cxnLst>
              <a:rect l="0" t="0" r="r" b="b"/>
              <a:pathLst>
                <a:path w="596" h="474">
                  <a:moveTo>
                    <a:pt x="126" y="464"/>
                  </a:moveTo>
                  <a:lnTo>
                    <a:pt x="90" y="448"/>
                  </a:lnTo>
                  <a:lnTo>
                    <a:pt x="80" y="450"/>
                  </a:lnTo>
                  <a:lnTo>
                    <a:pt x="72" y="474"/>
                  </a:lnTo>
                  <a:lnTo>
                    <a:pt x="60" y="458"/>
                  </a:lnTo>
                  <a:lnTo>
                    <a:pt x="62" y="448"/>
                  </a:lnTo>
                  <a:lnTo>
                    <a:pt x="66" y="436"/>
                  </a:lnTo>
                  <a:lnTo>
                    <a:pt x="54" y="428"/>
                  </a:lnTo>
                  <a:lnTo>
                    <a:pt x="50" y="434"/>
                  </a:lnTo>
                  <a:lnTo>
                    <a:pt x="24" y="424"/>
                  </a:lnTo>
                  <a:lnTo>
                    <a:pt x="24" y="410"/>
                  </a:lnTo>
                  <a:lnTo>
                    <a:pt x="0" y="384"/>
                  </a:lnTo>
                  <a:lnTo>
                    <a:pt x="0" y="342"/>
                  </a:lnTo>
                  <a:lnTo>
                    <a:pt x="18" y="344"/>
                  </a:lnTo>
                  <a:lnTo>
                    <a:pt x="32" y="332"/>
                  </a:lnTo>
                  <a:lnTo>
                    <a:pt x="64" y="332"/>
                  </a:lnTo>
                  <a:lnTo>
                    <a:pt x="80" y="324"/>
                  </a:lnTo>
                  <a:lnTo>
                    <a:pt x="104" y="318"/>
                  </a:lnTo>
                  <a:lnTo>
                    <a:pt x="128" y="322"/>
                  </a:lnTo>
                  <a:lnTo>
                    <a:pt x="148" y="290"/>
                  </a:lnTo>
                  <a:lnTo>
                    <a:pt x="148" y="176"/>
                  </a:lnTo>
                  <a:lnTo>
                    <a:pt x="236" y="142"/>
                  </a:lnTo>
                  <a:lnTo>
                    <a:pt x="456" y="0"/>
                  </a:lnTo>
                  <a:lnTo>
                    <a:pt x="506" y="10"/>
                  </a:lnTo>
                  <a:lnTo>
                    <a:pt x="526" y="26"/>
                  </a:lnTo>
                  <a:lnTo>
                    <a:pt x="558" y="16"/>
                  </a:lnTo>
                  <a:lnTo>
                    <a:pt x="576" y="48"/>
                  </a:lnTo>
                  <a:lnTo>
                    <a:pt x="572" y="88"/>
                  </a:lnTo>
                  <a:lnTo>
                    <a:pt x="596" y="122"/>
                  </a:lnTo>
                  <a:lnTo>
                    <a:pt x="574" y="152"/>
                  </a:lnTo>
                  <a:lnTo>
                    <a:pt x="564" y="282"/>
                  </a:lnTo>
                  <a:lnTo>
                    <a:pt x="492" y="362"/>
                  </a:lnTo>
                  <a:lnTo>
                    <a:pt x="498" y="386"/>
                  </a:lnTo>
                  <a:lnTo>
                    <a:pt x="456" y="418"/>
                  </a:lnTo>
                  <a:lnTo>
                    <a:pt x="424" y="404"/>
                  </a:lnTo>
                  <a:lnTo>
                    <a:pt x="398" y="404"/>
                  </a:lnTo>
                  <a:lnTo>
                    <a:pt x="368" y="422"/>
                  </a:lnTo>
                  <a:lnTo>
                    <a:pt x="340" y="422"/>
                  </a:lnTo>
                  <a:lnTo>
                    <a:pt x="320" y="404"/>
                  </a:lnTo>
                  <a:lnTo>
                    <a:pt x="270" y="412"/>
                  </a:lnTo>
                  <a:lnTo>
                    <a:pt x="238" y="388"/>
                  </a:lnTo>
                  <a:lnTo>
                    <a:pt x="192" y="404"/>
                  </a:lnTo>
                  <a:lnTo>
                    <a:pt x="168" y="398"/>
                  </a:lnTo>
                  <a:lnTo>
                    <a:pt x="150" y="408"/>
                  </a:lnTo>
                  <a:lnTo>
                    <a:pt x="148" y="430"/>
                  </a:lnTo>
                  <a:lnTo>
                    <a:pt x="130" y="448"/>
                  </a:lnTo>
                  <a:lnTo>
                    <a:pt x="126" y="464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59" name="Nigeria">
              <a:extLst>
                <a:ext uri="{FF2B5EF4-FFF2-40B4-BE49-F238E27FC236}">
                  <a16:creationId xmlns="" xmlns:a16="http://schemas.microsoft.com/office/drawing/2014/main" id="{8E1A1913-BD6E-48C3-915B-C678AA64BEAF}"/>
                </a:ext>
              </a:extLst>
            </p:cNvPr>
            <p:cNvSpPr>
              <a:spLocks/>
            </p:cNvSpPr>
            <p:nvPr/>
          </p:nvSpPr>
          <p:spPr bwMode="gray">
            <a:xfrm>
              <a:off x="5900546" y="4110377"/>
              <a:ext cx="355319" cy="314649"/>
            </a:xfrm>
            <a:custGeom>
              <a:avLst/>
              <a:gdLst/>
              <a:ahLst/>
              <a:cxnLst>
                <a:cxn ang="0">
                  <a:pos x="8" y="301"/>
                </a:cxn>
                <a:cxn ang="0">
                  <a:pos x="8" y="279"/>
                </a:cxn>
                <a:cxn ang="0">
                  <a:pos x="0" y="265"/>
                </a:cxn>
                <a:cxn ang="0">
                  <a:pos x="0" y="200"/>
                </a:cxn>
                <a:cxn ang="0">
                  <a:pos x="10" y="198"/>
                </a:cxn>
                <a:cxn ang="0">
                  <a:pos x="20" y="182"/>
                </a:cxn>
                <a:cxn ang="0">
                  <a:pos x="34" y="150"/>
                </a:cxn>
                <a:cxn ang="0">
                  <a:pos x="34" y="118"/>
                </a:cxn>
                <a:cxn ang="0">
                  <a:pos x="24" y="78"/>
                </a:cxn>
                <a:cxn ang="0">
                  <a:pos x="28" y="62"/>
                </a:cxn>
                <a:cxn ang="0">
                  <a:pos x="46" y="44"/>
                </a:cxn>
                <a:cxn ang="0">
                  <a:pos x="48" y="22"/>
                </a:cxn>
                <a:cxn ang="0">
                  <a:pos x="66" y="12"/>
                </a:cxn>
                <a:cxn ang="0">
                  <a:pos x="90" y="18"/>
                </a:cxn>
                <a:cxn ang="0">
                  <a:pos x="136" y="2"/>
                </a:cxn>
                <a:cxn ang="0">
                  <a:pos x="168" y="26"/>
                </a:cxn>
                <a:cxn ang="0">
                  <a:pos x="218" y="18"/>
                </a:cxn>
                <a:cxn ang="0">
                  <a:pos x="238" y="36"/>
                </a:cxn>
                <a:cxn ang="0">
                  <a:pos x="266" y="36"/>
                </a:cxn>
                <a:cxn ang="0">
                  <a:pos x="296" y="18"/>
                </a:cxn>
                <a:cxn ang="0">
                  <a:pos x="322" y="18"/>
                </a:cxn>
                <a:cxn ang="0">
                  <a:pos x="354" y="32"/>
                </a:cxn>
                <a:cxn ang="0">
                  <a:pos x="396" y="0"/>
                </a:cxn>
                <a:cxn ang="0">
                  <a:pos x="424" y="48"/>
                </a:cxn>
                <a:cxn ang="0">
                  <a:pos x="424" y="62"/>
                </a:cxn>
                <a:cxn ang="0">
                  <a:pos x="438" y="86"/>
                </a:cxn>
                <a:cxn ang="0">
                  <a:pos x="438" y="104"/>
                </a:cxn>
                <a:cxn ang="0">
                  <a:pos x="424" y="110"/>
                </a:cxn>
                <a:cxn ang="0">
                  <a:pos x="408" y="138"/>
                </a:cxn>
                <a:cxn ang="0">
                  <a:pos x="406" y="158"/>
                </a:cxn>
                <a:cxn ang="0">
                  <a:pos x="380" y="184"/>
                </a:cxn>
                <a:cxn ang="0">
                  <a:pos x="376" y="217"/>
                </a:cxn>
                <a:cxn ang="0">
                  <a:pos x="356" y="237"/>
                </a:cxn>
                <a:cxn ang="0">
                  <a:pos x="356" y="253"/>
                </a:cxn>
                <a:cxn ang="0">
                  <a:pos x="324" y="297"/>
                </a:cxn>
                <a:cxn ang="0">
                  <a:pos x="290" y="287"/>
                </a:cxn>
                <a:cxn ang="0">
                  <a:pos x="274" y="289"/>
                </a:cxn>
                <a:cxn ang="0">
                  <a:pos x="236" y="325"/>
                </a:cxn>
                <a:cxn ang="0">
                  <a:pos x="236" y="345"/>
                </a:cxn>
                <a:cxn ang="0">
                  <a:pos x="228" y="355"/>
                </a:cxn>
                <a:cxn ang="0">
                  <a:pos x="216" y="359"/>
                </a:cxn>
                <a:cxn ang="0">
                  <a:pos x="212" y="373"/>
                </a:cxn>
                <a:cxn ang="0">
                  <a:pos x="194" y="371"/>
                </a:cxn>
                <a:cxn ang="0">
                  <a:pos x="164" y="367"/>
                </a:cxn>
                <a:cxn ang="0">
                  <a:pos x="160" y="377"/>
                </a:cxn>
                <a:cxn ang="0">
                  <a:pos x="150" y="383"/>
                </a:cxn>
                <a:cxn ang="0">
                  <a:pos x="126" y="385"/>
                </a:cxn>
                <a:cxn ang="0">
                  <a:pos x="110" y="375"/>
                </a:cxn>
                <a:cxn ang="0">
                  <a:pos x="94" y="347"/>
                </a:cxn>
                <a:cxn ang="0">
                  <a:pos x="52" y="305"/>
                </a:cxn>
                <a:cxn ang="0">
                  <a:pos x="44" y="299"/>
                </a:cxn>
                <a:cxn ang="0">
                  <a:pos x="36" y="295"/>
                </a:cxn>
                <a:cxn ang="0">
                  <a:pos x="24" y="301"/>
                </a:cxn>
                <a:cxn ang="0">
                  <a:pos x="8" y="301"/>
                </a:cxn>
              </a:cxnLst>
              <a:rect l="0" t="0" r="r" b="b"/>
              <a:pathLst>
                <a:path w="438" h="385">
                  <a:moveTo>
                    <a:pt x="8" y="301"/>
                  </a:moveTo>
                  <a:lnTo>
                    <a:pt x="8" y="279"/>
                  </a:lnTo>
                  <a:lnTo>
                    <a:pt x="0" y="265"/>
                  </a:lnTo>
                  <a:lnTo>
                    <a:pt x="0" y="200"/>
                  </a:lnTo>
                  <a:lnTo>
                    <a:pt x="10" y="198"/>
                  </a:lnTo>
                  <a:lnTo>
                    <a:pt x="20" y="182"/>
                  </a:lnTo>
                  <a:lnTo>
                    <a:pt x="34" y="150"/>
                  </a:lnTo>
                  <a:lnTo>
                    <a:pt x="34" y="118"/>
                  </a:lnTo>
                  <a:lnTo>
                    <a:pt x="24" y="78"/>
                  </a:lnTo>
                  <a:lnTo>
                    <a:pt x="28" y="62"/>
                  </a:lnTo>
                  <a:lnTo>
                    <a:pt x="46" y="44"/>
                  </a:lnTo>
                  <a:lnTo>
                    <a:pt x="48" y="22"/>
                  </a:lnTo>
                  <a:lnTo>
                    <a:pt x="66" y="12"/>
                  </a:lnTo>
                  <a:lnTo>
                    <a:pt x="90" y="18"/>
                  </a:lnTo>
                  <a:lnTo>
                    <a:pt x="136" y="2"/>
                  </a:lnTo>
                  <a:lnTo>
                    <a:pt x="168" y="26"/>
                  </a:lnTo>
                  <a:lnTo>
                    <a:pt x="218" y="18"/>
                  </a:lnTo>
                  <a:lnTo>
                    <a:pt x="238" y="36"/>
                  </a:lnTo>
                  <a:lnTo>
                    <a:pt x="266" y="36"/>
                  </a:lnTo>
                  <a:lnTo>
                    <a:pt x="296" y="18"/>
                  </a:lnTo>
                  <a:lnTo>
                    <a:pt x="322" y="18"/>
                  </a:lnTo>
                  <a:lnTo>
                    <a:pt x="354" y="32"/>
                  </a:lnTo>
                  <a:lnTo>
                    <a:pt x="396" y="0"/>
                  </a:lnTo>
                  <a:lnTo>
                    <a:pt x="424" y="48"/>
                  </a:lnTo>
                  <a:lnTo>
                    <a:pt x="424" y="62"/>
                  </a:lnTo>
                  <a:lnTo>
                    <a:pt x="438" y="86"/>
                  </a:lnTo>
                  <a:lnTo>
                    <a:pt x="438" y="104"/>
                  </a:lnTo>
                  <a:lnTo>
                    <a:pt x="424" y="110"/>
                  </a:lnTo>
                  <a:lnTo>
                    <a:pt x="408" y="138"/>
                  </a:lnTo>
                  <a:lnTo>
                    <a:pt x="406" y="158"/>
                  </a:lnTo>
                  <a:lnTo>
                    <a:pt x="380" y="184"/>
                  </a:lnTo>
                  <a:lnTo>
                    <a:pt x="376" y="217"/>
                  </a:lnTo>
                  <a:lnTo>
                    <a:pt x="356" y="237"/>
                  </a:lnTo>
                  <a:lnTo>
                    <a:pt x="356" y="253"/>
                  </a:lnTo>
                  <a:lnTo>
                    <a:pt x="324" y="297"/>
                  </a:lnTo>
                  <a:lnTo>
                    <a:pt x="290" y="287"/>
                  </a:lnTo>
                  <a:lnTo>
                    <a:pt x="274" y="289"/>
                  </a:lnTo>
                  <a:lnTo>
                    <a:pt x="236" y="325"/>
                  </a:lnTo>
                  <a:lnTo>
                    <a:pt x="236" y="345"/>
                  </a:lnTo>
                  <a:lnTo>
                    <a:pt x="228" y="355"/>
                  </a:lnTo>
                  <a:lnTo>
                    <a:pt x="216" y="359"/>
                  </a:lnTo>
                  <a:lnTo>
                    <a:pt x="212" y="373"/>
                  </a:lnTo>
                  <a:lnTo>
                    <a:pt x="194" y="371"/>
                  </a:lnTo>
                  <a:lnTo>
                    <a:pt x="164" y="367"/>
                  </a:lnTo>
                  <a:lnTo>
                    <a:pt x="160" y="377"/>
                  </a:lnTo>
                  <a:lnTo>
                    <a:pt x="150" y="383"/>
                  </a:lnTo>
                  <a:lnTo>
                    <a:pt x="126" y="385"/>
                  </a:lnTo>
                  <a:lnTo>
                    <a:pt x="110" y="375"/>
                  </a:lnTo>
                  <a:lnTo>
                    <a:pt x="94" y="347"/>
                  </a:lnTo>
                  <a:lnTo>
                    <a:pt x="52" y="305"/>
                  </a:lnTo>
                  <a:lnTo>
                    <a:pt x="44" y="299"/>
                  </a:lnTo>
                  <a:lnTo>
                    <a:pt x="36" y="295"/>
                  </a:lnTo>
                  <a:lnTo>
                    <a:pt x="24" y="301"/>
                  </a:lnTo>
                  <a:lnTo>
                    <a:pt x="8" y="301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60" name="North Korea">
              <a:extLst>
                <a:ext uri="{FF2B5EF4-FFF2-40B4-BE49-F238E27FC236}">
                  <a16:creationId xmlns="" xmlns:a16="http://schemas.microsoft.com/office/drawing/2014/main" id="{53ACE661-91C0-44EC-BC56-AD4F9052F5EA}"/>
                </a:ext>
              </a:extLst>
            </p:cNvPr>
            <p:cNvSpPr>
              <a:spLocks/>
            </p:cNvSpPr>
            <p:nvPr/>
          </p:nvSpPr>
          <p:spPr bwMode="gray">
            <a:xfrm>
              <a:off x="9623588" y="3044501"/>
              <a:ext cx="206944" cy="224188"/>
            </a:xfrm>
            <a:custGeom>
              <a:avLst/>
              <a:gdLst/>
              <a:ahLst/>
              <a:cxnLst>
                <a:cxn ang="0">
                  <a:pos x="94" y="260"/>
                </a:cxn>
                <a:cxn ang="0">
                  <a:pos x="76" y="258"/>
                </a:cxn>
                <a:cxn ang="0">
                  <a:pos x="68" y="272"/>
                </a:cxn>
                <a:cxn ang="0">
                  <a:pos x="54" y="274"/>
                </a:cxn>
                <a:cxn ang="0">
                  <a:pos x="52" y="262"/>
                </a:cxn>
                <a:cxn ang="0">
                  <a:pos x="38" y="260"/>
                </a:cxn>
                <a:cxn ang="0">
                  <a:pos x="28" y="250"/>
                </a:cxn>
                <a:cxn ang="0">
                  <a:pos x="40" y="228"/>
                </a:cxn>
                <a:cxn ang="0">
                  <a:pos x="56" y="224"/>
                </a:cxn>
                <a:cxn ang="0">
                  <a:pos x="52" y="210"/>
                </a:cxn>
                <a:cxn ang="0">
                  <a:pos x="62" y="174"/>
                </a:cxn>
                <a:cxn ang="0">
                  <a:pos x="28" y="174"/>
                </a:cxn>
                <a:cxn ang="0">
                  <a:pos x="18" y="178"/>
                </a:cxn>
                <a:cxn ang="0">
                  <a:pos x="0" y="164"/>
                </a:cxn>
                <a:cxn ang="0">
                  <a:pos x="36" y="130"/>
                </a:cxn>
                <a:cxn ang="0">
                  <a:pos x="48" y="132"/>
                </a:cxn>
                <a:cxn ang="0">
                  <a:pos x="60" y="122"/>
                </a:cxn>
                <a:cxn ang="0">
                  <a:pos x="78" y="118"/>
                </a:cxn>
                <a:cxn ang="0">
                  <a:pos x="102" y="72"/>
                </a:cxn>
                <a:cxn ang="0">
                  <a:pos x="124" y="64"/>
                </a:cxn>
                <a:cxn ang="0">
                  <a:pos x="140" y="78"/>
                </a:cxn>
                <a:cxn ang="0">
                  <a:pos x="164" y="84"/>
                </a:cxn>
                <a:cxn ang="0">
                  <a:pos x="170" y="70"/>
                </a:cxn>
                <a:cxn ang="0">
                  <a:pos x="162" y="50"/>
                </a:cxn>
                <a:cxn ang="0">
                  <a:pos x="184" y="42"/>
                </a:cxn>
                <a:cxn ang="0">
                  <a:pos x="198" y="18"/>
                </a:cxn>
                <a:cxn ang="0">
                  <a:pos x="214" y="12"/>
                </a:cxn>
                <a:cxn ang="0">
                  <a:pos x="222" y="0"/>
                </a:cxn>
                <a:cxn ang="0">
                  <a:pos x="248" y="10"/>
                </a:cxn>
                <a:cxn ang="0">
                  <a:pos x="254" y="26"/>
                </a:cxn>
                <a:cxn ang="0">
                  <a:pos x="234" y="46"/>
                </a:cxn>
                <a:cxn ang="0">
                  <a:pos x="216" y="56"/>
                </a:cxn>
                <a:cxn ang="0">
                  <a:pos x="212" y="76"/>
                </a:cxn>
                <a:cxn ang="0">
                  <a:pos x="220" y="88"/>
                </a:cxn>
                <a:cxn ang="0">
                  <a:pos x="214" y="114"/>
                </a:cxn>
                <a:cxn ang="0">
                  <a:pos x="190" y="144"/>
                </a:cxn>
                <a:cxn ang="0">
                  <a:pos x="174" y="152"/>
                </a:cxn>
                <a:cxn ang="0">
                  <a:pos x="152" y="154"/>
                </a:cxn>
                <a:cxn ang="0">
                  <a:pos x="138" y="174"/>
                </a:cxn>
                <a:cxn ang="0">
                  <a:pos x="130" y="176"/>
                </a:cxn>
                <a:cxn ang="0">
                  <a:pos x="128" y="198"/>
                </a:cxn>
                <a:cxn ang="0">
                  <a:pos x="152" y="214"/>
                </a:cxn>
                <a:cxn ang="0">
                  <a:pos x="162" y="220"/>
                </a:cxn>
                <a:cxn ang="0">
                  <a:pos x="170" y="236"/>
                </a:cxn>
                <a:cxn ang="0">
                  <a:pos x="158" y="242"/>
                </a:cxn>
                <a:cxn ang="0">
                  <a:pos x="144" y="250"/>
                </a:cxn>
                <a:cxn ang="0">
                  <a:pos x="120" y="246"/>
                </a:cxn>
                <a:cxn ang="0">
                  <a:pos x="94" y="260"/>
                </a:cxn>
              </a:cxnLst>
              <a:rect l="0" t="0" r="r" b="b"/>
              <a:pathLst>
                <a:path w="254" h="274">
                  <a:moveTo>
                    <a:pt x="94" y="260"/>
                  </a:moveTo>
                  <a:lnTo>
                    <a:pt x="76" y="258"/>
                  </a:lnTo>
                  <a:lnTo>
                    <a:pt x="68" y="272"/>
                  </a:lnTo>
                  <a:lnTo>
                    <a:pt x="54" y="274"/>
                  </a:lnTo>
                  <a:lnTo>
                    <a:pt x="52" y="262"/>
                  </a:lnTo>
                  <a:lnTo>
                    <a:pt x="38" y="260"/>
                  </a:lnTo>
                  <a:lnTo>
                    <a:pt x="28" y="250"/>
                  </a:lnTo>
                  <a:lnTo>
                    <a:pt x="40" y="228"/>
                  </a:lnTo>
                  <a:lnTo>
                    <a:pt x="56" y="224"/>
                  </a:lnTo>
                  <a:lnTo>
                    <a:pt x="52" y="210"/>
                  </a:lnTo>
                  <a:lnTo>
                    <a:pt x="62" y="174"/>
                  </a:lnTo>
                  <a:lnTo>
                    <a:pt x="28" y="174"/>
                  </a:lnTo>
                  <a:lnTo>
                    <a:pt x="18" y="178"/>
                  </a:lnTo>
                  <a:lnTo>
                    <a:pt x="0" y="164"/>
                  </a:lnTo>
                  <a:lnTo>
                    <a:pt x="36" y="130"/>
                  </a:lnTo>
                  <a:lnTo>
                    <a:pt x="48" y="132"/>
                  </a:lnTo>
                  <a:lnTo>
                    <a:pt x="60" y="122"/>
                  </a:lnTo>
                  <a:lnTo>
                    <a:pt x="78" y="118"/>
                  </a:lnTo>
                  <a:lnTo>
                    <a:pt x="102" y="72"/>
                  </a:lnTo>
                  <a:lnTo>
                    <a:pt x="124" y="64"/>
                  </a:lnTo>
                  <a:lnTo>
                    <a:pt x="140" y="78"/>
                  </a:lnTo>
                  <a:lnTo>
                    <a:pt x="164" y="84"/>
                  </a:lnTo>
                  <a:lnTo>
                    <a:pt x="170" y="70"/>
                  </a:lnTo>
                  <a:lnTo>
                    <a:pt x="162" y="50"/>
                  </a:lnTo>
                  <a:lnTo>
                    <a:pt x="184" y="42"/>
                  </a:lnTo>
                  <a:lnTo>
                    <a:pt x="198" y="18"/>
                  </a:lnTo>
                  <a:lnTo>
                    <a:pt x="214" y="12"/>
                  </a:lnTo>
                  <a:lnTo>
                    <a:pt x="222" y="0"/>
                  </a:lnTo>
                  <a:lnTo>
                    <a:pt x="248" y="10"/>
                  </a:lnTo>
                  <a:lnTo>
                    <a:pt x="254" y="26"/>
                  </a:lnTo>
                  <a:lnTo>
                    <a:pt x="234" y="46"/>
                  </a:lnTo>
                  <a:lnTo>
                    <a:pt x="216" y="56"/>
                  </a:lnTo>
                  <a:lnTo>
                    <a:pt x="212" y="76"/>
                  </a:lnTo>
                  <a:lnTo>
                    <a:pt x="220" y="88"/>
                  </a:lnTo>
                  <a:lnTo>
                    <a:pt x="214" y="114"/>
                  </a:lnTo>
                  <a:lnTo>
                    <a:pt x="190" y="144"/>
                  </a:lnTo>
                  <a:lnTo>
                    <a:pt x="174" y="152"/>
                  </a:lnTo>
                  <a:lnTo>
                    <a:pt x="152" y="154"/>
                  </a:lnTo>
                  <a:lnTo>
                    <a:pt x="138" y="174"/>
                  </a:lnTo>
                  <a:lnTo>
                    <a:pt x="130" y="176"/>
                  </a:lnTo>
                  <a:lnTo>
                    <a:pt x="128" y="198"/>
                  </a:lnTo>
                  <a:lnTo>
                    <a:pt x="152" y="214"/>
                  </a:lnTo>
                  <a:lnTo>
                    <a:pt x="162" y="220"/>
                  </a:lnTo>
                  <a:lnTo>
                    <a:pt x="170" y="236"/>
                  </a:lnTo>
                  <a:lnTo>
                    <a:pt x="158" y="242"/>
                  </a:lnTo>
                  <a:lnTo>
                    <a:pt x="144" y="250"/>
                  </a:lnTo>
                  <a:lnTo>
                    <a:pt x="120" y="246"/>
                  </a:lnTo>
                  <a:lnTo>
                    <a:pt x="94" y="260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61" name="Norway">
              <a:extLst>
                <a:ext uri="{FF2B5EF4-FFF2-40B4-BE49-F238E27FC236}">
                  <a16:creationId xmlns="" xmlns:a16="http://schemas.microsoft.com/office/drawing/2014/main" id="{B3C0FCB5-11C0-4BA9-B77A-B7CB0B1DCD8E}"/>
                </a:ext>
              </a:extLst>
            </p:cNvPr>
            <p:cNvSpPr>
              <a:spLocks/>
            </p:cNvSpPr>
            <p:nvPr/>
          </p:nvSpPr>
          <p:spPr bwMode="gray">
            <a:xfrm>
              <a:off x="5966925" y="1272629"/>
              <a:ext cx="796540" cy="1006878"/>
            </a:xfrm>
            <a:custGeom>
              <a:avLst/>
              <a:gdLst/>
              <a:ahLst/>
              <a:cxnLst>
                <a:cxn ang="0">
                  <a:pos x="890" y="222"/>
                </a:cxn>
                <a:cxn ang="0">
                  <a:pos x="892" y="154"/>
                </a:cxn>
                <a:cxn ang="0">
                  <a:pos x="810" y="152"/>
                </a:cxn>
                <a:cxn ang="0">
                  <a:pos x="658" y="270"/>
                </a:cxn>
                <a:cxn ang="0">
                  <a:pos x="598" y="240"/>
                </a:cxn>
                <a:cxn ang="0">
                  <a:pos x="552" y="284"/>
                </a:cxn>
                <a:cxn ang="0">
                  <a:pos x="496" y="292"/>
                </a:cxn>
                <a:cxn ang="0">
                  <a:pos x="484" y="322"/>
                </a:cxn>
                <a:cxn ang="0">
                  <a:pos x="432" y="378"/>
                </a:cxn>
                <a:cxn ang="0">
                  <a:pos x="434" y="430"/>
                </a:cxn>
                <a:cxn ang="0">
                  <a:pos x="368" y="556"/>
                </a:cxn>
                <a:cxn ang="0">
                  <a:pos x="332" y="702"/>
                </a:cxn>
                <a:cxn ang="0">
                  <a:pos x="252" y="768"/>
                </a:cxn>
                <a:cxn ang="0">
                  <a:pos x="276" y="970"/>
                </a:cxn>
                <a:cxn ang="0">
                  <a:pos x="242" y="1122"/>
                </a:cxn>
                <a:cxn ang="0">
                  <a:pos x="222" y="1146"/>
                </a:cxn>
                <a:cxn ang="0">
                  <a:pos x="168" y="1154"/>
                </a:cxn>
                <a:cxn ang="0">
                  <a:pos x="46" y="1200"/>
                </a:cxn>
                <a:cxn ang="0">
                  <a:pos x="22" y="1148"/>
                </a:cxn>
                <a:cxn ang="0">
                  <a:pos x="6" y="1124"/>
                </a:cxn>
                <a:cxn ang="0">
                  <a:pos x="24" y="1082"/>
                </a:cxn>
                <a:cxn ang="0">
                  <a:pos x="14" y="1028"/>
                </a:cxn>
                <a:cxn ang="0">
                  <a:pos x="8" y="988"/>
                </a:cxn>
                <a:cxn ang="0">
                  <a:pos x="6" y="936"/>
                </a:cxn>
                <a:cxn ang="0">
                  <a:pos x="22" y="894"/>
                </a:cxn>
                <a:cxn ang="0">
                  <a:pos x="64" y="856"/>
                </a:cxn>
                <a:cxn ang="0">
                  <a:pos x="130" y="836"/>
                </a:cxn>
                <a:cxn ang="0">
                  <a:pos x="176" y="792"/>
                </a:cxn>
                <a:cxn ang="0">
                  <a:pos x="188" y="736"/>
                </a:cxn>
                <a:cxn ang="0">
                  <a:pos x="238" y="710"/>
                </a:cxn>
                <a:cxn ang="0">
                  <a:pos x="254" y="658"/>
                </a:cxn>
                <a:cxn ang="0">
                  <a:pos x="278" y="572"/>
                </a:cxn>
                <a:cxn ang="0">
                  <a:pos x="308" y="516"/>
                </a:cxn>
                <a:cxn ang="0">
                  <a:pos x="348" y="454"/>
                </a:cxn>
                <a:cxn ang="0">
                  <a:pos x="374" y="402"/>
                </a:cxn>
                <a:cxn ang="0">
                  <a:pos x="404" y="332"/>
                </a:cxn>
                <a:cxn ang="0">
                  <a:pos x="456" y="268"/>
                </a:cxn>
                <a:cxn ang="0">
                  <a:pos x="438" y="228"/>
                </a:cxn>
                <a:cxn ang="0">
                  <a:pos x="486" y="186"/>
                </a:cxn>
                <a:cxn ang="0">
                  <a:pos x="558" y="148"/>
                </a:cxn>
                <a:cxn ang="0">
                  <a:pos x="682" y="108"/>
                </a:cxn>
                <a:cxn ang="0">
                  <a:pos x="768" y="2"/>
                </a:cxn>
                <a:cxn ang="0">
                  <a:pos x="802" y="30"/>
                </a:cxn>
                <a:cxn ang="0">
                  <a:pos x="832" y="40"/>
                </a:cxn>
                <a:cxn ang="0">
                  <a:pos x="876" y="8"/>
                </a:cxn>
                <a:cxn ang="0">
                  <a:pos x="868" y="80"/>
                </a:cxn>
                <a:cxn ang="0">
                  <a:pos x="912" y="46"/>
                </a:cxn>
                <a:cxn ang="0">
                  <a:pos x="978" y="98"/>
                </a:cxn>
                <a:cxn ang="0">
                  <a:pos x="890" y="118"/>
                </a:cxn>
                <a:cxn ang="0">
                  <a:pos x="944" y="160"/>
                </a:cxn>
              </a:cxnLst>
              <a:rect l="0" t="0" r="r" b="b"/>
              <a:pathLst>
                <a:path w="980" h="1232">
                  <a:moveTo>
                    <a:pt x="944" y="160"/>
                  </a:moveTo>
                  <a:lnTo>
                    <a:pt x="902" y="222"/>
                  </a:lnTo>
                  <a:lnTo>
                    <a:pt x="890" y="222"/>
                  </a:lnTo>
                  <a:lnTo>
                    <a:pt x="882" y="190"/>
                  </a:lnTo>
                  <a:lnTo>
                    <a:pt x="896" y="166"/>
                  </a:lnTo>
                  <a:lnTo>
                    <a:pt x="892" y="154"/>
                  </a:lnTo>
                  <a:lnTo>
                    <a:pt x="874" y="152"/>
                  </a:lnTo>
                  <a:lnTo>
                    <a:pt x="854" y="138"/>
                  </a:lnTo>
                  <a:lnTo>
                    <a:pt x="810" y="152"/>
                  </a:lnTo>
                  <a:lnTo>
                    <a:pt x="740" y="292"/>
                  </a:lnTo>
                  <a:lnTo>
                    <a:pt x="714" y="272"/>
                  </a:lnTo>
                  <a:lnTo>
                    <a:pt x="658" y="270"/>
                  </a:lnTo>
                  <a:lnTo>
                    <a:pt x="634" y="232"/>
                  </a:lnTo>
                  <a:lnTo>
                    <a:pt x="608" y="212"/>
                  </a:lnTo>
                  <a:lnTo>
                    <a:pt x="598" y="240"/>
                  </a:lnTo>
                  <a:lnTo>
                    <a:pt x="568" y="238"/>
                  </a:lnTo>
                  <a:lnTo>
                    <a:pt x="554" y="238"/>
                  </a:lnTo>
                  <a:lnTo>
                    <a:pt x="552" y="284"/>
                  </a:lnTo>
                  <a:lnTo>
                    <a:pt x="540" y="300"/>
                  </a:lnTo>
                  <a:lnTo>
                    <a:pt x="528" y="292"/>
                  </a:lnTo>
                  <a:lnTo>
                    <a:pt x="496" y="292"/>
                  </a:lnTo>
                  <a:lnTo>
                    <a:pt x="486" y="286"/>
                  </a:lnTo>
                  <a:lnTo>
                    <a:pt x="480" y="292"/>
                  </a:lnTo>
                  <a:lnTo>
                    <a:pt x="484" y="322"/>
                  </a:lnTo>
                  <a:lnTo>
                    <a:pt x="482" y="342"/>
                  </a:lnTo>
                  <a:lnTo>
                    <a:pt x="452" y="330"/>
                  </a:lnTo>
                  <a:lnTo>
                    <a:pt x="432" y="378"/>
                  </a:lnTo>
                  <a:lnTo>
                    <a:pt x="416" y="382"/>
                  </a:lnTo>
                  <a:lnTo>
                    <a:pt x="412" y="400"/>
                  </a:lnTo>
                  <a:lnTo>
                    <a:pt x="434" y="430"/>
                  </a:lnTo>
                  <a:lnTo>
                    <a:pt x="370" y="520"/>
                  </a:lnTo>
                  <a:lnTo>
                    <a:pt x="378" y="544"/>
                  </a:lnTo>
                  <a:lnTo>
                    <a:pt x="368" y="556"/>
                  </a:lnTo>
                  <a:lnTo>
                    <a:pt x="354" y="556"/>
                  </a:lnTo>
                  <a:lnTo>
                    <a:pt x="316" y="690"/>
                  </a:lnTo>
                  <a:lnTo>
                    <a:pt x="332" y="702"/>
                  </a:lnTo>
                  <a:lnTo>
                    <a:pt x="306" y="728"/>
                  </a:lnTo>
                  <a:lnTo>
                    <a:pt x="280" y="726"/>
                  </a:lnTo>
                  <a:lnTo>
                    <a:pt x="252" y="768"/>
                  </a:lnTo>
                  <a:lnTo>
                    <a:pt x="258" y="788"/>
                  </a:lnTo>
                  <a:lnTo>
                    <a:pt x="250" y="910"/>
                  </a:lnTo>
                  <a:lnTo>
                    <a:pt x="276" y="970"/>
                  </a:lnTo>
                  <a:lnTo>
                    <a:pt x="256" y="1006"/>
                  </a:lnTo>
                  <a:lnTo>
                    <a:pt x="272" y="1074"/>
                  </a:lnTo>
                  <a:lnTo>
                    <a:pt x="242" y="1122"/>
                  </a:lnTo>
                  <a:lnTo>
                    <a:pt x="238" y="1158"/>
                  </a:lnTo>
                  <a:lnTo>
                    <a:pt x="226" y="1158"/>
                  </a:lnTo>
                  <a:lnTo>
                    <a:pt x="222" y="1146"/>
                  </a:lnTo>
                  <a:lnTo>
                    <a:pt x="204" y="1144"/>
                  </a:lnTo>
                  <a:lnTo>
                    <a:pt x="190" y="1128"/>
                  </a:lnTo>
                  <a:lnTo>
                    <a:pt x="168" y="1154"/>
                  </a:lnTo>
                  <a:lnTo>
                    <a:pt x="112" y="1230"/>
                  </a:lnTo>
                  <a:lnTo>
                    <a:pt x="72" y="1232"/>
                  </a:lnTo>
                  <a:lnTo>
                    <a:pt x="46" y="1200"/>
                  </a:lnTo>
                  <a:lnTo>
                    <a:pt x="30" y="1198"/>
                  </a:lnTo>
                  <a:lnTo>
                    <a:pt x="22" y="1170"/>
                  </a:lnTo>
                  <a:lnTo>
                    <a:pt x="22" y="1148"/>
                  </a:lnTo>
                  <a:lnTo>
                    <a:pt x="34" y="1130"/>
                  </a:lnTo>
                  <a:lnTo>
                    <a:pt x="14" y="1130"/>
                  </a:lnTo>
                  <a:lnTo>
                    <a:pt x="6" y="1124"/>
                  </a:lnTo>
                  <a:lnTo>
                    <a:pt x="10" y="1102"/>
                  </a:lnTo>
                  <a:lnTo>
                    <a:pt x="24" y="1100"/>
                  </a:lnTo>
                  <a:lnTo>
                    <a:pt x="24" y="1082"/>
                  </a:lnTo>
                  <a:lnTo>
                    <a:pt x="16" y="1070"/>
                  </a:lnTo>
                  <a:lnTo>
                    <a:pt x="8" y="1052"/>
                  </a:lnTo>
                  <a:lnTo>
                    <a:pt x="14" y="1028"/>
                  </a:lnTo>
                  <a:lnTo>
                    <a:pt x="0" y="1016"/>
                  </a:lnTo>
                  <a:lnTo>
                    <a:pt x="0" y="998"/>
                  </a:lnTo>
                  <a:lnTo>
                    <a:pt x="8" y="988"/>
                  </a:lnTo>
                  <a:lnTo>
                    <a:pt x="4" y="970"/>
                  </a:lnTo>
                  <a:lnTo>
                    <a:pt x="16" y="960"/>
                  </a:lnTo>
                  <a:lnTo>
                    <a:pt x="6" y="936"/>
                  </a:lnTo>
                  <a:lnTo>
                    <a:pt x="16" y="924"/>
                  </a:lnTo>
                  <a:lnTo>
                    <a:pt x="2" y="908"/>
                  </a:lnTo>
                  <a:lnTo>
                    <a:pt x="22" y="894"/>
                  </a:lnTo>
                  <a:lnTo>
                    <a:pt x="42" y="886"/>
                  </a:lnTo>
                  <a:lnTo>
                    <a:pt x="40" y="868"/>
                  </a:lnTo>
                  <a:lnTo>
                    <a:pt x="64" y="856"/>
                  </a:lnTo>
                  <a:lnTo>
                    <a:pt x="78" y="838"/>
                  </a:lnTo>
                  <a:lnTo>
                    <a:pt x="108" y="832"/>
                  </a:lnTo>
                  <a:lnTo>
                    <a:pt x="130" y="836"/>
                  </a:lnTo>
                  <a:lnTo>
                    <a:pt x="126" y="814"/>
                  </a:lnTo>
                  <a:lnTo>
                    <a:pt x="138" y="790"/>
                  </a:lnTo>
                  <a:lnTo>
                    <a:pt x="176" y="792"/>
                  </a:lnTo>
                  <a:lnTo>
                    <a:pt x="188" y="782"/>
                  </a:lnTo>
                  <a:lnTo>
                    <a:pt x="174" y="762"/>
                  </a:lnTo>
                  <a:lnTo>
                    <a:pt x="188" y="736"/>
                  </a:lnTo>
                  <a:lnTo>
                    <a:pt x="202" y="732"/>
                  </a:lnTo>
                  <a:lnTo>
                    <a:pt x="210" y="704"/>
                  </a:lnTo>
                  <a:lnTo>
                    <a:pt x="238" y="710"/>
                  </a:lnTo>
                  <a:lnTo>
                    <a:pt x="238" y="688"/>
                  </a:lnTo>
                  <a:lnTo>
                    <a:pt x="224" y="676"/>
                  </a:lnTo>
                  <a:lnTo>
                    <a:pt x="254" y="658"/>
                  </a:lnTo>
                  <a:lnTo>
                    <a:pt x="266" y="640"/>
                  </a:lnTo>
                  <a:lnTo>
                    <a:pt x="256" y="614"/>
                  </a:lnTo>
                  <a:lnTo>
                    <a:pt x="278" y="572"/>
                  </a:lnTo>
                  <a:lnTo>
                    <a:pt x="298" y="558"/>
                  </a:lnTo>
                  <a:lnTo>
                    <a:pt x="290" y="544"/>
                  </a:lnTo>
                  <a:lnTo>
                    <a:pt x="308" y="516"/>
                  </a:lnTo>
                  <a:lnTo>
                    <a:pt x="300" y="490"/>
                  </a:lnTo>
                  <a:lnTo>
                    <a:pt x="306" y="472"/>
                  </a:lnTo>
                  <a:lnTo>
                    <a:pt x="348" y="454"/>
                  </a:lnTo>
                  <a:lnTo>
                    <a:pt x="360" y="432"/>
                  </a:lnTo>
                  <a:lnTo>
                    <a:pt x="348" y="418"/>
                  </a:lnTo>
                  <a:lnTo>
                    <a:pt x="374" y="402"/>
                  </a:lnTo>
                  <a:lnTo>
                    <a:pt x="368" y="380"/>
                  </a:lnTo>
                  <a:lnTo>
                    <a:pt x="372" y="352"/>
                  </a:lnTo>
                  <a:lnTo>
                    <a:pt x="404" y="332"/>
                  </a:lnTo>
                  <a:lnTo>
                    <a:pt x="420" y="332"/>
                  </a:lnTo>
                  <a:lnTo>
                    <a:pt x="420" y="294"/>
                  </a:lnTo>
                  <a:lnTo>
                    <a:pt x="456" y="268"/>
                  </a:lnTo>
                  <a:lnTo>
                    <a:pt x="462" y="244"/>
                  </a:lnTo>
                  <a:lnTo>
                    <a:pt x="468" y="226"/>
                  </a:lnTo>
                  <a:lnTo>
                    <a:pt x="438" y="228"/>
                  </a:lnTo>
                  <a:lnTo>
                    <a:pt x="442" y="200"/>
                  </a:lnTo>
                  <a:lnTo>
                    <a:pt x="468" y="184"/>
                  </a:lnTo>
                  <a:lnTo>
                    <a:pt x="486" y="186"/>
                  </a:lnTo>
                  <a:lnTo>
                    <a:pt x="494" y="166"/>
                  </a:lnTo>
                  <a:lnTo>
                    <a:pt x="514" y="142"/>
                  </a:lnTo>
                  <a:lnTo>
                    <a:pt x="558" y="148"/>
                  </a:lnTo>
                  <a:lnTo>
                    <a:pt x="584" y="144"/>
                  </a:lnTo>
                  <a:lnTo>
                    <a:pt x="614" y="114"/>
                  </a:lnTo>
                  <a:lnTo>
                    <a:pt x="682" y="108"/>
                  </a:lnTo>
                  <a:lnTo>
                    <a:pt x="720" y="64"/>
                  </a:lnTo>
                  <a:lnTo>
                    <a:pt x="714" y="36"/>
                  </a:lnTo>
                  <a:lnTo>
                    <a:pt x="768" y="2"/>
                  </a:lnTo>
                  <a:lnTo>
                    <a:pt x="780" y="6"/>
                  </a:lnTo>
                  <a:lnTo>
                    <a:pt x="768" y="46"/>
                  </a:lnTo>
                  <a:lnTo>
                    <a:pt x="802" y="30"/>
                  </a:lnTo>
                  <a:lnTo>
                    <a:pt x="820" y="60"/>
                  </a:lnTo>
                  <a:lnTo>
                    <a:pt x="820" y="60"/>
                  </a:lnTo>
                  <a:lnTo>
                    <a:pt x="832" y="40"/>
                  </a:lnTo>
                  <a:lnTo>
                    <a:pt x="832" y="40"/>
                  </a:lnTo>
                  <a:lnTo>
                    <a:pt x="858" y="0"/>
                  </a:lnTo>
                  <a:lnTo>
                    <a:pt x="876" y="8"/>
                  </a:lnTo>
                  <a:lnTo>
                    <a:pt x="864" y="38"/>
                  </a:lnTo>
                  <a:lnTo>
                    <a:pt x="860" y="60"/>
                  </a:lnTo>
                  <a:lnTo>
                    <a:pt x="868" y="80"/>
                  </a:lnTo>
                  <a:lnTo>
                    <a:pt x="900" y="22"/>
                  </a:lnTo>
                  <a:lnTo>
                    <a:pt x="914" y="24"/>
                  </a:lnTo>
                  <a:lnTo>
                    <a:pt x="912" y="46"/>
                  </a:lnTo>
                  <a:lnTo>
                    <a:pt x="966" y="62"/>
                  </a:lnTo>
                  <a:lnTo>
                    <a:pt x="980" y="82"/>
                  </a:lnTo>
                  <a:lnTo>
                    <a:pt x="978" y="98"/>
                  </a:lnTo>
                  <a:lnTo>
                    <a:pt x="966" y="100"/>
                  </a:lnTo>
                  <a:lnTo>
                    <a:pt x="946" y="130"/>
                  </a:lnTo>
                  <a:lnTo>
                    <a:pt x="890" y="118"/>
                  </a:lnTo>
                  <a:lnTo>
                    <a:pt x="884" y="128"/>
                  </a:lnTo>
                  <a:lnTo>
                    <a:pt x="918" y="156"/>
                  </a:lnTo>
                  <a:lnTo>
                    <a:pt x="944" y="160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62" name="Oman">
              <a:extLst>
                <a:ext uri="{FF2B5EF4-FFF2-40B4-BE49-F238E27FC236}">
                  <a16:creationId xmlns="" xmlns:a16="http://schemas.microsoft.com/office/drawing/2014/main" id="{3CBA82E9-D078-4CAD-9AEB-7A34C86D4144}"/>
                </a:ext>
              </a:extLst>
            </p:cNvPr>
            <p:cNvSpPr>
              <a:spLocks/>
            </p:cNvSpPr>
            <p:nvPr/>
          </p:nvSpPr>
          <p:spPr bwMode="gray">
            <a:xfrm>
              <a:off x="7429200" y="3695431"/>
              <a:ext cx="218657" cy="326449"/>
            </a:xfrm>
            <a:custGeom>
              <a:avLst/>
              <a:gdLst/>
              <a:ahLst/>
              <a:cxnLst>
                <a:cxn ang="0">
                  <a:pos x="48" y="400"/>
                </a:cxn>
                <a:cxn ang="0">
                  <a:pos x="34" y="400"/>
                </a:cxn>
                <a:cxn ang="0">
                  <a:pos x="0" y="312"/>
                </a:cxn>
                <a:cxn ang="0">
                  <a:pos x="84" y="284"/>
                </a:cxn>
                <a:cxn ang="0">
                  <a:pos x="96" y="190"/>
                </a:cxn>
                <a:cxn ang="0">
                  <a:pos x="92" y="166"/>
                </a:cxn>
                <a:cxn ang="0">
                  <a:pos x="96" y="134"/>
                </a:cxn>
                <a:cxn ang="0">
                  <a:pos x="104" y="128"/>
                </a:cxn>
                <a:cxn ang="0">
                  <a:pos x="112" y="80"/>
                </a:cxn>
                <a:cxn ang="0">
                  <a:pos x="118" y="68"/>
                </a:cxn>
                <a:cxn ang="0">
                  <a:pos x="126" y="38"/>
                </a:cxn>
                <a:cxn ang="0">
                  <a:pos x="124" y="16"/>
                </a:cxn>
                <a:cxn ang="0">
                  <a:pos x="134" y="6"/>
                </a:cxn>
                <a:cxn ang="0">
                  <a:pos x="146" y="0"/>
                </a:cxn>
                <a:cxn ang="0">
                  <a:pos x="146" y="10"/>
                </a:cxn>
                <a:cxn ang="0">
                  <a:pos x="138" y="16"/>
                </a:cxn>
                <a:cxn ang="0">
                  <a:pos x="136" y="36"/>
                </a:cxn>
                <a:cxn ang="0">
                  <a:pos x="140" y="66"/>
                </a:cxn>
                <a:cxn ang="0">
                  <a:pos x="160" y="88"/>
                </a:cxn>
                <a:cxn ang="0">
                  <a:pos x="174" y="108"/>
                </a:cxn>
                <a:cxn ang="0">
                  <a:pos x="194" y="114"/>
                </a:cxn>
                <a:cxn ang="0">
                  <a:pos x="208" y="114"/>
                </a:cxn>
                <a:cxn ang="0">
                  <a:pos x="236" y="132"/>
                </a:cxn>
                <a:cxn ang="0">
                  <a:pos x="242" y="142"/>
                </a:cxn>
                <a:cxn ang="0">
                  <a:pos x="246" y="160"/>
                </a:cxn>
                <a:cxn ang="0">
                  <a:pos x="258" y="170"/>
                </a:cxn>
                <a:cxn ang="0">
                  <a:pos x="270" y="170"/>
                </a:cxn>
                <a:cxn ang="0">
                  <a:pos x="256" y="208"/>
                </a:cxn>
                <a:cxn ang="0">
                  <a:pos x="254" y="218"/>
                </a:cxn>
                <a:cxn ang="0">
                  <a:pos x="242" y="236"/>
                </a:cxn>
                <a:cxn ang="0">
                  <a:pos x="214" y="264"/>
                </a:cxn>
                <a:cxn ang="0">
                  <a:pos x="208" y="256"/>
                </a:cxn>
                <a:cxn ang="0">
                  <a:pos x="194" y="284"/>
                </a:cxn>
                <a:cxn ang="0">
                  <a:pos x="200" y="314"/>
                </a:cxn>
                <a:cxn ang="0">
                  <a:pos x="196" y="320"/>
                </a:cxn>
                <a:cxn ang="0">
                  <a:pos x="184" y="314"/>
                </a:cxn>
                <a:cxn ang="0">
                  <a:pos x="156" y="330"/>
                </a:cxn>
                <a:cxn ang="0">
                  <a:pos x="154" y="344"/>
                </a:cxn>
                <a:cxn ang="0">
                  <a:pos x="140" y="352"/>
                </a:cxn>
                <a:cxn ang="0">
                  <a:pos x="120" y="352"/>
                </a:cxn>
                <a:cxn ang="0">
                  <a:pos x="110" y="358"/>
                </a:cxn>
                <a:cxn ang="0">
                  <a:pos x="110" y="382"/>
                </a:cxn>
                <a:cxn ang="0">
                  <a:pos x="100" y="392"/>
                </a:cxn>
                <a:cxn ang="0">
                  <a:pos x="70" y="392"/>
                </a:cxn>
                <a:cxn ang="0">
                  <a:pos x="48" y="400"/>
                </a:cxn>
              </a:cxnLst>
              <a:rect l="0" t="0" r="r" b="b"/>
              <a:pathLst>
                <a:path w="270" h="400">
                  <a:moveTo>
                    <a:pt x="48" y="400"/>
                  </a:moveTo>
                  <a:lnTo>
                    <a:pt x="34" y="400"/>
                  </a:lnTo>
                  <a:lnTo>
                    <a:pt x="0" y="312"/>
                  </a:lnTo>
                  <a:lnTo>
                    <a:pt x="84" y="284"/>
                  </a:lnTo>
                  <a:lnTo>
                    <a:pt x="96" y="190"/>
                  </a:lnTo>
                  <a:lnTo>
                    <a:pt x="92" y="166"/>
                  </a:lnTo>
                  <a:lnTo>
                    <a:pt x="96" y="134"/>
                  </a:lnTo>
                  <a:lnTo>
                    <a:pt x="104" y="128"/>
                  </a:lnTo>
                  <a:lnTo>
                    <a:pt x="112" y="80"/>
                  </a:lnTo>
                  <a:lnTo>
                    <a:pt x="118" y="68"/>
                  </a:lnTo>
                  <a:lnTo>
                    <a:pt x="126" y="38"/>
                  </a:lnTo>
                  <a:lnTo>
                    <a:pt x="124" y="16"/>
                  </a:lnTo>
                  <a:lnTo>
                    <a:pt x="134" y="6"/>
                  </a:lnTo>
                  <a:lnTo>
                    <a:pt x="146" y="0"/>
                  </a:lnTo>
                  <a:lnTo>
                    <a:pt x="146" y="10"/>
                  </a:lnTo>
                  <a:lnTo>
                    <a:pt x="138" y="16"/>
                  </a:lnTo>
                  <a:lnTo>
                    <a:pt x="136" y="36"/>
                  </a:lnTo>
                  <a:lnTo>
                    <a:pt x="140" y="66"/>
                  </a:lnTo>
                  <a:lnTo>
                    <a:pt x="160" y="88"/>
                  </a:lnTo>
                  <a:lnTo>
                    <a:pt x="174" y="108"/>
                  </a:lnTo>
                  <a:lnTo>
                    <a:pt x="194" y="114"/>
                  </a:lnTo>
                  <a:lnTo>
                    <a:pt x="208" y="114"/>
                  </a:lnTo>
                  <a:lnTo>
                    <a:pt x="236" y="132"/>
                  </a:lnTo>
                  <a:lnTo>
                    <a:pt x="242" y="142"/>
                  </a:lnTo>
                  <a:lnTo>
                    <a:pt x="246" y="160"/>
                  </a:lnTo>
                  <a:lnTo>
                    <a:pt x="258" y="170"/>
                  </a:lnTo>
                  <a:lnTo>
                    <a:pt x="270" y="170"/>
                  </a:lnTo>
                  <a:lnTo>
                    <a:pt x="256" y="208"/>
                  </a:lnTo>
                  <a:lnTo>
                    <a:pt x="254" y="218"/>
                  </a:lnTo>
                  <a:lnTo>
                    <a:pt x="242" y="236"/>
                  </a:lnTo>
                  <a:lnTo>
                    <a:pt x="214" y="264"/>
                  </a:lnTo>
                  <a:lnTo>
                    <a:pt x="208" y="256"/>
                  </a:lnTo>
                  <a:lnTo>
                    <a:pt x="194" y="284"/>
                  </a:lnTo>
                  <a:lnTo>
                    <a:pt x="200" y="314"/>
                  </a:lnTo>
                  <a:lnTo>
                    <a:pt x="196" y="320"/>
                  </a:lnTo>
                  <a:lnTo>
                    <a:pt x="184" y="314"/>
                  </a:lnTo>
                  <a:lnTo>
                    <a:pt x="156" y="330"/>
                  </a:lnTo>
                  <a:lnTo>
                    <a:pt x="154" y="344"/>
                  </a:lnTo>
                  <a:lnTo>
                    <a:pt x="140" y="352"/>
                  </a:lnTo>
                  <a:lnTo>
                    <a:pt x="120" y="352"/>
                  </a:lnTo>
                  <a:lnTo>
                    <a:pt x="110" y="358"/>
                  </a:lnTo>
                  <a:lnTo>
                    <a:pt x="110" y="382"/>
                  </a:lnTo>
                  <a:lnTo>
                    <a:pt x="100" y="392"/>
                  </a:lnTo>
                  <a:lnTo>
                    <a:pt x="70" y="392"/>
                  </a:lnTo>
                  <a:lnTo>
                    <a:pt x="48" y="400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63" name="Pakistan">
              <a:extLst>
                <a:ext uri="{FF2B5EF4-FFF2-40B4-BE49-F238E27FC236}">
                  <a16:creationId xmlns="" xmlns:a16="http://schemas.microsoft.com/office/drawing/2014/main" id="{0BBE1EDC-1463-4453-B151-4C768D461677}"/>
                </a:ext>
              </a:extLst>
            </p:cNvPr>
            <p:cNvSpPr>
              <a:spLocks/>
            </p:cNvSpPr>
            <p:nvPr/>
          </p:nvSpPr>
          <p:spPr bwMode="gray">
            <a:xfrm>
              <a:off x="7677144" y="3296221"/>
              <a:ext cx="503695" cy="491640"/>
            </a:xfrm>
            <a:custGeom>
              <a:avLst/>
              <a:gdLst/>
              <a:ahLst/>
              <a:cxnLst>
                <a:cxn ang="0">
                  <a:pos x="26" y="530"/>
                </a:cxn>
                <a:cxn ang="0">
                  <a:pos x="54" y="478"/>
                </a:cxn>
                <a:cxn ang="0">
                  <a:pos x="90" y="458"/>
                </a:cxn>
                <a:cxn ang="0">
                  <a:pos x="72" y="412"/>
                </a:cxn>
                <a:cxn ang="0">
                  <a:pos x="0" y="338"/>
                </a:cxn>
                <a:cxn ang="0">
                  <a:pos x="46" y="360"/>
                </a:cxn>
                <a:cxn ang="0">
                  <a:pos x="88" y="354"/>
                </a:cxn>
                <a:cxn ang="0">
                  <a:pos x="134" y="352"/>
                </a:cxn>
                <a:cxn ang="0">
                  <a:pos x="202" y="338"/>
                </a:cxn>
                <a:cxn ang="0">
                  <a:pos x="200" y="304"/>
                </a:cxn>
                <a:cxn ang="0">
                  <a:pos x="206" y="276"/>
                </a:cxn>
                <a:cxn ang="0">
                  <a:pos x="234" y="260"/>
                </a:cxn>
                <a:cxn ang="0">
                  <a:pos x="258" y="258"/>
                </a:cxn>
                <a:cxn ang="0">
                  <a:pos x="304" y="250"/>
                </a:cxn>
                <a:cxn ang="0">
                  <a:pos x="318" y="214"/>
                </a:cxn>
                <a:cxn ang="0">
                  <a:pos x="356" y="170"/>
                </a:cxn>
                <a:cxn ang="0">
                  <a:pos x="336" y="136"/>
                </a:cxn>
                <a:cxn ang="0">
                  <a:pos x="386" y="120"/>
                </a:cxn>
                <a:cxn ang="0">
                  <a:pos x="402" y="88"/>
                </a:cxn>
                <a:cxn ang="0">
                  <a:pos x="386" y="56"/>
                </a:cxn>
                <a:cxn ang="0">
                  <a:pos x="414" y="38"/>
                </a:cxn>
                <a:cxn ang="0">
                  <a:pos x="482" y="6"/>
                </a:cxn>
                <a:cxn ang="0">
                  <a:pos x="506" y="0"/>
                </a:cxn>
                <a:cxn ang="0">
                  <a:pos x="530" y="6"/>
                </a:cxn>
                <a:cxn ang="0">
                  <a:pos x="584" y="30"/>
                </a:cxn>
                <a:cxn ang="0">
                  <a:pos x="614" y="58"/>
                </a:cxn>
                <a:cxn ang="0">
                  <a:pos x="602" y="104"/>
                </a:cxn>
                <a:cxn ang="0">
                  <a:pos x="550" y="106"/>
                </a:cxn>
                <a:cxn ang="0">
                  <a:pos x="498" y="96"/>
                </a:cxn>
                <a:cxn ang="0">
                  <a:pos x="484" y="132"/>
                </a:cxn>
                <a:cxn ang="0">
                  <a:pos x="518" y="194"/>
                </a:cxn>
                <a:cxn ang="0">
                  <a:pos x="550" y="218"/>
                </a:cxn>
                <a:cxn ang="0">
                  <a:pos x="528" y="274"/>
                </a:cxn>
                <a:cxn ang="0">
                  <a:pos x="504" y="286"/>
                </a:cxn>
                <a:cxn ang="0">
                  <a:pos x="498" y="312"/>
                </a:cxn>
                <a:cxn ang="0">
                  <a:pos x="468" y="364"/>
                </a:cxn>
                <a:cxn ang="0">
                  <a:pos x="432" y="384"/>
                </a:cxn>
                <a:cxn ang="0">
                  <a:pos x="392" y="418"/>
                </a:cxn>
                <a:cxn ang="0">
                  <a:pos x="360" y="420"/>
                </a:cxn>
                <a:cxn ang="0">
                  <a:pos x="342" y="436"/>
                </a:cxn>
                <a:cxn ang="0">
                  <a:pos x="332" y="474"/>
                </a:cxn>
                <a:cxn ang="0">
                  <a:pos x="346" y="496"/>
                </a:cxn>
                <a:cxn ang="0">
                  <a:pos x="372" y="518"/>
                </a:cxn>
                <a:cxn ang="0">
                  <a:pos x="388" y="554"/>
                </a:cxn>
                <a:cxn ang="0">
                  <a:pos x="380" y="574"/>
                </a:cxn>
                <a:cxn ang="0">
                  <a:pos x="356" y="570"/>
                </a:cxn>
                <a:cxn ang="0">
                  <a:pos x="316" y="576"/>
                </a:cxn>
                <a:cxn ang="0">
                  <a:pos x="300" y="586"/>
                </a:cxn>
                <a:cxn ang="0">
                  <a:pos x="272" y="602"/>
                </a:cxn>
                <a:cxn ang="0">
                  <a:pos x="226" y="558"/>
                </a:cxn>
                <a:cxn ang="0">
                  <a:pos x="218" y="536"/>
                </a:cxn>
                <a:cxn ang="0">
                  <a:pos x="162" y="526"/>
                </a:cxn>
                <a:cxn ang="0">
                  <a:pos x="116" y="524"/>
                </a:cxn>
                <a:cxn ang="0">
                  <a:pos x="94" y="538"/>
                </a:cxn>
                <a:cxn ang="0">
                  <a:pos x="62" y="538"/>
                </a:cxn>
                <a:cxn ang="0">
                  <a:pos x="40" y="538"/>
                </a:cxn>
              </a:cxnLst>
              <a:rect l="0" t="0" r="r" b="b"/>
              <a:pathLst>
                <a:path w="618" h="602">
                  <a:moveTo>
                    <a:pt x="40" y="538"/>
                  </a:moveTo>
                  <a:lnTo>
                    <a:pt x="26" y="530"/>
                  </a:lnTo>
                  <a:lnTo>
                    <a:pt x="32" y="498"/>
                  </a:lnTo>
                  <a:lnTo>
                    <a:pt x="54" y="478"/>
                  </a:lnTo>
                  <a:lnTo>
                    <a:pt x="84" y="474"/>
                  </a:lnTo>
                  <a:lnTo>
                    <a:pt x="90" y="458"/>
                  </a:lnTo>
                  <a:lnTo>
                    <a:pt x="72" y="446"/>
                  </a:lnTo>
                  <a:lnTo>
                    <a:pt x="72" y="412"/>
                  </a:lnTo>
                  <a:lnTo>
                    <a:pt x="32" y="396"/>
                  </a:lnTo>
                  <a:lnTo>
                    <a:pt x="0" y="338"/>
                  </a:lnTo>
                  <a:lnTo>
                    <a:pt x="28" y="356"/>
                  </a:lnTo>
                  <a:lnTo>
                    <a:pt x="46" y="360"/>
                  </a:lnTo>
                  <a:lnTo>
                    <a:pt x="68" y="364"/>
                  </a:lnTo>
                  <a:lnTo>
                    <a:pt x="88" y="354"/>
                  </a:lnTo>
                  <a:lnTo>
                    <a:pt x="112" y="356"/>
                  </a:lnTo>
                  <a:lnTo>
                    <a:pt x="134" y="352"/>
                  </a:lnTo>
                  <a:lnTo>
                    <a:pt x="176" y="354"/>
                  </a:lnTo>
                  <a:lnTo>
                    <a:pt x="202" y="338"/>
                  </a:lnTo>
                  <a:lnTo>
                    <a:pt x="194" y="320"/>
                  </a:lnTo>
                  <a:lnTo>
                    <a:pt x="200" y="304"/>
                  </a:lnTo>
                  <a:lnTo>
                    <a:pt x="200" y="290"/>
                  </a:lnTo>
                  <a:lnTo>
                    <a:pt x="206" y="276"/>
                  </a:lnTo>
                  <a:lnTo>
                    <a:pt x="220" y="276"/>
                  </a:lnTo>
                  <a:lnTo>
                    <a:pt x="234" y="260"/>
                  </a:lnTo>
                  <a:lnTo>
                    <a:pt x="242" y="268"/>
                  </a:lnTo>
                  <a:lnTo>
                    <a:pt x="258" y="258"/>
                  </a:lnTo>
                  <a:lnTo>
                    <a:pt x="274" y="250"/>
                  </a:lnTo>
                  <a:lnTo>
                    <a:pt x="304" y="250"/>
                  </a:lnTo>
                  <a:lnTo>
                    <a:pt x="320" y="238"/>
                  </a:lnTo>
                  <a:lnTo>
                    <a:pt x="318" y="214"/>
                  </a:lnTo>
                  <a:lnTo>
                    <a:pt x="328" y="184"/>
                  </a:lnTo>
                  <a:lnTo>
                    <a:pt x="356" y="170"/>
                  </a:lnTo>
                  <a:lnTo>
                    <a:pt x="330" y="144"/>
                  </a:lnTo>
                  <a:lnTo>
                    <a:pt x="336" y="136"/>
                  </a:lnTo>
                  <a:lnTo>
                    <a:pt x="366" y="140"/>
                  </a:lnTo>
                  <a:lnTo>
                    <a:pt x="386" y="120"/>
                  </a:lnTo>
                  <a:lnTo>
                    <a:pt x="388" y="102"/>
                  </a:lnTo>
                  <a:lnTo>
                    <a:pt x="402" y="88"/>
                  </a:lnTo>
                  <a:lnTo>
                    <a:pt x="400" y="70"/>
                  </a:lnTo>
                  <a:lnTo>
                    <a:pt x="386" y="56"/>
                  </a:lnTo>
                  <a:lnTo>
                    <a:pt x="402" y="34"/>
                  </a:lnTo>
                  <a:lnTo>
                    <a:pt x="414" y="38"/>
                  </a:lnTo>
                  <a:lnTo>
                    <a:pt x="444" y="8"/>
                  </a:lnTo>
                  <a:lnTo>
                    <a:pt x="482" y="6"/>
                  </a:lnTo>
                  <a:lnTo>
                    <a:pt x="494" y="8"/>
                  </a:lnTo>
                  <a:lnTo>
                    <a:pt x="506" y="0"/>
                  </a:lnTo>
                  <a:lnTo>
                    <a:pt x="520" y="0"/>
                  </a:lnTo>
                  <a:lnTo>
                    <a:pt x="530" y="6"/>
                  </a:lnTo>
                  <a:lnTo>
                    <a:pt x="552" y="4"/>
                  </a:lnTo>
                  <a:lnTo>
                    <a:pt x="584" y="30"/>
                  </a:lnTo>
                  <a:lnTo>
                    <a:pt x="618" y="34"/>
                  </a:lnTo>
                  <a:lnTo>
                    <a:pt x="614" y="58"/>
                  </a:lnTo>
                  <a:lnTo>
                    <a:pt x="614" y="82"/>
                  </a:lnTo>
                  <a:lnTo>
                    <a:pt x="602" y="104"/>
                  </a:lnTo>
                  <a:lnTo>
                    <a:pt x="580" y="96"/>
                  </a:lnTo>
                  <a:lnTo>
                    <a:pt x="550" y="106"/>
                  </a:lnTo>
                  <a:lnTo>
                    <a:pt x="524" y="108"/>
                  </a:lnTo>
                  <a:lnTo>
                    <a:pt x="498" y="96"/>
                  </a:lnTo>
                  <a:lnTo>
                    <a:pt x="488" y="110"/>
                  </a:lnTo>
                  <a:lnTo>
                    <a:pt x="484" y="132"/>
                  </a:lnTo>
                  <a:lnTo>
                    <a:pt x="492" y="184"/>
                  </a:lnTo>
                  <a:lnTo>
                    <a:pt x="518" y="194"/>
                  </a:lnTo>
                  <a:lnTo>
                    <a:pt x="520" y="210"/>
                  </a:lnTo>
                  <a:lnTo>
                    <a:pt x="550" y="218"/>
                  </a:lnTo>
                  <a:lnTo>
                    <a:pt x="520" y="252"/>
                  </a:lnTo>
                  <a:lnTo>
                    <a:pt x="528" y="274"/>
                  </a:lnTo>
                  <a:lnTo>
                    <a:pt x="520" y="282"/>
                  </a:lnTo>
                  <a:lnTo>
                    <a:pt x="504" y="286"/>
                  </a:lnTo>
                  <a:lnTo>
                    <a:pt x="490" y="294"/>
                  </a:lnTo>
                  <a:lnTo>
                    <a:pt x="498" y="312"/>
                  </a:lnTo>
                  <a:lnTo>
                    <a:pt x="478" y="326"/>
                  </a:lnTo>
                  <a:lnTo>
                    <a:pt x="468" y="364"/>
                  </a:lnTo>
                  <a:lnTo>
                    <a:pt x="446" y="380"/>
                  </a:lnTo>
                  <a:lnTo>
                    <a:pt x="432" y="384"/>
                  </a:lnTo>
                  <a:lnTo>
                    <a:pt x="412" y="414"/>
                  </a:lnTo>
                  <a:lnTo>
                    <a:pt x="392" y="418"/>
                  </a:lnTo>
                  <a:lnTo>
                    <a:pt x="376" y="430"/>
                  </a:lnTo>
                  <a:lnTo>
                    <a:pt x="360" y="420"/>
                  </a:lnTo>
                  <a:lnTo>
                    <a:pt x="346" y="420"/>
                  </a:lnTo>
                  <a:lnTo>
                    <a:pt x="342" y="436"/>
                  </a:lnTo>
                  <a:lnTo>
                    <a:pt x="322" y="460"/>
                  </a:lnTo>
                  <a:lnTo>
                    <a:pt x="332" y="474"/>
                  </a:lnTo>
                  <a:lnTo>
                    <a:pt x="350" y="480"/>
                  </a:lnTo>
                  <a:lnTo>
                    <a:pt x="346" y="496"/>
                  </a:lnTo>
                  <a:lnTo>
                    <a:pt x="360" y="516"/>
                  </a:lnTo>
                  <a:lnTo>
                    <a:pt x="372" y="518"/>
                  </a:lnTo>
                  <a:lnTo>
                    <a:pt x="388" y="544"/>
                  </a:lnTo>
                  <a:lnTo>
                    <a:pt x="388" y="554"/>
                  </a:lnTo>
                  <a:lnTo>
                    <a:pt x="392" y="566"/>
                  </a:lnTo>
                  <a:lnTo>
                    <a:pt x="380" y="574"/>
                  </a:lnTo>
                  <a:lnTo>
                    <a:pt x="372" y="562"/>
                  </a:lnTo>
                  <a:lnTo>
                    <a:pt x="356" y="570"/>
                  </a:lnTo>
                  <a:lnTo>
                    <a:pt x="334" y="576"/>
                  </a:lnTo>
                  <a:lnTo>
                    <a:pt x="316" y="576"/>
                  </a:lnTo>
                  <a:lnTo>
                    <a:pt x="302" y="570"/>
                  </a:lnTo>
                  <a:lnTo>
                    <a:pt x="300" y="586"/>
                  </a:lnTo>
                  <a:lnTo>
                    <a:pt x="284" y="588"/>
                  </a:lnTo>
                  <a:lnTo>
                    <a:pt x="272" y="602"/>
                  </a:lnTo>
                  <a:lnTo>
                    <a:pt x="250" y="588"/>
                  </a:lnTo>
                  <a:lnTo>
                    <a:pt x="226" y="558"/>
                  </a:lnTo>
                  <a:lnTo>
                    <a:pt x="214" y="558"/>
                  </a:lnTo>
                  <a:lnTo>
                    <a:pt x="218" y="536"/>
                  </a:lnTo>
                  <a:lnTo>
                    <a:pt x="196" y="526"/>
                  </a:lnTo>
                  <a:lnTo>
                    <a:pt x="162" y="526"/>
                  </a:lnTo>
                  <a:lnTo>
                    <a:pt x="134" y="536"/>
                  </a:lnTo>
                  <a:lnTo>
                    <a:pt x="116" y="524"/>
                  </a:lnTo>
                  <a:lnTo>
                    <a:pt x="100" y="530"/>
                  </a:lnTo>
                  <a:lnTo>
                    <a:pt x="94" y="538"/>
                  </a:lnTo>
                  <a:lnTo>
                    <a:pt x="64" y="528"/>
                  </a:lnTo>
                  <a:lnTo>
                    <a:pt x="62" y="538"/>
                  </a:lnTo>
                  <a:lnTo>
                    <a:pt x="52" y="532"/>
                  </a:lnTo>
                  <a:lnTo>
                    <a:pt x="40" y="538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64" name="Panama">
              <a:extLst>
                <a:ext uri="{FF2B5EF4-FFF2-40B4-BE49-F238E27FC236}">
                  <a16:creationId xmlns="" xmlns:a16="http://schemas.microsoft.com/office/drawing/2014/main" id="{C2980426-E48A-4D1B-8FD3-5188F38BD45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128273" y="4320797"/>
              <a:ext cx="183517" cy="82594"/>
            </a:xfrm>
            <a:custGeom>
              <a:avLst/>
              <a:gdLst/>
              <a:ahLst/>
              <a:cxnLst>
                <a:cxn ang="0">
                  <a:pos x="134" y="41"/>
                </a:cxn>
                <a:cxn ang="0">
                  <a:pos x="114" y="53"/>
                </a:cxn>
                <a:cxn ang="0">
                  <a:pos x="122" y="81"/>
                </a:cxn>
                <a:cxn ang="0">
                  <a:pos x="106" y="97"/>
                </a:cxn>
                <a:cxn ang="0">
                  <a:pos x="92" y="97"/>
                </a:cxn>
                <a:cxn ang="0">
                  <a:pos x="80" y="75"/>
                </a:cxn>
                <a:cxn ang="0">
                  <a:pos x="64" y="73"/>
                </a:cxn>
                <a:cxn ang="0">
                  <a:pos x="50" y="57"/>
                </a:cxn>
                <a:cxn ang="0">
                  <a:pos x="28" y="57"/>
                </a:cxn>
                <a:cxn ang="0">
                  <a:pos x="10" y="61"/>
                </a:cxn>
                <a:cxn ang="0">
                  <a:pos x="2" y="34"/>
                </a:cxn>
                <a:cxn ang="0">
                  <a:pos x="4" y="10"/>
                </a:cxn>
                <a:cxn ang="0">
                  <a:pos x="32" y="14"/>
                </a:cxn>
                <a:cxn ang="0">
                  <a:pos x="40" y="24"/>
                </a:cxn>
                <a:cxn ang="0">
                  <a:pos x="52" y="20"/>
                </a:cxn>
                <a:cxn ang="0">
                  <a:pos x="80" y="28"/>
                </a:cxn>
                <a:cxn ang="0">
                  <a:pos x="110" y="18"/>
                </a:cxn>
                <a:cxn ang="0">
                  <a:pos x="124" y="10"/>
                </a:cxn>
                <a:cxn ang="0">
                  <a:pos x="52" y="87"/>
                </a:cxn>
                <a:cxn ang="0">
                  <a:pos x="66" y="89"/>
                </a:cxn>
                <a:cxn ang="0">
                  <a:pos x="52" y="87"/>
                </a:cxn>
                <a:cxn ang="0">
                  <a:pos x="156" y="22"/>
                </a:cxn>
                <a:cxn ang="0">
                  <a:pos x="192" y="39"/>
                </a:cxn>
                <a:cxn ang="0">
                  <a:pos x="208" y="51"/>
                </a:cxn>
                <a:cxn ang="0">
                  <a:pos x="192" y="63"/>
                </a:cxn>
                <a:cxn ang="0">
                  <a:pos x="206" y="95"/>
                </a:cxn>
                <a:cxn ang="0">
                  <a:pos x="214" y="91"/>
                </a:cxn>
                <a:cxn ang="0">
                  <a:pos x="224" y="71"/>
                </a:cxn>
                <a:cxn ang="0">
                  <a:pos x="222" y="36"/>
                </a:cxn>
                <a:cxn ang="0">
                  <a:pos x="196" y="14"/>
                </a:cxn>
                <a:cxn ang="0">
                  <a:pos x="164" y="6"/>
                </a:cxn>
                <a:cxn ang="0">
                  <a:pos x="150" y="2"/>
                </a:cxn>
                <a:cxn ang="0">
                  <a:pos x="124" y="10"/>
                </a:cxn>
              </a:cxnLst>
              <a:rect l="0" t="0" r="r" b="b"/>
              <a:pathLst>
                <a:path w="224" h="101">
                  <a:moveTo>
                    <a:pt x="138" y="26"/>
                  </a:moveTo>
                  <a:lnTo>
                    <a:pt x="134" y="41"/>
                  </a:lnTo>
                  <a:lnTo>
                    <a:pt x="120" y="43"/>
                  </a:lnTo>
                  <a:lnTo>
                    <a:pt x="114" y="53"/>
                  </a:lnTo>
                  <a:lnTo>
                    <a:pt x="106" y="59"/>
                  </a:lnTo>
                  <a:lnTo>
                    <a:pt x="122" y="81"/>
                  </a:lnTo>
                  <a:lnTo>
                    <a:pt x="110" y="89"/>
                  </a:lnTo>
                  <a:lnTo>
                    <a:pt x="106" y="97"/>
                  </a:lnTo>
                  <a:lnTo>
                    <a:pt x="100" y="101"/>
                  </a:lnTo>
                  <a:lnTo>
                    <a:pt x="92" y="97"/>
                  </a:lnTo>
                  <a:lnTo>
                    <a:pt x="86" y="71"/>
                  </a:lnTo>
                  <a:lnTo>
                    <a:pt x="80" y="75"/>
                  </a:lnTo>
                  <a:lnTo>
                    <a:pt x="78" y="83"/>
                  </a:lnTo>
                  <a:lnTo>
                    <a:pt x="64" y="73"/>
                  </a:lnTo>
                  <a:lnTo>
                    <a:pt x="64" y="63"/>
                  </a:lnTo>
                  <a:lnTo>
                    <a:pt x="50" y="57"/>
                  </a:lnTo>
                  <a:lnTo>
                    <a:pt x="38" y="53"/>
                  </a:lnTo>
                  <a:lnTo>
                    <a:pt x="28" y="57"/>
                  </a:lnTo>
                  <a:lnTo>
                    <a:pt x="18" y="55"/>
                  </a:lnTo>
                  <a:lnTo>
                    <a:pt x="10" y="61"/>
                  </a:lnTo>
                  <a:lnTo>
                    <a:pt x="10" y="41"/>
                  </a:lnTo>
                  <a:lnTo>
                    <a:pt x="2" y="34"/>
                  </a:lnTo>
                  <a:lnTo>
                    <a:pt x="0" y="14"/>
                  </a:lnTo>
                  <a:lnTo>
                    <a:pt x="4" y="10"/>
                  </a:lnTo>
                  <a:lnTo>
                    <a:pt x="28" y="4"/>
                  </a:lnTo>
                  <a:lnTo>
                    <a:pt x="32" y="14"/>
                  </a:lnTo>
                  <a:lnTo>
                    <a:pt x="38" y="16"/>
                  </a:lnTo>
                  <a:lnTo>
                    <a:pt x="40" y="24"/>
                  </a:lnTo>
                  <a:lnTo>
                    <a:pt x="48" y="24"/>
                  </a:lnTo>
                  <a:lnTo>
                    <a:pt x="52" y="20"/>
                  </a:lnTo>
                  <a:lnTo>
                    <a:pt x="62" y="26"/>
                  </a:lnTo>
                  <a:lnTo>
                    <a:pt x="80" y="28"/>
                  </a:lnTo>
                  <a:lnTo>
                    <a:pt x="96" y="20"/>
                  </a:lnTo>
                  <a:lnTo>
                    <a:pt x="110" y="18"/>
                  </a:lnTo>
                  <a:lnTo>
                    <a:pt x="118" y="16"/>
                  </a:lnTo>
                  <a:lnTo>
                    <a:pt x="124" y="10"/>
                  </a:lnTo>
                  <a:lnTo>
                    <a:pt x="138" y="26"/>
                  </a:lnTo>
                  <a:close/>
                  <a:moveTo>
                    <a:pt x="52" y="87"/>
                  </a:moveTo>
                  <a:lnTo>
                    <a:pt x="62" y="95"/>
                  </a:lnTo>
                  <a:lnTo>
                    <a:pt x="66" y="89"/>
                  </a:lnTo>
                  <a:lnTo>
                    <a:pt x="56" y="79"/>
                  </a:lnTo>
                  <a:lnTo>
                    <a:pt x="52" y="87"/>
                  </a:lnTo>
                  <a:close/>
                  <a:moveTo>
                    <a:pt x="138" y="26"/>
                  </a:moveTo>
                  <a:lnTo>
                    <a:pt x="156" y="22"/>
                  </a:lnTo>
                  <a:lnTo>
                    <a:pt x="170" y="22"/>
                  </a:lnTo>
                  <a:lnTo>
                    <a:pt x="192" y="39"/>
                  </a:lnTo>
                  <a:lnTo>
                    <a:pt x="204" y="41"/>
                  </a:lnTo>
                  <a:lnTo>
                    <a:pt x="208" y="51"/>
                  </a:lnTo>
                  <a:lnTo>
                    <a:pt x="196" y="55"/>
                  </a:lnTo>
                  <a:lnTo>
                    <a:pt x="192" y="63"/>
                  </a:lnTo>
                  <a:lnTo>
                    <a:pt x="198" y="83"/>
                  </a:lnTo>
                  <a:lnTo>
                    <a:pt x="206" y="95"/>
                  </a:lnTo>
                  <a:lnTo>
                    <a:pt x="214" y="101"/>
                  </a:lnTo>
                  <a:lnTo>
                    <a:pt x="214" y="91"/>
                  </a:lnTo>
                  <a:lnTo>
                    <a:pt x="212" y="79"/>
                  </a:lnTo>
                  <a:lnTo>
                    <a:pt x="224" y="71"/>
                  </a:lnTo>
                  <a:lnTo>
                    <a:pt x="224" y="61"/>
                  </a:lnTo>
                  <a:lnTo>
                    <a:pt x="222" y="36"/>
                  </a:lnTo>
                  <a:lnTo>
                    <a:pt x="204" y="20"/>
                  </a:lnTo>
                  <a:lnTo>
                    <a:pt x="196" y="14"/>
                  </a:lnTo>
                  <a:lnTo>
                    <a:pt x="184" y="8"/>
                  </a:lnTo>
                  <a:lnTo>
                    <a:pt x="164" y="6"/>
                  </a:lnTo>
                  <a:lnTo>
                    <a:pt x="158" y="2"/>
                  </a:lnTo>
                  <a:lnTo>
                    <a:pt x="150" y="2"/>
                  </a:lnTo>
                  <a:lnTo>
                    <a:pt x="138" y="0"/>
                  </a:lnTo>
                  <a:lnTo>
                    <a:pt x="124" y="10"/>
                  </a:lnTo>
                  <a:lnTo>
                    <a:pt x="138" y="26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65" name="Papua New Guinea">
              <a:extLst>
                <a:ext uri="{FF2B5EF4-FFF2-40B4-BE49-F238E27FC236}">
                  <a16:creationId xmlns="" xmlns:a16="http://schemas.microsoft.com/office/drawing/2014/main" id="{FD5E19D2-67EF-4B7A-81E1-1D935CAE6A2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160474" y="4623647"/>
              <a:ext cx="462695" cy="257620"/>
            </a:xfrm>
            <a:custGeom>
              <a:avLst/>
              <a:gdLst/>
              <a:ahLst/>
              <a:cxnLst>
                <a:cxn ang="0">
                  <a:pos x="0" y="248"/>
                </a:cxn>
                <a:cxn ang="0">
                  <a:pos x="0" y="0"/>
                </a:cxn>
                <a:cxn ang="0">
                  <a:pos x="38" y="10"/>
                </a:cxn>
                <a:cxn ang="0">
                  <a:pos x="88" y="46"/>
                </a:cxn>
                <a:cxn ang="0">
                  <a:pos x="136" y="50"/>
                </a:cxn>
                <a:cxn ang="0">
                  <a:pos x="176" y="84"/>
                </a:cxn>
                <a:cxn ang="0">
                  <a:pos x="178" y="110"/>
                </a:cxn>
                <a:cxn ang="0">
                  <a:pos x="238" y="130"/>
                </a:cxn>
                <a:cxn ang="0">
                  <a:pos x="258" y="154"/>
                </a:cxn>
                <a:cxn ang="0">
                  <a:pos x="224" y="158"/>
                </a:cxn>
                <a:cxn ang="0">
                  <a:pos x="294" y="246"/>
                </a:cxn>
                <a:cxn ang="0">
                  <a:pos x="320" y="248"/>
                </a:cxn>
                <a:cxn ang="0">
                  <a:pos x="318" y="262"/>
                </a:cxn>
                <a:cxn ang="0">
                  <a:pos x="346" y="272"/>
                </a:cxn>
                <a:cxn ang="0">
                  <a:pos x="338" y="280"/>
                </a:cxn>
                <a:cxn ang="0">
                  <a:pos x="379" y="302"/>
                </a:cxn>
                <a:cxn ang="0">
                  <a:pos x="371" y="316"/>
                </a:cxn>
                <a:cxn ang="0">
                  <a:pos x="348" y="316"/>
                </a:cxn>
                <a:cxn ang="0">
                  <a:pos x="290" y="296"/>
                </a:cxn>
                <a:cxn ang="0">
                  <a:pos x="274" y="300"/>
                </a:cxn>
                <a:cxn ang="0">
                  <a:pos x="224" y="274"/>
                </a:cxn>
                <a:cxn ang="0">
                  <a:pos x="218" y="254"/>
                </a:cxn>
                <a:cxn ang="0">
                  <a:pos x="198" y="240"/>
                </a:cxn>
                <a:cxn ang="0">
                  <a:pos x="184" y="204"/>
                </a:cxn>
                <a:cxn ang="0">
                  <a:pos x="158" y="198"/>
                </a:cxn>
                <a:cxn ang="0">
                  <a:pos x="148" y="188"/>
                </a:cxn>
                <a:cxn ang="0">
                  <a:pos x="96" y="190"/>
                </a:cxn>
                <a:cxn ang="0">
                  <a:pos x="74" y="224"/>
                </a:cxn>
                <a:cxn ang="0">
                  <a:pos x="82" y="238"/>
                </a:cxn>
                <a:cxn ang="0">
                  <a:pos x="54" y="254"/>
                </a:cxn>
                <a:cxn ang="0">
                  <a:pos x="26" y="244"/>
                </a:cxn>
                <a:cxn ang="0">
                  <a:pos x="14" y="250"/>
                </a:cxn>
                <a:cxn ang="0">
                  <a:pos x="0" y="248"/>
                </a:cxn>
                <a:cxn ang="0">
                  <a:pos x="292" y="128"/>
                </a:cxn>
                <a:cxn ang="0">
                  <a:pos x="310" y="138"/>
                </a:cxn>
                <a:cxn ang="0">
                  <a:pos x="328" y="138"/>
                </a:cxn>
                <a:cxn ang="0">
                  <a:pos x="340" y="146"/>
                </a:cxn>
                <a:cxn ang="0">
                  <a:pos x="399" y="140"/>
                </a:cxn>
                <a:cxn ang="0">
                  <a:pos x="407" y="124"/>
                </a:cxn>
                <a:cxn ang="0">
                  <a:pos x="427" y="122"/>
                </a:cxn>
                <a:cxn ang="0">
                  <a:pos x="425" y="104"/>
                </a:cxn>
                <a:cxn ang="0">
                  <a:pos x="437" y="94"/>
                </a:cxn>
                <a:cxn ang="0">
                  <a:pos x="435" y="62"/>
                </a:cxn>
                <a:cxn ang="0">
                  <a:pos x="419" y="72"/>
                </a:cxn>
                <a:cxn ang="0">
                  <a:pos x="405" y="66"/>
                </a:cxn>
                <a:cxn ang="0">
                  <a:pos x="409" y="92"/>
                </a:cxn>
                <a:cxn ang="0">
                  <a:pos x="381" y="118"/>
                </a:cxn>
                <a:cxn ang="0">
                  <a:pos x="282" y="116"/>
                </a:cxn>
                <a:cxn ang="0">
                  <a:pos x="292" y="128"/>
                </a:cxn>
                <a:cxn ang="0">
                  <a:pos x="529" y="142"/>
                </a:cxn>
                <a:cxn ang="0">
                  <a:pos x="551" y="168"/>
                </a:cxn>
                <a:cxn ang="0">
                  <a:pos x="571" y="156"/>
                </a:cxn>
                <a:cxn ang="0">
                  <a:pos x="541" y="120"/>
                </a:cxn>
                <a:cxn ang="0">
                  <a:pos x="519" y="108"/>
                </a:cxn>
                <a:cxn ang="0">
                  <a:pos x="529" y="142"/>
                </a:cxn>
              </a:cxnLst>
              <a:rect l="0" t="0" r="r" b="b"/>
              <a:pathLst>
                <a:path w="571" h="316">
                  <a:moveTo>
                    <a:pt x="0" y="248"/>
                  </a:moveTo>
                  <a:lnTo>
                    <a:pt x="0" y="0"/>
                  </a:lnTo>
                  <a:lnTo>
                    <a:pt x="38" y="10"/>
                  </a:lnTo>
                  <a:lnTo>
                    <a:pt x="88" y="46"/>
                  </a:lnTo>
                  <a:lnTo>
                    <a:pt x="136" y="50"/>
                  </a:lnTo>
                  <a:lnTo>
                    <a:pt x="176" y="84"/>
                  </a:lnTo>
                  <a:lnTo>
                    <a:pt x="178" y="110"/>
                  </a:lnTo>
                  <a:lnTo>
                    <a:pt x="238" y="130"/>
                  </a:lnTo>
                  <a:lnTo>
                    <a:pt x="258" y="154"/>
                  </a:lnTo>
                  <a:lnTo>
                    <a:pt x="224" y="158"/>
                  </a:lnTo>
                  <a:lnTo>
                    <a:pt x="294" y="246"/>
                  </a:lnTo>
                  <a:lnTo>
                    <a:pt x="320" y="248"/>
                  </a:lnTo>
                  <a:lnTo>
                    <a:pt x="318" y="262"/>
                  </a:lnTo>
                  <a:lnTo>
                    <a:pt x="346" y="272"/>
                  </a:lnTo>
                  <a:lnTo>
                    <a:pt x="338" y="280"/>
                  </a:lnTo>
                  <a:lnTo>
                    <a:pt x="379" y="302"/>
                  </a:lnTo>
                  <a:lnTo>
                    <a:pt x="371" y="316"/>
                  </a:lnTo>
                  <a:lnTo>
                    <a:pt x="348" y="316"/>
                  </a:lnTo>
                  <a:lnTo>
                    <a:pt x="290" y="296"/>
                  </a:lnTo>
                  <a:lnTo>
                    <a:pt x="274" y="300"/>
                  </a:lnTo>
                  <a:lnTo>
                    <a:pt x="224" y="274"/>
                  </a:lnTo>
                  <a:lnTo>
                    <a:pt x="218" y="254"/>
                  </a:lnTo>
                  <a:lnTo>
                    <a:pt x="198" y="240"/>
                  </a:lnTo>
                  <a:lnTo>
                    <a:pt x="184" y="204"/>
                  </a:lnTo>
                  <a:lnTo>
                    <a:pt x="158" y="198"/>
                  </a:lnTo>
                  <a:lnTo>
                    <a:pt x="148" y="188"/>
                  </a:lnTo>
                  <a:lnTo>
                    <a:pt x="96" y="190"/>
                  </a:lnTo>
                  <a:lnTo>
                    <a:pt x="74" y="224"/>
                  </a:lnTo>
                  <a:lnTo>
                    <a:pt x="82" y="238"/>
                  </a:lnTo>
                  <a:lnTo>
                    <a:pt x="54" y="254"/>
                  </a:lnTo>
                  <a:lnTo>
                    <a:pt x="26" y="244"/>
                  </a:lnTo>
                  <a:lnTo>
                    <a:pt x="14" y="250"/>
                  </a:lnTo>
                  <a:lnTo>
                    <a:pt x="0" y="248"/>
                  </a:lnTo>
                  <a:close/>
                  <a:moveTo>
                    <a:pt x="292" y="128"/>
                  </a:moveTo>
                  <a:lnTo>
                    <a:pt x="310" y="138"/>
                  </a:lnTo>
                  <a:lnTo>
                    <a:pt x="328" y="138"/>
                  </a:lnTo>
                  <a:lnTo>
                    <a:pt x="340" y="146"/>
                  </a:lnTo>
                  <a:lnTo>
                    <a:pt x="399" y="140"/>
                  </a:lnTo>
                  <a:lnTo>
                    <a:pt x="407" y="124"/>
                  </a:lnTo>
                  <a:lnTo>
                    <a:pt x="427" y="122"/>
                  </a:lnTo>
                  <a:lnTo>
                    <a:pt x="425" y="104"/>
                  </a:lnTo>
                  <a:lnTo>
                    <a:pt x="437" y="94"/>
                  </a:lnTo>
                  <a:lnTo>
                    <a:pt x="435" y="62"/>
                  </a:lnTo>
                  <a:lnTo>
                    <a:pt x="419" y="72"/>
                  </a:lnTo>
                  <a:lnTo>
                    <a:pt x="405" y="66"/>
                  </a:lnTo>
                  <a:lnTo>
                    <a:pt x="409" y="92"/>
                  </a:lnTo>
                  <a:lnTo>
                    <a:pt x="381" y="118"/>
                  </a:lnTo>
                  <a:lnTo>
                    <a:pt x="282" y="116"/>
                  </a:lnTo>
                  <a:lnTo>
                    <a:pt x="292" y="128"/>
                  </a:lnTo>
                  <a:close/>
                  <a:moveTo>
                    <a:pt x="529" y="142"/>
                  </a:moveTo>
                  <a:lnTo>
                    <a:pt x="551" y="168"/>
                  </a:lnTo>
                  <a:lnTo>
                    <a:pt x="571" y="156"/>
                  </a:lnTo>
                  <a:lnTo>
                    <a:pt x="541" y="120"/>
                  </a:lnTo>
                  <a:lnTo>
                    <a:pt x="519" y="108"/>
                  </a:lnTo>
                  <a:lnTo>
                    <a:pt x="529" y="142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66" name="Paraguay">
              <a:extLst>
                <a:ext uri="{FF2B5EF4-FFF2-40B4-BE49-F238E27FC236}">
                  <a16:creationId xmlns="" xmlns:a16="http://schemas.microsoft.com/office/drawing/2014/main" id="{E8484F27-0D97-4EC9-8477-A04EFDC2AECE}"/>
                </a:ext>
              </a:extLst>
            </p:cNvPr>
            <p:cNvSpPr>
              <a:spLocks/>
            </p:cNvSpPr>
            <p:nvPr/>
          </p:nvSpPr>
          <p:spPr bwMode="gray">
            <a:xfrm>
              <a:off x="3764725" y="5254914"/>
              <a:ext cx="265513" cy="277285"/>
            </a:xfrm>
            <a:custGeom>
              <a:avLst/>
              <a:gdLst/>
              <a:ahLst/>
              <a:cxnLst>
                <a:cxn ang="0">
                  <a:pos x="6" y="128"/>
                </a:cxn>
                <a:cxn ang="0">
                  <a:pos x="0" y="112"/>
                </a:cxn>
                <a:cxn ang="0">
                  <a:pos x="14" y="60"/>
                </a:cxn>
                <a:cxn ang="0">
                  <a:pos x="14" y="40"/>
                </a:cxn>
                <a:cxn ang="0">
                  <a:pos x="32" y="6"/>
                </a:cxn>
                <a:cxn ang="0">
                  <a:pos x="66" y="8"/>
                </a:cxn>
                <a:cxn ang="0">
                  <a:pos x="98" y="6"/>
                </a:cxn>
                <a:cxn ang="0">
                  <a:pos x="144" y="0"/>
                </a:cxn>
                <a:cxn ang="0">
                  <a:pos x="174" y="18"/>
                </a:cxn>
                <a:cxn ang="0">
                  <a:pos x="188" y="44"/>
                </a:cxn>
                <a:cxn ang="0">
                  <a:pos x="180" y="98"/>
                </a:cxn>
                <a:cxn ang="0">
                  <a:pos x="194" y="110"/>
                </a:cxn>
                <a:cxn ang="0">
                  <a:pos x="230" y="116"/>
                </a:cxn>
                <a:cxn ang="0">
                  <a:pos x="254" y="114"/>
                </a:cxn>
                <a:cxn ang="0">
                  <a:pos x="266" y="120"/>
                </a:cxn>
                <a:cxn ang="0">
                  <a:pos x="276" y="144"/>
                </a:cxn>
                <a:cxn ang="0">
                  <a:pos x="278" y="178"/>
                </a:cxn>
                <a:cxn ang="0">
                  <a:pos x="292" y="184"/>
                </a:cxn>
                <a:cxn ang="0">
                  <a:pos x="314" y="184"/>
                </a:cxn>
                <a:cxn ang="0">
                  <a:pos x="326" y="198"/>
                </a:cxn>
                <a:cxn ang="0">
                  <a:pos x="310" y="256"/>
                </a:cxn>
                <a:cxn ang="0">
                  <a:pos x="302" y="290"/>
                </a:cxn>
                <a:cxn ang="0">
                  <a:pos x="296" y="312"/>
                </a:cxn>
                <a:cxn ang="0">
                  <a:pos x="270" y="336"/>
                </a:cxn>
                <a:cxn ang="0">
                  <a:pos x="220" y="340"/>
                </a:cxn>
                <a:cxn ang="0">
                  <a:pos x="204" y="334"/>
                </a:cxn>
                <a:cxn ang="0">
                  <a:pos x="186" y="326"/>
                </a:cxn>
                <a:cxn ang="0">
                  <a:pos x="172" y="324"/>
                </a:cxn>
                <a:cxn ang="0">
                  <a:pos x="166" y="314"/>
                </a:cxn>
                <a:cxn ang="0">
                  <a:pos x="200" y="238"/>
                </a:cxn>
                <a:cxn ang="0">
                  <a:pos x="164" y="214"/>
                </a:cxn>
                <a:cxn ang="0">
                  <a:pos x="148" y="212"/>
                </a:cxn>
                <a:cxn ang="0">
                  <a:pos x="128" y="198"/>
                </a:cxn>
                <a:cxn ang="0">
                  <a:pos x="90" y="200"/>
                </a:cxn>
                <a:cxn ang="0">
                  <a:pos x="30" y="150"/>
                </a:cxn>
                <a:cxn ang="0">
                  <a:pos x="28" y="140"/>
                </a:cxn>
                <a:cxn ang="0">
                  <a:pos x="20" y="140"/>
                </a:cxn>
                <a:cxn ang="0">
                  <a:pos x="6" y="128"/>
                </a:cxn>
              </a:cxnLst>
              <a:rect l="0" t="0" r="r" b="b"/>
              <a:pathLst>
                <a:path w="326" h="340">
                  <a:moveTo>
                    <a:pt x="6" y="128"/>
                  </a:moveTo>
                  <a:lnTo>
                    <a:pt x="0" y="112"/>
                  </a:lnTo>
                  <a:lnTo>
                    <a:pt x="14" y="60"/>
                  </a:lnTo>
                  <a:lnTo>
                    <a:pt x="14" y="40"/>
                  </a:lnTo>
                  <a:lnTo>
                    <a:pt x="32" y="6"/>
                  </a:lnTo>
                  <a:lnTo>
                    <a:pt x="66" y="8"/>
                  </a:lnTo>
                  <a:lnTo>
                    <a:pt x="98" y="6"/>
                  </a:lnTo>
                  <a:lnTo>
                    <a:pt x="144" y="0"/>
                  </a:lnTo>
                  <a:lnTo>
                    <a:pt x="174" y="18"/>
                  </a:lnTo>
                  <a:lnTo>
                    <a:pt x="188" y="44"/>
                  </a:lnTo>
                  <a:lnTo>
                    <a:pt x="180" y="98"/>
                  </a:lnTo>
                  <a:lnTo>
                    <a:pt x="194" y="110"/>
                  </a:lnTo>
                  <a:lnTo>
                    <a:pt x="230" y="116"/>
                  </a:lnTo>
                  <a:lnTo>
                    <a:pt x="254" y="114"/>
                  </a:lnTo>
                  <a:lnTo>
                    <a:pt x="266" y="120"/>
                  </a:lnTo>
                  <a:lnTo>
                    <a:pt x="276" y="144"/>
                  </a:lnTo>
                  <a:lnTo>
                    <a:pt x="278" y="178"/>
                  </a:lnTo>
                  <a:lnTo>
                    <a:pt x="292" y="184"/>
                  </a:lnTo>
                  <a:lnTo>
                    <a:pt x="314" y="184"/>
                  </a:lnTo>
                  <a:lnTo>
                    <a:pt x="326" y="198"/>
                  </a:lnTo>
                  <a:lnTo>
                    <a:pt x="310" y="256"/>
                  </a:lnTo>
                  <a:lnTo>
                    <a:pt x="302" y="290"/>
                  </a:lnTo>
                  <a:lnTo>
                    <a:pt x="296" y="312"/>
                  </a:lnTo>
                  <a:lnTo>
                    <a:pt x="270" y="336"/>
                  </a:lnTo>
                  <a:lnTo>
                    <a:pt x="220" y="340"/>
                  </a:lnTo>
                  <a:lnTo>
                    <a:pt x="204" y="334"/>
                  </a:lnTo>
                  <a:lnTo>
                    <a:pt x="186" y="326"/>
                  </a:lnTo>
                  <a:lnTo>
                    <a:pt x="172" y="324"/>
                  </a:lnTo>
                  <a:lnTo>
                    <a:pt x="166" y="314"/>
                  </a:lnTo>
                  <a:lnTo>
                    <a:pt x="200" y="238"/>
                  </a:lnTo>
                  <a:lnTo>
                    <a:pt x="164" y="214"/>
                  </a:lnTo>
                  <a:lnTo>
                    <a:pt x="148" y="212"/>
                  </a:lnTo>
                  <a:lnTo>
                    <a:pt x="128" y="198"/>
                  </a:lnTo>
                  <a:lnTo>
                    <a:pt x="90" y="200"/>
                  </a:lnTo>
                  <a:lnTo>
                    <a:pt x="30" y="150"/>
                  </a:lnTo>
                  <a:lnTo>
                    <a:pt x="28" y="140"/>
                  </a:lnTo>
                  <a:lnTo>
                    <a:pt x="20" y="140"/>
                  </a:lnTo>
                  <a:lnTo>
                    <a:pt x="6" y="128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67" name="Peru">
              <a:extLst>
                <a:ext uri="{FF2B5EF4-FFF2-40B4-BE49-F238E27FC236}">
                  <a16:creationId xmlns="" xmlns:a16="http://schemas.microsoft.com/office/drawing/2014/main" id="{9069F7E3-930B-4A87-830B-27A3A71D17A0}"/>
                </a:ext>
              </a:extLst>
            </p:cNvPr>
            <p:cNvSpPr>
              <a:spLocks/>
            </p:cNvSpPr>
            <p:nvPr/>
          </p:nvSpPr>
          <p:spPr bwMode="gray">
            <a:xfrm>
              <a:off x="3192699" y="4623647"/>
              <a:ext cx="392414" cy="593901"/>
            </a:xfrm>
            <a:custGeom>
              <a:avLst/>
              <a:gdLst/>
              <a:ahLst/>
              <a:cxnLst>
                <a:cxn ang="0">
                  <a:pos x="38" y="150"/>
                </a:cxn>
                <a:cxn ang="0">
                  <a:pos x="36" y="172"/>
                </a:cxn>
                <a:cxn ang="0">
                  <a:pos x="72" y="190"/>
                </a:cxn>
                <a:cxn ang="0">
                  <a:pos x="94" y="172"/>
                </a:cxn>
                <a:cxn ang="0">
                  <a:pos x="118" y="148"/>
                </a:cxn>
                <a:cxn ang="0">
                  <a:pos x="114" y="116"/>
                </a:cxn>
                <a:cxn ang="0">
                  <a:pos x="148" y="98"/>
                </a:cxn>
                <a:cxn ang="0">
                  <a:pos x="209" y="48"/>
                </a:cxn>
                <a:cxn ang="0">
                  <a:pos x="225" y="0"/>
                </a:cxn>
                <a:cxn ang="0">
                  <a:pos x="321" y="64"/>
                </a:cxn>
                <a:cxn ang="0">
                  <a:pos x="345" y="76"/>
                </a:cxn>
                <a:cxn ang="0">
                  <a:pos x="425" y="86"/>
                </a:cxn>
                <a:cxn ang="0">
                  <a:pos x="429" y="160"/>
                </a:cxn>
                <a:cxn ang="0">
                  <a:pos x="409" y="164"/>
                </a:cxn>
                <a:cxn ang="0">
                  <a:pos x="351" y="174"/>
                </a:cxn>
                <a:cxn ang="0">
                  <a:pos x="321" y="198"/>
                </a:cxn>
                <a:cxn ang="0">
                  <a:pos x="307" y="254"/>
                </a:cxn>
                <a:cxn ang="0">
                  <a:pos x="281" y="276"/>
                </a:cxn>
                <a:cxn ang="0">
                  <a:pos x="289" y="302"/>
                </a:cxn>
                <a:cxn ang="0">
                  <a:pos x="291" y="336"/>
                </a:cxn>
                <a:cxn ang="0">
                  <a:pos x="307" y="358"/>
                </a:cxn>
                <a:cxn ang="0">
                  <a:pos x="359" y="390"/>
                </a:cxn>
                <a:cxn ang="0">
                  <a:pos x="405" y="364"/>
                </a:cxn>
                <a:cxn ang="0">
                  <a:pos x="447" y="434"/>
                </a:cxn>
                <a:cxn ang="0">
                  <a:pos x="453" y="583"/>
                </a:cxn>
                <a:cxn ang="0">
                  <a:pos x="455" y="625"/>
                </a:cxn>
                <a:cxn ang="0">
                  <a:pos x="465" y="661"/>
                </a:cxn>
                <a:cxn ang="0">
                  <a:pos x="447" y="697"/>
                </a:cxn>
                <a:cxn ang="0">
                  <a:pos x="399" y="711"/>
                </a:cxn>
                <a:cxn ang="0">
                  <a:pos x="379" y="691"/>
                </a:cxn>
                <a:cxn ang="0">
                  <a:pos x="355" y="677"/>
                </a:cxn>
                <a:cxn ang="0">
                  <a:pos x="329" y="651"/>
                </a:cxn>
                <a:cxn ang="0">
                  <a:pos x="265" y="619"/>
                </a:cxn>
                <a:cxn ang="0">
                  <a:pos x="233" y="601"/>
                </a:cxn>
                <a:cxn ang="0">
                  <a:pos x="203" y="573"/>
                </a:cxn>
                <a:cxn ang="0">
                  <a:pos x="189" y="547"/>
                </a:cxn>
                <a:cxn ang="0">
                  <a:pos x="166" y="486"/>
                </a:cxn>
                <a:cxn ang="0">
                  <a:pos x="142" y="436"/>
                </a:cxn>
                <a:cxn ang="0">
                  <a:pos x="120" y="392"/>
                </a:cxn>
                <a:cxn ang="0">
                  <a:pos x="104" y="352"/>
                </a:cxn>
                <a:cxn ang="0">
                  <a:pos x="74" y="302"/>
                </a:cxn>
                <a:cxn ang="0">
                  <a:pos x="42" y="250"/>
                </a:cxn>
                <a:cxn ang="0">
                  <a:pos x="10" y="228"/>
                </a:cxn>
                <a:cxn ang="0">
                  <a:pos x="8" y="198"/>
                </a:cxn>
                <a:cxn ang="0">
                  <a:pos x="0" y="178"/>
                </a:cxn>
                <a:cxn ang="0">
                  <a:pos x="16" y="150"/>
                </a:cxn>
              </a:cxnLst>
              <a:rect l="0" t="0" r="r" b="b"/>
              <a:pathLst>
                <a:path w="483" h="725">
                  <a:moveTo>
                    <a:pt x="34" y="136"/>
                  </a:moveTo>
                  <a:lnTo>
                    <a:pt x="38" y="150"/>
                  </a:lnTo>
                  <a:lnTo>
                    <a:pt x="30" y="164"/>
                  </a:lnTo>
                  <a:lnTo>
                    <a:pt x="36" y="172"/>
                  </a:lnTo>
                  <a:lnTo>
                    <a:pt x="52" y="170"/>
                  </a:lnTo>
                  <a:lnTo>
                    <a:pt x="72" y="190"/>
                  </a:lnTo>
                  <a:lnTo>
                    <a:pt x="82" y="176"/>
                  </a:lnTo>
                  <a:lnTo>
                    <a:pt x="94" y="172"/>
                  </a:lnTo>
                  <a:lnTo>
                    <a:pt x="112" y="160"/>
                  </a:lnTo>
                  <a:lnTo>
                    <a:pt x="118" y="148"/>
                  </a:lnTo>
                  <a:lnTo>
                    <a:pt x="118" y="132"/>
                  </a:lnTo>
                  <a:lnTo>
                    <a:pt x="114" y="116"/>
                  </a:lnTo>
                  <a:lnTo>
                    <a:pt x="122" y="108"/>
                  </a:lnTo>
                  <a:lnTo>
                    <a:pt x="148" y="98"/>
                  </a:lnTo>
                  <a:lnTo>
                    <a:pt x="180" y="78"/>
                  </a:lnTo>
                  <a:lnTo>
                    <a:pt x="209" y="48"/>
                  </a:lnTo>
                  <a:lnTo>
                    <a:pt x="223" y="26"/>
                  </a:lnTo>
                  <a:lnTo>
                    <a:pt x="225" y="0"/>
                  </a:lnTo>
                  <a:lnTo>
                    <a:pt x="281" y="46"/>
                  </a:lnTo>
                  <a:lnTo>
                    <a:pt x="321" y="64"/>
                  </a:lnTo>
                  <a:lnTo>
                    <a:pt x="333" y="66"/>
                  </a:lnTo>
                  <a:lnTo>
                    <a:pt x="345" y="76"/>
                  </a:lnTo>
                  <a:lnTo>
                    <a:pt x="385" y="82"/>
                  </a:lnTo>
                  <a:lnTo>
                    <a:pt x="425" y="86"/>
                  </a:lnTo>
                  <a:lnTo>
                    <a:pt x="403" y="148"/>
                  </a:lnTo>
                  <a:lnTo>
                    <a:pt x="429" y="160"/>
                  </a:lnTo>
                  <a:lnTo>
                    <a:pt x="423" y="170"/>
                  </a:lnTo>
                  <a:lnTo>
                    <a:pt x="409" y="164"/>
                  </a:lnTo>
                  <a:lnTo>
                    <a:pt x="369" y="172"/>
                  </a:lnTo>
                  <a:lnTo>
                    <a:pt x="351" y="174"/>
                  </a:lnTo>
                  <a:lnTo>
                    <a:pt x="337" y="186"/>
                  </a:lnTo>
                  <a:lnTo>
                    <a:pt x="321" y="198"/>
                  </a:lnTo>
                  <a:lnTo>
                    <a:pt x="307" y="236"/>
                  </a:lnTo>
                  <a:lnTo>
                    <a:pt x="307" y="254"/>
                  </a:lnTo>
                  <a:lnTo>
                    <a:pt x="293" y="258"/>
                  </a:lnTo>
                  <a:lnTo>
                    <a:pt x="281" y="276"/>
                  </a:lnTo>
                  <a:lnTo>
                    <a:pt x="279" y="292"/>
                  </a:lnTo>
                  <a:lnTo>
                    <a:pt x="289" y="302"/>
                  </a:lnTo>
                  <a:lnTo>
                    <a:pt x="285" y="322"/>
                  </a:lnTo>
                  <a:lnTo>
                    <a:pt x="291" y="336"/>
                  </a:lnTo>
                  <a:lnTo>
                    <a:pt x="317" y="340"/>
                  </a:lnTo>
                  <a:lnTo>
                    <a:pt x="307" y="358"/>
                  </a:lnTo>
                  <a:lnTo>
                    <a:pt x="331" y="364"/>
                  </a:lnTo>
                  <a:lnTo>
                    <a:pt x="359" y="390"/>
                  </a:lnTo>
                  <a:lnTo>
                    <a:pt x="399" y="360"/>
                  </a:lnTo>
                  <a:lnTo>
                    <a:pt x="405" y="364"/>
                  </a:lnTo>
                  <a:lnTo>
                    <a:pt x="409" y="432"/>
                  </a:lnTo>
                  <a:lnTo>
                    <a:pt x="447" y="434"/>
                  </a:lnTo>
                  <a:lnTo>
                    <a:pt x="483" y="492"/>
                  </a:lnTo>
                  <a:lnTo>
                    <a:pt x="453" y="583"/>
                  </a:lnTo>
                  <a:lnTo>
                    <a:pt x="463" y="599"/>
                  </a:lnTo>
                  <a:lnTo>
                    <a:pt x="455" y="625"/>
                  </a:lnTo>
                  <a:lnTo>
                    <a:pt x="477" y="647"/>
                  </a:lnTo>
                  <a:lnTo>
                    <a:pt x="465" y="661"/>
                  </a:lnTo>
                  <a:lnTo>
                    <a:pt x="441" y="677"/>
                  </a:lnTo>
                  <a:lnTo>
                    <a:pt x="447" y="697"/>
                  </a:lnTo>
                  <a:lnTo>
                    <a:pt x="405" y="725"/>
                  </a:lnTo>
                  <a:lnTo>
                    <a:pt x="399" y="711"/>
                  </a:lnTo>
                  <a:lnTo>
                    <a:pt x="383" y="705"/>
                  </a:lnTo>
                  <a:lnTo>
                    <a:pt x="379" y="691"/>
                  </a:lnTo>
                  <a:lnTo>
                    <a:pt x="367" y="679"/>
                  </a:lnTo>
                  <a:lnTo>
                    <a:pt x="355" y="677"/>
                  </a:lnTo>
                  <a:lnTo>
                    <a:pt x="349" y="661"/>
                  </a:lnTo>
                  <a:lnTo>
                    <a:pt x="329" y="651"/>
                  </a:lnTo>
                  <a:lnTo>
                    <a:pt x="307" y="647"/>
                  </a:lnTo>
                  <a:lnTo>
                    <a:pt x="265" y="619"/>
                  </a:lnTo>
                  <a:lnTo>
                    <a:pt x="255" y="617"/>
                  </a:lnTo>
                  <a:lnTo>
                    <a:pt x="233" y="601"/>
                  </a:lnTo>
                  <a:lnTo>
                    <a:pt x="227" y="591"/>
                  </a:lnTo>
                  <a:lnTo>
                    <a:pt x="203" y="573"/>
                  </a:lnTo>
                  <a:lnTo>
                    <a:pt x="201" y="563"/>
                  </a:lnTo>
                  <a:lnTo>
                    <a:pt x="189" y="547"/>
                  </a:lnTo>
                  <a:lnTo>
                    <a:pt x="197" y="537"/>
                  </a:lnTo>
                  <a:lnTo>
                    <a:pt x="166" y="486"/>
                  </a:lnTo>
                  <a:lnTo>
                    <a:pt x="156" y="462"/>
                  </a:lnTo>
                  <a:lnTo>
                    <a:pt x="142" y="436"/>
                  </a:lnTo>
                  <a:lnTo>
                    <a:pt x="142" y="422"/>
                  </a:lnTo>
                  <a:lnTo>
                    <a:pt x="120" y="392"/>
                  </a:lnTo>
                  <a:lnTo>
                    <a:pt x="116" y="376"/>
                  </a:lnTo>
                  <a:lnTo>
                    <a:pt x="104" y="352"/>
                  </a:lnTo>
                  <a:lnTo>
                    <a:pt x="88" y="314"/>
                  </a:lnTo>
                  <a:lnTo>
                    <a:pt x="74" y="302"/>
                  </a:lnTo>
                  <a:lnTo>
                    <a:pt x="72" y="288"/>
                  </a:lnTo>
                  <a:lnTo>
                    <a:pt x="42" y="250"/>
                  </a:lnTo>
                  <a:lnTo>
                    <a:pt x="22" y="242"/>
                  </a:lnTo>
                  <a:lnTo>
                    <a:pt x="10" y="228"/>
                  </a:lnTo>
                  <a:lnTo>
                    <a:pt x="16" y="216"/>
                  </a:lnTo>
                  <a:lnTo>
                    <a:pt x="8" y="198"/>
                  </a:lnTo>
                  <a:lnTo>
                    <a:pt x="10" y="190"/>
                  </a:lnTo>
                  <a:lnTo>
                    <a:pt x="0" y="178"/>
                  </a:lnTo>
                  <a:lnTo>
                    <a:pt x="2" y="164"/>
                  </a:lnTo>
                  <a:lnTo>
                    <a:pt x="16" y="150"/>
                  </a:lnTo>
                  <a:lnTo>
                    <a:pt x="34" y="136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68" name="Philippines">
              <a:extLst>
                <a:ext uri="{FF2B5EF4-FFF2-40B4-BE49-F238E27FC236}">
                  <a16:creationId xmlns="" xmlns:a16="http://schemas.microsoft.com/office/drawing/2014/main" id="{BAE976DD-7E42-4FAB-B3A1-4C66FADC095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416646" y="3947151"/>
              <a:ext cx="285036" cy="412977"/>
            </a:xfrm>
            <a:custGeom>
              <a:avLst/>
              <a:gdLst/>
              <a:ahLst/>
              <a:cxnLst>
                <a:cxn ang="0">
                  <a:pos x="166" y="16"/>
                </a:cxn>
                <a:cxn ang="0">
                  <a:pos x="186" y="54"/>
                </a:cxn>
                <a:cxn ang="0">
                  <a:pos x="160" y="176"/>
                </a:cxn>
                <a:cxn ang="0">
                  <a:pos x="202" y="176"/>
                </a:cxn>
                <a:cxn ang="0">
                  <a:pos x="258" y="204"/>
                </a:cxn>
                <a:cxn ang="0">
                  <a:pos x="270" y="230"/>
                </a:cxn>
                <a:cxn ang="0">
                  <a:pos x="200" y="198"/>
                </a:cxn>
                <a:cxn ang="0">
                  <a:pos x="166" y="202"/>
                </a:cxn>
                <a:cxn ang="0">
                  <a:pos x="164" y="228"/>
                </a:cxn>
                <a:cxn ang="0">
                  <a:pos x="162" y="262"/>
                </a:cxn>
                <a:cxn ang="0">
                  <a:pos x="114" y="200"/>
                </a:cxn>
                <a:cxn ang="0">
                  <a:pos x="110" y="162"/>
                </a:cxn>
                <a:cxn ang="0">
                  <a:pos x="120" y="118"/>
                </a:cxn>
                <a:cxn ang="0">
                  <a:pos x="122" y="88"/>
                </a:cxn>
                <a:cxn ang="0">
                  <a:pos x="116" y="30"/>
                </a:cxn>
                <a:cxn ang="0">
                  <a:pos x="132" y="0"/>
                </a:cxn>
                <a:cxn ang="0">
                  <a:pos x="242" y="422"/>
                </a:cxn>
                <a:cxn ang="0">
                  <a:pos x="256" y="454"/>
                </a:cxn>
                <a:cxn ang="0">
                  <a:pos x="320" y="506"/>
                </a:cxn>
                <a:cxn ang="0">
                  <a:pos x="312" y="466"/>
                </a:cxn>
                <a:cxn ang="0">
                  <a:pos x="328" y="438"/>
                </a:cxn>
                <a:cxn ang="0">
                  <a:pos x="350" y="440"/>
                </a:cxn>
                <a:cxn ang="0">
                  <a:pos x="324" y="386"/>
                </a:cxn>
                <a:cxn ang="0">
                  <a:pos x="240" y="402"/>
                </a:cxn>
                <a:cxn ang="0">
                  <a:pos x="236" y="440"/>
                </a:cxn>
                <a:cxn ang="0">
                  <a:pos x="48" y="382"/>
                </a:cxn>
                <a:cxn ang="0">
                  <a:pos x="78" y="360"/>
                </a:cxn>
                <a:cxn ang="0">
                  <a:pos x="94" y="296"/>
                </a:cxn>
                <a:cxn ang="0">
                  <a:pos x="0" y="400"/>
                </a:cxn>
                <a:cxn ang="0">
                  <a:pos x="182" y="300"/>
                </a:cxn>
                <a:cxn ang="0">
                  <a:pos x="200" y="338"/>
                </a:cxn>
                <a:cxn ang="0">
                  <a:pos x="170" y="274"/>
                </a:cxn>
                <a:cxn ang="0">
                  <a:pos x="200" y="370"/>
                </a:cxn>
                <a:cxn ang="0">
                  <a:pos x="236" y="372"/>
                </a:cxn>
                <a:cxn ang="0">
                  <a:pos x="248" y="318"/>
                </a:cxn>
                <a:cxn ang="0">
                  <a:pos x="214" y="352"/>
                </a:cxn>
                <a:cxn ang="0">
                  <a:pos x="200" y="370"/>
                </a:cxn>
                <a:cxn ang="0">
                  <a:pos x="294" y="298"/>
                </a:cxn>
                <a:cxn ang="0">
                  <a:pos x="290" y="338"/>
                </a:cxn>
                <a:cxn ang="0">
                  <a:pos x="304" y="302"/>
                </a:cxn>
                <a:cxn ang="0">
                  <a:pos x="326" y="270"/>
                </a:cxn>
                <a:cxn ang="0">
                  <a:pos x="272" y="258"/>
                </a:cxn>
                <a:cxn ang="0">
                  <a:pos x="248" y="362"/>
                </a:cxn>
                <a:cxn ang="0">
                  <a:pos x="260" y="304"/>
                </a:cxn>
                <a:cxn ang="0">
                  <a:pos x="248" y="362"/>
                </a:cxn>
              </a:cxnLst>
              <a:rect l="0" t="0" r="r" b="b"/>
              <a:pathLst>
                <a:path w="350" h="506">
                  <a:moveTo>
                    <a:pt x="132" y="0"/>
                  </a:moveTo>
                  <a:lnTo>
                    <a:pt x="166" y="16"/>
                  </a:lnTo>
                  <a:lnTo>
                    <a:pt x="188" y="2"/>
                  </a:lnTo>
                  <a:lnTo>
                    <a:pt x="186" y="54"/>
                  </a:lnTo>
                  <a:lnTo>
                    <a:pt x="150" y="152"/>
                  </a:lnTo>
                  <a:lnTo>
                    <a:pt x="160" y="176"/>
                  </a:lnTo>
                  <a:lnTo>
                    <a:pt x="176" y="186"/>
                  </a:lnTo>
                  <a:lnTo>
                    <a:pt x="202" y="176"/>
                  </a:lnTo>
                  <a:lnTo>
                    <a:pt x="230" y="190"/>
                  </a:lnTo>
                  <a:lnTo>
                    <a:pt x="258" y="204"/>
                  </a:lnTo>
                  <a:lnTo>
                    <a:pt x="250" y="216"/>
                  </a:lnTo>
                  <a:lnTo>
                    <a:pt x="270" y="230"/>
                  </a:lnTo>
                  <a:lnTo>
                    <a:pt x="260" y="246"/>
                  </a:lnTo>
                  <a:lnTo>
                    <a:pt x="200" y="198"/>
                  </a:lnTo>
                  <a:lnTo>
                    <a:pt x="204" y="222"/>
                  </a:lnTo>
                  <a:lnTo>
                    <a:pt x="166" y="202"/>
                  </a:lnTo>
                  <a:lnTo>
                    <a:pt x="152" y="206"/>
                  </a:lnTo>
                  <a:lnTo>
                    <a:pt x="164" y="228"/>
                  </a:lnTo>
                  <a:lnTo>
                    <a:pt x="162" y="240"/>
                  </a:lnTo>
                  <a:lnTo>
                    <a:pt x="162" y="262"/>
                  </a:lnTo>
                  <a:lnTo>
                    <a:pt x="146" y="254"/>
                  </a:lnTo>
                  <a:lnTo>
                    <a:pt x="114" y="200"/>
                  </a:lnTo>
                  <a:lnTo>
                    <a:pt x="136" y="178"/>
                  </a:lnTo>
                  <a:lnTo>
                    <a:pt x="110" y="162"/>
                  </a:lnTo>
                  <a:lnTo>
                    <a:pt x="98" y="102"/>
                  </a:lnTo>
                  <a:lnTo>
                    <a:pt x="120" y="118"/>
                  </a:lnTo>
                  <a:lnTo>
                    <a:pt x="128" y="110"/>
                  </a:lnTo>
                  <a:lnTo>
                    <a:pt x="122" y="88"/>
                  </a:lnTo>
                  <a:lnTo>
                    <a:pt x="126" y="52"/>
                  </a:lnTo>
                  <a:lnTo>
                    <a:pt x="116" y="30"/>
                  </a:lnTo>
                  <a:lnTo>
                    <a:pt x="120" y="12"/>
                  </a:lnTo>
                  <a:lnTo>
                    <a:pt x="132" y="0"/>
                  </a:lnTo>
                  <a:close/>
                  <a:moveTo>
                    <a:pt x="236" y="440"/>
                  </a:moveTo>
                  <a:lnTo>
                    <a:pt x="242" y="422"/>
                  </a:lnTo>
                  <a:lnTo>
                    <a:pt x="270" y="444"/>
                  </a:lnTo>
                  <a:lnTo>
                    <a:pt x="256" y="454"/>
                  </a:lnTo>
                  <a:lnTo>
                    <a:pt x="266" y="478"/>
                  </a:lnTo>
                  <a:lnTo>
                    <a:pt x="320" y="506"/>
                  </a:lnTo>
                  <a:lnTo>
                    <a:pt x="328" y="482"/>
                  </a:lnTo>
                  <a:lnTo>
                    <a:pt x="312" y="466"/>
                  </a:lnTo>
                  <a:lnTo>
                    <a:pt x="312" y="438"/>
                  </a:lnTo>
                  <a:lnTo>
                    <a:pt x="328" y="438"/>
                  </a:lnTo>
                  <a:lnTo>
                    <a:pt x="342" y="470"/>
                  </a:lnTo>
                  <a:lnTo>
                    <a:pt x="350" y="440"/>
                  </a:lnTo>
                  <a:lnTo>
                    <a:pt x="334" y="360"/>
                  </a:lnTo>
                  <a:lnTo>
                    <a:pt x="324" y="386"/>
                  </a:lnTo>
                  <a:lnTo>
                    <a:pt x="252" y="408"/>
                  </a:lnTo>
                  <a:lnTo>
                    <a:pt x="240" y="402"/>
                  </a:lnTo>
                  <a:lnTo>
                    <a:pt x="182" y="422"/>
                  </a:lnTo>
                  <a:lnTo>
                    <a:pt x="236" y="440"/>
                  </a:lnTo>
                  <a:close/>
                  <a:moveTo>
                    <a:pt x="24" y="402"/>
                  </a:moveTo>
                  <a:lnTo>
                    <a:pt x="48" y="382"/>
                  </a:lnTo>
                  <a:lnTo>
                    <a:pt x="60" y="378"/>
                  </a:lnTo>
                  <a:lnTo>
                    <a:pt x="78" y="360"/>
                  </a:lnTo>
                  <a:lnTo>
                    <a:pt x="100" y="338"/>
                  </a:lnTo>
                  <a:lnTo>
                    <a:pt x="94" y="296"/>
                  </a:lnTo>
                  <a:lnTo>
                    <a:pt x="70" y="346"/>
                  </a:lnTo>
                  <a:lnTo>
                    <a:pt x="0" y="400"/>
                  </a:lnTo>
                  <a:lnTo>
                    <a:pt x="24" y="402"/>
                  </a:lnTo>
                  <a:close/>
                  <a:moveTo>
                    <a:pt x="182" y="300"/>
                  </a:moveTo>
                  <a:lnTo>
                    <a:pt x="178" y="336"/>
                  </a:lnTo>
                  <a:lnTo>
                    <a:pt x="200" y="338"/>
                  </a:lnTo>
                  <a:lnTo>
                    <a:pt x="224" y="290"/>
                  </a:lnTo>
                  <a:lnTo>
                    <a:pt x="170" y="274"/>
                  </a:lnTo>
                  <a:lnTo>
                    <a:pt x="182" y="300"/>
                  </a:lnTo>
                  <a:close/>
                  <a:moveTo>
                    <a:pt x="200" y="370"/>
                  </a:moveTo>
                  <a:lnTo>
                    <a:pt x="224" y="384"/>
                  </a:lnTo>
                  <a:lnTo>
                    <a:pt x="236" y="372"/>
                  </a:lnTo>
                  <a:lnTo>
                    <a:pt x="230" y="358"/>
                  </a:lnTo>
                  <a:lnTo>
                    <a:pt x="248" y="318"/>
                  </a:lnTo>
                  <a:lnTo>
                    <a:pt x="234" y="312"/>
                  </a:lnTo>
                  <a:lnTo>
                    <a:pt x="214" y="352"/>
                  </a:lnTo>
                  <a:lnTo>
                    <a:pt x="194" y="356"/>
                  </a:lnTo>
                  <a:lnTo>
                    <a:pt x="200" y="370"/>
                  </a:lnTo>
                  <a:close/>
                  <a:moveTo>
                    <a:pt x="298" y="282"/>
                  </a:moveTo>
                  <a:lnTo>
                    <a:pt x="294" y="298"/>
                  </a:lnTo>
                  <a:lnTo>
                    <a:pt x="266" y="290"/>
                  </a:lnTo>
                  <a:lnTo>
                    <a:pt x="290" y="338"/>
                  </a:lnTo>
                  <a:lnTo>
                    <a:pt x="310" y="336"/>
                  </a:lnTo>
                  <a:lnTo>
                    <a:pt x="304" y="302"/>
                  </a:lnTo>
                  <a:lnTo>
                    <a:pt x="332" y="312"/>
                  </a:lnTo>
                  <a:lnTo>
                    <a:pt x="326" y="270"/>
                  </a:lnTo>
                  <a:lnTo>
                    <a:pt x="300" y="256"/>
                  </a:lnTo>
                  <a:lnTo>
                    <a:pt x="272" y="258"/>
                  </a:lnTo>
                  <a:lnTo>
                    <a:pt x="298" y="282"/>
                  </a:lnTo>
                  <a:close/>
                  <a:moveTo>
                    <a:pt x="248" y="362"/>
                  </a:moveTo>
                  <a:lnTo>
                    <a:pt x="266" y="340"/>
                  </a:lnTo>
                  <a:lnTo>
                    <a:pt x="260" y="304"/>
                  </a:lnTo>
                  <a:lnTo>
                    <a:pt x="244" y="360"/>
                  </a:lnTo>
                  <a:lnTo>
                    <a:pt x="248" y="362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69" name="Poland">
              <a:extLst>
                <a:ext uri="{FF2B5EF4-FFF2-40B4-BE49-F238E27FC236}">
                  <a16:creationId xmlns="" xmlns:a16="http://schemas.microsoft.com/office/drawing/2014/main" id="{72CD58C6-77DB-456A-AA0D-2371F18EDC49}"/>
                </a:ext>
              </a:extLst>
            </p:cNvPr>
            <p:cNvSpPr>
              <a:spLocks/>
            </p:cNvSpPr>
            <p:nvPr/>
          </p:nvSpPr>
          <p:spPr bwMode="gray">
            <a:xfrm>
              <a:off x="6230484" y="2468297"/>
              <a:ext cx="320177" cy="294984"/>
            </a:xfrm>
            <a:custGeom>
              <a:avLst/>
              <a:gdLst/>
              <a:ahLst/>
              <a:cxnLst>
                <a:cxn ang="0">
                  <a:pos x="370" y="214"/>
                </a:cxn>
                <a:cxn ang="0">
                  <a:pos x="372" y="198"/>
                </a:cxn>
                <a:cxn ang="0">
                  <a:pos x="376" y="176"/>
                </a:cxn>
                <a:cxn ang="0">
                  <a:pos x="354" y="162"/>
                </a:cxn>
                <a:cxn ang="0">
                  <a:pos x="362" y="142"/>
                </a:cxn>
                <a:cxn ang="0">
                  <a:pos x="376" y="144"/>
                </a:cxn>
                <a:cxn ang="0">
                  <a:pos x="382" y="132"/>
                </a:cxn>
                <a:cxn ang="0">
                  <a:pos x="382" y="108"/>
                </a:cxn>
                <a:cxn ang="0">
                  <a:pos x="374" y="88"/>
                </a:cxn>
                <a:cxn ang="0">
                  <a:pos x="372" y="56"/>
                </a:cxn>
                <a:cxn ang="0">
                  <a:pos x="366" y="38"/>
                </a:cxn>
                <a:cxn ang="0">
                  <a:pos x="342" y="18"/>
                </a:cxn>
                <a:cxn ang="0">
                  <a:pos x="316" y="22"/>
                </a:cxn>
                <a:cxn ang="0">
                  <a:pos x="268" y="24"/>
                </a:cxn>
                <a:cxn ang="0">
                  <a:pos x="230" y="22"/>
                </a:cxn>
                <a:cxn ang="0">
                  <a:pos x="204" y="12"/>
                </a:cxn>
                <a:cxn ang="0">
                  <a:pos x="184" y="20"/>
                </a:cxn>
                <a:cxn ang="0">
                  <a:pos x="174" y="0"/>
                </a:cxn>
                <a:cxn ang="0">
                  <a:pos x="142" y="2"/>
                </a:cxn>
                <a:cxn ang="0">
                  <a:pos x="100" y="18"/>
                </a:cxn>
                <a:cxn ang="0">
                  <a:pos x="84" y="36"/>
                </a:cxn>
                <a:cxn ang="0">
                  <a:pos x="38" y="48"/>
                </a:cxn>
                <a:cxn ang="0">
                  <a:pos x="20" y="74"/>
                </a:cxn>
                <a:cxn ang="0">
                  <a:pos x="2" y="72"/>
                </a:cxn>
                <a:cxn ang="0">
                  <a:pos x="0" y="100"/>
                </a:cxn>
                <a:cxn ang="0">
                  <a:pos x="6" y="116"/>
                </a:cxn>
                <a:cxn ang="0">
                  <a:pos x="4" y="130"/>
                </a:cxn>
                <a:cxn ang="0">
                  <a:pos x="24" y="150"/>
                </a:cxn>
                <a:cxn ang="0">
                  <a:pos x="28" y="192"/>
                </a:cxn>
                <a:cxn ang="0">
                  <a:pos x="26" y="212"/>
                </a:cxn>
                <a:cxn ang="0">
                  <a:pos x="48" y="240"/>
                </a:cxn>
                <a:cxn ang="0">
                  <a:pos x="62" y="262"/>
                </a:cxn>
                <a:cxn ang="0">
                  <a:pos x="86" y="270"/>
                </a:cxn>
                <a:cxn ang="0">
                  <a:pos x="92" y="288"/>
                </a:cxn>
                <a:cxn ang="0">
                  <a:pos x="112" y="302"/>
                </a:cxn>
                <a:cxn ang="0">
                  <a:pos x="116" y="282"/>
                </a:cxn>
                <a:cxn ang="0">
                  <a:pos x="136" y="288"/>
                </a:cxn>
                <a:cxn ang="0">
                  <a:pos x="150" y="302"/>
                </a:cxn>
                <a:cxn ang="0">
                  <a:pos x="174" y="308"/>
                </a:cxn>
                <a:cxn ang="0">
                  <a:pos x="180" y="334"/>
                </a:cxn>
                <a:cxn ang="0">
                  <a:pos x="198" y="342"/>
                </a:cxn>
                <a:cxn ang="0">
                  <a:pos x="212" y="336"/>
                </a:cxn>
                <a:cxn ang="0">
                  <a:pos x="226" y="348"/>
                </a:cxn>
                <a:cxn ang="0">
                  <a:pos x="268" y="344"/>
                </a:cxn>
                <a:cxn ang="0">
                  <a:pos x="294" y="342"/>
                </a:cxn>
                <a:cxn ang="0">
                  <a:pos x="326" y="362"/>
                </a:cxn>
                <a:cxn ang="0">
                  <a:pos x="344" y="324"/>
                </a:cxn>
                <a:cxn ang="0">
                  <a:pos x="368" y="296"/>
                </a:cxn>
                <a:cxn ang="0">
                  <a:pos x="394" y="276"/>
                </a:cxn>
                <a:cxn ang="0">
                  <a:pos x="388" y="252"/>
                </a:cxn>
                <a:cxn ang="0">
                  <a:pos x="370" y="214"/>
                </a:cxn>
              </a:cxnLst>
              <a:rect l="0" t="0" r="r" b="b"/>
              <a:pathLst>
                <a:path w="394" h="362">
                  <a:moveTo>
                    <a:pt x="370" y="214"/>
                  </a:moveTo>
                  <a:lnTo>
                    <a:pt x="372" y="198"/>
                  </a:lnTo>
                  <a:lnTo>
                    <a:pt x="376" y="176"/>
                  </a:lnTo>
                  <a:lnTo>
                    <a:pt x="354" y="162"/>
                  </a:lnTo>
                  <a:lnTo>
                    <a:pt x="362" y="142"/>
                  </a:lnTo>
                  <a:lnTo>
                    <a:pt x="376" y="144"/>
                  </a:lnTo>
                  <a:lnTo>
                    <a:pt x="382" y="132"/>
                  </a:lnTo>
                  <a:lnTo>
                    <a:pt x="382" y="108"/>
                  </a:lnTo>
                  <a:lnTo>
                    <a:pt x="374" y="88"/>
                  </a:lnTo>
                  <a:lnTo>
                    <a:pt x="372" y="56"/>
                  </a:lnTo>
                  <a:lnTo>
                    <a:pt x="366" y="38"/>
                  </a:lnTo>
                  <a:lnTo>
                    <a:pt x="342" y="18"/>
                  </a:lnTo>
                  <a:lnTo>
                    <a:pt x="316" y="22"/>
                  </a:lnTo>
                  <a:lnTo>
                    <a:pt x="268" y="24"/>
                  </a:lnTo>
                  <a:lnTo>
                    <a:pt x="230" y="22"/>
                  </a:lnTo>
                  <a:lnTo>
                    <a:pt x="204" y="12"/>
                  </a:lnTo>
                  <a:lnTo>
                    <a:pt x="184" y="20"/>
                  </a:lnTo>
                  <a:lnTo>
                    <a:pt x="174" y="0"/>
                  </a:lnTo>
                  <a:lnTo>
                    <a:pt x="142" y="2"/>
                  </a:lnTo>
                  <a:lnTo>
                    <a:pt x="100" y="18"/>
                  </a:lnTo>
                  <a:lnTo>
                    <a:pt x="84" y="36"/>
                  </a:lnTo>
                  <a:lnTo>
                    <a:pt x="38" y="48"/>
                  </a:lnTo>
                  <a:lnTo>
                    <a:pt x="20" y="74"/>
                  </a:lnTo>
                  <a:lnTo>
                    <a:pt x="2" y="72"/>
                  </a:lnTo>
                  <a:lnTo>
                    <a:pt x="0" y="100"/>
                  </a:lnTo>
                  <a:lnTo>
                    <a:pt x="6" y="116"/>
                  </a:lnTo>
                  <a:lnTo>
                    <a:pt x="4" y="130"/>
                  </a:lnTo>
                  <a:lnTo>
                    <a:pt x="24" y="150"/>
                  </a:lnTo>
                  <a:lnTo>
                    <a:pt x="28" y="192"/>
                  </a:lnTo>
                  <a:lnTo>
                    <a:pt x="26" y="212"/>
                  </a:lnTo>
                  <a:lnTo>
                    <a:pt x="48" y="240"/>
                  </a:lnTo>
                  <a:lnTo>
                    <a:pt x="62" y="262"/>
                  </a:lnTo>
                  <a:lnTo>
                    <a:pt x="86" y="270"/>
                  </a:lnTo>
                  <a:lnTo>
                    <a:pt x="92" y="288"/>
                  </a:lnTo>
                  <a:lnTo>
                    <a:pt x="112" y="302"/>
                  </a:lnTo>
                  <a:lnTo>
                    <a:pt x="116" y="282"/>
                  </a:lnTo>
                  <a:lnTo>
                    <a:pt x="136" y="288"/>
                  </a:lnTo>
                  <a:lnTo>
                    <a:pt x="150" y="302"/>
                  </a:lnTo>
                  <a:lnTo>
                    <a:pt x="174" y="308"/>
                  </a:lnTo>
                  <a:lnTo>
                    <a:pt x="180" y="334"/>
                  </a:lnTo>
                  <a:lnTo>
                    <a:pt x="198" y="342"/>
                  </a:lnTo>
                  <a:lnTo>
                    <a:pt x="212" y="336"/>
                  </a:lnTo>
                  <a:lnTo>
                    <a:pt x="226" y="348"/>
                  </a:lnTo>
                  <a:lnTo>
                    <a:pt x="268" y="344"/>
                  </a:lnTo>
                  <a:lnTo>
                    <a:pt x="294" y="342"/>
                  </a:lnTo>
                  <a:lnTo>
                    <a:pt x="326" y="362"/>
                  </a:lnTo>
                  <a:lnTo>
                    <a:pt x="344" y="324"/>
                  </a:lnTo>
                  <a:lnTo>
                    <a:pt x="368" y="296"/>
                  </a:lnTo>
                  <a:lnTo>
                    <a:pt x="394" y="276"/>
                  </a:lnTo>
                  <a:lnTo>
                    <a:pt x="388" y="252"/>
                  </a:lnTo>
                  <a:lnTo>
                    <a:pt x="370" y="214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70" name="Portugal">
              <a:extLst>
                <a:ext uri="{FF2B5EF4-FFF2-40B4-BE49-F238E27FC236}">
                  <a16:creationId xmlns="" xmlns:a16="http://schemas.microsoft.com/office/drawing/2014/main" id="{AFBC0FEB-73BD-493E-92F1-23039DEF4194}"/>
                </a:ext>
              </a:extLst>
            </p:cNvPr>
            <p:cNvSpPr>
              <a:spLocks/>
            </p:cNvSpPr>
            <p:nvPr/>
          </p:nvSpPr>
          <p:spPr bwMode="gray">
            <a:xfrm>
              <a:off x="5512036" y="3073997"/>
              <a:ext cx="101519" cy="218289"/>
            </a:xfrm>
            <a:custGeom>
              <a:avLst/>
              <a:gdLst/>
              <a:ahLst/>
              <a:cxnLst>
                <a:cxn ang="0">
                  <a:pos x="76" y="254"/>
                </a:cxn>
                <a:cxn ang="0">
                  <a:pos x="78" y="228"/>
                </a:cxn>
                <a:cxn ang="0">
                  <a:pos x="94" y="214"/>
                </a:cxn>
                <a:cxn ang="0">
                  <a:pos x="86" y="200"/>
                </a:cxn>
                <a:cxn ang="0">
                  <a:pos x="86" y="186"/>
                </a:cxn>
                <a:cxn ang="0">
                  <a:pos x="94" y="178"/>
                </a:cxn>
                <a:cxn ang="0">
                  <a:pos x="78" y="160"/>
                </a:cxn>
                <a:cxn ang="0">
                  <a:pos x="70" y="140"/>
                </a:cxn>
                <a:cxn ang="0">
                  <a:pos x="86" y="138"/>
                </a:cxn>
                <a:cxn ang="0">
                  <a:pos x="92" y="126"/>
                </a:cxn>
                <a:cxn ang="0">
                  <a:pos x="88" y="110"/>
                </a:cxn>
                <a:cxn ang="0">
                  <a:pos x="96" y="88"/>
                </a:cxn>
                <a:cxn ang="0">
                  <a:pos x="96" y="70"/>
                </a:cxn>
                <a:cxn ang="0">
                  <a:pos x="102" y="58"/>
                </a:cxn>
                <a:cxn ang="0">
                  <a:pos x="124" y="36"/>
                </a:cxn>
                <a:cxn ang="0">
                  <a:pos x="108" y="18"/>
                </a:cxn>
                <a:cxn ang="0">
                  <a:pos x="86" y="12"/>
                </a:cxn>
                <a:cxn ang="0">
                  <a:pos x="66" y="12"/>
                </a:cxn>
                <a:cxn ang="0">
                  <a:pos x="50" y="12"/>
                </a:cxn>
                <a:cxn ang="0">
                  <a:pos x="42" y="0"/>
                </a:cxn>
                <a:cxn ang="0">
                  <a:pos x="20" y="14"/>
                </a:cxn>
                <a:cxn ang="0">
                  <a:pos x="22" y="46"/>
                </a:cxn>
                <a:cxn ang="0">
                  <a:pos x="22" y="66"/>
                </a:cxn>
                <a:cxn ang="0">
                  <a:pos x="26" y="78"/>
                </a:cxn>
                <a:cxn ang="0">
                  <a:pos x="22" y="86"/>
                </a:cxn>
                <a:cxn ang="0">
                  <a:pos x="18" y="106"/>
                </a:cxn>
                <a:cxn ang="0">
                  <a:pos x="18" y="140"/>
                </a:cxn>
                <a:cxn ang="0">
                  <a:pos x="10" y="156"/>
                </a:cxn>
                <a:cxn ang="0">
                  <a:pos x="6" y="172"/>
                </a:cxn>
                <a:cxn ang="0">
                  <a:pos x="0" y="182"/>
                </a:cxn>
                <a:cxn ang="0">
                  <a:pos x="8" y="188"/>
                </a:cxn>
                <a:cxn ang="0">
                  <a:pos x="8" y="200"/>
                </a:cxn>
                <a:cxn ang="0">
                  <a:pos x="26" y="200"/>
                </a:cxn>
                <a:cxn ang="0">
                  <a:pos x="30" y="206"/>
                </a:cxn>
                <a:cxn ang="0">
                  <a:pos x="24" y="214"/>
                </a:cxn>
                <a:cxn ang="0">
                  <a:pos x="28" y="234"/>
                </a:cxn>
                <a:cxn ang="0">
                  <a:pos x="18" y="262"/>
                </a:cxn>
                <a:cxn ang="0">
                  <a:pos x="24" y="266"/>
                </a:cxn>
                <a:cxn ang="0">
                  <a:pos x="36" y="256"/>
                </a:cxn>
                <a:cxn ang="0">
                  <a:pos x="50" y="262"/>
                </a:cxn>
                <a:cxn ang="0">
                  <a:pos x="62" y="262"/>
                </a:cxn>
                <a:cxn ang="0">
                  <a:pos x="76" y="254"/>
                </a:cxn>
              </a:cxnLst>
              <a:rect l="0" t="0" r="r" b="b"/>
              <a:pathLst>
                <a:path w="124" h="266">
                  <a:moveTo>
                    <a:pt x="76" y="254"/>
                  </a:moveTo>
                  <a:lnTo>
                    <a:pt x="78" y="228"/>
                  </a:lnTo>
                  <a:lnTo>
                    <a:pt x="94" y="214"/>
                  </a:lnTo>
                  <a:lnTo>
                    <a:pt x="86" y="200"/>
                  </a:lnTo>
                  <a:lnTo>
                    <a:pt x="86" y="186"/>
                  </a:lnTo>
                  <a:lnTo>
                    <a:pt x="94" y="178"/>
                  </a:lnTo>
                  <a:lnTo>
                    <a:pt x="78" y="160"/>
                  </a:lnTo>
                  <a:lnTo>
                    <a:pt x="70" y="140"/>
                  </a:lnTo>
                  <a:lnTo>
                    <a:pt x="86" y="138"/>
                  </a:lnTo>
                  <a:lnTo>
                    <a:pt x="92" y="126"/>
                  </a:lnTo>
                  <a:lnTo>
                    <a:pt x="88" y="110"/>
                  </a:lnTo>
                  <a:lnTo>
                    <a:pt x="96" y="88"/>
                  </a:lnTo>
                  <a:lnTo>
                    <a:pt x="96" y="70"/>
                  </a:lnTo>
                  <a:lnTo>
                    <a:pt x="102" y="58"/>
                  </a:lnTo>
                  <a:lnTo>
                    <a:pt x="124" y="36"/>
                  </a:lnTo>
                  <a:lnTo>
                    <a:pt x="108" y="18"/>
                  </a:lnTo>
                  <a:lnTo>
                    <a:pt x="86" y="12"/>
                  </a:lnTo>
                  <a:lnTo>
                    <a:pt x="66" y="12"/>
                  </a:lnTo>
                  <a:lnTo>
                    <a:pt x="50" y="12"/>
                  </a:lnTo>
                  <a:lnTo>
                    <a:pt x="42" y="0"/>
                  </a:lnTo>
                  <a:lnTo>
                    <a:pt x="20" y="14"/>
                  </a:lnTo>
                  <a:lnTo>
                    <a:pt x="22" y="46"/>
                  </a:lnTo>
                  <a:lnTo>
                    <a:pt x="22" y="66"/>
                  </a:lnTo>
                  <a:lnTo>
                    <a:pt x="26" y="78"/>
                  </a:lnTo>
                  <a:lnTo>
                    <a:pt x="22" y="86"/>
                  </a:lnTo>
                  <a:lnTo>
                    <a:pt x="18" y="106"/>
                  </a:lnTo>
                  <a:lnTo>
                    <a:pt x="18" y="140"/>
                  </a:lnTo>
                  <a:lnTo>
                    <a:pt x="10" y="156"/>
                  </a:lnTo>
                  <a:lnTo>
                    <a:pt x="6" y="172"/>
                  </a:lnTo>
                  <a:lnTo>
                    <a:pt x="0" y="182"/>
                  </a:lnTo>
                  <a:lnTo>
                    <a:pt x="8" y="188"/>
                  </a:lnTo>
                  <a:lnTo>
                    <a:pt x="8" y="200"/>
                  </a:lnTo>
                  <a:lnTo>
                    <a:pt x="26" y="200"/>
                  </a:lnTo>
                  <a:lnTo>
                    <a:pt x="30" y="206"/>
                  </a:lnTo>
                  <a:lnTo>
                    <a:pt x="24" y="214"/>
                  </a:lnTo>
                  <a:lnTo>
                    <a:pt x="28" y="234"/>
                  </a:lnTo>
                  <a:lnTo>
                    <a:pt x="18" y="262"/>
                  </a:lnTo>
                  <a:lnTo>
                    <a:pt x="24" y="266"/>
                  </a:lnTo>
                  <a:lnTo>
                    <a:pt x="36" y="256"/>
                  </a:lnTo>
                  <a:lnTo>
                    <a:pt x="50" y="262"/>
                  </a:lnTo>
                  <a:lnTo>
                    <a:pt x="62" y="262"/>
                  </a:lnTo>
                  <a:lnTo>
                    <a:pt x="76" y="254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71" name="Puerto Rico">
              <a:extLst>
                <a:ext uri="{FF2B5EF4-FFF2-40B4-BE49-F238E27FC236}">
                  <a16:creationId xmlns="" xmlns:a16="http://schemas.microsoft.com/office/drawing/2014/main" id="{2F6F037D-584A-4EFF-84A2-7AF48DB46539}"/>
                </a:ext>
              </a:extLst>
            </p:cNvPr>
            <p:cNvSpPr>
              <a:spLocks/>
            </p:cNvSpPr>
            <p:nvPr/>
          </p:nvSpPr>
          <p:spPr bwMode="gray">
            <a:xfrm>
              <a:off x="3692489" y="4021880"/>
              <a:ext cx="46855" cy="25566"/>
            </a:xfrm>
            <a:custGeom>
              <a:avLst/>
              <a:gdLst/>
              <a:ahLst/>
              <a:cxnLst>
                <a:cxn ang="0">
                  <a:pos x="2" y="4"/>
                </a:cxn>
                <a:cxn ang="0">
                  <a:pos x="18" y="0"/>
                </a:cxn>
                <a:cxn ang="0">
                  <a:pos x="28" y="4"/>
                </a:cxn>
                <a:cxn ang="0">
                  <a:pos x="39" y="0"/>
                </a:cxn>
                <a:cxn ang="0">
                  <a:pos x="53" y="6"/>
                </a:cxn>
                <a:cxn ang="0">
                  <a:pos x="59" y="14"/>
                </a:cxn>
                <a:cxn ang="0">
                  <a:pos x="53" y="26"/>
                </a:cxn>
                <a:cxn ang="0">
                  <a:pos x="39" y="30"/>
                </a:cxn>
                <a:cxn ang="0">
                  <a:pos x="35" y="30"/>
                </a:cxn>
                <a:cxn ang="0">
                  <a:pos x="22" y="26"/>
                </a:cxn>
                <a:cxn ang="0">
                  <a:pos x="12" y="24"/>
                </a:cxn>
                <a:cxn ang="0">
                  <a:pos x="2" y="22"/>
                </a:cxn>
                <a:cxn ang="0">
                  <a:pos x="2" y="18"/>
                </a:cxn>
                <a:cxn ang="0">
                  <a:pos x="0" y="10"/>
                </a:cxn>
                <a:cxn ang="0">
                  <a:pos x="2" y="4"/>
                </a:cxn>
              </a:cxnLst>
              <a:rect l="0" t="0" r="r" b="b"/>
              <a:pathLst>
                <a:path w="59" h="30">
                  <a:moveTo>
                    <a:pt x="2" y="4"/>
                  </a:moveTo>
                  <a:lnTo>
                    <a:pt x="18" y="0"/>
                  </a:lnTo>
                  <a:lnTo>
                    <a:pt x="28" y="4"/>
                  </a:lnTo>
                  <a:lnTo>
                    <a:pt x="39" y="0"/>
                  </a:lnTo>
                  <a:lnTo>
                    <a:pt x="53" y="6"/>
                  </a:lnTo>
                  <a:lnTo>
                    <a:pt x="59" y="14"/>
                  </a:lnTo>
                  <a:lnTo>
                    <a:pt x="53" y="26"/>
                  </a:lnTo>
                  <a:lnTo>
                    <a:pt x="39" y="30"/>
                  </a:lnTo>
                  <a:lnTo>
                    <a:pt x="35" y="30"/>
                  </a:lnTo>
                  <a:lnTo>
                    <a:pt x="22" y="26"/>
                  </a:lnTo>
                  <a:lnTo>
                    <a:pt x="12" y="24"/>
                  </a:lnTo>
                  <a:lnTo>
                    <a:pt x="2" y="22"/>
                  </a:lnTo>
                  <a:lnTo>
                    <a:pt x="2" y="18"/>
                  </a:lnTo>
                  <a:lnTo>
                    <a:pt x="0" y="10"/>
                  </a:lnTo>
                  <a:lnTo>
                    <a:pt x="2" y="4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72" name="Qatar">
              <a:extLst>
                <a:ext uri="{FF2B5EF4-FFF2-40B4-BE49-F238E27FC236}">
                  <a16:creationId xmlns="" xmlns:a16="http://schemas.microsoft.com/office/drawing/2014/main" id="{700773FB-2562-4E72-A908-9BA2F9463169}"/>
                </a:ext>
              </a:extLst>
            </p:cNvPr>
            <p:cNvSpPr>
              <a:spLocks/>
            </p:cNvSpPr>
            <p:nvPr/>
          </p:nvSpPr>
          <p:spPr bwMode="gray">
            <a:xfrm>
              <a:off x="7376487" y="3693464"/>
              <a:ext cx="21474" cy="53097"/>
            </a:xfrm>
            <a:custGeom>
              <a:avLst/>
              <a:gdLst/>
              <a:ahLst/>
              <a:cxnLst>
                <a:cxn ang="0">
                  <a:pos x="28" y="54"/>
                </a:cxn>
                <a:cxn ang="0">
                  <a:pos x="20" y="64"/>
                </a:cxn>
                <a:cxn ang="0">
                  <a:pos x="4" y="56"/>
                </a:cxn>
                <a:cxn ang="0">
                  <a:pos x="0" y="40"/>
                </a:cxn>
                <a:cxn ang="0">
                  <a:pos x="0" y="26"/>
                </a:cxn>
                <a:cxn ang="0">
                  <a:pos x="6" y="18"/>
                </a:cxn>
                <a:cxn ang="0">
                  <a:pos x="6" y="8"/>
                </a:cxn>
                <a:cxn ang="0">
                  <a:pos x="12" y="0"/>
                </a:cxn>
                <a:cxn ang="0">
                  <a:pos x="24" y="12"/>
                </a:cxn>
                <a:cxn ang="0">
                  <a:pos x="22" y="36"/>
                </a:cxn>
                <a:cxn ang="0">
                  <a:pos x="24" y="40"/>
                </a:cxn>
                <a:cxn ang="0">
                  <a:pos x="28" y="46"/>
                </a:cxn>
                <a:cxn ang="0">
                  <a:pos x="28" y="54"/>
                </a:cxn>
              </a:cxnLst>
              <a:rect l="0" t="0" r="r" b="b"/>
              <a:pathLst>
                <a:path w="28" h="64">
                  <a:moveTo>
                    <a:pt x="28" y="54"/>
                  </a:moveTo>
                  <a:lnTo>
                    <a:pt x="20" y="64"/>
                  </a:lnTo>
                  <a:lnTo>
                    <a:pt x="4" y="56"/>
                  </a:lnTo>
                  <a:lnTo>
                    <a:pt x="0" y="40"/>
                  </a:lnTo>
                  <a:lnTo>
                    <a:pt x="0" y="26"/>
                  </a:lnTo>
                  <a:lnTo>
                    <a:pt x="6" y="18"/>
                  </a:lnTo>
                  <a:lnTo>
                    <a:pt x="6" y="8"/>
                  </a:lnTo>
                  <a:lnTo>
                    <a:pt x="12" y="0"/>
                  </a:lnTo>
                  <a:lnTo>
                    <a:pt x="24" y="12"/>
                  </a:lnTo>
                  <a:lnTo>
                    <a:pt x="22" y="36"/>
                  </a:lnTo>
                  <a:lnTo>
                    <a:pt x="24" y="40"/>
                  </a:lnTo>
                  <a:lnTo>
                    <a:pt x="28" y="46"/>
                  </a:lnTo>
                  <a:lnTo>
                    <a:pt x="28" y="54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73" name="Romania">
              <a:extLst>
                <a:ext uri="{FF2B5EF4-FFF2-40B4-BE49-F238E27FC236}">
                  <a16:creationId xmlns="" xmlns:a16="http://schemas.microsoft.com/office/drawing/2014/main" id="{B927BE0C-0384-4812-84AC-E82217E1ED0D}"/>
                </a:ext>
              </a:extLst>
            </p:cNvPr>
            <p:cNvSpPr>
              <a:spLocks/>
            </p:cNvSpPr>
            <p:nvPr/>
          </p:nvSpPr>
          <p:spPr bwMode="gray">
            <a:xfrm>
              <a:off x="6437430" y="2800647"/>
              <a:ext cx="277228" cy="220255"/>
            </a:xfrm>
            <a:custGeom>
              <a:avLst/>
              <a:gdLst/>
              <a:ahLst/>
              <a:cxnLst>
                <a:cxn ang="0">
                  <a:pos x="74" y="228"/>
                </a:cxn>
                <a:cxn ang="0">
                  <a:pos x="66" y="216"/>
                </a:cxn>
                <a:cxn ang="0">
                  <a:pos x="38" y="202"/>
                </a:cxn>
                <a:cxn ang="0">
                  <a:pos x="30" y="186"/>
                </a:cxn>
                <a:cxn ang="0">
                  <a:pos x="26" y="172"/>
                </a:cxn>
                <a:cxn ang="0">
                  <a:pos x="12" y="164"/>
                </a:cxn>
                <a:cxn ang="0">
                  <a:pos x="10" y="140"/>
                </a:cxn>
                <a:cxn ang="0">
                  <a:pos x="0" y="120"/>
                </a:cxn>
                <a:cxn ang="0">
                  <a:pos x="20" y="112"/>
                </a:cxn>
                <a:cxn ang="0">
                  <a:pos x="38" y="86"/>
                </a:cxn>
                <a:cxn ang="0">
                  <a:pos x="52" y="48"/>
                </a:cxn>
                <a:cxn ang="0">
                  <a:pos x="66" y="34"/>
                </a:cxn>
                <a:cxn ang="0">
                  <a:pos x="82" y="32"/>
                </a:cxn>
                <a:cxn ang="0">
                  <a:pos x="86" y="16"/>
                </a:cxn>
                <a:cxn ang="0">
                  <a:pos x="100" y="10"/>
                </a:cxn>
                <a:cxn ang="0">
                  <a:pos x="138" y="24"/>
                </a:cxn>
                <a:cxn ang="0">
                  <a:pos x="154" y="20"/>
                </a:cxn>
                <a:cxn ang="0">
                  <a:pos x="172" y="26"/>
                </a:cxn>
                <a:cxn ang="0">
                  <a:pos x="206" y="12"/>
                </a:cxn>
                <a:cxn ang="0">
                  <a:pos x="220" y="0"/>
                </a:cxn>
                <a:cxn ang="0">
                  <a:pos x="238" y="12"/>
                </a:cxn>
                <a:cxn ang="0">
                  <a:pos x="254" y="34"/>
                </a:cxn>
                <a:cxn ang="0">
                  <a:pos x="266" y="62"/>
                </a:cxn>
                <a:cxn ang="0">
                  <a:pos x="278" y="80"/>
                </a:cxn>
                <a:cxn ang="0">
                  <a:pos x="284" y="108"/>
                </a:cxn>
                <a:cxn ang="0">
                  <a:pos x="286" y="122"/>
                </a:cxn>
                <a:cxn ang="0">
                  <a:pos x="282" y="144"/>
                </a:cxn>
                <a:cxn ang="0">
                  <a:pos x="286" y="162"/>
                </a:cxn>
                <a:cxn ang="0">
                  <a:pos x="290" y="178"/>
                </a:cxn>
                <a:cxn ang="0">
                  <a:pos x="312" y="178"/>
                </a:cxn>
                <a:cxn ang="0">
                  <a:pos x="332" y="174"/>
                </a:cxn>
                <a:cxn ang="0">
                  <a:pos x="342" y="182"/>
                </a:cxn>
                <a:cxn ang="0">
                  <a:pos x="334" y="198"/>
                </a:cxn>
                <a:cxn ang="0">
                  <a:pos x="316" y="198"/>
                </a:cxn>
                <a:cxn ang="0">
                  <a:pos x="308" y="222"/>
                </a:cxn>
                <a:cxn ang="0">
                  <a:pos x="302" y="238"/>
                </a:cxn>
                <a:cxn ang="0">
                  <a:pos x="302" y="254"/>
                </a:cxn>
                <a:cxn ang="0">
                  <a:pos x="280" y="248"/>
                </a:cxn>
                <a:cxn ang="0">
                  <a:pos x="268" y="232"/>
                </a:cxn>
                <a:cxn ang="0">
                  <a:pos x="256" y="238"/>
                </a:cxn>
                <a:cxn ang="0">
                  <a:pos x="244" y="244"/>
                </a:cxn>
                <a:cxn ang="0">
                  <a:pos x="228" y="244"/>
                </a:cxn>
                <a:cxn ang="0">
                  <a:pos x="212" y="256"/>
                </a:cxn>
                <a:cxn ang="0">
                  <a:pos x="176" y="270"/>
                </a:cxn>
                <a:cxn ang="0">
                  <a:pos x="142" y="264"/>
                </a:cxn>
                <a:cxn ang="0">
                  <a:pos x="124" y="256"/>
                </a:cxn>
                <a:cxn ang="0">
                  <a:pos x="92" y="250"/>
                </a:cxn>
                <a:cxn ang="0">
                  <a:pos x="90" y="232"/>
                </a:cxn>
                <a:cxn ang="0">
                  <a:pos x="74" y="228"/>
                </a:cxn>
              </a:cxnLst>
              <a:rect l="0" t="0" r="r" b="b"/>
              <a:pathLst>
                <a:path w="342" h="270">
                  <a:moveTo>
                    <a:pt x="74" y="228"/>
                  </a:moveTo>
                  <a:lnTo>
                    <a:pt x="66" y="216"/>
                  </a:lnTo>
                  <a:lnTo>
                    <a:pt x="38" y="202"/>
                  </a:lnTo>
                  <a:lnTo>
                    <a:pt x="30" y="186"/>
                  </a:lnTo>
                  <a:lnTo>
                    <a:pt x="26" y="172"/>
                  </a:lnTo>
                  <a:lnTo>
                    <a:pt x="12" y="164"/>
                  </a:lnTo>
                  <a:lnTo>
                    <a:pt x="10" y="140"/>
                  </a:lnTo>
                  <a:lnTo>
                    <a:pt x="0" y="120"/>
                  </a:lnTo>
                  <a:lnTo>
                    <a:pt x="20" y="112"/>
                  </a:lnTo>
                  <a:lnTo>
                    <a:pt x="38" y="86"/>
                  </a:lnTo>
                  <a:lnTo>
                    <a:pt x="52" y="48"/>
                  </a:lnTo>
                  <a:lnTo>
                    <a:pt x="66" y="34"/>
                  </a:lnTo>
                  <a:lnTo>
                    <a:pt x="82" y="32"/>
                  </a:lnTo>
                  <a:lnTo>
                    <a:pt x="86" y="16"/>
                  </a:lnTo>
                  <a:lnTo>
                    <a:pt x="100" y="10"/>
                  </a:lnTo>
                  <a:lnTo>
                    <a:pt x="138" y="24"/>
                  </a:lnTo>
                  <a:lnTo>
                    <a:pt x="154" y="20"/>
                  </a:lnTo>
                  <a:lnTo>
                    <a:pt x="172" y="26"/>
                  </a:lnTo>
                  <a:lnTo>
                    <a:pt x="206" y="12"/>
                  </a:lnTo>
                  <a:lnTo>
                    <a:pt x="220" y="0"/>
                  </a:lnTo>
                  <a:lnTo>
                    <a:pt x="238" y="12"/>
                  </a:lnTo>
                  <a:lnTo>
                    <a:pt x="254" y="34"/>
                  </a:lnTo>
                  <a:lnTo>
                    <a:pt x="266" y="62"/>
                  </a:lnTo>
                  <a:lnTo>
                    <a:pt x="278" y="80"/>
                  </a:lnTo>
                  <a:lnTo>
                    <a:pt x="284" y="108"/>
                  </a:lnTo>
                  <a:lnTo>
                    <a:pt x="286" y="122"/>
                  </a:lnTo>
                  <a:lnTo>
                    <a:pt x="282" y="144"/>
                  </a:lnTo>
                  <a:lnTo>
                    <a:pt x="286" y="162"/>
                  </a:lnTo>
                  <a:lnTo>
                    <a:pt x="290" y="178"/>
                  </a:lnTo>
                  <a:lnTo>
                    <a:pt x="312" y="178"/>
                  </a:lnTo>
                  <a:lnTo>
                    <a:pt x="332" y="174"/>
                  </a:lnTo>
                  <a:lnTo>
                    <a:pt x="342" y="182"/>
                  </a:lnTo>
                  <a:lnTo>
                    <a:pt x="334" y="198"/>
                  </a:lnTo>
                  <a:lnTo>
                    <a:pt x="316" y="198"/>
                  </a:lnTo>
                  <a:lnTo>
                    <a:pt x="308" y="222"/>
                  </a:lnTo>
                  <a:lnTo>
                    <a:pt x="302" y="238"/>
                  </a:lnTo>
                  <a:lnTo>
                    <a:pt x="302" y="254"/>
                  </a:lnTo>
                  <a:lnTo>
                    <a:pt x="280" y="248"/>
                  </a:lnTo>
                  <a:lnTo>
                    <a:pt x="268" y="232"/>
                  </a:lnTo>
                  <a:lnTo>
                    <a:pt x="256" y="238"/>
                  </a:lnTo>
                  <a:lnTo>
                    <a:pt x="244" y="244"/>
                  </a:lnTo>
                  <a:lnTo>
                    <a:pt x="228" y="244"/>
                  </a:lnTo>
                  <a:lnTo>
                    <a:pt x="212" y="256"/>
                  </a:lnTo>
                  <a:lnTo>
                    <a:pt x="176" y="270"/>
                  </a:lnTo>
                  <a:lnTo>
                    <a:pt x="142" y="264"/>
                  </a:lnTo>
                  <a:lnTo>
                    <a:pt x="124" y="256"/>
                  </a:lnTo>
                  <a:lnTo>
                    <a:pt x="92" y="250"/>
                  </a:lnTo>
                  <a:lnTo>
                    <a:pt x="90" y="232"/>
                  </a:lnTo>
                  <a:lnTo>
                    <a:pt x="74" y="228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74" name="Rwanda">
              <a:extLst>
                <a:ext uri="{FF2B5EF4-FFF2-40B4-BE49-F238E27FC236}">
                  <a16:creationId xmlns="" xmlns:a16="http://schemas.microsoft.com/office/drawing/2014/main" id="{16625C9F-C5BE-4EB4-9ECC-967B37CD58D4}"/>
                </a:ext>
              </a:extLst>
            </p:cNvPr>
            <p:cNvSpPr>
              <a:spLocks/>
            </p:cNvSpPr>
            <p:nvPr/>
          </p:nvSpPr>
          <p:spPr bwMode="gray">
            <a:xfrm>
              <a:off x="6710751" y="4602015"/>
              <a:ext cx="52712" cy="55064"/>
            </a:xfrm>
            <a:custGeom>
              <a:avLst/>
              <a:gdLst/>
              <a:ahLst/>
              <a:cxnLst>
                <a:cxn ang="0">
                  <a:pos x="64" y="34"/>
                </a:cxn>
                <a:cxn ang="0">
                  <a:pos x="56" y="54"/>
                </a:cxn>
                <a:cxn ang="0">
                  <a:pos x="34" y="58"/>
                </a:cxn>
                <a:cxn ang="0">
                  <a:pos x="14" y="68"/>
                </a:cxn>
                <a:cxn ang="0">
                  <a:pos x="0" y="48"/>
                </a:cxn>
                <a:cxn ang="0">
                  <a:pos x="8" y="36"/>
                </a:cxn>
                <a:cxn ang="0">
                  <a:pos x="10" y="16"/>
                </a:cxn>
                <a:cxn ang="0">
                  <a:pos x="28" y="4"/>
                </a:cxn>
                <a:cxn ang="0">
                  <a:pos x="40" y="8"/>
                </a:cxn>
                <a:cxn ang="0">
                  <a:pos x="50" y="0"/>
                </a:cxn>
                <a:cxn ang="0">
                  <a:pos x="62" y="22"/>
                </a:cxn>
                <a:cxn ang="0">
                  <a:pos x="64" y="34"/>
                </a:cxn>
              </a:cxnLst>
              <a:rect l="0" t="0" r="r" b="b"/>
              <a:pathLst>
                <a:path w="64" h="68">
                  <a:moveTo>
                    <a:pt x="64" y="34"/>
                  </a:moveTo>
                  <a:lnTo>
                    <a:pt x="56" y="54"/>
                  </a:lnTo>
                  <a:lnTo>
                    <a:pt x="34" y="58"/>
                  </a:lnTo>
                  <a:lnTo>
                    <a:pt x="14" y="68"/>
                  </a:lnTo>
                  <a:lnTo>
                    <a:pt x="0" y="48"/>
                  </a:lnTo>
                  <a:lnTo>
                    <a:pt x="8" y="36"/>
                  </a:lnTo>
                  <a:lnTo>
                    <a:pt x="10" y="16"/>
                  </a:lnTo>
                  <a:lnTo>
                    <a:pt x="28" y="4"/>
                  </a:lnTo>
                  <a:lnTo>
                    <a:pt x="40" y="8"/>
                  </a:lnTo>
                  <a:lnTo>
                    <a:pt x="50" y="0"/>
                  </a:lnTo>
                  <a:lnTo>
                    <a:pt x="62" y="22"/>
                  </a:lnTo>
                  <a:lnTo>
                    <a:pt x="64" y="34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75" name="San Marino">
              <a:extLst>
                <a:ext uri="{FF2B5EF4-FFF2-40B4-BE49-F238E27FC236}">
                  <a16:creationId xmlns="" xmlns:a16="http://schemas.microsoft.com/office/drawing/2014/main" id="{3A6AC99F-0E90-4334-969E-74B236EFB72A}"/>
                </a:ext>
              </a:extLst>
            </p:cNvPr>
            <p:cNvSpPr>
              <a:spLocks/>
            </p:cNvSpPr>
            <p:nvPr/>
          </p:nvSpPr>
          <p:spPr bwMode="gray">
            <a:xfrm>
              <a:off x="6173867" y="2999268"/>
              <a:ext cx="13667" cy="15732"/>
            </a:xfrm>
            <a:custGeom>
              <a:avLst/>
              <a:gdLst/>
              <a:ahLst/>
              <a:cxnLst>
                <a:cxn ang="0">
                  <a:pos x="188" y="94"/>
                </a:cxn>
                <a:cxn ang="0">
                  <a:pos x="94" y="188"/>
                </a:cxn>
                <a:cxn ang="0">
                  <a:pos x="0" y="94"/>
                </a:cxn>
                <a:cxn ang="0">
                  <a:pos x="0" y="90"/>
                </a:cxn>
                <a:cxn ang="0">
                  <a:pos x="94" y="0"/>
                </a:cxn>
                <a:cxn ang="0">
                  <a:pos x="188" y="94"/>
                </a:cxn>
              </a:cxnLst>
              <a:rect l="0" t="0" r="r" b="b"/>
              <a:pathLst>
                <a:path w="188" h="188">
                  <a:moveTo>
                    <a:pt x="188" y="94"/>
                  </a:moveTo>
                  <a:cubicBezTo>
                    <a:pt x="188" y="146"/>
                    <a:pt x="146" y="188"/>
                    <a:pt x="94" y="188"/>
                  </a:cubicBezTo>
                  <a:cubicBezTo>
                    <a:pt x="42" y="188"/>
                    <a:pt x="0" y="146"/>
                    <a:pt x="0" y="94"/>
                  </a:cubicBezTo>
                  <a:cubicBezTo>
                    <a:pt x="0" y="93"/>
                    <a:pt x="0" y="91"/>
                    <a:pt x="0" y="90"/>
                  </a:cubicBezTo>
                  <a:cubicBezTo>
                    <a:pt x="3" y="40"/>
                    <a:pt x="44" y="0"/>
                    <a:pt x="94" y="0"/>
                  </a:cubicBezTo>
                  <a:cubicBezTo>
                    <a:pt x="146" y="0"/>
                    <a:pt x="188" y="43"/>
                    <a:pt x="188" y="94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76" name="Saudi Arabia">
              <a:extLst>
                <a:ext uri="{FF2B5EF4-FFF2-40B4-BE49-F238E27FC236}">
                  <a16:creationId xmlns="" xmlns:a16="http://schemas.microsoft.com/office/drawing/2014/main" id="{03D87748-9EC4-4835-8A05-965379021C88}"/>
                </a:ext>
              </a:extLst>
            </p:cNvPr>
            <p:cNvSpPr>
              <a:spLocks/>
            </p:cNvSpPr>
            <p:nvPr/>
          </p:nvSpPr>
          <p:spPr bwMode="gray">
            <a:xfrm>
              <a:off x="6866936" y="3475176"/>
              <a:ext cx="640356" cy="574236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28" y="196"/>
                </a:cxn>
                <a:cxn ang="0">
                  <a:pos x="62" y="254"/>
                </a:cxn>
                <a:cxn ang="0">
                  <a:pos x="104" y="348"/>
                </a:cxn>
                <a:cxn ang="0">
                  <a:pos x="156" y="388"/>
                </a:cxn>
                <a:cxn ang="0">
                  <a:pos x="164" y="450"/>
                </a:cxn>
                <a:cxn ang="0">
                  <a:pos x="180" y="486"/>
                </a:cxn>
                <a:cxn ang="0">
                  <a:pos x="234" y="538"/>
                </a:cxn>
                <a:cxn ang="0">
                  <a:pos x="246" y="554"/>
                </a:cxn>
                <a:cxn ang="0">
                  <a:pos x="276" y="602"/>
                </a:cxn>
                <a:cxn ang="0">
                  <a:pos x="306" y="648"/>
                </a:cxn>
                <a:cxn ang="0">
                  <a:pos x="322" y="682"/>
                </a:cxn>
                <a:cxn ang="0">
                  <a:pos x="336" y="648"/>
                </a:cxn>
                <a:cxn ang="0">
                  <a:pos x="368" y="656"/>
                </a:cxn>
                <a:cxn ang="0">
                  <a:pos x="428" y="678"/>
                </a:cxn>
                <a:cxn ang="0">
                  <a:pos x="566" y="626"/>
                </a:cxn>
                <a:cxn ang="0">
                  <a:pos x="776" y="554"/>
                </a:cxn>
                <a:cxn ang="0">
                  <a:pos x="784" y="436"/>
                </a:cxn>
                <a:cxn ang="0">
                  <a:pos x="644" y="390"/>
                </a:cxn>
                <a:cxn ang="0">
                  <a:pos x="626" y="352"/>
                </a:cxn>
                <a:cxn ang="0">
                  <a:pos x="630" y="324"/>
                </a:cxn>
                <a:cxn ang="0">
                  <a:pos x="602" y="290"/>
                </a:cxn>
                <a:cxn ang="0">
                  <a:pos x="572" y="228"/>
                </a:cxn>
                <a:cxn ang="0">
                  <a:pos x="550" y="196"/>
                </a:cxn>
                <a:cxn ang="0">
                  <a:pos x="508" y="190"/>
                </a:cxn>
                <a:cxn ang="0">
                  <a:pos x="466" y="166"/>
                </a:cxn>
                <a:cxn ang="0">
                  <a:pos x="404" y="158"/>
                </a:cxn>
                <a:cxn ang="0">
                  <a:pos x="360" y="144"/>
                </a:cxn>
                <a:cxn ang="0">
                  <a:pos x="354" y="118"/>
                </a:cxn>
                <a:cxn ang="0">
                  <a:pos x="330" y="100"/>
                </a:cxn>
                <a:cxn ang="0">
                  <a:pos x="228" y="18"/>
                </a:cxn>
                <a:cxn ang="0">
                  <a:pos x="204" y="8"/>
                </a:cxn>
                <a:cxn ang="0">
                  <a:pos x="180" y="0"/>
                </a:cxn>
                <a:cxn ang="0">
                  <a:pos x="94" y="38"/>
                </a:cxn>
                <a:cxn ang="0">
                  <a:pos x="118" y="94"/>
                </a:cxn>
                <a:cxn ang="0">
                  <a:pos x="84" y="116"/>
                </a:cxn>
                <a:cxn ang="0">
                  <a:pos x="58" y="146"/>
                </a:cxn>
                <a:cxn ang="0">
                  <a:pos x="10" y="168"/>
                </a:cxn>
              </a:cxnLst>
              <a:rect l="0" t="0" r="r" b="b"/>
              <a:pathLst>
                <a:path w="788" h="702">
                  <a:moveTo>
                    <a:pt x="10" y="168"/>
                  </a:moveTo>
                  <a:lnTo>
                    <a:pt x="0" y="190"/>
                  </a:lnTo>
                  <a:lnTo>
                    <a:pt x="20" y="190"/>
                  </a:lnTo>
                  <a:lnTo>
                    <a:pt x="28" y="196"/>
                  </a:lnTo>
                  <a:lnTo>
                    <a:pt x="34" y="216"/>
                  </a:lnTo>
                  <a:lnTo>
                    <a:pt x="62" y="254"/>
                  </a:lnTo>
                  <a:lnTo>
                    <a:pt x="102" y="322"/>
                  </a:lnTo>
                  <a:lnTo>
                    <a:pt x="104" y="348"/>
                  </a:lnTo>
                  <a:lnTo>
                    <a:pt x="126" y="360"/>
                  </a:lnTo>
                  <a:lnTo>
                    <a:pt x="156" y="388"/>
                  </a:lnTo>
                  <a:lnTo>
                    <a:pt x="172" y="444"/>
                  </a:lnTo>
                  <a:lnTo>
                    <a:pt x="164" y="450"/>
                  </a:lnTo>
                  <a:lnTo>
                    <a:pt x="178" y="468"/>
                  </a:lnTo>
                  <a:lnTo>
                    <a:pt x="180" y="486"/>
                  </a:lnTo>
                  <a:lnTo>
                    <a:pt x="206" y="528"/>
                  </a:lnTo>
                  <a:lnTo>
                    <a:pt x="234" y="538"/>
                  </a:lnTo>
                  <a:lnTo>
                    <a:pt x="234" y="548"/>
                  </a:lnTo>
                  <a:lnTo>
                    <a:pt x="246" y="554"/>
                  </a:lnTo>
                  <a:lnTo>
                    <a:pt x="246" y="570"/>
                  </a:lnTo>
                  <a:lnTo>
                    <a:pt x="276" y="602"/>
                  </a:lnTo>
                  <a:lnTo>
                    <a:pt x="276" y="610"/>
                  </a:lnTo>
                  <a:lnTo>
                    <a:pt x="306" y="648"/>
                  </a:lnTo>
                  <a:lnTo>
                    <a:pt x="312" y="666"/>
                  </a:lnTo>
                  <a:lnTo>
                    <a:pt x="322" y="682"/>
                  </a:lnTo>
                  <a:lnTo>
                    <a:pt x="332" y="672"/>
                  </a:lnTo>
                  <a:lnTo>
                    <a:pt x="336" y="648"/>
                  </a:lnTo>
                  <a:lnTo>
                    <a:pt x="346" y="644"/>
                  </a:lnTo>
                  <a:lnTo>
                    <a:pt x="368" y="656"/>
                  </a:lnTo>
                  <a:lnTo>
                    <a:pt x="384" y="654"/>
                  </a:lnTo>
                  <a:lnTo>
                    <a:pt x="428" y="678"/>
                  </a:lnTo>
                  <a:lnTo>
                    <a:pt x="442" y="702"/>
                  </a:lnTo>
                  <a:lnTo>
                    <a:pt x="566" y="626"/>
                  </a:lnTo>
                  <a:lnTo>
                    <a:pt x="692" y="582"/>
                  </a:lnTo>
                  <a:lnTo>
                    <a:pt x="776" y="554"/>
                  </a:lnTo>
                  <a:lnTo>
                    <a:pt x="788" y="460"/>
                  </a:lnTo>
                  <a:lnTo>
                    <a:pt x="784" y="436"/>
                  </a:lnTo>
                  <a:lnTo>
                    <a:pt x="644" y="408"/>
                  </a:lnTo>
                  <a:lnTo>
                    <a:pt x="644" y="390"/>
                  </a:lnTo>
                  <a:lnTo>
                    <a:pt x="634" y="362"/>
                  </a:lnTo>
                  <a:lnTo>
                    <a:pt x="626" y="352"/>
                  </a:lnTo>
                  <a:lnTo>
                    <a:pt x="624" y="338"/>
                  </a:lnTo>
                  <a:lnTo>
                    <a:pt x="630" y="324"/>
                  </a:lnTo>
                  <a:lnTo>
                    <a:pt x="620" y="314"/>
                  </a:lnTo>
                  <a:lnTo>
                    <a:pt x="602" y="290"/>
                  </a:lnTo>
                  <a:lnTo>
                    <a:pt x="598" y="252"/>
                  </a:lnTo>
                  <a:lnTo>
                    <a:pt x="572" y="228"/>
                  </a:lnTo>
                  <a:lnTo>
                    <a:pt x="560" y="202"/>
                  </a:lnTo>
                  <a:lnTo>
                    <a:pt x="550" y="196"/>
                  </a:lnTo>
                  <a:lnTo>
                    <a:pt x="540" y="174"/>
                  </a:lnTo>
                  <a:lnTo>
                    <a:pt x="508" y="190"/>
                  </a:lnTo>
                  <a:lnTo>
                    <a:pt x="490" y="168"/>
                  </a:lnTo>
                  <a:lnTo>
                    <a:pt x="466" y="166"/>
                  </a:lnTo>
                  <a:lnTo>
                    <a:pt x="456" y="160"/>
                  </a:lnTo>
                  <a:lnTo>
                    <a:pt x="404" y="158"/>
                  </a:lnTo>
                  <a:lnTo>
                    <a:pt x="376" y="148"/>
                  </a:lnTo>
                  <a:lnTo>
                    <a:pt x="360" y="144"/>
                  </a:lnTo>
                  <a:lnTo>
                    <a:pt x="350" y="132"/>
                  </a:lnTo>
                  <a:lnTo>
                    <a:pt x="354" y="118"/>
                  </a:lnTo>
                  <a:lnTo>
                    <a:pt x="354" y="102"/>
                  </a:lnTo>
                  <a:lnTo>
                    <a:pt x="330" y="100"/>
                  </a:lnTo>
                  <a:lnTo>
                    <a:pt x="322" y="76"/>
                  </a:lnTo>
                  <a:lnTo>
                    <a:pt x="228" y="18"/>
                  </a:lnTo>
                  <a:lnTo>
                    <a:pt x="212" y="16"/>
                  </a:lnTo>
                  <a:lnTo>
                    <a:pt x="204" y="8"/>
                  </a:lnTo>
                  <a:lnTo>
                    <a:pt x="192" y="8"/>
                  </a:lnTo>
                  <a:lnTo>
                    <a:pt x="180" y="0"/>
                  </a:lnTo>
                  <a:lnTo>
                    <a:pt x="168" y="14"/>
                  </a:lnTo>
                  <a:lnTo>
                    <a:pt x="94" y="38"/>
                  </a:lnTo>
                  <a:lnTo>
                    <a:pt x="132" y="84"/>
                  </a:lnTo>
                  <a:lnTo>
                    <a:pt x="118" y="94"/>
                  </a:lnTo>
                  <a:lnTo>
                    <a:pt x="112" y="108"/>
                  </a:lnTo>
                  <a:lnTo>
                    <a:pt x="84" y="116"/>
                  </a:lnTo>
                  <a:lnTo>
                    <a:pt x="74" y="132"/>
                  </a:lnTo>
                  <a:lnTo>
                    <a:pt x="58" y="146"/>
                  </a:lnTo>
                  <a:lnTo>
                    <a:pt x="14" y="130"/>
                  </a:lnTo>
                  <a:lnTo>
                    <a:pt x="10" y="168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77" name="Senegal">
              <a:extLst>
                <a:ext uri="{FF2B5EF4-FFF2-40B4-BE49-F238E27FC236}">
                  <a16:creationId xmlns="" xmlns:a16="http://schemas.microsoft.com/office/drawing/2014/main" id="{9D02A1FC-1DBE-4D38-B122-A6C2A7D1774F}"/>
                </a:ext>
              </a:extLst>
            </p:cNvPr>
            <p:cNvSpPr>
              <a:spLocks/>
            </p:cNvSpPr>
            <p:nvPr/>
          </p:nvSpPr>
          <p:spPr bwMode="gray">
            <a:xfrm>
              <a:off x="5275808" y="4027780"/>
              <a:ext cx="171803" cy="139625"/>
            </a:xfrm>
            <a:custGeom>
              <a:avLst/>
              <a:gdLst/>
              <a:ahLst/>
              <a:cxnLst>
                <a:cxn ang="0">
                  <a:pos x="201" y="106"/>
                </a:cxn>
                <a:cxn ang="0">
                  <a:pos x="195" y="72"/>
                </a:cxn>
                <a:cxn ang="0">
                  <a:pos x="172" y="56"/>
                </a:cxn>
                <a:cxn ang="0">
                  <a:pos x="150" y="28"/>
                </a:cxn>
                <a:cxn ang="0">
                  <a:pos x="124" y="18"/>
                </a:cxn>
                <a:cxn ang="0">
                  <a:pos x="108" y="0"/>
                </a:cxn>
                <a:cxn ang="0">
                  <a:pos x="54" y="12"/>
                </a:cxn>
                <a:cxn ang="0">
                  <a:pos x="40" y="4"/>
                </a:cxn>
                <a:cxn ang="0">
                  <a:pos x="22" y="14"/>
                </a:cxn>
                <a:cxn ang="0">
                  <a:pos x="24" y="28"/>
                </a:cxn>
                <a:cxn ang="0">
                  <a:pos x="0" y="60"/>
                </a:cxn>
                <a:cxn ang="0">
                  <a:pos x="22" y="108"/>
                </a:cxn>
                <a:cxn ang="0">
                  <a:pos x="56" y="110"/>
                </a:cxn>
                <a:cxn ang="0">
                  <a:pos x="72" y="110"/>
                </a:cxn>
                <a:cxn ang="0">
                  <a:pos x="80" y="104"/>
                </a:cxn>
                <a:cxn ang="0">
                  <a:pos x="88" y="108"/>
                </a:cxn>
                <a:cxn ang="0">
                  <a:pos x="104" y="118"/>
                </a:cxn>
                <a:cxn ang="0">
                  <a:pos x="116" y="118"/>
                </a:cxn>
                <a:cxn ang="0">
                  <a:pos x="122" y="126"/>
                </a:cxn>
                <a:cxn ang="0">
                  <a:pos x="112" y="134"/>
                </a:cxn>
                <a:cxn ang="0">
                  <a:pos x="88" y="126"/>
                </a:cxn>
                <a:cxn ang="0">
                  <a:pos x="72" y="126"/>
                </a:cxn>
                <a:cxn ang="0">
                  <a:pos x="60" y="132"/>
                </a:cxn>
                <a:cxn ang="0">
                  <a:pos x="10" y="138"/>
                </a:cxn>
                <a:cxn ang="0">
                  <a:pos x="14" y="160"/>
                </a:cxn>
                <a:cxn ang="0">
                  <a:pos x="26" y="160"/>
                </a:cxn>
                <a:cxn ang="0">
                  <a:pos x="18" y="170"/>
                </a:cxn>
                <a:cxn ang="0">
                  <a:pos x="48" y="168"/>
                </a:cxn>
                <a:cxn ang="0">
                  <a:pos x="58" y="158"/>
                </a:cxn>
                <a:cxn ang="0">
                  <a:pos x="72" y="154"/>
                </a:cxn>
                <a:cxn ang="0">
                  <a:pos x="86" y="162"/>
                </a:cxn>
                <a:cxn ang="0">
                  <a:pos x="134" y="164"/>
                </a:cxn>
                <a:cxn ang="0">
                  <a:pos x="148" y="162"/>
                </a:cxn>
                <a:cxn ang="0">
                  <a:pos x="162" y="170"/>
                </a:cxn>
                <a:cxn ang="0">
                  <a:pos x="195" y="170"/>
                </a:cxn>
                <a:cxn ang="0">
                  <a:pos x="211" y="166"/>
                </a:cxn>
                <a:cxn ang="0">
                  <a:pos x="213" y="148"/>
                </a:cxn>
                <a:cxn ang="0">
                  <a:pos x="197" y="118"/>
                </a:cxn>
                <a:cxn ang="0">
                  <a:pos x="201" y="106"/>
                </a:cxn>
              </a:cxnLst>
              <a:rect l="0" t="0" r="r" b="b"/>
              <a:pathLst>
                <a:path w="213" h="170">
                  <a:moveTo>
                    <a:pt x="201" y="106"/>
                  </a:moveTo>
                  <a:lnTo>
                    <a:pt x="195" y="72"/>
                  </a:lnTo>
                  <a:lnTo>
                    <a:pt x="172" y="56"/>
                  </a:lnTo>
                  <a:lnTo>
                    <a:pt x="150" y="28"/>
                  </a:lnTo>
                  <a:lnTo>
                    <a:pt x="124" y="18"/>
                  </a:lnTo>
                  <a:lnTo>
                    <a:pt x="108" y="0"/>
                  </a:lnTo>
                  <a:lnTo>
                    <a:pt x="54" y="12"/>
                  </a:lnTo>
                  <a:lnTo>
                    <a:pt x="40" y="4"/>
                  </a:lnTo>
                  <a:lnTo>
                    <a:pt x="22" y="14"/>
                  </a:lnTo>
                  <a:lnTo>
                    <a:pt x="24" y="28"/>
                  </a:lnTo>
                  <a:lnTo>
                    <a:pt x="0" y="60"/>
                  </a:lnTo>
                  <a:lnTo>
                    <a:pt x="22" y="108"/>
                  </a:lnTo>
                  <a:lnTo>
                    <a:pt x="56" y="110"/>
                  </a:lnTo>
                  <a:lnTo>
                    <a:pt x="72" y="110"/>
                  </a:lnTo>
                  <a:lnTo>
                    <a:pt x="80" y="104"/>
                  </a:lnTo>
                  <a:lnTo>
                    <a:pt x="88" y="108"/>
                  </a:lnTo>
                  <a:lnTo>
                    <a:pt x="104" y="118"/>
                  </a:lnTo>
                  <a:lnTo>
                    <a:pt x="116" y="118"/>
                  </a:lnTo>
                  <a:lnTo>
                    <a:pt x="122" y="126"/>
                  </a:lnTo>
                  <a:lnTo>
                    <a:pt x="112" y="134"/>
                  </a:lnTo>
                  <a:lnTo>
                    <a:pt x="88" y="126"/>
                  </a:lnTo>
                  <a:lnTo>
                    <a:pt x="72" y="126"/>
                  </a:lnTo>
                  <a:lnTo>
                    <a:pt x="60" y="132"/>
                  </a:lnTo>
                  <a:lnTo>
                    <a:pt x="10" y="138"/>
                  </a:lnTo>
                  <a:lnTo>
                    <a:pt x="14" y="160"/>
                  </a:lnTo>
                  <a:lnTo>
                    <a:pt x="26" y="160"/>
                  </a:lnTo>
                  <a:lnTo>
                    <a:pt x="18" y="170"/>
                  </a:lnTo>
                  <a:lnTo>
                    <a:pt x="48" y="168"/>
                  </a:lnTo>
                  <a:lnTo>
                    <a:pt x="58" y="158"/>
                  </a:lnTo>
                  <a:lnTo>
                    <a:pt x="72" y="154"/>
                  </a:lnTo>
                  <a:lnTo>
                    <a:pt x="86" y="162"/>
                  </a:lnTo>
                  <a:lnTo>
                    <a:pt x="134" y="164"/>
                  </a:lnTo>
                  <a:lnTo>
                    <a:pt x="148" y="162"/>
                  </a:lnTo>
                  <a:lnTo>
                    <a:pt x="162" y="170"/>
                  </a:lnTo>
                  <a:lnTo>
                    <a:pt x="195" y="170"/>
                  </a:lnTo>
                  <a:lnTo>
                    <a:pt x="211" y="166"/>
                  </a:lnTo>
                  <a:lnTo>
                    <a:pt x="213" y="148"/>
                  </a:lnTo>
                  <a:lnTo>
                    <a:pt x="197" y="118"/>
                  </a:lnTo>
                  <a:lnTo>
                    <a:pt x="201" y="106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78" name="Serbia">
              <a:extLst>
                <a:ext uri="{FF2B5EF4-FFF2-40B4-BE49-F238E27FC236}">
                  <a16:creationId xmlns="" xmlns:a16="http://schemas.microsoft.com/office/drawing/2014/main" id="{3EFBD7A4-C3F2-4DA0-AD10-5FBCEAFF3A51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376907" y="2898976"/>
              <a:ext cx="132756" cy="196656"/>
            </a:xfrm>
            <a:custGeom>
              <a:avLst/>
              <a:gdLst/>
              <a:ahLst/>
              <a:cxnLst>
                <a:cxn ang="0">
                  <a:pos x="638" y="2433"/>
                </a:cxn>
                <a:cxn ang="0">
                  <a:pos x="780" y="2456"/>
                </a:cxn>
                <a:cxn ang="0">
                  <a:pos x="851" y="2858"/>
                </a:cxn>
                <a:cxn ang="0">
                  <a:pos x="969" y="2645"/>
                </a:cxn>
                <a:cxn ang="0">
                  <a:pos x="1134" y="2551"/>
                </a:cxn>
                <a:cxn ang="0">
                  <a:pos x="1368" y="2433"/>
                </a:cxn>
                <a:cxn ang="0">
                  <a:pos x="1581" y="2480"/>
                </a:cxn>
                <a:cxn ang="0">
                  <a:pos x="1722" y="2433"/>
                </a:cxn>
                <a:cxn ang="0">
                  <a:pos x="1699" y="2291"/>
                </a:cxn>
                <a:cxn ang="0">
                  <a:pos x="1722" y="2173"/>
                </a:cxn>
                <a:cxn ang="0">
                  <a:pos x="1841" y="2173"/>
                </a:cxn>
                <a:cxn ang="0">
                  <a:pos x="1959" y="2008"/>
                </a:cxn>
                <a:cxn ang="0">
                  <a:pos x="1841" y="1866"/>
                </a:cxn>
                <a:cxn ang="0">
                  <a:pos x="1722" y="1701"/>
                </a:cxn>
                <a:cxn ang="0">
                  <a:pos x="1604" y="1512"/>
                </a:cxn>
                <a:cxn ang="0">
                  <a:pos x="1675" y="1441"/>
                </a:cxn>
                <a:cxn ang="0">
                  <a:pos x="1722" y="1275"/>
                </a:cxn>
                <a:cxn ang="0">
                  <a:pos x="1628" y="1134"/>
                </a:cxn>
                <a:cxn ang="0">
                  <a:pos x="1297" y="968"/>
                </a:cxn>
                <a:cxn ang="0">
                  <a:pos x="1205" y="779"/>
                </a:cxn>
                <a:cxn ang="0">
                  <a:pos x="1158" y="614"/>
                </a:cxn>
                <a:cxn ang="0">
                  <a:pos x="992" y="519"/>
                </a:cxn>
                <a:cxn ang="0">
                  <a:pos x="969" y="236"/>
                </a:cxn>
                <a:cxn ang="0">
                  <a:pos x="851" y="0"/>
                </a:cxn>
                <a:cxn ang="0">
                  <a:pos x="662" y="47"/>
                </a:cxn>
                <a:cxn ang="0">
                  <a:pos x="426" y="0"/>
                </a:cxn>
                <a:cxn ang="0">
                  <a:pos x="0" y="260"/>
                </a:cxn>
                <a:cxn ang="0">
                  <a:pos x="95" y="472"/>
                </a:cxn>
                <a:cxn ang="0">
                  <a:pos x="284" y="590"/>
                </a:cxn>
                <a:cxn ang="0">
                  <a:pos x="142" y="826"/>
                </a:cxn>
                <a:cxn ang="0">
                  <a:pos x="237" y="874"/>
                </a:cxn>
                <a:cxn ang="0">
                  <a:pos x="166" y="1134"/>
                </a:cxn>
                <a:cxn ang="0">
                  <a:pos x="213" y="1275"/>
                </a:cxn>
                <a:cxn ang="0">
                  <a:pos x="331" y="1370"/>
                </a:cxn>
                <a:cxn ang="0">
                  <a:pos x="213" y="1488"/>
                </a:cxn>
                <a:cxn ang="0">
                  <a:pos x="307" y="1724"/>
                </a:cxn>
                <a:cxn ang="0">
                  <a:pos x="574" y="1970"/>
                </a:cxn>
                <a:cxn ang="0">
                  <a:pos x="818" y="2119"/>
                </a:cxn>
                <a:cxn ang="0">
                  <a:pos x="690" y="2244"/>
                </a:cxn>
                <a:cxn ang="0">
                  <a:pos x="638" y="2433"/>
                </a:cxn>
              </a:cxnLst>
              <a:rect l="0" t="0" r="r" b="b"/>
              <a:pathLst>
                <a:path w="1959" h="2858">
                  <a:moveTo>
                    <a:pt x="638" y="2433"/>
                  </a:moveTo>
                  <a:lnTo>
                    <a:pt x="780" y="2456"/>
                  </a:lnTo>
                  <a:lnTo>
                    <a:pt x="851" y="2858"/>
                  </a:lnTo>
                  <a:lnTo>
                    <a:pt x="969" y="2645"/>
                  </a:lnTo>
                  <a:lnTo>
                    <a:pt x="1134" y="2551"/>
                  </a:lnTo>
                  <a:lnTo>
                    <a:pt x="1368" y="2433"/>
                  </a:lnTo>
                  <a:lnTo>
                    <a:pt x="1581" y="2480"/>
                  </a:lnTo>
                  <a:lnTo>
                    <a:pt x="1722" y="2433"/>
                  </a:lnTo>
                  <a:lnTo>
                    <a:pt x="1699" y="2291"/>
                  </a:lnTo>
                  <a:lnTo>
                    <a:pt x="1722" y="2173"/>
                  </a:lnTo>
                  <a:lnTo>
                    <a:pt x="1841" y="2173"/>
                  </a:lnTo>
                  <a:lnTo>
                    <a:pt x="1959" y="2008"/>
                  </a:lnTo>
                  <a:lnTo>
                    <a:pt x="1841" y="1866"/>
                  </a:lnTo>
                  <a:lnTo>
                    <a:pt x="1722" y="1701"/>
                  </a:lnTo>
                  <a:lnTo>
                    <a:pt x="1604" y="1512"/>
                  </a:lnTo>
                  <a:lnTo>
                    <a:pt x="1675" y="1441"/>
                  </a:lnTo>
                  <a:lnTo>
                    <a:pt x="1722" y="1275"/>
                  </a:lnTo>
                  <a:lnTo>
                    <a:pt x="1628" y="1134"/>
                  </a:lnTo>
                  <a:lnTo>
                    <a:pt x="1297" y="968"/>
                  </a:lnTo>
                  <a:lnTo>
                    <a:pt x="1205" y="779"/>
                  </a:lnTo>
                  <a:lnTo>
                    <a:pt x="1158" y="614"/>
                  </a:lnTo>
                  <a:lnTo>
                    <a:pt x="992" y="519"/>
                  </a:lnTo>
                  <a:lnTo>
                    <a:pt x="969" y="236"/>
                  </a:lnTo>
                  <a:lnTo>
                    <a:pt x="851" y="0"/>
                  </a:lnTo>
                  <a:lnTo>
                    <a:pt x="662" y="47"/>
                  </a:lnTo>
                  <a:lnTo>
                    <a:pt x="426" y="0"/>
                  </a:lnTo>
                  <a:lnTo>
                    <a:pt x="0" y="260"/>
                  </a:lnTo>
                  <a:lnTo>
                    <a:pt x="95" y="472"/>
                  </a:lnTo>
                  <a:lnTo>
                    <a:pt x="284" y="590"/>
                  </a:lnTo>
                  <a:lnTo>
                    <a:pt x="142" y="826"/>
                  </a:lnTo>
                  <a:lnTo>
                    <a:pt x="237" y="874"/>
                  </a:lnTo>
                  <a:lnTo>
                    <a:pt x="166" y="1134"/>
                  </a:lnTo>
                  <a:lnTo>
                    <a:pt x="213" y="1275"/>
                  </a:lnTo>
                  <a:lnTo>
                    <a:pt x="331" y="1370"/>
                  </a:lnTo>
                  <a:lnTo>
                    <a:pt x="213" y="1488"/>
                  </a:lnTo>
                  <a:lnTo>
                    <a:pt x="307" y="1724"/>
                  </a:lnTo>
                  <a:lnTo>
                    <a:pt x="574" y="1970"/>
                  </a:lnTo>
                  <a:lnTo>
                    <a:pt x="818" y="2119"/>
                  </a:lnTo>
                  <a:lnTo>
                    <a:pt x="690" y="2244"/>
                  </a:lnTo>
                  <a:lnTo>
                    <a:pt x="638" y="2433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79" name="Sierra Leone">
              <a:extLst>
                <a:ext uri="{FF2B5EF4-FFF2-40B4-BE49-F238E27FC236}">
                  <a16:creationId xmlns="" xmlns:a16="http://schemas.microsoft.com/office/drawing/2014/main" id="{8E68B010-ED07-4077-8046-D2114BE6E136}"/>
                </a:ext>
              </a:extLst>
            </p:cNvPr>
            <p:cNvSpPr>
              <a:spLocks/>
            </p:cNvSpPr>
            <p:nvPr/>
          </p:nvSpPr>
          <p:spPr bwMode="gray">
            <a:xfrm>
              <a:off x="5390994" y="4250002"/>
              <a:ext cx="107378" cy="90461"/>
            </a:xfrm>
            <a:custGeom>
              <a:avLst/>
              <a:gdLst/>
              <a:ahLst/>
              <a:cxnLst>
                <a:cxn ang="0">
                  <a:pos x="129" y="67"/>
                </a:cxn>
                <a:cxn ang="0">
                  <a:pos x="123" y="53"/>
                </a:cxn>
                <a:cxn ang="0">
                  <a:pos x="109" y="61"/>
                </a:cxn>
                <a:cxn ang="0">
                  <a:pos x="97" y="16"/>
                </a:cxn>
                <a:cxn ang="0">
                  <a:pos x="83" y="4"/>
                </a:cxn>
                <a:cxn ang="0">
                  <a:pos x="75" y="0"/>
                </a:cxn>
                <a:cxn ang="0">
                  <a:pos x="59" y="4"/>
                </a:cxn>
                <a:cxn ang="0">
                  <a:pos x="45" y="2"/>
                </a:cxn>
                <a:cxn ang="0">
                  <a:pos x="0" y="24"/>
                </a:cxn>
                <a:cxn ang="0">
                  <a:pos x="6" y="38"/>
                </a:cxn>
                <a:cxn ang="0">
                  <a:pos x="4" y="57"/>
                </a:cxn>
                <a:cxn ang="0">
                  <a:pos x="12" y="71"/>
                </a:cxn>
                <a:cxn ang="0">
                  <a:pos x="20" y="85"/>
                </a:cxn>
                <a:cxn ang="0">
                  <a:pos x="40" y="97"/>
                </a:cxn>
                <a:cxn ang="0">
                  <a:pos x="63" y="113"/>
                </a:cxn>
                <a:cxn ang="0">
                  <a:pos x="83" y="97"/>
                </a:cxn>
                <a:cxn ang="0">
                  <a:pos x="95" y="95"/>
                </a:cxn>
                <a:cxn ang="0">
                  <a:pos x="129" y="67"/>
                </a:cxn>
              </a:cxnLst>
              <a:rect l="0" t="0" r="r" b="b"/>
              <a:pathLst>
                <a:path w="129" h="113">
                  <a:moveTo>
                    <a:pt x="129" y="67"/>
                  </a:moveTo>
                  <a:lnTo>
                    <a:pt x="123" y="53"/>
                  </a:lnTo>
                  <a:lnTo>
                    <a:pt x="109" y="61"/>
                  </a:lnTo>
                  <a:lnTo>
                    <a:pt x="97" y="16"/>
                  </a:lnTo>
                  <a:lnTo>
                    <a:pt x="83" y="4"/>
                  </a:lnTo>
                  <a:lnTo>
                    <a:pt x="75" y="0"/>
                  </a:lnTo>
                  <a:lnTo>
                    <a:pt x="59" y="4"/>
                  </a:lnTo>
                  <a:lnTo>
                    <a:pt x="45" y="2"/>
                  </a:lnTo>
                  <a:lnTo>
                    <a:pt x="0" y="24"/>
                  </a:lnTo>
                  <a:lnTo>
                    <a:pt x="6" y="38"/>
                  </a:lnTo>
                  <a:lnTo>
                    <a:pt x="4" y="57"/>
                  </a:lnTo>
                  <a:lnTo>
                    <a:pt x="12" y="71"/>
                  </a:lnTo>
                  <a:lnTo>
                    <a:pt x="20" y="85"/>
                  </a:lnTo>
                  <a:lnTo>
                    <a:pt x="40" y="97"/>
                  </a:lnTo>
                  <a:lnTo>
                    <a:pt x="63" y="113"/>
                  </a:lnTo>
                  <a:lnTo>
                    <a:pt x="83" y="97"/>
                  </a:lnTo>
                  <a:lnTo>
                    <a:pt x="95" y="95"/>
                  </a:lnTo>
                  <a:lnTo>
                    <a:pt x="129" y="67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80" name="Singapore">
              <a:extLst>
                <a:ext uri="{FF2B5EF4-FFF2-40B4-BE49-F238E27FC236}">
                  <a16:creationId xmlns="" xmlns:a16="http://schemas.microsoft.com/office/drawing/2014/main" id="{9298D1DF-C0EE-4CA3-BB34-6990036616A1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010566" y="4491888"/>
              <a:ext cx="27332" cy="25565"/>
            </a:xfrm>
            <a:custGeom>
              <a:avLst/>
              <a:gdLst/>
              <a:ahLst/>
              <a:cxnLst>
                <a:cxn ang="0">
                  <a:pos x="188" y="94"/>
                </a:cxn>
                <a:cxn ang="0">
                  <a:pos x="94" y="188"/>
                </a:cxn>
                <a:cxn ang="0">
                  <a:pos x="0" y="94"/>
                </a:cxn>
                <a:cxn ang="0">
                  <a:pos x="0" y="90"/>
                </a:cxn>
                <a:cxn ang="0">
                  <a:pos x="94" y="0"/>
                </a:cxn>
                <a:cxn ang="0">
                  <a:pos x="188" y="94"/>
                </a:cxn>
              </a:cxnLst>
              <a:rect l="0" t="0" r="r" b="b"/>
              <a:pathLst>
                <a:path w="188" h="188">
                  <a:moveTo>
                    <a:pt x="188" y="94"/>
                  </a:moveTo>
                  <a:cubicBezTo>
                    <a:pt x="188" y="146"/>
                    <a:pt x="146" y="188"/>
                    <a:pt x="94" y="188"/>
                  </a:cubicBezTo>
                  <a:cubicBezTo>
                    <a:pt x="42" y="188"/>
                    <a:pt x="0" y="146"/>
                    <a:pt x="0" y="94"/>
                  </a:cubicBezTo>
                  <a:cubicBezTo>
                    <a:pt x="0" y="93"/>
                    <a:pt x="0" y="91"/>
                    <a:pt x="0" y="90"/>
                  </a:cubicBezTo>
                  <a:cubicBezTo>
                    <a:pt x="3" y="40"/>
                    <a:pt x="44" y="0"/>
                    <a:pt x="94" y="0"/>
                  </a:cubicBezTo>
                  <a:cubicBezTo>
                    <a:pt x="146" y="0"/>
                    <a:pt x="188" y="43"/>
                    <a:pt x="188" y="94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81" name="Slovakia">
              <a:extLst>
                <a:ext uri="{FF2B5EF4-FFF2-40B4-BE49-F238E27FC236}">
                  <a16:creationId xmlns="" xmlns:a16="http://schemas.microsoft.com/office/drawing/2014/main" id="{C12D7609-7E7E-4F10-9BC3-879A1ECF8528}"/>
                </a:ext>
              </a:extLst>
            </p:cNvPr>
            <p:cNvSpPr>
              <a:spLocks/>
            </p:cNvSpPr>
            <p:nvPr/>
          </p:nvSpPr>
          <p:spPr bwMode="gray">
            <a:xfrm>
              <a:off x="6324195" y="2741650"/>
              <a:ext cx="171803" cy="70796"/>
            </a:xfrm>
            <a:custGeom>
              <a:avLst/>
              <a:gdLst/>
              <a:ahLst/>
              <a:cxnLst>
                <a:cxn ang="0">
                  <a:pos x="200" y="58"/>
                </a:cxn>
                <a:cxn ang="0">
                  <a:pos x="184" y="68"/>
                </a:cxn>
                <a:cxn ang="0">
                  <a:pos x="170" y="56"/>
                </a:cxn>
                <a:cxn ang="0">
                  <a:pos x="158" y="58"/>
                </a:cxn>
                <a:cxn ang="0">
                  <a:pos x="138" y="54"/>
                </a:cxn>
                <a:cxn ang="0">
                  <a:pos x="128" y="58"/>
                </a:cxn>
                <a:cxn ang="0">
                  <a:pos x="112" y="72"/>
                </a:cxn>
                <a:cxn ang="0">
                  <a:pos x="74" y="72"/>
                </a:cxn>
                <a:cxn ang="0">
                  <a:pos x="68" y="88"/>
                </a:cxn>
                <a:cxn ang="0">
                  <a:pos x="22" y="88"/>
                </a:cxn>
                <a:cxn ang="0">
                  <a:pos x="14" y="80"/>
                </a:cxn>
                <a:cxn ang="0">
                  <a:pos x="0" y="68"/>
                </a:cxn>
                <a:cxn ang="0">
                  <a:pos x="6" y="50"/>
                </a:cxn>
                <a:cxn ang="0">
                  <a:pos x="18" y="40"/>
                </a:cxn>
                <a:cxn ang="0">
                  <a:pos x="34" y="42"/>
                </a:cxn>
                <a:cxn ang="0">
                  <a:pos x="42" y="30"/>
                </a:cxn>
                <a:cxn ang="0">
                  <a:pos x="56" y="26"/>
                </a:cxn>
                <a:cxn ang="0">
                  <a:pos x="58" y="10"/>
                </a:cxn>
                <a:cxn ang="0">
                  <a:pos x="64" y="0"/>
                </a:cxn>
                <a:cxn ang="0">
                  <a:pos x="82" y="8"/>
                </a:cxn>
                <a:cxn ang="0">
                  <a:pos x="96" y="2"/>
                </a:cxn>
                <a:cxn ang="0">
                  <a:pos x="110" y="14"/>
                </a:cxn>
                <a:cxn ang="0">
                  <a:pos x="152" y="10"/>
                </a:cxn>
                <a:cxn ang="0">
                  <a:pos x="178" y="8"/>
                </a:cxn>
                <a:cxn ang="0">
                  <a:pos x="210" y="28"/>
                </a:cxn>
                <a:cxn ang="0">
                  <a:pos x="204" y="46"/>
                </a:cxn>
                <a:cxn ang="0">
                  <a:pos x="200" y="58"/>
                </a:cxn>
              </a:cxnLst>
              <a:rect l="0" t="0" r="r" b="b"/>
              <a:pathLst>
                <a:path w="210" h="88">
                  <a:moveTo>
                    <a:pt x="200" y="58"/>
                  </a:moveTo>
                  <a:lnTo>
                    <a:pt x="184" y="68"/>
                  </a:lnTo>
                  <a:lnTo>
                    <a:pt x="170" y="56"/>
                  </a:lnTo>
                  <a:lnTo>
                    <a:pt x="158" y="58"/>
                  </a:lnTo>
                  <a:lnTo>
                    <a:pt x="138" y="54"/>
                  </a:lnTo>
                  <a:lnTo>
                    <a:pt x="128" y="58"/>
                  </a:lnTo>
                  <a:lnTo>
                    <a:pt x="112" y="72"/>
                  </a:lnTo>
                  <a:lnTo>
                    <a:pt x="74" y="72"/>
                  </a:lnTo>
                  <a:lnTo>
                    <a:pt x="68" y="88"/>
                  </a:lnTo>
                  <a:lnTo>
                    <a:pt x="22" y="88"/>
                  </a:lnTo>
                  <a:lnTo>
                    <a:pt x="14" y="80"/>
                  </a:lnTo>
                  <a:lnTo>
                    <a:pt x="0" y="68"/>
                  </a:lnTo>
                  <a:lnTo>
                    <a:pt x="6" y="50"/>
                  </a:lnTo>
                  <a:lnTo>
                    <a:pt x="18" y="40"/>
                  </a:lnTo>
                  <a:lnTo>
                    <a:pt x="34" y="42"/>
                  </a:lnTo>
                  <a:lnTo>
                    <a:pt x="42" y="30"/>
                  </a:lnTo>
                  <a:lnTo>
                    <a:pt x="56" y="26"/>
                  </a:lnTo>
                  <a:lnTo>
                    <a:pt x="58" y="10"/>
                  </a:lnTo>
                  <a:lnTo>
                    <a:pt x="64" y="0"/>
                  </a:lnTo>
                  <a:lnTo>
                    <a:pt x="82" y="8"/>
                  </a:lnTo>
                  <a:lnTo>
                    <a:pt x="96" y="2"/>
                  </a:lnTo>
                  <a:lnTo>
                    <a:pt x="110" y="14"/>
                  </a:lnTo>
                  <a:lnTo>
                    <a:pt x="152" y="10"/>
                  </a:lnTo>
                  <a:lnTo>
                    <a:pt x="178" y="8"/>
                  </a:lnTo>
                  <a:lnTo>
                    <a:pt x="210" y="28"/>
                  </a:lnTo>
                  <a:lnTo>
                    <a:pt x="204" y="46"/>
                  </a:lnTo>
                  <a:lnTo>
                    <a:pt x="200" y="58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82" name="Slovenia">
              <a:extLst>
                <a:ext uri="{FF2B5EF4-FFF2-40B4-BE49-F238E27FC236}">
                  <a16:creationId xmlns="" xmlns:a16="http://schemas.microsoft.com/office/drawing/2014/main" id="{A691FC18-C188-4594-B618-517AC23488B9}"/>
                </a:ext>
              </a:extLst>
            </p:cNvPr>
            <p:cNvSpPr>
              <a:spLocks/>
            </p:cNvSpPr>
            <p:nvPr/>
          </p:nvSpPr>
          <p:spPr bwMode="gray">
            <a:xfrm>
              <a:off x="6214866" y="2867510"/>
              <a:ext cx="85901" cy="68829"/>
            </a:xfrm>
            <a:custGeom>
              <a:avLst/>
              <a:gdLst/>
              <a:ahLst/>
              <a:cxnLst>
                <a:cxn ang="0">
                  <a:pos x="6" y="50"/>
                </a:cxn>
                <a:cxn ang="0">
                  <a:pos x="2" y="36"/>
                </a:cxn>
                <a:cxn ang="0">
                  <a:pos x="6" y="24"/>
                </a:cxn>
                <a:cxn ang="0">
                  <a:pos x="44" y="26"/>
                </a:cxn>
                <a:cxn ang="0">
                  <a:pos x="56" y="16"/>
                </a:cxn>
                <a:cxn ang="0">
                  <a:pos x="70" y="8"/>
                </a:cxn>
                <a:cxn ang="0">
                  <a:pos x="78" y="12"/>
                </a:cxn>
                <a:cxn ang="0">
                  <a:pos x="92" y="0"/>
                </a:cxn>
                <a:cxn ang="0">
                  <a:pos x="104" y="2"/>
                </a:cxn>
                <a:cxn ang="0">
                  <a:pos x="106" y="30"/>
                </a:cxn>
                <a:cxn ang="0">
                  <a:pos x="92" y="38"/>
                </a:cxn>
                <a:cxn ang="0">
                  <a:pos x="92" y="54"/>
                </a:cxn>
                <a:cxn ang="0">
                  <a:pos x="82" y="64"/>
                </a:cxn>
                <a:cxn ang="0">
                  <a:pos x="84" y="76"/>
                </a:cxn>
                <a:cxn ang="0">
                  <a:pos x="70" y="78"/>
                </a:cxn>
                <a:cxn ang="0">
                  <a:pos x="56" y="72"/>
                </a:cxn>
                <a:cxn ang="0">
                  <a:pos x="40" y="74"/>
                </a:cxn>
                <a:cxn ang="0">
                  <a:pos x="20" y="74"/>
                </a:cxn>
                <a:cxn ang="0">
                  <a:pos x="0" y="86"/>
                </a:cxn>
                <a:cxn ang="0">
                  <a:pos x="4" y="70"/>
                </a:cxn>
                <a:cxn ang="0">
                  <a:pos x="6" y="50"/>
                </a:cxn>
              </a:cxnLst>
              <a:rect l="0" t="0" r="r" b="b"/>
              <a:pathLst>
                <a:path w="106" h="86">
                  <a:moveTo>
                    <a:pt x="6" y="50"/>
                  </a:moveTo>
                  <a:lnTo>
                    <a:pt x="2" y="36"/>
                  </a:lnTo>
                  <a:lnTo>
                    <a:pt x="6" y="24"/>
                  </a:lnTo>
                  <a:lnTo>
                    <a:pt x="44" y="26"/>
                  </a:lnTo>
                  <a:lnTo>
                    <a:pt x="56" y="16"/>
                  </a:lnTo>
                  <a:lnTo>
                    <a:pt x="70" y="8"/>
                  </a:lnTo>
                  <a:lnTo>
                    <a:pt x="78" y="12"/>
                  </a:lnTo>
                  <a:lnTo>
                    <a:pt x="92" y="0"/>
                  </a:lnTo>
                  <a:lnTo>
                    <a:pt x="104" y="2"/>
                  </a:lnTo>
                  <a:lnTo>
                    <a:pt x="106" y="30"/>
                  </a:lnTo>
                  <a:lnTo>
                    <a:pt x="92" y="38"/>
                  </a:lnTo>
                  <a:lnTo>
                    <a:pt x="92" y="54"/>
                  </a:lnTo>
                  <a:lnTo>
                    <a:pt x="82" y="64"/>
                  </a:lnTo>
                  <a:lnTo>
                    <a:pt x="84" y="76"/>
                  </a:lnTo>
                  <a:lnTo>
                    <a:pt x="70" y="78"/>
                  </a:lnTo>
                  <a:lnTo>
                    <a:pt x="56" y="72"/>
                  </a:lnTo>
                  <a:lnTo>
                    <a:pt x="40" y="74"/>
                  </a:lnTo>
                  <a:lnTo>
                    <a:pt x="20" y="74"/>
                  </a:lnTo>
                  <a:lnTo>
                    <a:pt x="0" y="86"/>
                  </a:lnTo>
                  <a:lnTo>
                    <a:pt x="4" y="70"/>
                  </a:lnTo>
                  <a:lnTo>
                    <a:pt x="6" y="50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83" name="Somalia">
              <a:extLst>
                <a:ext uri="{FF2B5EF4-FFF2-40B4-BE49-F238E27FC236}">
                  <a16:creationId xmlns="" xmlns:a16="http://schemas.microsoft.com/office/drawing/2014/main" id="{68B68182-AC57-481C-BCED-ED45642D3F67}"/>
                </a:ext>
              </a:extLst>
            </p:cNvPr>
            <p:cNvSpPr>
              <a:spLocks/>
            </p:cNvSpPr>
            <p:nvPr/>
          </p:nvSpPr>
          <p:spPr bwMode="gray">
            <a:xfrm>
              <a:off x="7077785" y="4179204"/>
              <a:ext cx="324082" cy="434610"/>
            </a:xfrm>
            <a:custGeom>
              <a:avLst/>
              <a:gdLst/>
              <a:ahLst/>
              <a:cxnLst>
                <a:cxn ang="0">
                  <a:pos x="52" y="515"/>
                </a:cxn>
                <a:cxn ang="0">
                  <a:pos x="32" y="535"/>
                </a:cxn>
                <a:cxn ang="0">
                  <a:pos x="0" y="501"/>
                </a:cxn>
                <a:cxn ang="0">
                  <a:pos x="0" y="371"/>
                </a:cxn>
                <a:cxn ang="0">
                  <a:pos x="18" y="343"/>
                </a:cxn>
                <a:cxn ang="0">
                  <a:pos x="24" y="329"/>
                </a:cxn>
                <a:cxn ang="0">
                  <a:pos x="32" y="313"/>
                </a:cxn>
                <a:cxn ang="0">
                  <a:pos x="62" y="311"/>
                </a:cxn>
                <a:cxn ang="0">
                  <a:pos x="78" y="291"/>
                </a:cxn>
                <a:cxn ang="0">
                  <a:pos x="148" y="279"/>
                </a:cxn>
                <a:cxn ang="0">
                  <a:pos x="258" y="165"/>
                </a:cxn>
                <a:cxn ang="0">
                  <a:pos x="210" y="161"/>
                </a:cxn>
                <a:cxn ang="0">
                  <a:pos x="164" y="145"/>
                </a:cxn>
                <a:cxn ang="0">
                  <a:pos x="108" y="122"/>
                </a:cxn>
                <a:cxn ang="0">
                  <a:pos x="74" y="46"/>
                </a:cxn>
                <a:cxn ang="0">
                  <a:pos x="92" y="24"/>
                </a:cxn>
                <a:cxn ang="0">
                  <a:pos x="132" y="60"/>
                </a:cxn>
                <a:cxn ang="0">
                  <a:pos x="156" y="66"/>
                </a:cxn>
                <a:cxn ang="0">
                  <a:pos x="178" y="52"/>
                </a:cxn>
                <a:cxn ang="0">
                  <a:pos x="210" y="58"/>
                </a:cxn>
                <a:cxn ang="0">
                  <a:pos x="246" y="36"/>
                </a:cxn>
                <a:cxn ang="0">
                  <a:pos x="270" y="40"/>
                </a:cxn>
                <a:cxn ang="0">
                  <a:pos x="286" y="32"/>
                </a:cxn>
                <a:cxn ang="0">
                  <a:pos x="322" y="28"/>
                </a:cxn>
                <a:cxn ang="0">
                  <a:pos x="342" y="16"/>
                </a:cxn>
                <a:cxn ang="0">
                  <a:pos x="354" y="16"/>
                </a:cxn>
                <a:cxn ang="0">
                  <a:pos x="368" y="0"/>
                </a:cxn>
                <a:cxn ang="0">
                  <a:pos x="388" y="0"/>
                </a:cxn>
                <a:cxn ang="0">
                  <a:pos x="392" y="30"/>
                </a:cxn>
                <a:cxn ang="0">
                  <a:pos x="386" y="56"/>
                </a:cxn>
                <a:cxn ang="0">
                  <a:pos x="400" y="58"/>
                </a:cxn>
                <a:cxn ang="0">
                  <a:pos x="398" y="66"/>
                </a:cxn>
                <a:cxn ang="0">
                  <a:pos x="384" y="68"/>
                </a:cxn>
                <a:cxn ang="0">
                  <a:pos x="374" y="106"/>
                </a:cxn>
                <a:cxn ang="0">
                  <a:pos x="360" y="145"/>
                </a:cxn>
                <a:cxn ang="0">
                  <a:pos x="344" y="161"/>
                </a:cxn>
                <a:cxn ang="0">
                  <a:pos x="342" y="173"/>
                </a:cxn>
                <a:cxn ang="0">
                  <a:pos x="310" y="241"/>
                </a:cxn>
                <a:cxn ang="0">
                  <a:pos x="276" y="297"/>
                </a:cxn>
                <a:cxn ang="0">
                  <a:pos x="204" y="363"/>
                </a:cxn>
                <a:cxn ang="0">
                  <a:pos x="174" y="383"/>
                </a:cxn>
                <a:cxn ang="0">
                  <a:pos x="130" y="415"/>
                </a:cxn>
                <a:cxn ang="0">
                  <a:pos x="108" y="441"/>
                </a:cxn>
                <a:cxn ang="0">
                  <a:pos x="74" y="481"/>
                </a:cxn>
                <a:cxn ang="0">
                  <a:pos x="52" y="515"/>
                </a:cxn>
              </a:cxnLst>
              <a:rect l="0" t="0" r="r" b="b"/>
              <a:pathLst>
                <a:path w="400" h="535">
                  <a:moveTo>
                    <a:pt x="52" y="515"/>
                  </a:moveTo>
                  <a:lnTo>
                    <a:pt x="32" y="535"/>
                  </a:lnTo>
                  <a:lnTo>
                    <a:pt x="0" y="501"/>
                  </a:lnTo>
                  <a:lnTo>
                    <a:pt x="0" y="371"/>
                  </a:lnTo>
                  <a:lnTo>
                    <a:pt x="18" y="343"/>
                  </a:lnTo>
                  <a:lnTo>
                    <a:pt x="24" y="329"/>
                  </a:lnTo>
                  <a:lnTo>
                    <a:pt x="32" y="313"/>
                  </a:lnTo>
                  <a:lnTo>
                    <a:pt x="62" y="311"/>
                  </a:lnTo>
                  <a:lnTo>
                    <a:pt x="78" y="291"/>
                  </a:lnTo>
                  <a:lnTo>
                    <a:pt x="148" y="279"/>
                  </a:lnTo>
                  <a:lnTo>
                    <a:pt x="258" y="165"/>
                  </a:lnTo>
                  <a:lnTo>
                    <a:pt x="210" y="161"/>
                  </a:lnTo>
                  <a:lnTo>
                    <a:pt x="164" y="145"/>
                  </a:lnTo>
                  <a:lnTo>
                    <a:pt x="108" y="122"/>
                  </a:lnTo>
                  <a:lnTo>
                    <a:pt x="74" y="46"/>
                  </a:lnTo>
                  <a:lnTo>
                    <a:pt x="92" y="24"/>
                  </a:lnTo>
                  <a:lnTo>
                    <a:pt x="132" y="60"/>
                  </a:lnTo>
                  <a:lnTo>
                    <a:pt x="156" y="66"/>
                  </a:lnTo>
                  <a:lnTo>
                    <a:pt x="178" y="52"/>
                  </a:lnTo>
                  <a:lnTo>
                    <a:pt x="210" y="58"/>
                  </a:lnTo>
                  <a:lnTo>
                    <a:pt x="246" y="36"/>
                  </a:lnTo>
                  <a:lnTo>
                    <a:pt x="270" y="40"/>
                  </a:lnTo>
                  <a:lnTo>
                    <a:pt x="286" y="32"/>
                  </a:lnTo>
                  <a:lnTo>
                    <a:pt x="322" y="28"/>
                  </a:lnTo>
                  <a:lnTo>
                    <a:pt x="342" y="16"/>
                  </a:lnTo>
                  <a:lnTo>
                    <a:pt x="354" y="16"/>
                  </a:lnTo>
                  <a:lnTo>
                    <a:pt x="368" y="0"/>
                  </a:lnTo>
                  <a:lnTo>
                    <a:pt x="388" y="0"/>
                  </a:lnTo>
                  <a:lnTo>
                    <a:pt x="392" y="30"/>
                  </a:lnTo>
                  <a:lnTo>
                    <a:pt x="386" y="56"/>
                  </a:lnTo>
                  <a:lnTo>
                    <a:pt x="400" y="58"/>
                  </a:lnTo>
                  <a:lnTo>
                    <a:pt x="398" y="66"/>
                  </a:lnTo>
                  <a:lnTo>
                    <a:pt x="384" y="68"/>
                  </a:lnTo>
                  <a:lnTo>
                    <a:pt x="374" y="106"/>
                  </a:lnTo>
                  <a:lnTo>
                    <a:pt x="360" y="145"/>
                  </a:lnTo>
                  <a:lnTo>
                    <a:pt x="344" y="161"/>
                  </a:lnTo>
                  <a:lnTo>
                    <a:pt x="342" y="173"/>
                  </a:lnTo>
                  <a:lnTo>
                    <a:pt x="310" y="241"/>
                  </a:lnTo>
                  <a:lnTo>
                    <a:pt x="276" y="297"/>
                  </a:lnTo>
                  <a:lnTo>
                    <a:pt x="204" y="363"/>
                  </a:lnTo>
                  <a:lnTo>
                    <a:pt x="174" y="383"/>
                  </a:lnTo>
                  <a:lnTo>
                    <a:pt x="130" y="415"/>
                  </a:lnTo>
                  <a:lnTo>
                    <a:pt x="108" y="441"/>
                  </a:lnTo>
                  <a:lnTo>
                    <a:pt x="74" y="481"/>
                  </a:lnTo>
                  <a:lnTo>
                    <a:pt x="52" y="515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84" name="South Africa">
              <a:extLst>
                <a:ext uri="{FF2B5EF4-FFF2-40B4-BE49-F238E27FC236}">
                  <a16:creationId xmlns="" xmlns:a16="http://schemas.microsoft.com/office/drawing/2014/main" id="{29A21BB1-6F80-483E-B907-83E4E97F65F4}"/>
                </a:ext>
              </a:extLst>
            </p:cNvPr>
            <p:cNvSpPr>
              <a:spLocks noChangeAspect="1" noEditPoints="1"/>
            </p:cNvSpPr>
            <p:nvPr/>
          </p:nvSpPr>
          <p:spPr bwMode="gray">
            <a:xfrm>
              <a:off x="6306625" y="5288344"/>
              <a:ext cx="517360" cy="466075"/>
            </a:xfrm>
            <a:custGeom>
              <a:avLst/>
              <a:gdLst/>
              <a:ahLst/>
              <a:cxnLst>
                <a:cxn ang="0">
                  <a:pos x="517" y="354"/>
                </a:cxn>
                <a:cxn ang="0">
                  <a:pos x="555" y="333"/>
                </a:cxn>
                <a:cxn ang="0">
                  <a:pos x="579" y="352"/>
                </a:cxn>
                <a:cxn ang="0">
                  <a:pos x="600" y="361"/>
                </a:cxn>
                <a:cxn ang="0">
                  <a:pos x="586" y="399"/>
                </a:cxn>
                <a:cxn ang="0">
                  <a:pos x="557" y="411"/>
                </a:cxn>
                <a:cxn ang="0">
                  <a:pos x="538" y="425"/>
                </a:cxn>
                <a:cxn ang="0">
                  <a:pos x="517" y="427"/>
                </a:cxn>
                <a:cxn ang="0">
                  <a:pos x="496" y="399"/>
                </a:cxn>
                <a:cxn ang="0">
                  <a:pos x="494" y="373"/>
                </a:cxn>
                <a:cxn ang="0">
                  <a:pos x="720" y="238"/>
                </a:cxn>
                <a:cxn ang="0">
                  <a:pos x="673" y="259"/>
                </a:cxn>
                <a:cxn ang="0">
                  <a:pos x="654" y="233"/>
                </a:cxn>
                <a:cxn ang="0">
                  <a:pos x="671" y="184"/>
                </a:cxn>
                <a:cxn ang="0">
                  <a:pos x="706" y="165"/>
                </a:cxn>
                <a:cxn ang="0">
                  <a:pos x="687" y="14"/>
                </a:cxn>
                <a:cxn ang="0">
                  <a:pos x="602" y="0"/>
                </a:cxn>
                <a:cxn ang="0">
                  <a:pos x="562" y="23"/>
                </a:cxn>
                <a:cxn ang="0">
                  <a:pos x="538" y="40"/>
                </a:cxn>
                <a:cxn ang="0">
                  <a:pos x="482" y="82"/>
                </a:cxn>
                <a:cxn ang="0">
                  <a:pos x="458" y="120"/>
                </a:cxn>
                <a:cxn ang="0">
                  <a:pos x="420" y="174"/>
                </a:cxn>
                <a:cxn ang="0">
                  <a:pos x="331" y="174"/>
                </a:cxn>
                <a:cxn ang="0">
                  <a:pos x="290" y="207"/>
                </a:cxn>
                <a:cxn ang="0">
                  <a:pos x="203" y="245"/>
                </a:cxn>
                <a:cxn ang="0">
                  <a:pos x="194" y="182"/>
                </a:cxn>
                <a:cxn ang="0">
                  <a:pos x="177" y="316"/>
                </a:cxn>
                <a:cxn ang="0">
                  <a:pos x="139" y="337"/>
                </a:cxn>
                <a:cxn ang="0">
                  <a:pos x="104" y="349"/>
                </a:cxn>
                <a:cxn ang="0">
                  <a:pos x="64" y="344"/>
                </a:cxn>
                <a:cxn ang="0">
                  <a:pos x="35" y="330"/>
                </a:cxn>
                <a:cxn ang="0">
                  <a:pos x="24" y="314"/>
                </a:cxn>
                <a:cxn ang="0">
                  <a:pos x="26" y="352"/>
                </a:cxn>
                <a:cxn ang="0">
                  <a:pos x="71" y="441"/>
                </a:cxn>
                <a:cxn ang="0">
                  <a:pos x="85" y="540"/>
                </a:cxn>
                <a:cxn ang="0">
                  <a:pos x="99" y="604"/>
                </a:cxn>
                <a:cxn ang="0">
                  <a:pos x="104" y="642"/>
                </a:cxn>
                <a:cxn ang="0">
                  <a:pos x="123" y="642"/>
                </a:cxn>
                <a:cxn ang="0">
                  <a:pos x="168" y="668"/>
                </a:cxn>
                <a:cxn ang="0">
                  <a:pos x="236" y="649"/>
                </a:cxn>
                <a:cxn ang="0">
                  <a:pos x="276" y="628"/>
                </a:cxn>
                <a:cxn ang="0">
                  <a:pos x="321" y="625"/>
                </a:cxn>
                <a:cxn ang="0">
                  <a:pos x="385" y="628"/>
                </a:cxn>
                <a:cxn ang="0">
                  <a:pos x="442" y="609"/>
                </a:cxn>
                <a:cxn ang="0">
                  <a:pos x="515" y="571"/>
                </a:cxn>
                <a:cxn ang="0">
                  <a:pos x="605" y="481"/>
                </a:cxn>
                <a:cxn ang="0">
                  <a:pos x="666" y="399"/>
                </a:cxn>
                <a:cxn ang="0">
                  <a:pos x="720" y="354"/>
                </a:cxn>
                <a:cxn ang="0">
                  <a:pos x="741" y="262"/>
                </a:cxn>
                <a:cxn ang="0">
                  <a:pos x="753" y="236"/>
                </a:cxn>
              </a:cxnLst>
              <a:rect l="0" t="0" r="r" b="b"/>
              <a:pathLst>
                <a:path w="753" h="668">
                  <a:moveTo>
                    <a:pt x="494" y="373"/>
                  </a:moveTo>
                  <a:lnTo>
                    <a:pt x="517" y="354"/>
                  </a:lnTo>
                  <a:lnTo>
                    <a:pt x="541" y="335"/>
                  </a:lnTo>
                  <a:lnTo>
                    <a:pt x="555" y="333"/>
                  </a:lnTo>
                  <a:lnTo>
                    <a:pt x="569" y="344"/>
                  </a:lnTo>
                  <a:lnTo>
                    <a:pt x="579" y="352"/>
                  </a:lnTo>
                  <a:lnTo>
                    <a:pt x="590" y="352"/>
                  </a:lnTo>
                  <a:lnTo>
                    <a:pt x="600" y="361"/>
                  </a:lnTo>
                  <a:lnTo>
                    <a:pt x="595" y="380"/>
                  </a:lnTo>
                  <a:lnTo>
                    <a:pt x="586" y="399"/>
                  </a:lnTo>
                  <a:lnTo>
                    <a:pt x="574" y="411"/>
                  </a:lnTo>
                  <a:lnTo>
                    <a:pt x="557" y="411"/>
                  </a:lnTo>
                  <a:lnTo>
                    <a:pt x="541" y="411"/>
                  </a:lnTo>
                  <a:lnTo>
                    <a:pt x="538" y="425"/>
                  </a:lnTo>
                  <a:lnTo>
                    <a:pt x="534" y="439"/>
                  </a:lnTo>
                  <a:lnTo>
                    <a:pt x="517" y="427"/>
                  </a:lnTo>
                  <a:lnTo>
                    <a:pt x="505" y="406"/>
                  </a:lnTo>
                  <a:lnTo>
                    <a:pt x="496" y="399"/>
                  </a:lnTo>
                  <a:lnTo>
                    <a:pt x="491" y="382"/>
                  </a:lnTo>
                  <a:lnTo>
                    <a:pt x="494" y="373"/>
                  </a:lnTo>
                  <a:close/>
                  <a:moveTo>
                    <a:pt x="753" y="236"/>
                  </a:moveTo>
                  <a:lnTo>
                    <a:pt x="720" y="238"/>
                  </a:lnTo>
                  <a:lnTo>
                    <a:pt x="699" y="259"/>
                  </a:lnTo>
                  <a:lnTo>
                    <a:pt x="673" y="259"/>
                  </a:lnTo>
                  <a:lnTo>
                    <a:pt x="661" y="257"/>
                  </a:lnTo>
                  <a:lnTo>
                    <a:pt x="654" y="233"/>
                  </a:lnTo>
                  <a:lnTo>
                    <a:pt x="664" y="210"/>
                  </a:lnTo>
                  <a:lnTo>
                    <a:pt x="671" y="184"/>
                  </a:lnTo>
                  <a:lnTo>
                    <a:pt x="690" y="189"/>
                  </a:lnTo>
                  <a:lnTo>
                    <a:pt x="706" y="165"/>
                  </a:lnTo>
                  <a:lnTo>
                    <a:pt x="694" y="45"/>
                  </a:lnTo>
                  <a:lnTo>
                    <a:pt x="687" y="14"/>
                  </a:lnTo>
                  <a:lnTo>
                    <a:pt x="626" y="2"/>
                  </a:lnTo>
                  <a:lnTo>
                    <a:pt x="602" y="0"/>
                  </a:lnTo>
                  <a:lnTo>
                    <a:pt x="586" y="7"/>
                  </a:lnTo>
                  <a:lnTo>
                    <a:pt x="562" y="23"/>
                  </a:lnTo>
                  <a:lnTo>
                    <a:pt x="548" y="28"/>
                  </a:lnTo>
                  <a:lnTo>
                    <a:pt x="538" y="40"/>
                  </a:lnTo>
                  <a:lnTo>
                    <a:pt x="512" y="47"/>
                  </a:lnTo>
                  <a:lnTo>
                    <a:pt x="482" y="82"/>
                  </a:lnTo>
                  <a:lnTo>
                    <a:pt x="475" y="111"/>
                  </a:lnTo>
                  <a:lnTo>
                    <a:pt x="458" y="120"/>
                  </a:lnTo>
                  <a:lnTo>
                    <a:pt x="437" y="127"/>
                  </a:lnTo>
                  <a:lnTo>
                    <a:pt x="420" y="174"/>
                  </a:lnTo>
                  <a:lnTo>
                    <a:pt x="364" y="189"/>
                  </a:lnTo>
                  <a:lnTo>
                    <a:pt x="331" y="174"/>
                  </a:lnTo>
                  <a:lnTo>
                    <a:pt x="312" y="174"/>
                  </a:lnTo>
                  <a:lnTo>
                    <a:pt x="290" y="207"/>
                  </a:lnTo>
                  <a:lnTo>
                    <a:pt x="250" y="241"/>
                  </a:lnTo>
                  <a:lnTo>
                    <a:pt x="203" y="245"/>
                  </a:lnTo>
                  <a:lnTo>
                    <a:pt x="189" y="215"/>
                  </a:lnTo>
                  <a:lnTo>
                    <a:pt x="194" y="182"/>
                  </a:lnTo>
                  <a:lnTo>
                    <a:pt x="175" y="146"/>
                  </a:lnTo>
                  <a:lnTo>
                    <a:pt x="177" y="316"/>
                  </a:lnTo>
                  <a:lnTo>
                    <a:pt x="163" y="333"/>
                  </a:lnTo>
                  <a:lnTo>
                    <a:pt x="139" y="337"/>
                  </a:lnTo>
                  <a:lnTo>
                    <a:pt x="135" y="354"/>
                  </a:lnTo>
                  <a:lnTo>
                    <a:pt x="104" y="349"/>
                  </a:lnTo>
                  <a:lnTo>
                    <a:pt x="87" y="354"/>
                  </a:lnTo>
                  <a:lnTo>
                    <a:pt x="64" y="344"/>
                  </a:lnTo>
                  <a:lnTo>
                    <a:pt x="45" y="342"/>
                  </a:lnTo>
                  <a:lnTo>
                    <a:pt x="35" y="330"/>
                  </a:lnTo>
                  <a:lnTo>
                    <a:pt x="43" y="314"/>
                  </a:lnTo>
                  <a:lnTo>
                    <a:pt x="24" y="314"/>
                  </a:lnTo>
                  <a:lnTo>
                    <a:pt x="0" y="330"/>
                  </a:lnTo>
                  <a:lnTo>
                    <a:pt x="26" y="352"/>
                  </a:lnTo>
                  <a:lnTo>
                    <a:pt x="52" y="411"/>
                  </a:lnTo>
                  <a:lnTo>
                    <a:pt x="71" y="441"/>
                  </a:lnTo>
                  <a:lnTo>
                    <a:pt x="87" y="486"/>
                  </a:lnTo>
                  <a:lnTo>
                    <a:pt x="85" y="540"/>
                  </a:lnTo>
                  <a:lnTo>
                    <a:pt x="71" y="545"/>
                  </a:lnTo>
                  <a:lnTo>
                    <a:pt x="99" y="604"/>
                  </a:lnTo>
                  <a:lnTo>
                    <a:pt x="90" y="616"/>
                  </a:lnTo>
                  <a:lnTo>
                    <a:pt x="104" y="642"/>
                  </a:lnTo>
                  <a:lnTo>
                    <a:pt x="111" y="623"/>
                  </a:lnTo>
                  <a:lnTo>
                    <a:pt x="123" y="642"/>
                  </a:lnTo>
                  <a:lnTo>
                    <a:pt x="139" y="649"/>
                  </a:lnTo>
                  <a:lnTo>
                    <a:pt x="168" y="668"/>
                  </a:lnTo>
                  <a:lnTo>
                    <a:pt x="180" y="649"/>
                  </a:lnTo>
                  <a:lnTo>
                    <a:pt x="236" y="649"/>
                  </a:lnTo>
                  <a:lnTo>
                    <a:pt x="257" y="635"/>
                  </a:lnTo>
                  <a:lnTo>
                    <a:pt x="276" y="628"/>
                  </a:lnTo>
                  <a:lnTo>
                    <a:pt x="312" y="637"/>
                  </a:lnTo>
                  <a:lnTo>
                    <a:pt x="321" y="625"/>
                  </a:lnTo>
                  <a:lnTo>
                    <a:pt x="371" y="642"/>
                  </a:lnTo>
                  <a:lnTo>
                    <a:pt x="385" y="628"/>
                  </a:lnTo>
                  <a:lnTo>
                    <a:pt x="427" y="628"/>
                  </a:lnTo>
                  <a:lnTo>
                    <a:pt x="442" y="609"/>
                  </a:lnTo>
                  <a:lnTo>
                    <a:pt x="465" y="609"/>
                  </a:lnTo>
                  <a:lnTo>
                    <a:pt x="515" y="571"/>
                  </a:lnTo>
                  <a:lnTo>
                    <a:pt x="574" y="522"/>
                  </a:lnTo>
                  <a:lnTo>
                    <a:pt x="605" y="481"/>
                  </a:lnTo>
                  <a:lnTo>
                    <a:pt x="633" y="455"/>
                  </a:lnTo>
                  <a:lnTo>
                    <a:pt x="666" y="399"/>
                  </a:lnTo>
                  <a:lnTo>
                    <a:pt x="701" y="356"/>
                  </a:lnTo>
                  <a:lnTo>
                    <a:pt x="720" y="354"/>
                  </a:lnTo>
                  <a:lnTo>
                    <a:pt x="746" y="302"/>
                  </a:lnTo>
                  <a:lnTo>
                    <a:pt x="741" y="262"/>
                  </a:lnTo>
                  <a:lnTo>
                    <a:pt x="751" y="257"/>
                  </a:lnTo>
                  <a:lnTo>
                    <a:pt x="753" y="236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 cmpd="sng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85" name="Spain">
              <a:extLst>
                <a:ext uri="{FF2B5EF4-FFF2-40B4-BE49-F238E27FC236}">
                  <a16:creationId xmlns="" xmlns:a16="http://schemas.microsoft.com/office/drawing/2014/main" id="{BF7B8A80-1E7D-40B3-B38A-389F81B6EEB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517158" y="3007570"/>
              <a:ext cx="439268" cy="326449"/>
            </a:xfrm>
            <a:custGeom>
              <a:avLst/>
              <a:gdLst/>
              <a:ahLst/>
              <a:cxnLst>
                <a:cxn ang="0">
                  <a:pos x="308" y="26"/>
                </a:cxn>
                <a:cxn ang="0">
                  <a:pos x="330" y="38"/>
                </a:cxn>
                <a:cxn ang="0">
                  <a:pos x="362" y="54"/>
                </a:cxn>
                <a:cxn ang="0">
                  <a:pos x="414" y="48"/>
                </a:cxn>
                <a:cxn ang="0">
                  <a:pos x="410" y="66"/>
                </a:cxn>
                <a:cxn ang="0">
                  <a:pos x="436" y="64"/>
                </a:cxn>
                <a:cxn ang="0">
                  <a:pos x="486" y="60"/>
                </a:cxn>
                <a:cxn ang="0">
                  <a:pos x="486" y="82"/>
                </a:cxn>
                <a:cxn ang="0">
                  <a:pos x="452" y="124"/>
                </a:cxn>
                <a:cxn ang="0">
                  <a:pos x="392" y="152"/>
                </a:cxn>
                <a:cxn ang="0">
                  <a:pos x="376" y="184"/>
                </a:cxn>
                <a:cxn ang="0">
                  <a:pos x="352" y="244"/>
                </a:cxn>
                <a:cxn ang="0">
                  <a:pos x="350" y="278"/>
                </a:cxn>
                <a:cxn ang="0">
                  <a:pos x="332" y="328"/>
                </a:cxn>
                <a:cxn ang="0">
                  <a:pos x="290" y="340"/>
                </a:cxn>
                <a:cxn ang="0">
                  <a:pos x="282" y="364"/>
                </a:cxn>
                <a:cxn ang="0">
                  <a:pos x="254" y="364"/>
                </a:cxn>
                <a:cxn ang="0">
                  <a:pos x="214" y="362"/>
                </a:cxn>
                <a:cxn ang="0">
                  <a:pos x="184" y="370"/>
                </a:cxn>
                <a:cxn ang="0">
                  <a:pos x="158" y="390"/>
                </a:cxn>
                <a:cxn ang="0">
                  <a:pos x="132" y="384"/>
                </a:cxn>
                <a:cxn ang="0">
                  <a:pos x="118" y="366"/>
                </a:cxn>
                <a:cxn ang="0">
                  <a:pos x="110" y="354"/>
                </a:cxn>
                <a:cxn ang="0">
                  <a:pos x="84" y="338"/>
                </a:cxn>
                <a:cxn ang="0">
                  <a:pos x="76" y="306"/>
                </a:cxn>
                <a:cxn ang="0">
                  <a:pos x="84" y="278"/>
                </a:cxn>
                <a:cxn ang="0">
                  <a:pos x="92" y="256"/>
                </a:cxn>
                <a:cxn ang="0">
                  <a:pos x="68" y="218"/>
                </a:cxn>
                <a:cxn ang="0">
                  <a:pos x="90" y="204"/>
                </a:cxn>
                <a:cxn ang="0">
                  <a:pos x="94" y="166"/>
                </a:cxn>
                <a:cxn ang="0">
                  <a:pos x="100" y="136"/>
                </a:cxn>
                <a:cxn ang="0">
                  <a:pos x="106" y="96"/>
                </a:cxn>
                <a:cxn ang="0">
                  <a:pos x="64" y="90"/>
                </a:cxn>
                <a:cxn ang="0">
                  <a:pos x="40" y="78"/>
                </a:cxn>
                <a:cxn ang="0">
                  <a:pos x="16" y="76"/>
                </a:cxn>
                <a:cxn ang="0">
                  <a:pos x="12" y="42"/>
                </a:cxn>
                <a:cxn ang="0">
                  <a:pos x="0" y="26"/>
                </a:cxn>
                <a:cxn ang="0">
                  <a:pos x="34" y="8"/>
                </a:cxn>
                <a:cxn ang="0">
                  <a:pos x="102" y="2"/>
                </a:cxn>
                <a:cxn ang="0">
                  <a:pos x="170" y="6"/>
                </a:cxn>
                <a:cxn ang="0">
                  <a:pos x="228" y="8"/>
                </a:cxn>
                <a:cxn ang="0">
                  <a:pos x="280" y="20"/>
                </a:cxn>
                <a:cxn ang="0">
                  <a:pos x="492" y="238"/>
                </a:cxn>
                <a:cxn ang="0">
                  <a:pos x="502" y="218"/>
                </a:cxn>
                <a:cxn ang="0">
                  <a:pos x="472" y="214"/>
                </a:cxn>
                <a:cxn ang="0">
                  <a:pos x="492" y="238"/>
                </a:cxn>
                <a:cxn ang="0">
                  <a:pos x="424" y="256"/>
                </a:cxn>
                <a:cxn ang="0">
                  <a:pos x="406" y="260"/>
                </a:cxn>
                <a:cxn ang="0">
                  <a:pos x="534" y="208"/>
                </a:cxn>
                <a:cxn ang="0">
                  <a:pos x="526" y="188"/>
                </a:cxn>
                <a:cxn ang="0">
                  <a:pos x="534" y="208"/>
                </a:cxn>
              </a:cxnLst>
              <a:rect l="0" t="0" r="r" b="b"/>
              <a:pathLst>
                <a:path w="540" h="398">
                  <a:moveTo>
                    <a:pt x="298" y="16"/>
                  </a:moveTo>
                  <a:lnTo>
                    <a:pt x="308" y="26"/>
                  </a:lnTo>
                  <a:lnTo>
                    <a:pt x="316" y="34"/>
                  </a:lnTo>
                  <a:lnTo>
                    <a:pt x="330" y="38"/>
                  </a:lnTo>
                  <a:lnTo>
                    <a:pt x="344" y="48"/>
                  </a:lnTo>
                  <a:lnTo>
                    <a:pt x="362" y="54"/>
                  </a:lnTo>
                  <a:lnTo>
                    <a:pt x="390" y="48"/>
                  </a:lnTo>
                  <a:lnTo>
                    <a:pt x="414" y="48"/>
                  </a:lnTo>
                  <a:lnTo>
                    <a:pt x="414" y="56"/>
                  </a:lnTo>
                  <a:lnTo>
                    <a:pt x="410" y="66"/>
                  </a:lnTo>
                  <a:lnTo>
                    <a:pt x="424" y="74"/>
                  </a:lnTo>
                  <a:lnTo>
                    <a:pt x="436" y="64"/>
                  </a:lnTo>
                  <a:lnTo>
                    <a:pt x="460" y="64"/>
                  </a:lnTo>
                  <a:lnTo>
                    <a:pt x="486" y="60"/>
                  </a:lnTo>
                  <a:lnTo>
                    <a:pt x="492" y="72"/>
                  </a:lnTo>
                  <a:lnTo>
                    <a:pt x="486" y="82"/>
                  </a:lnTo>
                  <a:lnTo>
                    <a:pt x="484" y="98"/>
                  </a:lnTo>
                  <a:lnTo>
                    <a:pt x="452" y="124"/>
                  </a:lnTo>
                  <a:lnTo>
                    <a:pt x="436" y="126"/>
                  </a:lnTo>
                  <a:lnTo>
                    <a:pt x="392" y="152"/>
                  </a:lnTo>
                  <a:lnTo>
                    <a:pt x="394" y="166"/>
                  </a:lnTo>
                  <a:lnTo>
                    <a:pt x="376" y="184"/>
                  </a:lnTo>
                  <a:lnTo>
                    <a:pt x="352" y="222"/>
                  </a:lnTo>
                  <a:lnTo>
                    <a:pt x="352" y="244"/>
                  </a:lnTo>
                  <a:lnTo>
                    <a:pt x="366" y="266"/>
                  </a:lnTo>
                  <a:lnTo>
                    <a:pt x="350" y="278"/>
                  </a:lnTo>
                  <a:lnTo>
                    <a:pt x="336" y="302"/>
                  </a:lnTo>
                  <a:lnTo>
                    <a:pt x="332" y="328"/>
                  </a:lnTo>
                  <a:lnTo>
                    <a:pt x="312" y="330"/>
                  </a:lnTo>
                  <a:lnTo>
                    <a:pt x="290" y="340"/>
                  </a:lnTo>
                  <a:lnTo>
                    <a:pt x="290" y="356"/>
                  </a:lnTo>
                  <a:lnTo>
                    <a:pt x="282" y="364"/>
                  </a:lnTo>
                  <a:lnTo>
                    <a:pt x="272" y="354"/>
                  </a:lnTo>
                  <a:lnTo>
                    <a:pt x="254" y="364"/>
                  </a:lnTo>
                  <a:lnTo>
                    <a:pt x="240" y="362"/>
                  </a:lnTo>
                  <a:lnTo>
                    <a:pt x="214" y="362"/>
                  </a:lnTo>
                  <a:lnTo>
                    <a:pt x="198" y="360"/>
                  </a:lnTo>
                  <a:lnTo>
                    <a:pt x="184" y="370"/>
                  </a:lnTo>
                  <a:lnTo>
                    <a:pt x="164" y="374"/>
                  </a:lnTo>
                  <a:lnTo>
                    <a:pt x="158" y="390"/>
                  </a:lnTo>
                  <a:lnTo>
                    <a:pt x="144" y="398"/>
                  </a:lnTo>
                  <a:lnTo>
                    <a:pt x="132" y="384"/>
                  </a:lnTo>
                  <a:lnTo>
                    <a:pt x="122" y="380"/>
                  </a:lnTo>
                  <a:lnTo>
                    <a:pt x="118" y="366"/>
                  </a:lnTo>
                  <a:lnTo>
                    <a:pt x="112" y="364"/>
                  </a:lnTo>
                  <a:lnTo>
                    <a:pt x="110" y="354"/>
                  </a:lnTo>
                  <a:lnTo>
                    <a:pt x="98" y="338"/>
                  </a:lnTo>
                  <a:lnTo>
                    <a:pt x="84" y="338"/>
                  </a:lnTo>
                  <a:lnTo>
                    <a:pt x="74" y="332"/>
                  </a:lnTo>
                  <a:lnTo>
                    <a:pt x="76" y="306"/>
                  </a:lnTo>
                  <a:lnTo>
                    <a:pt x="92" y="292"/>
                  </a:lnTo>
                  <a:lnTo>
                    <a:pt x="84" y="278"/>
                  </a:lnTo>
                  <a:lnTo>
                    <a:pt x="84" y="264"/>
                  </a:lnTo>
                  <a:lnTo>
                    <a:pt x="92" y="256"/>
                  </a:lnTo>
                  <a:lnTo>
                    <a:pt x="76" y="238"/>
                  </a:lnTo>
                  <a:lnTo>
                    <a:pt x="68" y="218"/>
                  </a:lnTo>
                  <a:lnTo>
                    <a:pt x="84" y="216"/>
                  </a:lnTo>
                  <a:lnTo>
                    <a:pt x="90" y="204"/>
                  </a:lnTo>
                  <a:lnTo>
                    <a:pt x="86" y="188"/>
                  </a:lnTo>
                  <a:lnTo>
                    <a:pt x="94" y="166"/>
                  </a:lnTo>
                  <a:lnTo>
                    <a:pt x="94" y="148"/>
                  </a:lnTo>
                  <a:lnTo>
                    <a:pt x="100" y="136"/>
                  </a:lnTo>
                  <a:lnTo>
                    <a:pt x="122" y="114"/>
                  </a:lnTo>
                  <a:lnTo>
                    <a:pt x="106" y="96"/>
                  </a:lnTo>
                  <a:lnTo>
                    <a:pt x="84" y="90"/>
                  </a:lnTo>
                  <a:lnTo>
                    <a:pt x="64" y="90"/>
                  </a:lnTo>
                  <a:lnTo>
                    <a:pt x="48" y="90"/>
                  </a:lnTo>
                  <a:lnTo>
                    <a:pt x="40" y="78"/>
                  </a:lnTo>
                  <a:lnTo>
                    <a:pt x="18" y="92"/>
                  </a:lnTo>
                  <a:lnTo>
                    <a:pt x="16" y="76"/>
                  </a:lnTo>
                  <a:lnTo>
                    <a:pt x="10" y="62"/>
                  </a:lnTo>
                  <a:lnTo>
                    <a:pt x="12" y="42"/>
                  </a:lnTo>
                  <a:lnTo>
                    <a:pt x="2" y="36"/>
                  </a:lnTo>
                  <a:lnTo>
                    <a:pt x="0" y="26"/>
                  </a:lnTo>
                  <a:lnTo>
                    <a:pt x="10" y="10"/>
                  </a:lnTo>
                  <a:lnTo>
                    <a:pt x="34" y="8"/>
                  </a:lnTo>
                  <a:lnTo>
                    <a:pt x="48" y="0"/>
                  </a:lnTo>
                  <a:lnTo>
                    <a:pt x="102" y="2"/>
                  </a:lnTo>
                  <a:lnTo>
                    <a:pt x="136" y="0"/>
                  </a:lnTo>
                  <a:lnTo>
                    <a:pt x="170" y="6"/>
                  </a:lnTo>
                  <a:lnTo>
                    <a:pt x="192" y="10"/>
                  </a:lnTo>
                  <a:lnTo>
                    <a:pt x="228" y="8"/>
                  </a:lnTo>
                  <a:lnTo>
                    <a:pt x="256" y="14"/>
                  </a:lnTo>
                  <a:lnTo>
                    <a:pt x="280" y="20"/>
                  </a:lnTo>
                  <a:lnTo>
                    <a:pt x="298" y="16"/>
                  </a:lnTo>
                  <a:close/>
                  <a:moveTo>
                    <a:pt x="492" y="238"/>
                  </a:moveTo>
                  <a:lnTo>
                    <a:pt x="496" y="226"/>
                  </a:lnTo>
                  <a:lnTo>
                    <a:pt x="502" y="218"/>
                  </a:lnTo>
                  <a:lnTo>
                    <a:pt x="492" y="204"/>
                  </a:lnTo>
                  <a:lnTo>
                    <a:pt x="472" y="214"/>
                  </a:lnTo>
                  <a:lnTo>
                    <a:pt x="458" y="228"/>
                  </a:lnTo>
                  <a:lnTo>
                    <a:pt x="492" y="238"/>
                  </a:lnTo>
                  <a:close/>
                  <a:moveTo>
                    <a:pt x="420" y="268"/>
                  </a:moveTo>
                  <a:lnTo>
                    <a:pt x="424" y="256"/>
                  </a:lnTo>
                  <a:lnTo>
                    <a:pt x="420" y="244"/>
                  </a:lnTo>
                  <a:lnTo>
                    <a:pt x="406" y="260"/>
                  </a:lnTo>
                  <a:lnTo>
                    <a:pt x="420" y="268"/>
                  </a:lnTo>
                  <a:close/>
                  <a:moveTo>
                    <a:pt x="534" y="208"/>
                  </a:moveTo>
                  <a:lnTo>
                    <a:pt x="540" y="200"/>
                  </a:lnTo>
                  <a:lnTo>
                    <a:pt x="526" y="188"/>
                  </a:lnTo>
                  <a:lnTo>
                    <a:pt x="514" y="200"/>
                  </a:lnTo>
                  <a:lnTo>
                    <a:pt x="534" y="208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86" name="Sri Lanka">
              <a:extLst>
                <a:ext uri="{FF2B5EF4-FFF2-40B4-BE49-F238E27FC236}">
                  <a16:creationId xmlns="" xmlns:a16="http://schemas.microsoft.com/office/drawing/2014/main" id="{4FD981E9-36F6-4CBD-9C36-CF7165887CD7}"/>
                </a:ext>
              </a:extLst>
            </p:cNvPr>
            <p:cNvSpPr>
              <a:spLocks/>
            </p:cNvSpPr>
            <p:nvPr/>
          </p:nvSpPr>
          <p:spPr bwMode="gray">
            <a:xfrm>
              <a:off x="8260881" y="4242135"/>
              <a:ext cx="66379" cy="110128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20" y="0"/>
                </a:cxn>
                <a:cxn ang="0">
                  <a:pos x="38" y="14"/>
                </a:cxn>
                <a:cxn ang="0">
                  <a:pos x="52" y="36"/>
                </a:cxn>
                <a:cxn ang="0">
                  <a:pos x="54" y="50"/>
                </a:cxn>
                <a:cxn ang="0">
                  <a:pos x="60" y="50"/>
                </a:cxn>
                <a:cxn ang="0">
                  <a:pos x="70" y="76"/>
                </a:cxn>
                <a:cxn ang="0">
                  <a:pos x="78" y="74"/>
                </a:cxn>
                <a:cxn ang="0">
                  <a:pos x="80" y="94"/>
                </a:cxn>
                <a:cxn ang="0">
                  <a:pos x="76" y="120"/>
                </a:cxn>
                <a:cxn ang="0">
                  <a:pos x="60" y="124"/>
                </a:cxn>
                <a:cxn ang="0">
                  <a:pos x="42" y="134"/>
                </a:cxn>
                <a:cxn ang="0">
                  <a:pos x="16" y="134"/>
                </a:cxn>
                <a:cxn ang="0">
                  <a:pos x="2" y="110"/>
                </a:cxn>
                <a:cxn ang="0">
                  <a:pos x="2" y="90"/>
                </a:cxn>
                <a:cxn ang="0">
                  <a:pos x="0" y="50"/>
                </a:cxn>
                <a:cxn ang="0">
                  <a:pos x="8" y="32"/>
                </a:cxn>
                <a:cxn ang="0">
                  <a:pos x="14" y="14"/>
                </a:cxn>
                <a:cxn ang="0">
                  <a:pos x="8" y="0"/>
                </a:cxn>
              </a:cxnLst>
              <a:rect l="0" t="0" r="r" b="b"/>
              <a:pathLst>
                <a:path w="80" h="134">
                  <a:moveTo>
                    <a:pt x="8" y="0"/>
                  </a:moveTo>
                  <a:lnTo>
                    <a:pt x="20" y="0"/>
                  </a:lnTo>
                  <a:lnTo>
                    <a:pt x="38" y="14"/>
                  </a:lnTo>
                  <a:lnTo>
                    <a:pt x="52" y="36"/>
                  </a:lnTo>
                  <a:lnTo>
                    <a:pt x="54" y="50"/>
                  </a:lnTo>
                  <a:lnTo>
                    <a:pt x="60" y="50"/>
                  </a:lnTo>
                  <a:lnTo>
                    <a:pt x="70" y="76"/>
                  </a:lnTo>
                  <a:lnTo>
                    <a:pt x="78" y="74"/>
                  </a:lnTo>
                  <a:lnTo>
                    <a:pt x="80" y="94"/>
                  </a:lnTo>
                  <a:lnTo>
                    <a:pt x="76" y="120"/>
                  </a:lnTo>
                  <a:lnTo>
                    <a:pt x="60" y="124"/>
                  </a:lnTo>
                  <a:lnTo>
                    <a:pt x="42" y="134"/>
                  </a:lnTo>
                  <a:lnTo>
                    <a:pt x="16" y="134"/>
                  </a:lnTo>
                  <a:lnTo>
                    <a:pt x="2" y="110"/>
                  </a:lnTo>
                  <a:lnTo>
                    <a:pt x="2" y="90"/>
                  </a:lnTo>
                  <a:lnTo>
                    <a:pt x="0" y="50"/>
                  </a:lnTo>
                  <a:lnTo>
                    <a:pt x="8" y="32"/>
                  </a:lnTo>
                  <a:lnTo>
                    <a:pt x="14" y="14"/>
                  </a:lnTo>
                  <a:lnTo>
                    <a:pt x="8" y="0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87" name="Sudan">
              <a:extLst>
                <a:ext uri="{FF2B5EF4-FFF2-40B4-BE49-F238E27FC236}">
                  <a16:creationId xmlns="" xmlns:a16="http://schemas.microsoft.com/office/drawing/2014/main" id="{44DB2662-C9A1-42E4-A510-0E2C6CD57E8D}"/>
                </a:ext>
              </a:extLst>
            </p:cNvPr>
            <p:cNvSpPr>
              <a:spLocks/>
            </p:cNvSpPr>
            <p:nvPr/>
          </p:nvSpPr>
          <p:spPr bwMode="gray">
            <a:xfrm>
              <a:off x="6478427" y="3848823"/>
              <a:ext cx="523217" cy="605700"/>
            </a:xfrm>
            <a:custGeom>
              <a:avLst/>
              <a:gdLst/>
              <a:ahLst/>
              <a:cxnLst>
                <a:cxn ang="0">
                  <a:pos x="216" y="647"/>
                </a:cxn>
                <a:cxn ang="0">
                  <a:pos x="178" y="609"/>
                </a:cxn>
                <a:cxn ang="0">
                  <a:pos x="142" y="573"/>
                </a:cxn>
                <a:cxn ang="0">
                  <a:pos x="110" y="535"/>
                </a:cxn>
                <a:cxn ang="0">
                  <a:pos x="64" y="524"/>
                </a:cxn>
                <a:cxn ang="0">
                  <a:pos x="72" y="480"/>
                </a:cxn>
                <a:cxn ang="0">
                  <a:pos x="48" y="440"/>
                </a:cxn>
                <a:cxn ang="0">
                  <a:pos x="42" y="424"/>
                </a:cxn>
                <a:cxn ang="0">
                  <a:pos x="6" y="362"/>
                </a:cxn>
                <a:cxn ang="0">
                  <a:pos x="0" y="334"/>
                </a:cxn>
                <a:cxn ang="0">
                  <a:pos x="20" y="298"/>
                </a:cxn>
                <a:cxn ang="0">
                  <a:pos x="36" y="264"/>
                </a:cxn>
                <a:cxn ang="0">
                  <a:pos x="76" y="104"/>
                </a:cxn>
                <a:cxn ang="0">
                  <a:pos x="84" y="70"/>
                </a:cxn>
                <a:cxn ang="0">
                  <a:pos x="126" y="0"/>
                </a:cxn>
                <a:cxn ang="0">
                  <a:pos x="594" y="40"/>
                </a:cxn>
                <a:cxn ang="0">
                  <a:pos x="590" y="86"/>
                </a:cxn>
                <a:cxn ang="0">
                  <a:pos x="646" y="160"/>
                </a:cxn>
                <a:cxn ang="0">
                  <a:pos x="608" y="180"/>
                </a:cxn>
                <a:cxn ang="0">
                  <a:pos x="584" y="200"/>
                </a:cxn>
                <a:cxn ang="0">
                  <a:pos x="576" y="272"/>
                </a:cxn>
                <a:cxn ang="0">
                  <a:pos x="562" y="314"/>
                </a:cxn>
                <a:cxn ang="0">
                  <a:pos x="552" y="376"/>
                </a:cxn>
                <a:cxn ang="0">
                  <a:pos x="506" y="410"/>
                </a:cxn>
                <a:cxn ang="0">
                  <a:pos x="504" y="444"/>
                </a:cxn>
                <a:cxn ang="0">
                  <a:pos x="474" y="488"/>
                </a:cxn>
                <a:cxn ang="0">
                  <a:pos x="446" y="545"/>
                </a:cxn>
                <a:cxn ang="0">
                  <a:pos x="478" y="593"/>
                </a:cxn>
                <a:cxn ang="0">
                  <a:pos x="506" y="621"/>
                </a:cxn>
                <a:cxn ang="0">
                  <a:pos x="540" y="665"/>
                </a:cxn>
                <a:cxn ang="0">
                  <a:pos x="524" y="681"/>
                </a:cxn>
                <a:cxn ang="0">
                  <a:pos x="476" y="717"/>
                </a:cxn>
                <a:cxn ang="0">
                  <a:pos x="408" y="727"/>
                </a:cxn>
                <a:cxn ang="0">
                  <a:pos x="382" y="721"/>
                </a:cxn>
                <a:cxn ang="0">
                  <a:pos x="354" y="739"/>
                </a:cxn>
                <a:cxn ang="0">
                  <a:pos x="288" y="701"/>
                </a:cxn>
                <a:cxn ang="0">
                  <a:pos x="254" y="701"/>
                </a:cxn>
              </a:cxnLst>
              <a:rect l="0" t="0" r="r" b="b"/>
              <a:pathLst>
                <a:path w="646" h="739">
                  <a:moveTo>
                    <a:pt x="222" y="683"/>
                  </a:moveTo>
                  <a:lnTo>
                    <a:pt x="216" y="647"/>
                  </a:lnTo>
                  <a:lnTo>
                    <a:pt x="176" y="621"/>
                  </a:lnTo>
                  <a:lnTo>
                    <a:pt x="178" y="609"/>
                  </a:lnTo>
                  <a:lnTo>
                    <a:pt x="140" y="585"/>
                  </a:lnTo>
                  <a:lnTo>
                    <a:pt x="142" y="573"/>
                  </a:lnTo>
                  <a:lnTo>
                    <a:pt x="108" y="551"/>
                  </a:lnTo>
                  <a:lnTo>
                    <a:pt x="110" y="535"/>
                  </a:lnTo>
                  <a:lnTo>
                    <a:pt x="90" y="537"/>
                  </a:lnTo>
                  <a:lnTo>
                    <a:pt x="64" y="524"/>
                  </a:lnTo>
                  <a:lnTo>
                    <a:pt x="74" y="508"/>
                  </a:lnTo>
                  <a:lnTo>
                    <a:pt x="72" y="480"/>
                  </a:lnTo>
                  <a:lnTo>
                    <a:pt x="54" y="462"/>
                  </a:lnTo>
                  <a:lnTo>
                    <a:pt x="48" y="440"/>
                  </a:lnTo>
                  <a:lnTo>
                    <a:pt x="52" y="430"/>
                  </a:lnTo>
                  <a:lnTo>
                    <a:pt x="42" y="424"/>
                  </a:lnTo>
                  <a:lnTo>
                    <a:pt x="22" y="372"/>
                  </a:lnTo>
                  <a:lnTo>
                    <a:pt x="6" y="362"/>
                  </a:lnTo>
                  <a:lnTo>
                    <a:pt x="10" y="348"/>
                  </a:lnTo>
                  <a:lnTo>
                    <a:pt x="0" y="334"/>
                  </a:lnTo>
                  <a:lnTo>
                    <a:pt x="32" y="318"/>
                  </a:lnTo>
                  <a:lnTo>
                    <a:pt x="20" y="298"/>
                  </a:lnTo>
                  <a:lnTo>
                    <a:pt x="36" y="288"/>
                  </a:lnTo>
                  <a:lnTo>
                    <a:pt x="36" y="264"/>
                  </a:lnTo>
                  <a:lnTo>
                    <a:pt x="74" y="256"/>
                  </a:lnTo>
                  <a:lnTo>
                    <a:pt x="76" y="104"/>
                  </a:lnTo>
                  <a:lnTo>
                    <a:pt x="78" y="80"/>
                  </a:lnTo>
                  <a:lnTo>
                    <a:pt x="84" y="70"/>
                  </a:lnTo>
                  <a:lnTo>
                    <a:pt x="126" y="70"/>
                  </a:lnTo>
                  <a:lnTo>
                    <a:pt x="126" y="0"/>
                  </a:lnTo>
                  <a:lnTo>
                    <a:pt x="574" y="2"/>
                  </a:lnTo>
                  <a:lnTo>
                    <a:pt x="594" y="40"/>
                  </a:lnTo>
                  <a:lnTo>
                    <a:pt x="584" y="40"/>
                  </a:lnTo>
                  <a:lnTo>
                    <a:pt x="590" y="86"/>
                  </a:lnTo>
                  <a:lnTo>
                    <a:pt x="604" y="132"/>
                  </a:lnTo>
                  <a:lnTo>
                    <a:pt x="646" y="160"/>
                  </a:lnTo>
                  <a:lnTo>
                    <a:pt x="628" y="174"/>
                  </a:lnTo>
                  <a:lnTo>
                    <a:pt x="608" y="180"/>
                  </a:lnTo>
                  <a:lnTo>
                    <a:pt x="598" y="198"/>
                  </a:lnTo>
                  <a:lnTo>
                    <a:pt x="584" y="200"/>
                  </a:lnTo>
                  <a:lnTo>
                    <a:pt x="586" y="248"/>
                  </a:lnTo>
                  <a:lnTo>
                    <a:pt x="576" y="272"/>
                  </a:lnTo>
                  <a:lnTo>
                    <a:pt x="560" y="280"/>
                  </a:lnTo>
                  <a:lnTo>
                    <a:pt x="562" y="314"/>
                  </a:lnTo>
                  <a:lnTo>
                    <a:pt x="564" y="342"/>
                  </a:lnTo>
                  <a:lnTo>
                    <a:pt x="552" y="376"/>
                  </a:lnTo>
                  <a:lnTo>
                    <a:pt x="534" y="376"/>
                  </a:lnTo>
                  <a:lnTo>
                    <a:pt x="506" y="410"/>
                  </a:lnTo>
                  <a:lnTo>
                    <a:pt x="500" y="422"/>
                  </a:lnTo>
                  <a:lnTo>
                    <a:pt x="504" y="444"/>
                  </a:lnTo>
                  <a:lnTo>
                    <a:pt x="482" y="450"/>
                  </a:lnTo>
                  <a:lnTo>
                    <a:pt x="474" y="488"/>
                  </a:lnTo>
                  <a:lnTo>
                    <a:pt x="478" y="547"/>
                  </a:lnTo>
                  <a:lnTo>
                    <a:pt x="446" y="545"/>
                  </a:lnTo>
                  <a:lnTo>
                    <a:pt x="436" y="575"/>
                  </a:lnTo>
                  <a:lnTo>
                    <a:pt x="478" y="593"/>
                  </a:lnTo>
                  <a:lnTo>
                    <a:pt x="488" y="611"/>
                  </a:lnTo>
                  <a:lnTo>
                    <a:pt x="506" y="621"/>
                  </a:lnTo>
                  <a:lnTo>
                    <a:pt x="508" y="655"/>
                  </a:lnTo>
                  <a:lnTo>
                    <a:pt x="540" y="665"/>
                  </a:lnTo>
                  <a:lnTo>
                    <a:pt x="542" y="693"/>
                  </a:lnTo>
                  <a:lnTo>
                    <a:pt x="524" y="681"/>
                  </a:lnTo>
                  <a:lnTo>
                    <a:pt x="494" y="697"/>
                  </a:lnTo>
                  <a:lnTo>
                    <a:pt x="476" y="717"/>
                  </a:lnTo>
                  <a:lnTo>
                    <a:pt x="462" y="731"/>
                  </a:lnTo>
                  <a:lnTo>
                    <a:pt x="408" y="727"/>
                  </a:lnTo>
                  <a:lnTo>
                    <a:pt x="396" y="711"/>
                  </a:lnTo>
                  <a:lnTo>
                    <a:pt x="382" y="721"/>
                  </a:lnTo>
                  <a:lnTo>
                    <a:pt x="366" y="723"/>
                  </a:lnTo>
                  <a:lnTo>
                    <a:pt x="354" y="739"/>
                  </a:lnTo>
                  <a:lnTo>
                    <a:pt x="308" y="691"/>
                  </a:lnTo>
                  <a:lnTo>
                    <a:pt x="288" y="701"/>
                  </a:lnTo>
                  <a:lnTo>
                    <a:pt x="272" y="693"/>
                  </a:lnTo>
                  <a:lnTo>
                    <a:pt x="254" y="701"/>
                  </a:lnTo>
                  <a:lnTo>
                    <a:pt x="222" y="683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88" name="Suriname">
              <a:extLst>
                <a:ext uri="{FF2B5EF4-FFF2-40B4-BE49-F238E27FC236}">
                  <a16:creationId xmlns="" xmlns:a16="http://schemas.microsoft.com/office/drawing/2014/main" id="{1D4CFD02-E50E-420A-974D-9FC987C5529B}"/>
                </a:ext>
              </a:extLst>
            </p:cNvPr>
            <p:cNvSpPr>
              <a:spLocks/>
            </p:cNvSpPr>
            <p:nvPr/>
          </p:nvSpPr>
          <p:spPr bwMode="gray">
            <a:xfrm>
              <a:off x="3909196" y="4426990"/>
              <a:ext cx="130803" cy="129793"/>
            </a:xfrm>
            <a:custGeom>
              <a:avLst/>
              <a:gdLst/>
              <a:ahLst/>
              <a:cxnLst>
                <a:cxn ang="0">
                  <a:pos x="84" y="160"/>
                </a:cxn>
                <a:cxn ang="0">
                  <a:pos x="44" y="158"/>
                </a:cxn>
                <a:cxn ang="0">
                  <a:pos x="26" y="112"/>
                </a:cxn>
                <a:cxn ang="0">
                  <a:pos x="6" y="100"/>
                </a:cxn>
                <a:cxn ang="0">
                  <a:pos x="0" y="70"/>
                </a:cxn>
                <a:cxn ang="0">
                  <a:pos x="2" y="46"/>
                </a:cxn>
                <a:cxn ang="0">
                  <a:pos x="18" y="50"/>
                </a:cxn>
                <a:cxn ang="0">
                  <a:pos x="30" y="40"/>
                </a:cxn>
                <a:cxn ang="0">
                  <a:pos x="30" y="24"/>
                </a:cxn>
                <a:cxn ang="0">
                  <a:pos x="36" y="6"/>
                </a:cxn>
                <a:cxn ang="0">
                  <a:pos x="62" y="10"/>
                </a:cxn>
                <a:cxn ang="0">
                  <a:pos x="86" y="10"/>
                </a:cxn>
                <a:cxn ang="0">
                  <a:pos x="112" y="0"/>
                </a:cxn>
                <a:cxn ang="0">
                  <a:pos x="142" y="6"/>
                </a:cxn>
                <a:cxn ang="0">
                  <a:pos x="158" y="8"/>
                </a:cxn>
                <a:cxn ang="0">
                  <a:pos x="162" y="18"/>
                </a:cxn>
                <a:cxn ang="0">
                  <a:pos x="142" y="42"/>
                </a:cxn>
                <a:cxn ang="0">
                  <a:pos x="138" y="64"/>
                </a:cxn>
                <a:cxn ang="0">
                  <a:pos x="142" y="88"/>
                </a:cxn>
                <a:cxn ang="0">
                  <a:pos x="156" y="102"/>
                </a:cxn>
                <a:cxn ang="0">
                  <a:pos x="148" y="112"/>
                </a:cxn>
                <a:cxn ang="0">
                  <a:pos x="152" y="126"/>
                </a:cxn>
                <a:cxn ang="0">
                  <a:pos x="138" y="148"/>
                </a:cxn>
                <a:cxn ang="0">
                  <a:pos x="118" y="130"/>
                </a:cxn>
                <a:cxn ang="0">
                  <a:pos x="100" y="146"/>
                </a:cxn>
                <a:cxn ang="0">
                  <a:pos x="82" y="138"/>
                </a:cxn>
                <a:cxn ang="0">
                  <a:pos x="76" y="146"/>
                </a:cxn>
                <a:cxn ang="0">
                  <a:pos x="84" y="160"/>
                </a:cxn>
              </a:cxnLst>
              <a:rect l="0" t="0" r="r" b="b"/>
              <a:pathLst>
                <a:path w="162" h="160">
                  <a:moveTo>
                    <a:pt x="84" y="160"/>
                  </a:moveTo>
                  <a:lnTo>
                    <a:pt x="44" y="158"/>
                  </a:lnTo>
                  <a:lnTo>
                    <a:pt x="26" y="112"/>
                  </a:lnTo>
                  <a:lnTo>
                    <a:pt x="6" y="100"/>
                  </a:lnTo>
                  <a:lnTo>
                    <a:pt x="0" y="70"/>
                  </a:lnTo>
                  <a:lnTo>
                    <a:pt x="2" y="46"/>
                  </a:lnTo>
                  <a:lnTo>
                    <a:pt x="18" y="50"/>
                  </a:lnTo>
                  <a:lnTo>
                    <a:pt x="30" y="40"/>
                  </a:lnTo>
                  <a:lnTo>
                    <a:pt x="30" y="24"/>
                  </a:lnTo>
                  <a:lnTo>
                    <a:pt x="36" y="6"/>
                  </a:lnTo>
                  <a:lnTo>
                    <a:pt x="62" y="10"/>
                  </a:lnTo>
                  <a:lnTo>
                    <a:pt x="86" y="10"/>
                  </a:lnTo>
                  <a:lnTo>
                    <a:pt x="112" y="0"/>
                  </a:lnTo>
                  <a:lnTo>
                    <a:pt x="142" y="6"/>
                  </a:lnTo>
                  <a:lnTo>
                    <a:pt x="158" y="8"/>
                  </a:lnTo>
                  <a:lnTo>
                    <a:pt x="162" y="18"/>
                  </a:lnTo>
                  <a:lnTo>
                    <a:pt x="142" y="42"/>
                  </a:lnTo>
                  <a:lnTo>
                    <a:pt x="138" y="64"/>
                  </a:lnTo>
                  <a:lnTo>
                    <a:pt x="142" y="88"/>
                  </a:lnTo>
                  <a:lnTo>
                    <a:pt x="156" y="102"/>
                  </a:lnTo>
                  <a:lnTo>
                    <a:pt x="148" y="112"/>
                  </a:lnTo>
                  <a:lnTo>
                    <a:pt x="152" y="126"/>
                  </a:lnTo>
                  <a:lnTo>
                    <a:pt x="138" y="148"/>
                  </a:lnTo>
                  <a:lnTo>
                    <a:pt x="118" y="130"/>
                  </a:lnTo>
                  <a:lnTo>
                    <a:pt x="100" y="146"/>
                  </a:lnTo>
                  <a:lnTo>
                    <a:pt x="82" y="138"/>
                  </a:lnTo>
                  <a:lnTo>
                    <a:pt x="76" y="146"/>
                  </a:lnTo>
                  <a:lnTo>
                    <a:pt x="84" y="160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89" name="Swaziland">
              <a:extLst>
                <a:ext uri="{FF2B5EF4-FFF2-40B4-BE49-F238E27FC236}">
                  <a16:creationId xmlns="" xmlns:a16="http://schemas.microsoft.com/office/drawing/2014/main" id="{FD1473B1-2C89-4EB1-8DEC-CF366509F806}"/>
                </a:ext>
              </a:extLst>
            </p:cNvPr>
            <p:cNvSpPr>
              <a:spLocks/>
            </p:cNvSpPr>
            <p:nvPr/>
          </p:nvSpPr>
          <p:spPr bwMode="gray">
            <a:xfrm>
              <a:off x="6755655" y="5418137"/>
              <a:ext cx="46855" cy="51131"/>
            </a:xfrm>
            <a:custGeom>
              <a:avLst/>
              <a:gdLst/>
              <a:ahLst/>
              <a:cxnLst>
                <a:cxn ang="0">
                  <a:pos x="38" y="64"/>
                </a:cxn>
                <a:cxn ang="0">
                  <a:pos x="56" y="46"/>
                </a:cxn>
                <a:cxn ang="0">
                  <a:pos x="54" y="24"/>
                </a:cxn>
                <a:cxn ang="0">
                  <a:pos x="44" y="12"/>
                </a:cxn>
                <a:cxn ang="0">
                  <a:pos x="30" y="4"/>
                </a:cxn>
                <a:cxn ang="0">
                  <a:pos x="14" y="0"/>
                </a:cxn>
                <a:cxn ang="0">
                  <a:pos x="8" y="22"/>
                </a:cxn>
                <a:cxn ang="0">
                  <a:pos x="0" y="42"/>
                </a:cxn>
                <a:cxn ang="0">
                  <a:pos x="6" y="62"/>
                </a:cxn>
                <a:cxn ang="0">
                  <a:pos x="16" y="64"/>
                </a:cxn>
                <a:cxn ang="0">
                  <a:pos x="38" y="64"/>
                </a:cxn>
              </a:cxnLst>
              <a:rect l="0" t="0" r="r" b="b"/>
              <a:pathLst>
                <a:path w="56" h="64">
                  <a:moveTo>
                    <a:pt x="38" y="64"/>
                  </a:moveTo>
                  <a:lnTo>
                    <a:pt x="56" y="46"/>
                  </a:lnTo>
                  <a:lnTo>
                    <a:pt x="54" y="24"/>
                  </a:lnTo>
                  <a:lnTo>
                    <a:pt x="44" y="12"/>
                  </a:lnTo>
                  <a:lnTo>
                    <a:pt x="30" y="4"/>
                  </a:lnTo>
                  <a:lnTo>
                    <a:pt x="14" y="0"/>
                  </a:lnTo>
                  <a:lnTo>
                    <a:pt x="8" y="22"/>
                  </a:lnTo>
                  <a:lnTo>
                    <a:pt x="0" y="42"/>
                  </a:lnTo>
                  <a:lnTo>
                    <a:pt x="6" y="62"/>
                  </a:lnTo>
                  <a:lnTo>
                    <a:pt x="16" y="64"/>
                  </a:lnTo>
                  <a:lnTo>
                    <a:pt x="38" y="64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90" name="Sweden">
              <a:extLst>
                <a:ext uri="{FF2B5EF4-FFF2-40B4-BE49-F238E27FC236}">
                  <a16:creationId xmlns="" xmlns:a16="http://schemas.microsoft.com/office/drawing/2014/main" id="{9A755762-ACDE-407F-B7BF-DC514413BCBB}"/>
                </a:ext>
              </a:extLst>
            </p:cNvPr>
            <p:cNvSpPr>
              <a:spLocks/>
            </p:cNvSpPr>
            <p:nvPr/>
          </p:nvSpPr>
          <p:spPr bwMode="gray">
            <a:xfrm>
              <a:off x="6144582" y="1469286"/>
              <a:ext cx="404127" cy="967548"/>
            </a:xfrm>
            <a:custGeom>
              <a:avLst/>
              <a:gdLst/>
              <a:ahLst/>
              <a:cxnLst>
                <a:cxn ang="0">
                  <a:pos x="12" y="968"/>
                </a:cxn>
                <a:cxn ang="0">
                  <a:pos x="18" y="1010"/>
                </a:cxn>
                <a:cxn ang="0">
                  <a:pos x="42" y="1078"/>
                </a:cxn>
                <a:cxn ang="0">
                  <a:pos x="60" y="1100"/>
                </a:cxn>
                <a:cxn ang="0">
                  <a:pos x="56" y="1144"/>
                </a:cxn>
                <a:cxn ang="0">
                  <a:pos x="76" y="1186"/>
                </a:cxn>
                <a:cxn ang="0">
                  <a:pos x="110" y="1180"/>
                </a:cxn>
                <a:cxn ang="0">
                  <a:pos x="118" y="1148"/>
                </a:cxn>
                <a:cxn ang="0">
                  <a:pos x="138" y="1128"/>
                </a:cxn>
                <a:cxn ang="0">
                  <a:pos x="168" y="1132"/>
                </a:cxn>
                <a:cxn ang="0">
                  <a:pos x="192" y="1104"/>
                </a:cxn>
                <a:cxn ang="0">
                  <a:pos x="204" y="1064"/>
                </a:cxn>
                <a:cxn ang="0">
                  <a:pos x="210" y="1022"/>
                </a:cxn>
                <a:cxn ang="0">
                  <a:pos x="222" y="976"/>
                </a:cxn>
                <a:cxn ang="0">
                  <a:pos x="232" y="954"/>
                </a:cxn>
                <a:cxn ang="0">
                  <a:pos x="268" y="934"/>
                </a:cxn>
                <a:cxn ang="0">
                  <a:pos x="286" y="886"/>
                </a:cxn>
                <a:cxn ang="0">
                  <a:pos x="296" y="844"/>
                </a:cxn>
                <a:cxn ang="0">
                  <a:pos x="270" y="812"/>
                </a:cxn>
                <a:cxn ang="0">
                  <a:pos x="246" y="790"/>
                </a:cxn>
                <a:cxn ang="0">
                  <a:pos x="252" y="710"/>
                </a:cxn>
                <a:cxn ang="0">
                  <a:pos x="246" y="638"/>
                </a:cxn>
                <a:cxn ang="0">
                  <a:pos x="274" y="608"/>
                </a:cxn>
                <a:cxn ang="0">
                  <a:pos x="308" y="572"/>
                </a:cxn>
                <a:cxn ang="0">
                  <a:pos x="332" y="550"/>
                </a:cxn>
                <a:cxn ang="0">
                  <a:pos x="354" y="528"/>
                </a:cxn>
                <a:cxn ang="0">
                  <a:pos x="388" y="492"/>
                </a:cxn>
                <a:cxn ang="0">
                  <a:pos x="374" y="450"/>
                </a:cxn>
                <a:cxn ang="0">
                  <a:pos x="390" y="402"/>
                </a:cxn>
                <a:cxn ang="0">
                  <a:pos x="442" y="342"/>
                </a:cxn>
                <a:cxn ang="0">
                  <a:pos x="498" y="348"/>
                </a:cxn>
                <a:cxn ang="0">
                  <a:pos x="498" y="244"/>
                </a:cxn>
                <a:cxn ang="0">
                  <a:pos x="474" y="104"/>
                </a:cxn>
                <a:cxn ang="0">
                  <a:pos x="408" y="50"/>
                </a:cxn>
                <a:cxn ang="0">
                  <a:pos x="336" y="0"/>
                </a:cxn>
                <a:cxn ang="0">
                  <a:pos x="322" y="62"/>
                </a:cxn>
                <a:cxn ang="0">
                  <a:pos x="278" y="54"/>
                </a:cxn>
                <a:cxn ang="0">
                  <a:pos x="262" y="54"/>
                </a:cxn>
                <a:cxn ang="0">
                  <a:pos x="264" y="104"/>
                </a:cxn>
                <a:cxn ang="0">
                  <a:pos x="214" y="140"/>
                </a:cxn>
                <a:cxn ang="0">
                  <a:pos x="194" y="162"/>
                </a:cxn>
                <a:cxn ang="0">
                  <a:pos x="152" y="282"/>
                </a:cxn>
                <a:cxn ang="0">
                  <a:pos x="150" y="318"/>
                </a:cxn>
                <a:cxn ang="0">
                  <a:pos x="98" y="452"/>
                </a:cxn>
                <a:cxn ang="0">
                  <a:pos x="88" y="490"/>
                </a:cxn>
                <a:cxn ang="0">
                  <a:pos x="34" y="530"/>
                </a:cxn>
                <a:cxn ang="0">
                  <a:pos x="32" y="672"/>
                </a:cxn>
                <a:cxn ang="0">
                  <a:pos x="38" y="768"/>
                </a:cxn>
                <a:cxn ang="0">
                  <a:pos x="24" y="884"/>
                </a:cxn>
                <a:cxn ang="0">
                  <a:pos x="8" y="920"/>
                </a:cxn>
                <a:cxn ang="0">
                  <a:pos x="0" y="950"/>
                </a:cxn>
              </a:cxnLst>
              <a:rect l="0" t="0" r="r" b="b"/>
              <a:pathLst>
                <a:path w="498" h="1186">
                  <a:moveTo>
                    <a:pt x="0" y="950"/>
                  </a:moveTo>
                  <a:lnTo>
                    <a:pt x="12" y="968"/>
                  </a:lnTo>
                  <a:lnTo>
                    <a:pt x="24" y="978"/>
                  </a:lnTo>
                  <a:lnTo>
                    <a:pt x="18" y="1010"/>
                  </a:lnTo>
                  <a:lnTo>
                    <a:pt x="30" y="1026"/>
                  </a:lnTo>
                  <a:lnTo>
                    <a:pt x="42" y="1078"/>
                  </a:lnTo>
                  <a:lnTo>
                    <a:pt x="56" y="1086"/>
                  </a:lnTo>
                  <a:lnTo>
                    <a:pt x="60" y="1100"/>
                  </a:lnTo>
                  <a:lnTo>
                    <a:pt x="46" y="1120"/>
                  </a:lnTo>
                  <a:lnTo>
                    <a:pt x="56" y="1144"/>
                  </a:lnTo>
                  <a:lnTo>
                    <a:pt x="60" y="1170"/>
                  </a:lnTo>
                  <a:lnTo>
                    <a:pt x="76" y="1186"/>
                  </a:lnTo>
                  <a:lnTo>
                    <a:pt x="96" y="1178"/>
                  </a:lnTo>
                  <a:lnTo>
                    <a:pt x="110" y="1180"/>
                  </a:lnTo>
                  <a:lnTo>
                    <a:pt x="118" y="1170"/>
                  </a:lnTo>
                  <a:lnTo>
                    <a:pt x="118" y="1148"/>
                  </a:lnTo>
                  <a:lnTo>
                    <a:pt x="134" y="1140"/>
                  </a:lnTo>
                  <a:lnTo>
                    <a:pt x="138" y="1128"/>
                  </a:lnTo>
                  <a:lnTo>
                    <a:pt x="152" y="1122"/>
                  </a:lnTo>
                  <a:lnTo>
                    <a:pt x="168" y="1132"/>
                  </a:lnTo>
                  <a:lnTo>
                    <a:pt x="188" y="1128"/>
                  </a:lnTo>
                  <a:lnTo>
                    <a:pt x="192" y="1104"/>
                  </a:lnTo>
                  <a:lnTo>
                    <a:pt x="200" y="1086"/>
                  </a:lnTo>
                  <a:lnTo>
                    <a:pt x="204" y="1064"/>
                  </a:lnTo>
                  <a:lnTo>
                    <a:pt x="212" y="1056"/>
                  </a:lnTo>
                  <a:lnTo>
                    <a:pt x="210" y="1022"/>
                  </a:lnTo>
                  <a:lnTo>
                    <a:pt x="210" y="1012"/>
                  </a:lnTo>
                  <a:lnTo>
                    <a:pt x="222" y="976"/>
                  </a:lnTo>
                  <a:lnTo>
                    <a:pt x="218" y="962"/>
                  </a:lnTo>
                  <a:lnTo>
                    <a:pt x="232" y="954"/>
                  </a:lnTo>
                  <a:lnTo>
                    <a:pt x="250" y="922"/>
                  </a:lnTo>
                  <a:lnTo>
                    <a:pt x="268" y="934"/>
                  </a:lnTo>
                  <a:lnTo>
                    <a:pt x="284" y="910"/>
                  </a:lnTo>
                  <a:lnTo>
                    <a:pt x="286" y="886"/>
                  </a:lnTo>
                  <a:lnTo>
                    <a:pt x="298" y="872"/>
                  </a:lnTo>
                  <a:lnTo>
                    <a:pt x="296" y="844"/>
                  </a:lnTo>
                  <a:lnTo>
                    <a:pt x="284" y="832"/>
                  </a:lnTo>
                  <a:lnTo>
                    <a:pt x="270" y="812"/>
                  </a:lnTo>
                  <a:lnTo>
                    <a:pt x="262" y="798"/>
                  </a:lnTo>
                  <a:lnTo>
                    <a:pt x="246" y="790"/>
                  </a:lnTo>
                  <a:lnTo>
                    <a:pt x="238" y="708"/>
                  </a:lnTo>
                  <a:lnTo>
                    <a:pt x="252" y="710"/>
                  </a:lnTo>
                  <a:lnTo>
                    <a:pt x="254" y="664"/>
                  </a:lnTo>
                  <a:lnTo>
                    <a:pt x="246" y="638"/>
                  </a:lnTo>
                  <a:lnTo>
                    <a:pt x="264" y="632"/>
                  </a:lnTo>
                  <a:lnTo>
                    <a:pt x="274" y="608"/>
                  </a:lnTo>
                  <a:lnTo>
                    <a:pt x="296" y="570"/>
                  </a:lnTo>
                  <a:lnTo>
                    <a:pt x="308" y="572"/>
                  </a:lnTo>
                  <a:lnTo>
                    <a:pt x="314" y="544"/>
                  </a:lnTo>
                  <a:lnTo>
                    <a:pt x="332" y="550"/>
                  </a:lnTo>
                  <a:lnTo>
                    <a:pt x="340" y="530"/>
                  </a:lnTo>
                  <a:lnTo>
                    <a:pt x="354" y="528"/>
                  </a:lnTo>
                  <a:lnTo>
                    <a:pt x="372" y="502"/>
                  </a:lnTo>
                  <a:lnTo>
                    <a:pt x="388" y="492"/>
                  </a:lnTo>
                  <a:lnTo>
                    <a:pt x="398" y="478"/>
                  </a:lnTo>
                  <a:lnTo>
                    <a:pt x="374" y="450"/>
                  </a:lnTo>
                  <a:lnTo>
                    <a:pt x="390" y="422"/>
                  </a:lnTo>
                  <a:lnTo>
                    <a:pt x="390" y="402"/>
                  </a:lnTo>
                  <a:lnTo>
                    <a:pt x="424" y="372"/>
                  </a:lnTo>
                  <a:lnTo>
                    <a:pt x="442" y="342"/>
                  </a:lnTo>
                  <a:lnTo>
                    <a:pt x="460" y="350"/>
                  </a:lnTo>
                  <a:lnTo>
                    <a:pt x="498" y="348"/>
                  </a:lnTo>
                  <a:lnTo>
                    <a:pt x="490" y="288"/>
                  </a:lnTo>
                  <a:lnTo>
                    <a:pt x="498" y="244"/>
                  </a:lnTo>
                  <a:lnTo>
                    <a:pt x="482" y="174"/>
                  </a:lnTo>
                  <a:lnTo>
                    <a:pt x="474" y="104"/>
                  </a:lnTo>
                  <a:lnTo>
                    <a:pt x="456" y="78"/>
                  </a:lnTo>
                  <a:lnTo>
                    <a:pt x="408" y="50"/>
                  </a:lnTo>
                  <a:lnTo>
                    <a:pt x="350" y="0"/>
                  </a:lnTo>
                  <a:lnTo>
                    <a:pt x="336" y="0"/>
                  </a:lnTo>
                  <a:lnTo>
                    <a:pt x="334" y="46"/>
                  </a:lnTo>
                  <a:lnTo>
                    <a:pt x="322" y="62"/>
                  </a:lnTo>
                  <a:lnTo>
                    <a:pt x="310" y="54"/>
                  </a:lnTo>
                  <a:lnTo>
                    <a:pt x="278" y="54"/>
                  </a:lnTo>
                  <a:lnTo>
                    <a:pt x="268" y="48"/>
                  </a:lnTo>
                  <a:lnTo>
                    <a:pt x="262" y="54"/>
                  </a:lnTo>
                  <a:lnTo>
                    <a:pt x="266" y="84"/>
                  </a:lnTo>
                  <a:lnTo>
                    <a:pt x="264" y="104"/>
                  </a:lnTo>
                  <a:lnTo>
                    <a:pt x="234" y="92"/>
                  </a:lnTo>
                  <a:lnTo>
                    <a:pt x="214" y="140"/>
                  </a:lnTo>
                  <a:lnTo>
                    <a:pt x="198" y="144"/>
                  </a:lnTo>
                  <a:lnTo>
                    <a:pt x="194" y="162"/>
                  </a:lnTo>
                  <a:lnTo>
                    <a:pt x="216" y="192"/>
                  </a:lnTo>
                  <a:lnTo>
                    <a:pt x="152" y="282"/>
                  </a:lnTo>
                  <a:lnTo>
                    <a:pt x="160" y="306"/>
                  </a:lnTo>
                  <a:lnTo>
                    <a:pt x="150" y="318"/>
                  </a:lnTo>
                  <a:lnTo>
                    <a:pt x="136" y="318"/>
                  </a:lnTo>
                  <a:lnTo>
                    <a:pt x="98" y="452"/>
                  </a:lnTo>
                  <a:lnTo>
                    <a:pt x="114" y="464"/>
                  </a:lnTo>
                  <a:lnTo>
                    <a:pt x="88" y="490"/>
                  </a:lnTo>
                  <a:lnTo>
                    <a:pt x="62" y="488"/>
                  </a:lnTo>
                  <a:lnTo>
                    <a:pt x="34" y="530"/>
                  </a:lnTo>
                  <a:lnTo>
                    <a:pt x="40" y="550"/>
                  </a:lnTo>
                  <a:lnTo>
                    <a:pt x="32" y="672"/>
                  </a:lnTo>
                  <a:lnTo>
                    <a:pt x="58" y="732"/>
                  </a:lnTo>
                  <a:lnTo>
                    <a:pt x="38" y="768"/>
                  </a:lnTo>
                  <a:lnTo>
                    <a:pt x="54" y="836"/>
                  </a:lnTo>
                  <a:lnTo>
                    <a:pt x="24" y="884"/>
                  </a:lnTo>
                  <a:lnTo>
                    <a:pt x="20" y="920"/>
                  </a:lnTo>
                  <a:lnTo>
                    <a:pt x="8" y="920"/>
                  </a:lnTo>
                  <a:lnTo>
                    <a:pt x="0" y="928"/>
                  </a:lnTo>
                  <a:lnTo>
                    <a:pt x="0" y="950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91" name="Switzerland">
              <a:extLst>
                <a:ext uri="{FF2B5EF4-FFF2-40B4-BE49-F238E27FC236}">
                  <a16:creationId xmlns="" xmlns:a16="http://schemas.microsoft.com/office/drawing/2014/main" id="{364CDDC1-127E-48CB-8600-68CCCC105D80}"/>
                </a:ext>
              </a:extLst>
            </p:cNvPr>
            <p:cNvSpPr>
              <a:spLocks/>
            </p:cNvSpPr>
            <p:nvPr/>
          </p:nvSpPr>
          <p:spPr bwMode="gray">
            <a:xfrm>
              <a:off x="5988399" y="2828179"/>
              <a:ext cx="142519" cy="86528"/>
            </a:xfrm>
            <a:custGeom>
              <a:avLst/>
              <a:gdLst/>
              <a:ahLst/>
              <a:cxnLst>
                <a:cxn ang="0">
                  <a:pos x="62" y="94"/>
                </a:cxn>
                <a:cxn ang="0">
                  <a:pos x="74" y="100"/>
                </a:cxn>
                <a:cxn ang="0">
                  <a:pos x="82" y="90"/>
                </a:cxn>
                <a:cxn ang="0">
                  <a:pos x="96" y="78"/>
                </a:cxn>
                <a:cxn ang="0">
                  <a:pos x="104" y="90"/>
                </a:cxn>
                <a:cxn ang="0">
                  <a:pos x="116" y="96"/>
                </a:cxn>
                <a:cxn ang="0">
                  <a:pos x="118" y="80"/>
                </a:cxn>
                <a:cxn ang="0">
                  <a:pos x="122" y="68"/>
                </a:cxn>
                <a:cxn ang="0">
                  <a:pos x="132" y="72"/>
                </a:cxn>
                <a:cxn ang="0">
                  <a:pos x="158" y="78"/>
                </a:cxn>
                <a:cxn ang="0">
                  <a:pos x="164" y="64"/>
                </a:cxn>
                <a:cxn ang="0">
                  <a:pos x="166" y="52"/>
                </a:cxn>
                <a:cxn ang="0">
                  <a:pos x="178" y="48"/>
                </a:cxn>
                <a:cxn ang="0">
                  <a:pos x="168" y="40"/>
                </a:cxn>
                <a:cxn ang="0">
                  <a:pos x="154" y="44"/>
                </a:cxn>
                <a:cxn ang="0">
                  <a:pos x="140" y="38"/>
                </a:cxn>
                <a:cxn ang="0">
                  <a:pos x="136" y="24"/>
                </a:cxn>
                <a:cxn ang="0">
                  <a:pos x="142" y="10"/>
                </a:cxn>
                <a:cxn ang="0">
                  <a:pos x="132" y="2"/>
                </a:cxn>
                <a:cxn ang="0">
                  <a:pos x="114" y="4"/>
                </a:cxn>
                <a:cxn ang="0">
                  <a:pos x="102" y="0"/>
                </a:cxn>
                <a:cxn ang="0">
                  <a:pos x="82" y="10"/>
                </a:cxn>
                <a:cxn ang="0">
                  <a:pos x="68" y="4"/>
                </a:cxn>
                <a:cxn ang="0">
                  <a:pos x="52" y="12"/>
                </a:cxn>
                <a:cxn ang="0">
                  <a:pos x="40" y="10"/>
                </a:cxn>
                <a:cxn ang="0">
                  <a:pos x="30" y="20"/>
                </a:cxn>
                <a:cxn ang="0">
                  <a:pos x="36" y="30"/>
                </a:cxn>
                <a:cxn ang="0">
                  <a:pos x="16" y="48"/>
                </a:cxn>
                <a:cxn ang="0">
                  <a:pos x="6" y="70"/>
                </a:cxn>
                <a:cxn ang="0">
                  <a:pos x="0" y="90"/>
                </a:cxn>
                <a:cxn ang="0">
                  <a:pos x="16" y="90"/>
                </a:cxn>
                <a:cxn ang="0">
                  <a:pos x="28" y="76"/>
                </a:cxn>
                <a:cxn ang="0">
                  <a:pos x="40" y="86"/>
                </a:cxn>
                <a:cxn ang="0">
                  <a:pos x="44" y="104"/>
                </a:cxn>
                <a:cxn ang="0">
                  <a:pos x="62" y="94"/>
                </a:cxn>
              </a:cxnLst>
              <a:rect l="0" t="0" r="r" b="b"/>
              <a:pathLst>
                <a:path w="178" h="104">
                  <a:moveTo>
                    <a:pt x="62" y="94"/>
                  </a:moveTo>
                  <a:lnTo>
                    <a:pt x="74" y="100"/>
                  </a:lnTo>
                  <a:lnTo>
                    <a:pt x="82" y="90"/>
                  </a:lnTo>
                  <a:lnTo>
                    <a:pt x="96" y="78"/>
                  </a:lnTo>
                  <a:lnTo>
                    <a:pt x="104" y="90"/>
                  </a:lnTo>
                  <a:lnTo>
                    <a:pt x="116" y="96"/>
                  </a:lnTo>
                  <a:lnTo>
                    <a:pt x="118" y="80"/>
                  </a:lnTo>
                  <a:lnTo>
                    <a:pt x="122" y="68"/>
                  </a:lnTo>
                  <a:lnTo>
                    <a:pt x="132" y="72"/>
                  </a:lnTo>
                  <a:lnTo>
                    <a:pt x="158" y="78"/>
                  </a:lnTo>
                  <a:lnTo>
                    <a:pt x="164" y="64"/>
                  </a:lnTo>
                  <a:lnTo>
                    <a:pt x="166" y="52"/>
                  </a:lnTo>
                  <a:lnTo>
                    <a:pt x="178" y="48"/>
                  </a:lnTo>
                  <a:lnTo>
                    <a:pt x="168" y="40"/>
                  </a:lnTo>
                  <a:lnTo>
                    <a:pt x="154" y="44"/>
                  </a:lnTo>
                  <a:lnTo>
                    <a:pt x="140" y="38"/>
                  </a:lnTo>
                  <a:lnTo>
                    <a:pt x="136" y="24"/>
                  </a:lnTo>
                  <a:lnTo>
                    <a:pt x="142" y="10"/>
                  </a:lnTo>
                  <a:lnTo>
                    <a:pt x="132" y="2"/>
                  </a:lnTo>
                  <a:lnTo>
                    <a:pt x="114" y="4"/>
                  </a:lnTo>
                  <a:lnTo>
                    <a:pt x="102" y="0"/>
                  </a:lnTo>
                  <a:lnTo>
                    <a:pt x="82" y="10"/>
                  </a:lnTo>
                  <a:lnTo>
                    <a:pt x="68" y="4"/>
                  </a:lnTo>
                  <a:lnTo>
                    <a:pt x="52" y="12"/>
                  </a:lnTo>
                  <a:lnTo>
                    <a:pt x="40" y="10"/>
                  </a:lnTo>
                  <a:lnTo>
                    <a:pt x="30" y="20"/>
                  </a:lnTo>
                  <a:lnTo>
                    <a:pt x="36" y="30"/>
                  </a:lnTo>
                  <a:lnTo>
                    <a:pt x="16" y="48"/>
                  </a:lnTo>
                  <a:lnTo>
                    <a:pt x="6" y="70"/>
                  </a:lnTo>
                  <a:lnTo>
                    <a:pt x="0" y="90"/>
                  </a:lnTo>
                  <a:lnTo>
                    <a:pt x="16" y="90"/>
                  </a:lnTo>
                  <a:lnTo>
                    <a:pt x="28" y="76"/>
                  </a:lnTo>
                  <a:lnTo>
                    <a:pt x="40" y="86"/>
                  </a:lnTo>
                  <a:lnTo>
                    <a:pt x="44" y="104"/>
                  </a:lnTo>
                  <a:lnTo>
                    <a:pt x="62" y="94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92" name="Syria">
              <a:extLst>
                <a:ext uri="{FF2B5EF4-FFF2-40B4-BE49-F238E27FC236}">
                  <a16:creationId xmlns="" xmlns:a16="http://schemas.microsoft.com/office/drawing/2014/main" id="{DE63C68D-C1EE-420E-8F3F-55297C128683}"/>
                </a:ext>
              </a:extLst>
            </p:cNvPr>
            <p:cNvSpPr>
              <a:spLocks/>
            </p:cNvSpPr>
            <p:nvPr/>
          </p:nvSpPr>
          <p:spPr bwMode="gray">
            <a:xfrm>
              <a:off x="6905983" y="3286387"/>
              <a:ext cx="216707" cy="188791"/>
            </a:xfrm>
            <a:custGeom>
              <a:avLst/>
              <a:gdLst/>
              <a:ahLst/>
              <a:cxnLst>
                <a:cxn ang="0">
                  <a:pos x="4" y="182"/>
                </a:cxn>
                <a:cxn ang="0">
                  <a:pos x="6" y="192"/>
                </a:cxn>
                <a:cxn ang="0">
                  <a:pos x="6" y="198"/>
                </a:cxn>
                <a:cxn ang="0">
                  <a:pos x="6" y="202"/>
                </a:cxn>
                <a:cxn ang="0">
                  <a:pos x="2" y="210"/>
                </a:cxn>
                <a:cxn ang="0">
                  <a:pos x="8" y="210"/>
                </a:cxn>
                <a:cxn ang="0">
                  <a:pos x="14" y="220"/>
                </a:cxn>
                <a:cxn ang="0">
                  <a:pos x="16" y="220"/>
                </a:cxn>
                <a:cxn ang="0">
                  <a:pos x="24" y="226"/>
                </a:cxn>
                <a:cxn ang="0">
                  <a:pos x="42" y="230"/>
                </a:cxn>
                <a:cxn ang="0">
                  <a:pos x="112" y="180"/>
                </a:cxn>
                <a:cxn ang="0">
                  <a:pos x="212" y="114"/>
                </a:cxn>
                <a:cxn ang="0">
                  <a:pos x="210" y="96"/>
                </a:cxn>
                <a:cxn ang="0">
                  <a:pos x="216" y="82"/>
                </a:cxn>
                <a:cxn ang="0">
                  <a:pos x="220" y="50"/>
                </a:cxn>
                <a:cxn ang="0">
                  <a:pos x="266" y="16"/>
                </a:cxn>
                <a:cxn ang="0">
                  <a:pos x="248" y="0"/>
                </a:cxn>
                <a:cxn ang="0">
                  <a:pos x="224" y="12"/>
                </a:cxn>
                <a:cxn ang="0">
                  <a:pos x="190" y="12"/>
                </a:cxn>
                <a:cxn ang="0">
                  <a:pos x="174" y="24"/>
                </a:cxn>
                <a:cxn ang="0">
                  <a:pos x="160" y="28"/>
                </a:cxn>
                <a:cxn ang="0">
                  <a:pos x="128" y="28"/>
                </a:cxn>
                <a:cxn ang="0">
                  <a:pos x="112" y="22"/>
                </a:cxn>
                <a:cxn ang="0">
                  <a:pos x="82" y="32"/>
                </a:cxn>
                <a:cxn ang="0">
                  <a:pos x="68" y="32"/>
                </a:cxn>
                <a:cxn ang="0">
                  <a:pos x="58" y="18"/>
                </a:cxn>
                <a:cxn ang="0">
                  <a:pos x="48" y="20"/>
                </a:cxn>
                <a:cxn ang="0">
                  <a:pos x="40" y="34"/>
                </a:cxn>
                <a:cxn ang="0">
                  <a:pos x="48" y="50"/>
                </a:cxn>
                <a:cxn ang="0">
                  <a:pos x="36" y="52"/>
                </a:cxn>
                <a:cxn ang="0">
                  <a:pos x="16" y="70"/>
                </a:cxn>
                <a:cxn ang="0">
                  <a:pos x="6" y="60"/>
                </a:cxn>
                <a:cxn ang="0">
                  <a:pos x="4" y="70"/>
                </a:cxn>
                <a:cxn ang="0">
                  <a:pos x="2" y="108"/>
                </a:cxn>
                <a:cxn ang="0">
                  <a:pos x="2" y="114"/>
                </a:cxn>
                <a:cxn ang="0">
                  <a:pos x="0" y="122"/>
                </a:cxn>
                <a:cxn ang="0">
                  <a:pos x="6" y="122"/>
                </a:cxn>
                <a:cxn ang="0">
                  <a:pos x="12" y="128"/>
                </a:cxn>
                <a:cxn ang="0">
                  <a:pos x="20" y="136"/>
                </a:cxn>
                <a:cxn ang="0">
                  <a:pos x="22" y="154"/>
                </a:cxn>
                <a:cxn ang="0">
                  <a:pos x="18" y="166"/>
                </a:cxn>
                <a:cxn ang="0">
                  <a:pos x="10" y="176"/>
                </a:cxn>
                <a:cxn ang="0">
                  <a:pos x="6" y="182"/>
                </a:cxn>
                <a:cxn ang="0">
                  <a:pos x="4" y="182"/>
                </a:cxn>
              </a:cxnLst>
              <a:rect l="0" t="0" r="r" b="b"/>
              <a:pathLst>
                <a:path w="266" h="230">
                  <a:moveTo>
                    <a:pt x="4" y="182"/>
                  </a:moveTo>
                  <a:lnTo>
                    <a:pt x="6" y="192"/>
                  </a:lnTo>
                  <a:lnTo>
                    <a:pt x="6" y="198"/>
                  </a:lnTo>
                  <a:lnTo>
                    <a:pt x="6" y="202"/>
                  </a:lnTo>
                  <a:lnTo>
                    <a:pt x="2" y="210"/>
                  </a:lnTo>
                  <a:lnTo>
                    <a:pt x="8" y="210"/>
                  </a:lnTo>
                  <a:lnTo>
                    <a:pt x="14" y="220"/>
                  </a:lnTo>
                  <a:lnTo>
                    <a:pt x="16" y="220"/>
                  </a:lnTo>
                  <a:lnTo>
                    <a:pt x="24" y="226"/>
                  </a:lnTo>
                  <a:lnTo>
                    <a:pt x="42" y="230"/>
                  </a:lnTo>
                  <a:lnTo>
                    <a:pt x="112" y="180"/>
                  </a:lnTo>
                  <a:lnTo>
                    <a:pt x="212" y="114"/>
                  </a:lnTo>
                  <a:lnTo>
                    <a:pt x="210" y="96"/>
                  </a:lnTo>
                  <a:lnTo>
                    <a:pt x="216" y="82"/>
                  </a:lnTo>
                  <a:lnTo>
                    <a:pt x="220" y="50"/>
                  </a:lnTo>
                  <a:lnTo>
                    <a:pt x="266" y="16"/>
                  </a:lnTo>
                  <a:lnTo>
                    <a:pt x="248" y="0"/>
                  </a:lnTo>
                  <a:lnTo>
                    <a:pt x="224" y="12"/>
                  </a:lnTo>
                  <a:lnTo>
                    <a:pt x="190" y="12"/>
                  </a:lnTo>
                  <a:lnTo>
                    <a:pt x="174" y="24"/>
                  </a:lnTo>
                  <a:lnTo>
                    <a:pt x="160" y="28"/>
                  </a:lnTo>
                  <a:lnTo>
                    <a:pt x="128" y="28"/>
                  </a:lnTo>
                  <a:lnTo>
                    <a:pt x="112" y="22"/>
                  </a:lnTo>
                  <a:lnTo>
                    <a:pt x="82" y="32"/>
                  </a:lnTo>
                  <a:lnTo>
                    <a:pt x="68" y="32"/>
                  </a:lnTo>
                  <a:lnTo>
                    <a:pt x="58" y="18"/>
                  </a:lnTo>
                  <a:lnTo>
                    <a:pt x="48" y="20"/>
                  </a:lnTo>
                  <a:lnTo>
                    <a:pt x="40" y="34"/>
                  </a:lnTo>
                  <a:lnTo>
                    <a:pt x="48" y="50"/>
                  </a:lnTo>
                  <a:lnTo>
                    <a:pt x="36" y="52"/>
                  </a:lnTo>
                  <a:lnTo>
                    <a:pt x="16" y="70"/>
                  </a:lnTo>
                  <a:lnTo>
                    <a:pt x="6" y="60"/>
                  </a:lnTo>
                  <a:lnTo>
                    <a:pt x="4" y="70"/>
                  </a:lnTo>
                  <a:lnTo>
                    <a:pt x="2" y="108"/>
                  </a:lnTo>
                  <a:lnTo>
                    <a:pt x="2" y="114"/>
                  </a:lnTo>
                  <a:lnTo>
                    <a:pt x="0" y="122"/>
                  </a:lnTo>
                  <a:lnTo>
                    <a:pt x="6" y="122"/>
                  </a:lnTo>
                  <a:lnTo>
                    <a:pt x="12" y="128"/>
                  </a:lnTo>
                  <a:lnTo>
                    <a:pt x="20" y="136"/>
                  </a:lnTo>
                  <a:lnTo>
                    <a:pt x="22" y="154"/>
                  </a:lnTo>
                  <a:lnTo>
                    <a:pt x="18" y="166"/>
                  </a:lnTo>
                  <a:lnTo>
                    <a:pt x="10" y="176"/>
                  </a:lnTo>
                  <a:lnTo>
                    <a:pt x="6" y="182"/>
                  </a:lnTo>
                  <a:lnTo>
                    <a:pt x="4" y="182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93" name="Taiwan">
              <a:extLst>
                <a:ext uri="{FF2B5EF4-FFF2-40B4-BE49-F238E27FC236}">
                  <a16:creationId xmlns="" xmlns:a16="http://schemas.microsoft.com/office/drawing/2014/main" id="{B7142251-A7CF-496C-ABA3-23C5EF47F214}"/>
                </a:ext>
              </a:extLst>
            </p:cNvPr>
            <p:cNvSpPr>
              <a:spLocks/>
            </p:cNvSpPr>
            <p:nvPr/>
          </p:nvSpPr>
          <p:spPr bwMode="gray">
            <a:xfrm>
              <a:off x="9506451" y="3720997"/>
              <a:ext cx="56617" cy="121926"/>
            </a:xfrm>
            <a:custGeom>
              <a:avLst/>
              <a:gdLst/>
              <a:ahLst/>
              <a:cxnLst>
                <a:cxn ang="0">
                  <a:pos x="36" y="12"/>
                </a:cxn>
                <a:cxn ang="0">
                  <a:pos x="50" y="0"/>
                </a:cxn>
                <a:cxn ang="0">
                  <a:pos x="68" y="12"/>
                </a:cxn>
                <a:cxn ang="0">
                  <a:pos x="58" y="44"/>
                </a:cxn>
                <a:cxn ang="0">
                  <a:pos x="54" y="80"/>
                </a:cxn>
                <a:cxn ang="0">
                  <a:pos x="50" y="88"/>
                </a:cxn>
                <a:cxn ang="0">
                  <a:pos x="50" y="98"/>
                </a:cxn>
                <a:cxn ang="0">
                  <a:pos x="36" y="120"/>
                </a:cxn>
                <a:cxn ang="0">
                  <a:pos x="38" y="140"/>
                </a:cxn>
                <a:cxn ang="0">
                  <a:pos x="32" y="152"/>
                </a:cxn>
                <a:cxn ang="0">
                  <a:pos x="14" y="128"/>
                </a:cxn>
                <a:cxn ang="0">
                  <a:pos x="2" y="108"/>
                </a:cxn>
                <a:cxn ang="0">
                  <a:pos x="0" y="94"/>
                </a:cxn>
                <a:cxn ang="0">
                  <a:pos x="2" y="72"/>
                </a:cxn>
                <a:cxn ang="0">
                  <a:pos x="20" y="62"/>
                </a:cxn>
                <a:cxn ang="0">
                  <a:pos x="12" y="56"/>
                </a:cxn>
                <a:cxn ang="0">
                  <a:pos x="30" y="28"/>
                </a:cxn>
                <a:cxn ang="0">
                  <a:pos x="36" y="12"/>
                </a:cxn>
              </a:cxnLst>
              <a:rect l="0" t="0" r="r" b="b"/>
              <a:pathLst>
                <a:path w="68" h="152">
                  <a:moveTo>
                    <a:pt x="36" y="12"/>
                  </a:moveTo>
                  <a:lnTo>
                    <a:pt x="50" y="0"/>
                  </a:lnTo>
                  <a:lnTo>
                    <a:pt x="68" y="12"/>
                  </a:lnTo>
                  <a:lnTo>
                    <a:pt x="58" y="44"/>
                  </a:lnTo>
                  <a:lnTo>
                    <a:pt x="54" y="80"/>
                  </a:lnTo>
                  <a:lnTo>
                    <a:pt x="50" y="88"/>
                  </a:lnTo>
                  <a:lnTo>
                    <a:pt x="50" y="98"/>
                  </a:lnTo>
                  <a:lnTo>
                    <a:pt x="36" y="120"/>
                  </a:lnTo>
                  <a:lnTo>
                    <a:pt x="38" y="140"/>
                  </a:lnTo>
                  <a:lnTo>
                    <a:pt x="32" y="152"/>
                  </a:lnTo>
                  <a:lnTo>
                    <a:pt x="14" y="128"/>
                  </a:lnTo>
                  <a:lnTo>
                    <a:pt x="2" y="108"/>
                  </a:lnTo>
                  <a:lnTo>
                    <a:pt x="0" y="94"/>
                  </a:lnTo>
                  <a:lnTo>
                    <a:pt x="2" y="72"/>
                  </a:lnTo>
                  <a:lnTo>
                    <a:pt x="20" y="62"/>
                  </a:lnTo>
                  <a:lnTo>
                    <a:pt x="12" y="56"/>
                  </a:lnTo>
                  <a:lnTo>
                    <a:pt x="30" y="28"/>
                  </a:lnTo>
                  <a:lnTo>
                    <a:pt x="36" y="12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94" name="Tajikistan">
              <a:extLst>
                <a:ext uri="{FF2B5EF4-FFF2-40B4-BE49-F238E27FC236}">
                  <a16:creationId xmlns="" xmlns:a16="http://schemas.microsoft.com/office/drawing/2014/main" id="{79A52297-299B-499C-9F98-3837D9606F87}"/>
                </a:ext>
              </a:extLst>
            </p:cNvPr>
            <p:cNvSpPr>
              <a:spLocks/>
            </p:cNvSpPr>
            <p:nvPr/>
          </p:nvSpPr>
          <p:spPr bwMode="gray">
            <a:xfrm>
              <a:off x="7876279" y="3132995"/>
              <a:ext cx="238181" cy="180924"/>
            </a:xfrm>
            <a:custGeom>
              <a:avLst/>
              <a:gdLst/>
              <a:ahLst/>
              <a:cxnLst>
                <a:cxn ang="0">
                  <a:pos x="246" y="128"/>
                </a:cxn>
                <a:cxn ang="0">
                  <a:pos x="246" y="78"/>
                </a:cxn>
                <a:cxn ang="0">
                  <a:pos x="224" y="70"/>
                </a:cxn>
                <a:cxn ang="0">
                  <a:pos x="204" y="74"/>
                </a:cxn>
                <a:cxn ang="0">
                  <a:pos x="188" y="84"/>
                </a:cxn>
                <a:cxn ang="0">
                  <a:pos x="162" y="84"/>
                </a:cxn>
                <a:cxn ang="0">
                  <a:pos x="158" y="72"/>
                </a:cxn>
                <a:cxn ang="0">
                  <a:pos x="134" y="68"/>
                </a:cxn>
                <a:cxn ang="0">
                  <a:pos x="118" y="68"/>
                </a:cxn>
                <a:cxn ang="0">
                  <a:pos x="86" y="66"/>
                </a:cxn>
                <a:cxn ang="0">
                  <a:pos x="74" y="58"/>
                </a:cxn>
                <a:cxn ang="0">
                  <a:pos x="88" y="46"/>
                </a:cxn>
                <a:cxn ang="0">
                  <a:pos x="112" y="50"/>
                </a:cxn>
                <a:cxn ang="0">
                  <a:pos x="118" y="40"/>
                </a:cxn>
                <a:cxn ang="0">
                  <a:pos x="102" y="30"/>
                </a:cxn>
                <a:cxn ang="0">
                  <a:pos x="120" y="10"/>
                </a:cxn>
                <a:cxn ang="0">
                  <a:pos x="110" y="0"/>
                </a:cxn>
                <a:cxn ang="0">
                  <a:pos x="90" y="10"/>
                </a:cxn>
                <a:cxn ang="0">
                  <a:pos x="70" y="4"/>
                </a:cxn>
                <a:cxn ang="0">
                  <a:pos x="68" y="26"/>
                </a:cxn>
                <a:cxn ang="0">
                  <a:pos x="40" y="60"/>
                </a:cxn>
                <a:cxn ang="0">
                  <a:pos x="14" y="64"/>
                </a:cxn>
                <a:cxn ang="0">
                  <a:pos x="8" y="80"/>
                </a:cxn>
                <a:cxn ang="0">
                  <a:pos x="20" y="92"/>
                </a:cxn>
                <a:cxn ang="0">
                  <a:pos x="28" y="128"/>
                </a:cxn>
                <a:cxn ang="0">
                  <a:pos x="12" y="146"/>
                </a:cxn>
                <a:cxn ang="0">
                  <a:pos x="0" y="200"/>
                </a:cxn>
                <a:cxn ang="0">
                  <a:pos x="20" y="204"/>
                </a:cxn>
                <a:cxn ang="0">
                  <a:pos x="32" y="196"/>
                </a:cxn>
                <a:cxn ang="0">
                  <a:pos x="60" y="194"/>
                </a:cxn>
                <a:cxn ang="0">
                  <a:pos x="70" y="174"/>
                </a:cxn>
                <a:cxn ang="0">
                  <a:pos x="84" y="168"/>
                </a:cxn>
                <a:cxn ang="0">
                  <a:pos x="98" y="172"/>
                </a:cxn>
                <a:cxn ang="0">
                  <a:pos x="102" y="156"/>
                </a:cxn>
                <a:cxn ang="0">
                  <a:pos x="128" y="136"/>
                </a:cxn>
                <a:cxn ang="0">
                  <a:pos x="140" y="134"/>
                </a:cxn>
                <a:cxn ang="0">
                  <a:pos x="154" y="144"/>
                </a:cxn>
                <a:cxn ang="0">
                  <a:pos x="148" y="160"/>
                </a:cxn>
                <a:cxn ang="0">
                  <a:pos x="156" y="166"/>
                </a:cxn>
                <a:cxn ang="0">
                  <a:pos x="148" y="208"/>
                </a:cxn>
                <a:cxn ang="0">
                  <a:pos x="150" y="218"/>
                </a:cxn>
                <a:cxn ang="0">
                  <a:pos x="160" y="222"/>
                </a:cxn>
                <a:cxn ang="0">
                  <a:pos x="180" y="208"/>
                </a:cxn>
                <a:cxn ang="0">
                  <a:pos x="204" y="190"/>
                </a:cxn>
                <a:cxn ang="0">
                  <a:pos x="226" y="186"/>
                </a:cxn>
                <a:cxn ang="0">
                  <a:pos x="250" y="194"/>
                </a:cxn>
                <a:cxn ang="0">
                  <a:pos x="276" y="182"/>
                </a:cxn>
                <a:cxn ang="0">
                  <a:pos x="284" y="192"/>
                </a:cxn>
                <a:cxn ang="0">
                  <a:pos x="294" y="182"/>
                </a:cxn>
                <a:cxn ang="0">
                  <a:pos x="284" y="172"/>
                </a:cxn>
                <a:cxn ang="0">
                  <a:pos x="286" y="152"/>
                </a:cxn>
                <a:cxn ang="0">
                  <a:pos x="280" y="134"/>
                </a:cxn>
                <a:cxn ang="0">
                  <a:pos x="266" y="128"/>
                </a:cxn>
                <a:cxn ang="0">
                  <a:pos x="246" y="128"/>
                </a:cxn>
              </a:cxnLst>
              <a:rect l="0" t="0" r="r" b="b"/>
              <a:pathLst>
                <a:path w="294" h="222">
                  <a:moveTo>
                    <a:pt x="246" y="128"/>
                  </a:moveTo>
                  <a:lnTo>
                    <a:pt x="246" y="78"/>
                  </a:lnTo>
                  <a:lnTo>
                    <a:pt x="224" y="70"/>
                  </a:lnTo>
                  <a:lnTo>
                    <a:pt x="204" y="74"/>
                  </a:lnTo>
                  <a:lnTo>
                    <a:pt x="188" y="84"/>
                  </a:lnTo>
                  <a:lnTo>
                    <a:pt x="162" y="84"/>
                  </a:lnTo>
                  <a:lnTo>
                    <a:pt x="158" y="72"/>
                  </a:lnTo>
                  <a:lnTo>
                    <a:pt x="134" y="68"/>
                  </a:lnTo>
                  <a:lnTo>
                    <a:pt x="118" y="68"/>
                  </a:lnTo>
                  <a:lnTo>
                    <a:pt x="86" y="66"/>
                  </a:lnTo>
                  <a:lnTo>
                    <a:pt x="74" y="58"/>
                  </a:lnTo>
                  <a:lnTo>
                    <a:pt x="88" y="46"/>
                  </a:lnTo>
                  <a:lnTo>
                    <a:pt x="112" y="50"/>
                  </a:lnTo>
                  <a:lnTo>
                    <a:pt x="118" y="40"/>
                  </a:lnTo>
                  <a:lnTo>
                    <a:pt x="102" y="30"/>
                  </a:lnTo>
                  <a:lnTo>
                    <a:pt x="120" y="10"/>
                  </a:lnTo>
                  <a:lnTo>
                    <a:pt x="110" y="0"/>
                  </a:lnTo>
                  <a:lnTo>
                    <a:pt x="90" y="10"/>
                  </a:lnTo>
                  <a:lnTo>
                    <a:pt x="70" y="4"/>
                  </a:lnTo>
                  <a:lnTo>
                    <a:pt x="68" y="26"/>
                  </a:lnTo>
                  <a:lnTo>
                    <a:pt x="40" y="60"/>
                  </a:lnTo>
                  <a:lnTo>
                    <a:pt x="14" y="64"/>
                  </a:lnTo>
                  <a:lnTo>
                    <a:pt x="8" y="80"/>
                  </a:lnTo>
                  <a:lnTo>
                    <a:pt x="20" y="92"/>
                  </a:lnTo>
                  <a:lnTo>
                    <a:pt x="28" y="128"/>
                  </a:lnTo>
                  <a:lnTo>
                    <a:pt x="12" y="146"/>
                  </a:lnTo>
                  <a:lnTo>
                    <a:pt x="0" y="200"/>
                  </a:lnTo>
                  <a:lnTo>
                    <a:pt x="20" y="204"/>
                  </a:lnTo>
                  <a:lnTo>
                    <a:pt x="32" y="196"/>
                  </a:lnTo>
                  <a:lnTo>
                    <a:pt x="60" y="194"/>
                  </a:lnTo>
                  <a:lnTo>
                    <a:pt x="70" y="174"/>
                  </a:lnTo>
                  <a:lnTo>
                    <a:pt x="84" y="168"/>
                  </a:lnTo>
                  <a:lnTo>
                    <a:pt x="98" y="172"/>
                  </a:lnTo>
                  <a:lnTo>
                    <a:pt x="102" y="156"/>
                  </a:lnTo>
                  <a:lnTo>
                    <a:pt x="128" y="136"/>
                  </a:lnTo>
                  <a:lnTo>
                    <a:pt x="140" y="134"/>
                  </a:lnTo>
                  <a:lnTo>
                    <a:pt x="154" y="144"/>
                  </a:lnTo>
                  <a:lnTo>
                    <a:pt x="148" y="160"/>
                  </a:lnTo>
                  <a:lnTo>
                    <a:pt x="156" y="166"/>
                  </a:lnTo>
                  <a:lnTo>
                    <a:pt x="148" y="208"/>
                  </a:lnTo>
                  <a:lnTo>
                    <a:pt x="150" y="218"/>
                  </a:lnTo>
                  <a:lnTo>
                    <a:pt x="160" y="222"/>
                  </a:lnTo>
                  <a:lnTo>
                    <a:pt x="180" y="208"/>
                  </a:lnTo>
                  <a:lnTo>
                    <a:pt x="204" y="190"/>
                  </a:lnTo>
                  <a:lnTo>
                    <a:pt x="226" y="186"/>
                  </a:lnTo>
                  <a:lnTo>
                    <a:pt x="250" y="194"/>
                  </a:lnTo>
                  <a:lnTo>
                    <a:pt x="276" y="182"/>
                  </a:lnTo>
                  <a:lnTo>
                    <a:pt x="284" y="192"/>
                  </a:lnTo>
                  <a:lnTo>
                    <a:pt x="294" y="182"/>
                  </a:lnTo>
                  <a:lnTo>
                    <a:pt x="284" y="172"/>
                  </a:lnTo>
                  <a:lnTo>
                    <a:pt x="286" y="152"/>
                  </a:lnTo>
                  <a:lnTo>
                    <a:pt x="280" y="134"/>
                  </a:lnTo>
                  <a:lnTo>
                    <a:pt x="266" y="128"/>
                  </a:lnTo>
                  <a:lnTo>
                    <a:pt x="246" y="128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95" name="Tanzania">
              <a:extLst>
                <a:ext uri="{FF2B5EF4-FFF2-40B4-BE49-F238E27FC236}">
                  <a16:creationId xmlns="" xmlns:a16="http://schemas.microsoft.com/office/drawing/2014/main" id="{197A9E74-9FA0-4162-8FC9-3DF48EFFF7BD}"/>
                </a:ext>
              </a:extLst>
            </p:cNvPr>
            <p:cNvSpPr>
              <a:spLocks/>
            </p:cNvSpPr>
            <p:nvPr/>
          </p:nvSpPr>
          <p:spPr bwMode="gray">
            <a:xfrm>
              <a:off x="6716609" y="4598083"/>
              <a:ext cx="331892" cy="340214"/>
            </a:xfrm>
            <a:custGeom>
              <a:avLst/>
              <a:gdLst/>
              <a:ahLst/>
              <a:cxnLst>
                <a:cxn ang="0">
                  <a:pos x="372" y="162"/>
                </a:cxn>
                <a:cxn ang="0">
                  <a:pos x="376" y="144"/>
                </a:cxn>
                <a:cxn ang="0">
                  <a:pos x="310" y="108"/>
                </a:cxn>
                <a:cxn ang="0">
                  <a:pos x="318" y="84"/>
                </a:cxn>
                <a:cxn ang="0">
                  <a:pos x="168" y="0"/>
                </a:cxn>
                <a:cxn ang="0">
                  <a:pos x="52" y="2"/>
                </a:cxn>
                <a:cxn ang="0">
                  <a:pos x="42" y="6"/>
                </a:cxn>
                <a:cxn ang="0">
                  <a:pos x="54" y="28"/>
                </a:cxn>
                <a:cxn ang="0">
                  <a:pos x="56" y="40"/>
                </a:cxn>
                <a:cxn ang="0">
                  <a:pos x="48" y="60"/>
                </a:cxn>
                <a:cxn ang="0">
                  <a:pos x="62" y="88"/>
                </a:cxn>
                <a:cxn ang="0">
                  <a:pos x="24" y="124"/>
                </a:cxn>
                <a:cxn ang="0">
                  <a:pos x="22" y="136"/>
                </a:cxn>
                <a:cxn ang="0">
                  <a:pos x="0" y="138"/>
                </a:cxn>
                <a:cxn ang="0">
                  <a:pos x="8" y="198"/>
                </a:cxn>
                <a:cxn ang="0">
                  <a:pos x="36" y="242"/>
                </a:cxn>
                <a:cxn ang="0">
                  <a:pos x="54" y="288"/>
                </a:cxn>
                <a:cxn ang="0">
                  <a:pos x="92" y="312"/>
                </a:cxn>
                <a:cxn ang="0">
                  <a:pos x="108" y="312"/>
                </a:cxn>
                <a:cxn ang="0">
                  <a:pos x="132" y="332"/>
                </a:cxn>
                <a:cxn ang="0">
                  <a:pos x="148" y="324"/>
                </a:cxn>
                <a:cxn ang="0">
                  <a:pos x="162" y="336"/>
                </a:cxn>
                <a:cxn ang="0">
                  <a:pos x="172" y="336"/>
                </a:cxn>
                <a:cxn ang="0">
                  <a:pos x="184" y="382"/>
                </a:cxn>
                <a:cxn ang="0">
                  <a:pos x="196" y="414"/>
                </a:cxn>
                <a:cxn ang="0">
                  <a:pos x="238" y="402"/>
                </a:cxn>
                <a:cxn ang="0">
                  <a:pos x="264" y="416"/>
                </a:cxn>
                <a:cxn ang="0">
                  <a:pos x="288" y="402"/>
                </a:cxn>
                <a:cxn ang="0">
                  <a:pos x="310" y="410"/>
                </a:cxn>
                <a:cxn ang="0">
                  <a:pos x="328" y="396"/>
                </a:cxn>
                <a:cxn ang="0">
                  <a:pos x="368" y="394"/>
                </a:cxn>
                <a:cxn ang="0">
                  <a:pos x="410" y="370"/>
                </a:cxn>
                <a:cxn ang="0">
                  <a:pos x="396" y="352"/>
                </a:cxn>
                <a:cxn ang="0">
                  <a:pos x="394" y="332"/>
                </a:cxn>
                <a:cxn ang="0">
                  <a:pos x="382" y="292"/>
                </a:cxn>
                <a:cxn ang="0">
                  <a:pos x="390" y="266"/>
                </a:cxn>
                <a:cxn ang="0">
                  <a:pos x="382" y="262"/>
                </a:cxn>
                <a:cxn ang="0">
                  <a:pos x="384" y="224"/>
                </a:cxn>
                <a:cxn ang="0">
                  <a:pos x="360" y="196"/>
                </a:cxn>
                <a:cxn ang="0">
                  <a:pos x="372" y="162"/>
                </a:cxn>
              </a:cxnLst>
              <a:rect l="0" t="0" r="r" b="b"/>
              <a:pathLst>
                <a:path w="410" h="416">
                  <a:moveTo>
                    <a:pt x="372" y="162"/>
                  </a:moveTo>
                  <a:lnTo>
                    <a:pt x="376" y="144"/>
                  </a:lnTo>
                  <a:lnTo>
                    <a:pt x="310" y="108"/>
                  </a:lnTo>
                  <a:lnTo>
                    <a:pt x="318" y="84"/>
                  </a:lnTo>
                  <a:lnTo>
                    <a:pt x="168" y="0"/>
                  </a:lnTo>
                  <a:lnTo>
                    <a:pt x="52" y="2"/>
                  </a:lnTo>
                  <a:lnTo>
                    <a:pt x="42" y="6"/>
                  </a:lnTo>
                  <a:lnTo>
                    <a:pt x="54" y="28"/>
                  </a:lnTo>
                  <a:lnTo>
                    <a:pt x="56" y="40"/>
                  </a:lnTo>
                  <a:lnTo>
                    <a:pt x="48" y="60"/>
                  </a:lnTo>
                  <a:lnTo>
                    <a:pt x="62" y="88"/>
                  </a:lnTo>
                  <a:lnTo>
                    <a:pt x="24" y="124"/>
                  </a:lnTo>
                  <a:lnTo>
                    <a:pt x="22" y="136"/>
                  </a:lnTo>
                  <a:lnTo>
                    <a:pt x="0" y="138"/>
                  </a:lnTo>
                  <a:lnTo>
                    <a:pt x="8" y="198"/>
                  </a:lnTo>
                  <a:lnTo>
                    <a:pt x="36" y="242"/>
                  </a:lnTo>
                  <a:lnTo>
                    <a:pt x="54" y="288"/>
                  </a:lnTo>
                  <a:lnTo>
                    <a:pt x="92" y="312"/>
                  </a:lnTo>
                  <a:lnTo>
                    <a:pt x="108" y="312"/>
                  </a:lnTo>
                  <a:lnTo>
                    <a:pt x="132" y="332"/>
                  </a:lnTo>
                  <a:lnTo>
                    <a:pt x="148" y="324"/>
                  </a:lnTo>
                  <a:lnTo>
                    <a:pt x="162" y="336"/>
                  </a:lnTo>
                  <a:lnTo>
                    <a:pt x="172" y="336"/>
                  </a:lnTo>
                  <a:lnTo>
                    <a:pt x="184" y="382"/>
                  </a:lnTo>
                  <a:lnTo>
                    <a:pt x="196" y="414"/>
                  </a:lnTo>
                  <a:lnTo>
                    <a:pt x="238" y="402"/>
                  </a:lnTo>
                  <a:lnTo>
                    <a:pt x="264" y="416"/>
                  </a:lnTo>
                  <a:lnTo>
                    <a:pt x="288" y="402"/>
                  </a:lnTo>
                  <a:lnTo>
                    <a:pt x="310" y="410"/>
                  </a:lnTo>
                  <a:lnTo>
                    <a:pt x="328" y="396"/>
                  </a:lnTo>
                  <a:lnTo>
                    <a:pt x="368" y="394"/>
                  </a:lnTo>
                  <a:lnTo>
                    <a:pt x="410" y="370"/>
                  </a:lnTo>
                  <a:lnTo>
                    <a:pt x="396" y="352"/>
                  </a:lnTo>
                  <a:lnTo>
                    <a:pt x="394" y="332"/>
                  </a:lnTo>
                  <a:lnTo>
                    <a:pt x="382" y="292"/>
                  </a:lnTo>
                  <a:lnTo>
                    <a:pt x="390" y="266"/>
                  </a:lnTo>
                  <a:lnTo>
                    <a:pt x="382" y="262"/>
                  </a:lnTo>
                  <a:lnTo>
                    <a:pt x="384" y="224"/>
                  </a:lnTo>
                  <a:lnTo>
                    <a:pt x="360" y="196"/>
                  </a:lnTo>
                  <a:lnTo>
                    <a:pt x="372" y="162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96" name="Thailand">
              <a:extLst>
                <a:ext uri="{FF2B5EF4-FFF2-40B4-BE49-F238E27FC236}">
                  <a16:creationId xmlns="" xmlns:a16="http://schemas.microsoft.com/office/drawing/2014/main" id="{DC98E3AD-564F-4E25-96DE-45340F5D9AF8}"/>
                </a:ext>
              </a:extLst>
            </p:cNvPr>
            <p:cNvSpPr>
              <a:spLocks/>
            </p:cNvSpPr>
            <p:nvPr/>
          </p:nvSpPr>
          <p:spPr bwMode="gray">
            <a:xfrm>
              <a:off x="8807527" y="3894054"/>
              <a:ext cx="251847" cy="462141"/>
            </a:xfrm>
            <a:custGeom>
              <a:avLst/>
              <a:gdLst/>
              <a:ahLst/>
              <a:cxnLst>
                <a:cxn ang="0">
                  <a:pos x="38" y="412"/>
                </a:cxn>
                <a:cxn ang="0">
                  <a:pos x="80" y="340"/>
                </a:cxn>
                <a:cxn ang="0">
                  <a:pos x="72" y="308"/>
                </a:cxn>
                <a:cxn ang="0">
                  <a:pos x="76" y="276"/>
                </a:cxn>
                <a:cxn ang="0">
                  <a:pos x="34" y="224"/>
                </a:cxn>
                <a:cxn ang="0">
                  <a:pos x="34" y="204"/>
                </a:cxn>
                <a:cxn ang="0">
                  <a:pos x="42" y="174"/>
                </a:cxn>
                <a:cxn ang="0">
                  <a:pos x="10" y="128"/>
                </a:cxn>
                <a:cxn ang="0">
                  <a:pos x="0" y="78"/>
                </a:cxn>
                <a:cxn ang="0">
                  <a:pos x="18" y="44"/>
                </a:cxn>
                <a:cxn ang="0">
                  <a:pos x="40" y="36"/>
                </a:cxn>
                <a:cxn ang="0">
                  <a:pos x="82" y="0"/>
                </a:cxn>
                <a:cxn ang="0">
                  <a:pos x="112" y="8"/>
                </a:cxn>
                <a:cxn ang="0">
                  <a:pos x="124" y="28"/>
                </a:cxn>
                <a:cxn ang="0">
                  <a:pos x="146" y="34"/>
                </a:cxn>
                <a:cxn ang="0">
                  <a:pos x="138" y="80"/>
                </a:cxn>
                <a:cxn ang="0">
                  <a:pos x="150" y="124"/>
                </a:cxn>
                <a:cxn ang="0">
                  <a:pos x="208" y="96"/>
                </a:cxn>
                <a:cxn ang="0">
                  <a:pos x="246" y="92"/>
                </a:cxn>
                <a:cxn ang="0">
                  <a:pos x="268" y="152"/>
                </a:cxn>
                <a:cxn ang="0">
                  <a:pos x="312" y="192"/>
                </a:cxn>
                <a:cxn ang="0">
                  <a:pos x="304" y="226"/>
                </a:cxn>
                <a:cxn ang="0">
                  <a:pos x="264" y="240"/>
                </a:cxn>
                <a:cxn ang="0">
                  <a:pos x="190" y="286"/>
                </a:cxn>
                <a:cxn ang="0">
                  <a:pos x="208" y="324"/>
                </a:cxn>
                <a:cxn ang="0">
                  <a:pos x="190" y="328"/>
                </a:cxn>
                <a:cxn ang="0">
                  <a:pos x="128" y="306"/>
                </a:cxn>
                <a:cxn ang="0">
                  <a:pos x="108" y="268"/>
                </a:cxn>
                <a:cxn ang="0">
                  <a:pos x="98" y="298"/>
                </a:cxn>
                <a:cxn ang="0">
                  <a:pos x="82" y="358"/>
                </a:cxn>
                <a:cxn ang="0">
                  <a:pos x="68" y="414"/>
                </a:cxn>
                <a:cxn ang="0">
                  <a:pos x="96" y="442"/>
                </a:cxn>
                <a:cxn ang="0">
                  <a:pos x="112" y="474"/>
                </a:cxn>
                <a:cxn ang="0">
                  <a:pos x="110" y="514"/>
                </a:cxn>
                <a:cxn ang="0">
                  <a:pos x="154" y="530"/>
                </a:cxn>
                <a:cxn ang="0">
                  <a:pos x="180" y="546"/>
                </a:cxn>
                <a:cxn ang="0">
                  <a:pos x="140" y="562"/>
                </a:cxn>
                <a:cxn ang="0">
                  <a:pos x="126" y="536"/>
                </a:cxn>
                <a:cxn ang="0">
                  <a:pos x="78" y="526"/>
                </a:cxn>
                <a:cxn ang="0">
                  <a:pos x="64" y="510"/>
                </a:cxn>
                <a:cxn ang="0">
                  <a:pos x="44" y="476"/>
                </a:cxn>
                <a:cxn ang="0">
                  <a:pos x="28" y="460"/>
                </a:cxn>
              </a:cxnLst>
              <a:rect l="0" t="0" r="r" b="b"/>
              <a:pathLst>
                <a:path w="312" h="562">
                  <a:moveTo>
                    <a:pt x="42" y="428"/>
                  </a:moveTo>
                  <a:lnTo>
                    <a:pt x="38" y="412"/>
                  </a:lnTo>
                  <a:lnTo>
                    <a:pt x="78" y="358"/>
                  </a:lnTo>
                  <a:lnTo>
                    <a:pt x="80" y="340"/>
                  </a:lnTo>
                  <a:lnTo>
                    <a:pt x="72" y="324"/>
                  </a:lnTo>
                  <a:lnTo>
                    <a:pt x="72" y="308"/>
                  </a:lnTo>
                  <a:lnTo>
                    <a:pt x="78" y="298"/>
                  </a:lnTo>
                  <a:lnTo>
                    <a:pt x="76" y="276"/>
                  </a:lnTo>
                  <a:lnTo>
                    <a:pt x="62" y="252"/>
                  </a:lnTo>
                  <a:lnTo>
                    <a:pt x="34" y="224"/>
                  </a:lnTo>
                  <a:lnTo>
                    <a:pt x="28" y="210"/>
                  </a:lnTo>
                  <a:lnTo>
                    <a:pt x="34" y="204"/>
                  </a:lnTo>
                  <a:lnTo>
                    <a:pt x="48" y="184"/>
                  </a:lnTo>
                  <a:lnTo>
                    <a:pt x="42" y="174"/>
                  </a:lnTo>
                  <a:lnTo>
                    <a:pt x="36" y="158"/>
                  </a:lnTo>
                  <a:lnTo>
                    <a:pt x="10" y="128"/>
                  </a:lnTo>
                  <a:lnTo>
                    <a:pt x="10" y="92"/>
                  </a:lnTo>
                  <a:lnTo>
                    <a:pt x="0" y="78"/>
                  </a:lnTo>
                  <a:lnTo>
                    <a:pt x="16" y="70"/>
                  </a:lnTo>
                  <a:lnTo>
                    <a:pt x="18" y="44"/>
                  </a:lnTo>
                  <a:lnTo>
                    <a:pt x="28" y="32"/>
                  </a:lnTo>
                  <a:lnTo>
                    <a:pt x="40" y="36"/>
                  </a:lnTo>
                  <a:lnTo>
                    <a:pt x="72" y="16"/>
                  </a:lnTo>
                  <a:lnTo>
                    <a:pt x="82" y="0"/>
                  </a:lnTo>
                  <a:lnTo>
                    <a:pt x="108" y="2"/>
                  </a:lnTo>
                  <a:lnTo>
                    <a:pt x="112" y="8"/>
                  </a:lnTo>
                  <a:lnTo>
                    <a:pt x="122" y="10"/>
                  </a:lnTo>
                  <a:lnTo>
                    <a:pt x="124" y="28"/>
                  </a:lnTo>
                  <a:lnTo>
                    <a:pt x="134" y="38"/>
                  </a:lnTo>
                  <a:lnTo>
                    <a:pt x="146" y="34"/>
                  </a:lnTo>
                  <a:lnTo>
                    <a:pt x="144" y="66"/>
                  </a:lnTo>
                  <a:lnTo>
                    <a:pt x="138" y="80"/>
                  </a:lnTo>
                  <a:lnTo>
                    <a:pt x="142" y="124"/>
                  </a:lnTo>
                  <a:lnTo>
                    <a:pt x="150" y="124"/>
                  </a:lnTo>
                  <a:lnTo>
                    <a:pt x="166" y="102"/>
                  </a:lnTo>
                  <a:lnTo>
                    <a:pt x="208" y="96"/>
                  </a:lnTo>
                  <a:lnTo>
                    <a:pt x="222" y="86"/>
                  </a:lnTo>
                  <a:lnTo>
                    <a:pt x="246" y="92"/>
                  </a:lnTo>
                  <a:lnTo>
                    <a:pt x="264" y="112"/>
                  </a:lnTo>
                  <a:lnTo>
                    <a:pt x="268" y="152"/>
                  </a:lnTo>
                  <a:lnTo>
                    <a:pt x="296" y="176"/>
                  </a:lnTo>
                  <a:lnTo>
                    <a:pt x="312" y="192"/>
                  </a:lnTo>
                  <a:lnTo>
                    <a:pt x="306" y="210"/>
                  </a:lnTo>
                  <a:lnTo>
                    <a:pt x="304" y="226"/>
                  </a:lnTo>
                  <a:lnTo>
                    <a:pt x="288" y="236"/>
                  </a:lnTo>
                  <a:lnTo>
                    <a:pt x="264" y="240"/>
                  </a:lnTo>
                  <a:lnTo>
                    <a:pt x="218" y="248"/>
                  </a:lnTo>
                  <a:lnTo>
                    <a:pt x="190" y="286"/>
                  </a:lnTo>
                  <a:lnTo>
                    <a:pt x="188" y="300"/>
                  </a:lnTo>
                  <a:lnTo>
                    <a:pt x="208" y="324"/>
                  </a:lnTo>
                  <a:lnTo>
                    <a:pt x="206" y="342"/>
                  </a:lnTo>
                  <a:lnTo>
                    <a:pt x="190" y="328"/>
                  </a:lnTo>
                  <a:lnTo>
                    <a:pt x="162" y="312"/>
                  </a:lnTo>
                  <a:lnTo>
                    <a:pt x="128" y="306"/>
                  </a:lnTo>
                  <a:lnTo>
                    <a:pt x="124" y="280"/>
                  </a:lnTo>
                  <a:lnTo>
                    <a:pt x="108" y="268"/>
                  </a:lnTo>
                  <a:lnTo>
                    <a:pt x="94" y="280"/>
                  </a:lnTo>
                  <a:lnTo>
                    <a:pt x="98" y="298"/>
                  </a:lnTo>
                  <a:lnTo>
                    <a:pt x="94" y="328"/>
                  </a:lnTo>
                  <a:lnTo>
                    <a:pt x="82" y="358"/>
                  </a:lnTo>
                  <a:lnTo>
                    <a:pt x="82" y="372"/>
                  </a:lnTo>
                  <a:lnTo>
                    <a:pt x="68" y="414"/>
                  </a:lnTo>
                  <a:lnTo>
                    <a:pt x="66" y="442"/>
                  </a:lnTo>
                  <a:lnTo>
                    <a:pt x="96" y="442"/>
                  </a:lnTo>
                  <a:lnTo>
                    <a:pt x="96" y="464"/>
                  </a:lnTo>
                  <a:lnTo>
                    <a:pt x="112" y="474"/>
                  </a:lnTo>
                  <a:lnTo>
                    <a:pt x="108" y="492"/>
                  </a:lnTo>
                  <a:lnTo>
                    <a:pt x="110" y="514"/>
                  </a:lnTo>
                  <a:lnTo>
                    <a:pt x="140" y="528"/>
                  </a:lnTo>
                  <a:lnTo>
                    <a:pt x="154" y="530"/>
                  </a:lnTo>
                  <a:lnTo>
                    <a:pt x="168" y="544"/>
                  </a:lnTo>
                  <a:lnTo>
                    <a:pt x="180" y="546"/>
                  </a:lnTo>
                  <a:lnTo>
                    <a:pt x="170" y="562"/>
                  </a:lnTo>
                  <a:lnTo>
                    <a:pt x="140" y="562"/>
                  </a:lnTo>
                  <a:lnTo>
                    <a:pt x="140" y="546"/>
                  </a:lnTo>
                  <a:lnTo>
                    <a:pt x="126" y="536"/>
                  </a:lnTo>
                  <a:lnTo>
                    <a:pt x="102" y="536"/>
                  </a:lnTo>
                  <a:lnTo>
                    <a:pt x="78" y="526"/>
                  </a:lnTo>
                  <a:lnTo>
                    <a:pt x="72" y="508"/>
                  </a:lnTo>
                  <a:lnTo>
                    <a:pt x="64" y="510"/>
                  </a:lnTo>
                  <a:lnTo>
                    <a:pt x="44" y="494"/>
                  </a:lnTo>
                  <a:lnTo>
                    <a:pt x="44" y="476"/>
                  </a:lnTo>
                  <a:lnTo>
                    <a:pt x="30" y="482"/>
                  </a:lnTo>
                  <a:lnTo>
                    <a:pt x="28" y="460"/>
                  </a:lnTo>
                  <a:lnTo>
                    <a:pt x="42" y="428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97" name="Togo">
              <a:extLst>
                <a:ext uri="{FF2B5EF4-FFF2-40B4-BE49-F238E27FC236}">
                  <a16:creationId xmlns="" xmlns:a16="http://schemas.microsoft.com/office/drawing/2014/main" id="{44570338-5D07-4DE3-96ED-A0AC1F889AE2}"/>
                </a:ext>
              </a:extLst>
            </p:cNvPr>
            <p:cNvSpPr>
              <a:spLocks/>
            </p:cNvSpPr>
            <p:nvPr/>
          </p:nvSpPr>
          <p:spPr bwMode="gray">
            <a:xfrm>
              <a:off x="5808787" y="4208703"/>
              <a:ext cx="58569" cy="153392"/>
            </a:xfrm>
            <a:custGeom>
              <a:avLst/>
              <a:gdLst/>
              <a:ahLst/>
              <a:cxnLst>
                <a:cxn ang="0">
                  <a:pos x="44" y="183"/>
                </a:cxn>
                <a:cxn ang="0">
                  <a:pos x="22" y="153"/>
                </a:cxn>
                <a:cxn ang="0">
                  <a:pos x="18" y="109"/>
                </a:cxn>
                <a:cxn ang="0">
                  <a:pos x="6" y="88"/>
                </a:cxn>
                <a:cxn ang="0">
                  <a:pos x="16" y="72"/>
                </a:cxn>
                <a:cxn ang="0">
                  <a:pos x="12" y="42"/>
                </a:cxn>
                <a:cxn ang="0">
                  <a:pos x="8" y="14"/>
                </a:cxn>
                <a:cxn ang="0">
                  <a:pos x="0" y="6"/>
                </a:cxn>
                <a:cxn ang="0">
                  <a:pos x="2" y="0"/>
                </a:cxn>
                <a:cxn ang="0">
                  <a:pos x="18" y="0"/>
                </a:cxn>
                <a:cxn ang="0">
                  <a:pos x="28" y="6"/>
                </a:cxn>
                <a:cxn ang="0">
                  <a:pos x="50" y="38"/>
                </a:cxn>
                <a:cxn ang="0">
                  <a:pos x="50" y="66"/>
                </a:cxn>
                <a:cxn ang="0">
                  <a:pos x="64" y="80"/>
                </a:cxn>
                <a:cxn ang="0">
                  <a:pos x="68" y="173"/>
                </a:cxn>
                <a:cxn ang="0">
                  <a:pos x="72" y="185"/>
                </a:cxn>
                <a:cxn ang="0">
                  <a:pos x="50" y="185"/>
                </a:cxn>
                <a:cxn ang="0">
                  <a:pos x="44" y="183"/>
                </a:cxn>
              </a:cxnLst>
              <a:rect l="0" t="0" r="r" b="b"/>
              <a:pathLst>
                <a:path w="72" h="185">
                  <a:moveTo>
                    <a:pt x="44" y="183"/>
                  </a:moveTo>
                  <a:lnTo>
                    <a:pt x="22" y="153"/>
                  </a:lnTo>
                  <a:lnTo>
                    <a:pt x="18" y="109"/>
                  </a:lnTo>
                  <a:lnTo>
                    <a:pt x="6" y="88"/>
                  </a:lnTo>
                  <a:lnTo>
                    <a:pt x="16" y="72"/>
                  </a:lnTo>
                  <a:lnTo>
                    <a:pt x="12" y="42"/>
                  </a:lnTo>
                  <a:lnTo>
                    <a:pt x="8" y="14"/>
                  </a:lnTo>
                  <a:lnTo>
                    <a:pt x="0" y="6"/>
                  </a:lnTo>
                  <a:lnTo>
                    <a:pt x="2" y="0"/>
                  </a:lnTo>
                  <a:lnTo>
                    <a:pt x="18" y="0"/>
                  </a:lnTo>
                  <a:lnTo>
                    <a:pt x="28" y="6"/>
                  </a:lnTo>
                  <a:lnTo>
                    <a:pt x="50" y="38"/>
                  </a:lnTo>
                  <a:lnTo>
                    <a:pt x="50" y="66"/>
                  </a:lnTo>
                  <a:lnTo>
                    <a:pt x="64" y="80"/>
                  </a:lnTo>
                  <a:lnTo>
                    <a:pt x="68" y="173"/>
                  </a:lnTo>
                  <a:lnTo>
                    <a:pt x="72" y="185"/>
                  </a:lnTo>
                  <a:lnTo>
                    <a:pt x="50" y="185"/>
                  </a:lnTo>
                  <a:lnTo>
                    <a:pt x="44" y="183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98" name="Tunisia">
              <a:extLst>
                <a:ext uri="{FF2B5EF4-FFF2-40B4-BE49-F238E27FC236}">
                  <a16:creationId xmlns="" xmlns:a16="http://schemas.microsoft.com/office/drawing/2014/main" id="{E1E79D6B-CC1A-41DE-AFAA-6C8CB652C44D}"/>
                </a:ext>
              </a:extLst>
            </p:cNvPr>
            <p:cNvSpPr>
              <a:spLocks/>
            </p:cNvSpPr>
            <p:nvPr/>
          </p:nvSpPr>
          <p:spPr bwMode="gray">
            <a:xfrm>
              <a:off x="6037207" y="3274587"/>
              <a:ext cx="134708" cy="291051"/>
            </a:xfrm>
            <a:custGeom>
              <a:avLst/>
              <a:gdLst/>
              <a:ahLst/>
              <a:cxnLst>
                <a:cxn ang="0">
                  <a:pos x="114" y="322"/>
                </a:cxn>
                <a:cxn ang="0">
                  <a:pos x="90" y="356"/>
                </a:cxn>
                <a:cxn ang="0">
                  <a:pos x="70" y="262"/>
                </a:cxn>
                <a:cxn ang="0">
                  <a:pos x="42" y="244"/>
                </a:cxn>
                <a:cxn ang="0">
                  <a:pos x="40" y="228"/>
                </a:cxn>
                <a:cxn ang="0">
                  <a:pos x="14" y="208"/>
                </a:cxn>
                <a:cxn ang="0">
                  <a:pos x="0" y="168"/>
                </a:cxn>
                <a:cxn ang="0">
                  <a:pos x="6" y="154"/>
                </a:cxn>
                <a:cxn ang="0">
                  <a:pos x="34" y="116"/>
                </a:cxn>
                <a:cxn ang="0">
                  <a:pos x="34" y="40"/>
                </a:cxn>
                <a:cxn ang="0">
                  <a:pos x="40" y="20"/>
                </a:cxn>
                <a:cxn ang="0">
                  <a:pos x="48" y="20"/>
                </a:cxn>
                <a:cxn ang="0">
                  <a:pos x="56" y="12"/>
                </a:cxn>
                <a:cxn ang="0">
                  <a:pos x="94" y="0"/>
                </a:cxn>
                <a:cxn ang="0">
                  <a:pos x="108" y="10"/>
                </a:cxn>
                <a:cxn ang="0">
                  <a:pos x="112" y="18"/>
                </a:cxn>
                <a:cxn ang="0">
                  <a:pos x="122" y="26"/>
                </a:cxn>
                <a:cxn ang="0">
                  <a:pos x="136" y="18"/>
                </a:cxn>
                <a:cxn ang="0">
                  <a:pos x="138" y="30"/>
                </a:cxn>
                <a:cxn ang="0">
                  <a:pos x="118" y="58"/>
                </a:cxn>
                <a:cxn ang="0">
                  <a:pos x="120" y="66"/>
                </a:cxn>
                <a:cxn ang="0">
                  <a:pos x="140" y="94"/>
                </a:cxn>
                <a:cxn ang="0">
                  <a:pos x="142" y="106"/>
                </a:cxn>
                <a:cxn ang="0">
                  <a:pos x="124" y="134"/>
                </a:cxn>
                <a:cxn ang="0">
                  <a:pos x="108" y="146"/>
                </a:cxn>
                <a:cxn ang="0">
                  <a:pos x="108" y="158"/>
                </a:cxn>
                <a:cxn ang="0">
                  <a:pos x="114" y="168"/>
                </a:cxn>
                <a:cxn ang="0">
                  <a:pos x="130" y="172"/>
                </a:cxn>
                <a:cxn ang="0">
                  <a:pos x="142" y="178"/>
                </a:cxn>
                <a:cxn ang="0">
                  <a:pos x="152" y="196"/>
                </a:cxn>
                <a:cxn ang="0">
                  <a:pos x="162" y="198"/>
                </a:cxn>
                <a:cxn ang="0">
                  <a:pos x="166" y="238"/>
                </a:cxn>
                <a:cxn ang="0">
                  <a:pos x="158" y="246"/>
                </a:cxn>
                <a:cxn ang="0">
                  <a:pos x="142" y="252"/>
                </a:cxn>
                <a:cxn ang="0">
                  <a:pos x="132" y="262"/>
                </a:cxn>
                <a:cxn ang="0">
                  <a:pos x="120" y="264"/>
                </a:cxn>
                <a:cxn ang="0">
                  <a:pos x="108" y="276"/>
                </a:cxn>
                <a:cxn ang="0">
                  <a:pos x="108" y="294"/>
                </a:cxn>
                <a:cxn ang="0">
                  <a:pos x="114" y="322"/>
                </a:cxn>
              </a:cxnLst>
              <a:rect l="0" t="0" r="r" b="b"/>
              <a:pathLst>
                <a:path w="166" h="356">
                  <a:moveTo>
                    <a:pt x="114" y="322"/>
                  </a:moveTo>
                  <a:lnTo>
                    <a:pt x="90" y="356"/>
                  </a:lnTo>
                  <a:lnTo>
                    <a:pt x="70" y="262"/>
                  </a:lnTo>
                  <a:lnTo>
                    <a:pt x="42" y="244"/>
                  </a:lnTo>
                  <a:lnTo>
                    <a:pt x="40" y="228"/>
                  </a:lnTo>
                  <a:lnTo>
                    <a:pt x="14" y="208"/>
                  </a:lnTo>
                  <a:lnTo>
                    <a:pt x="0" y="168"/>
                  </a:lnTo>
                  <a:lnTo>
                    <a:pt x="6" y="154"/>
                  </a:lnTo>
                  <a:lnTo>
                    <a:pt x="34" y="116"/>
                  </a:lnTo>
                  <a:lnTo>
                    <a:pt x="34" y="40"/>
                  </a:lnTo>
                  <a:lnTo>
                    <a:pt x="40" y="20"/>
                  </a:lnTo>
                  <a:lnTo>
                    <a:pt x="48" y="20"/>
                  </a:lnTo>
                  <a:lnTo>
                    <a:pt x="56" y="12"/>
                  </a:lnTo>
                  <a:lnTo>
                    <a:pt x="94" y="0"/>
                  </a:lnTo>
                  <a:lnTo>
                    <a:pt x="108" y="10"/>
                  </a:lnTo>
                  <a:lnTo>
                    <a:pt x="112" y="18"/>
                  </a:lnTo>
                  <a:lnTo>
                    <a:pt x="122" y="26"/>
                  </a:lnTo>
                  <a:lnTo>
                    <a:pt x="136" y="18"/>
                  </a:lnTo>
                  <a:lnTo>
                    <a:pt x="138" y="30"/>
                  </a:lnTo>
                  <a:lnTo>
                    <a:pt x="118" y="58"/>
                  </a:lnTo>
                  <a:lnTo>
                    <a:pt x="120" y="66"/>
                  </a:lnTo>
                  <a:lnTo>
                    <a:pt x="140" y="94"/>
                  </a:lnTo>
                  <a:lnTo>
                    <a:pt x="142" y="106"/>
                  </a:lnTo>
                  <a:lnTo>
                    <a:pt x="124" y="134"/>
                  </a:lnTo>
                  <a:lnTo>
                    <a:pt x="108" y="146"/>
                  </a:lnTo>
                  <a:lnTo>
                    <a:pt x="108" y="158"/>
                  </a:lnTo>
                  <a:lnTo>
                    <a:pt x="114" y="168"/>
                  </a:lnTo>
                  <a:lnTo>
                    <a:pt x="130" y="172"/>
                  </a:lnTo>
                  <a:lnTo>
                    <a:pt x="142" y="178"/>
                  </a:lnTo>
                  <a:lnTo>
                    <a:pt x="152" y="196"/>
                  </a:lnTo>
                  <a:lnTo>
                    <a:pt x="162" y="198"/>
                  </a:lnTo>
                  <a:lnTo>
                    <a:pt x="166" y="238"/>
                  </a:lnTo>
                  <a:lnTo>
                    <a:pt x="158" y="246"/>
                  </a:lnTo>
                  <a:lnTo>
                    <a:pt x="142" y="252"/>
                  </a:lnTo>
                  <a:lnTo>
                    <a:pt x="132" y="262"/>
                  </a:lnTo>
                  <a:lnTo>
                    <a:pt x="120" y="264"/>
                  </a:lnTo>
                  <a:lnTo>
                    <a:pt x="108" y="276"/>
                  </a:lnTo>
                  <a:lnTo>
                    <a:pt x="108" y="294"/>
                  </a:lnTo>
                  <a:lnTo>
                    <a:pt x="114" y="322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99" name="Turkey">
              <a:extLst>
                <a:ext uri="{FF2B5EF4-FFF2-40B4-BE49-F238E27FC236}">
                  <a16:creationId xmlns="" xmlns:a16="http://schemas.microsoft.com/office/drawing/2014/main" id="{6BAF72A1-3FE4-4EA7-8FED-5BEDABB7131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599471" y="3079898"/>
              <a:ext cx="589596" cy="263518"/>
            </a:xfrm>
            <a:custGeom>
              <a:avLst/>
              <a:gdLst/>
              <a:ahLst/>
              <a:cxnLst>
                <a:cxn ang="0">
                  <a:pos x="700" y="262"/>
                </a:cxn>
                <a:cxn ang="0">
                  <a:pos x="654" y="254"/>
                </a:cxn>
                <a:cxn ang="0">
                  <a:pos x="624" y="252"/>
                </a:cxn>
                <a:cxn ang="0">
                  <a:pos x="566" y="264"/>
                </a:cxn>
                <a:cxn ang="0">
                  <a:pos x="536" y="280"/>
                </a:cxn>
                <a:cxn ang="0">
                  <a:pos x="488" y="274"/>
                </a:cxn>
                <a:cxn ang="0">
                  <a:pos x="444" y="284"/>
                </a:cxn>
                <a:cxn ang="0">
                  <a:pos x="424" y="272"/>
                </a:cxn>
                <a:cxn ang="0">
                  <a:pos x="424" y="302"/>
                </a:cxn>
                <a:cxn ang="0">
                  <a:pos x="392" y="322"/>
                </a:cxn>
                <a:cxn ang="0">
                  <a:pos x="384" y="296"/>
                </a:cxn>
                <a:cxn ang="0">
                  <a:pos x="396" y="272"/>
                </a:cxn>
                <a:cxn ang="0">
                  <a:pos x="376" y="288"/>
                </a:cxn>
                <a:cxn ang="0">
                  <a:pos x="336" y="274"/>
                </a:cxn>
                <a:cxn ang="0">
                  <a:pos x="322" y="288"/>
                </a:cxn>
                <a:cxn ang="0">
                  <a:pos x="276" y="308"/>
                </a:cxn>
                <a:cxn ang="0">
                  <a:pos x="244" y="310"/>
                </a:cxn>
                <a:cxn ang="0">
                  <a:pos x="196" y="274"/>
                </a:cxn>
                <a:cxn ang="0">
                  <a:pos x="176" y="300"/>
                </a:cxn>
                <a:cxn ang="0">
                  <a:pos x="128" y="286"/>
                </a:cxn>
                <a:cxn ang="0">
                  <a:pos x="108" y="272"/>
                </a:cxn>
                <a:cxn ang="0">
                  <a:pos x="88" y="284"/>
                </a:cxn>
                <a:cxn ang="0">
                  <a:pos x="78" y="276"/>
                </a:cxn>
                <a:cxn ang="0">
                  <a:pos x="52" y="268"/>
                </a:cxn>
                <a:cxn ang="0">
                  <a:pos x="56" y="254"/>
                </a:cxn>
                <a:cxn ang="0">
                  <a:pos x="52" y="224"/>
                </a:cxn>
                <a:cxn ang="0">
                  <a:pos x="20" y="206"/>
                </a:cxn>
                <a:cxn ang="0">
                  <a:pos x="14" y="186"/>
                </a:cxn>
                <a:cxn ang="0">
                  <a:pos x="26" y="190"/>
                </a:cxn>
                <a:cxn ang="0">
                  <a:pos x="36" y="182"/>
                </a:cxn>
                <a:cxn ang="0">
                  <a:pos x="28" y="154"/>
                </a:cxn>
                <a:cxn ang="0">
                  <a:pos x="36" y="130"/>
                </a:cxn>
                <a:cxn ang="0">
                  <a:pos x="10" y="112"/>
                </a:cxn>
                <a:cxn ang="0">
                  <a:pos x="26" y="94"/>
                </a:cxn>
                <a:cxn ang="0">
                  <a:pos x="72" y="90"/>
                </a:cxn>
                <a:cxn ang="0">
                  <a:pos x="108" y="76"/>
                </a:cxn>
                <a:cxn ang="0">
                  <a:pos x="122" y="56"/>
                </a:cxn>
                <a:cxn ang="0">
                  <a:pos x="202" y="48"/>
                </a:cxn>
                <a:cxn ang="0">
                  <a:pos x="284" y="6"/>
                </a:cxn>
                <a:cxn ang="0">
                  <a:pos x="342" y="4"/>
                </a:cxn>
                <a:cxn ang="0">
                  <a:pos x="360" y="22"/>
                </a:cxn>
                <a:cxn ang="0">
                  <a:pos x="402" y="44"/>
                </a:cxn>
                <a:cxn ang="0">
                  <a:pos x="424" y="48"/>
                </a:cxn>
                <a:cxn ang="0">
                  <a:pos x="520" y="46"/>
                </a:cxn>
                <a:cxn ang="0">
                  <a:pos x="570" y="50"/>
                </a:cxn>
                <a:cxn ang="0">
                  <a:pos x="632" y="40"/>
                </a:cxn>
                <a:cxn ang="0">
                  <a:pos x="672" y="52"/>
                </a:cxn>
                <a:cxn ang="0">
                  <a:pos x="674" y="84"/>
                </a:cxn>
                <a:cxn ang="0">
                  <a:pos x="688" y="114"/>
                </a:cxn>
                <a:cxn ang="0">
                  <a:pos x="712" y="132"/>
                </a:cxn>
                <a:cxn ang="0">
                  <a:pos x="700" y="168"/>
                </a:cxn>
                <a:cxn ang="0">
                  <a:pos x="714" y="212"/>
                </a:cxn>
                <a:cxn ang="0">
                  <a:pos x="726" y="256"/>
                </a:cxn>
                <a:cxn ang="0">
                  <a:pos x="20" y="72"/>
                </a:cxn>
                <a:cxn ang="0">
                  <a:pos x="34" y="84"/>
                </a:cxn>
                <a:cxn ang="0">
                  <a:pos x="74" y="62"/>
                </a:cxn>
                <a:cxn ang="0">
                  <a:pos x="94" y="54"/>
                </a:cxn>
                <a:cxn ang="0">
                  <a:pos x="96" y="30"/>
                </a:cxn>
                <a:cxn ang="0">
                  <a:pos x="84" y="0"/>
                </a:cxn>
                <a:cxn ang="0">
                  <a:pos x="52" y="2"/>
                </a:cxn>
                <a:cxn ang="0">
                  <a:pos x="16" y="22"/>
                </a:cxn>
                <a:cxn ang="0">
                  <a:pos x="0" y="68"/>
                </a:cxn>
              </a:cxnLst>
              <a:rect l="0" t="0" r="r" b="b"/>
              <a:pathLst>
                <a:path w="726" h="322">
                  <a:moveTo>
                    <a:pt x="706" y="270"/>
                  </a:moveTo>
                  <a:lnTo>
                    <a:pt x="700" y="262"/>
                  </a:lnTo>
                  <a:lnTo>
                    <a:pt x="680" y="260"/>
                  </a:lnTo>
                  <a:lnTo>
                    <a:pt x="654" y="254"/>
                  </a:lnTo>
                  <a:lnTo>
                    <a:pt x="642" y="268"/>
                  </a:lnTo>
                  <a:lnTo>
                    <a:pt x="624" y="252"/>
                  </a:lnTo>
                  <a:lnTo>
                    <a:pt x="600" y="264"/>
                  </a:lnTo>
                  <a:lnTo>
                    <a:pt x="566" y="264"/>
                  </a:lnTo>
                  <a:lnTo>
                    <a:pt x="550" y="276"/>
                  </a:lnTo>
                  <a:lnTo>
                    <a:pt x="536" y="280"/>
                  </a:lnTo>
                  <a:lnTo>
                    <a:pt x="504" y="280"/>
                  </a:lnTo>
                  <a:lnTo>
                    <a:pt x="488" y="274"/>
                  </a:lnTo>
                  <a:lnTo>
                    <a:pt x="458" y="284"/>
                  </a:lnTo>
                  <a:lnTo>
                    <a:pt x="444" y="284"/>
                  </a:lnTo>
                  <a:lnTo>
                    <a:pt x="434" y="270"/>
                  </a:lnTo>
                  <a:lnTo>
                    <a:pt x="424" y="272"/>
                  </a:lnTo>
                  <a:lnTo>
                    <a:pt x="416" y="286"/>
                  </a:lnTo>
                  <a:lnTo>
                    <a:pt x="424" y="302"/>
                  </a:lnTo>
                  <a:lnTo>
                    <a:pt x="412" y="304"/>
                  </a:lnTo>
                  <a:lnTo>
                    <a:pt x="392" y="322"/>
                  </a:lnTo>
                  <a:lnTo>
                    <a:pt x="382" y="312"/>
                  </a:lnTo>
                  <a:lnTo>
                    <a:pt x="384" y="296"/>
                  </a:lnTo>
                  <a:lnTo>
                    <a:pt x="396" y="284"/>
                  </a:lnTo>
                  <a:lnTo>
                    <a:pt x="396" y="272"/>
                  </a:lnTo>
                  <a:lnTo>
                    <a:pt x="390" y="272"/>
                  </a:lnTo>
                  <a:lnTo>
                    <a:pt x="376" y="288"/>
                  </a:lnTo>
                  <a:lnTo>
                    <a:pt x="364" y="288"/>
                  </a:lnTo>
                  <a:lnTo>
                    <a:pt x="336" y="274"/>
                  </a:lnTo>
                  <a:lnTo>
                    <a:pt x="326" y="274"/>
                  </a:lnTo>
                  <a:lnTo>
                    <a:pt x="322" y="288"/>
                  </a:lnTo>
                  <a:lnTo>
                    <a:pt x="310" y="300"/>
                  </a:lnTo>
                  <a:lnTo>
                    <a:pt x="276" y="308"/>
                  </a:lnTo>
                  <a:lnTo>
                    <a:pt x="262" y="312"/>
                  </a:lnTo>
                  <a:lnTo>
                    <a:pt x="244" y="310"/>
                  </a:lnTo>
                  <a:lnTo>
                    <a:pt x="228" y="288"/>
                  </a:lnTo>
                  <a:lnTo>
                    <a:pt x="196" y="274"/>
                  </a:lnTo>
                  <a:lnTo>
                    <a:pt x="178" y="276"/>
                  </a:lnTo>
                  <a:lnTo>
                    <a:pt x="176" y="300"/>
                  </a:lnTo>
                  <a:lnTo>
                    <a:pt x="152" y="300"/>
                  </a:lnTo>
                  <a:lnTo>
                    <a:pt x="128" y="286"/>
                  </a:lnTo>
                  <a:lnTo>
                    <a:pt x="126" y="280"/>
                  </a:lnTo>
                  <a:lnTo>
                    <a:pt x="108" y="272"/>
                  </a:lnTo>
                  <a:lnTo>
                    <a:pt x="96" y="272"/>
                  </a:lnTo>
                  <a:lnTo>
                    <a:pt x="88" y="284"/>
                  </a:lnTo>
                  <a:lnTo>
                    <a:pt x="84" y="284"/>
                  </a:lnTo>
                  <a:lnTo>
                    <a:pt x="78" y="276"/>
                  </a:lnTo>
                  <a:lnTo>
                    <a:pt x="80" y="266"/>
                  </a:lnTo>
                  <a:lnTo>
                    <a:pt x="52" y="268"/>
                  </a:lnTo>
                  <a:lnTo>
                    <a:pt x="44" y="264"/>
                  </a:lnTo>
                  <a:lnTo>
                    <a:pt x="56" y="254"/>
                  </a:lnTo>
                  <a:lnTo>
                    <a:pt x="44" y="236"/>
                  </a:lnTo>
                  <a:lnTo>
                    <a:pt x="52" y="224"/>
                  </a:lnTo>
                  <a:lnTo>
                    <a:pt x="32" y="208"/>
                  </a:lnTo>
                  <a:lnTo>
                    <a:pt x="20" y="206"/>
                  </a:lnTo>
                  <a:lnTo>
                    <a:pt x="18" y="192"/>
                  </a:lnTo>
                  <a:lnTo>
                    <a:pt x="14" y="186"/>
                  </a:lnTo>
                  <a:lnTo>
                    <a:pt x="16" y="180"/>
                  </a:lnTo>
                  <a:lnTo>
                    <a:pt x="26" y="190"/>
                  </a:lnTo>
                  <a:lnTo>
                    <a:pt x="38" y="192"/>
                  </a:lnTo>
                  <a:lnTo>
                    <a:pt x="36" y="182"/>
                  </a:lnTo>
                  <a:lnTo>
                    <a:pt x="38" y="170"/>
                  </a:lnTo>
                  <a:lnTo>
                    <a:pt x="28" y="154"/>
                  </a:lnTo>
                  <a:lnTo>
                    <a:pt x="28" y="144"/>
                  </a:lnTo>
                  <a:lnTo>
                    <a:pt x="36" y="130"/>
                  </a:lnTo>
                  <a:lnTo>
                    <a:pt x="10" y="128"/>
                  </a:lnTo>
                  <a:lnTo>
                    <a:pt x="10" y="112"/>
                  </a:lnTo>
                  <a:lnTo>
                    <a:pt x="18" y="106"/>
                  </a:lnTo>
                  <a:lnTo>
                    <a:pt x="26" y="94"/>
                  </a:lnTo>
                  <a:lnTo>
                    <a:pt x="58" y="98"/>
                  </a:lnTo>
                  <a:lnTo>
                    <a:pt x="72" y="90"/>
                  </a:lnTo>
                  <a:lnTo>
                    <a:pt x="96" y="92"/>
                  </a:lnTo>
                  <a:lnTo>
                    <a:pt x="108" y="76"/>
                  </a:lnTo>
                  <a:lnTo>
                    <a:pt x="124" y="66"/>
                  </a:lnTo>
                  <a:lnTo>
                    <a:pt x="122" y="56"/>
                  </a:lnTo>
                  <a:lnTo>
                    <a:pt x="126" y="50"/>
                  </a:lnTo>
                  <a:lnTo>
                    <a:pt x="202" y="48"/>
                  </a:lnTo>
                  <a:lnTo>
                    <a:pt x="230" y="28"/>
                  </a:lnTo>
                  <a:lnTo>
                    <a:pt x="284" y="6"/>
                  </a:lnTo>
                  <a:lnTo>
                    <a:pt x="326" y="14"/>
                  </a:lnTo>
                  <a:lnTo>
                    <a:pt x="342" y="4"/>
                  </a:lnTo>
                  <a:lnTo>
                    <a:pt x="350" y="4"/>
                  </a:lnTo>
                  <a:lnTo>
                    <a:pt x="360" y="22"/>
                  </a:lnTo>
                  <a:lnTo>
                    <a:pt x="384" y="20"/>
                  </a:lnTo>
                  <a:lnTo>
                    <a:pt x="402" y="44"/>
                  </a:lnTo>
                  <a:lnTo>
                    <a:pt x="414" y="42"/>
                  </a:lnTo>
                  <a:lnTo>
                    <a:pt x="424" y="48"/>
                  </a:lnTo>
                  <a:lnTo>
                    <a:pt x="480" y="60"/>
                  </a:lnTo>
                  <a:lnTo>
                    <a:pt x="520" y="46"/>
                  </a:lnTo>
                  <a:lnTo>
                    <a:pt x="542" y="56"/>
                  </a:lnTo>
                  <a:lnTo>
                    <a:pt x="570" y="50"/>
                  </a:lnTo>
                  <a:lnTo>
                    <a:pt x="588" y="32"/>
                  </a:lnTo>
                  <a:lnTo>
                    <a:pt x="632" y="40"/>
                  </a:lnTo>
                  <a:lnTo>
                    <a:pt x="648" y="36"/>
                  </a:lnTo>
                  <a:lnTo>
                    <a:pt x="672" y="52"/>
                  </a:lnTo>
                  <a:lnTo>
                    <a:pt x="674" y="66"/>
                  </a:lnTo>
                  <a:lnTo>
                    <a:pt x="674" y="84"/>
                  </a:lnTo>
                  <a:lnTo>
                    <a:pt x="678" y="100"/>
                  </a:lnTo>
                  <a:lnTo>
                    <a:pt x="688" y="114"/>
                  </a:lnTo>
                  <a:lnTo>
                    <a:pt x="698" y="112"/>
                  </a:lnTo>
                  <a:lnTo>
                    <a:pt x="712" y="132"/>
                  </a:lnTo>
                  <a:lnTo>
                    <a:pt x="708" y="146"/>
                  </a:lnTo>
                  <a:lnTo>
                    <a:pt x="700" y="168"/>
                  </a:lnTo>
                  <a:lnTo>
                    <a:pt x="702" y="186"/>
                  </a:lnTo>
                  <a:lnTo>
                    <a:pt x="714" y="212"/>
                  </a:lnTo>
                  <a:lnTo>
                    <a:pt x="714" y="228"/>
                  </a:lnTo>
                  <a:lnTo>
                    <a:pt x="726" y="256"/>
                  </a:lnTo>
                  <a:lnTo>
                    <a:pt x="706" y="270"/>
                  </a:lnTo>
                  <a:close/>
                  <a:moveTo>
                    <a:pt x="20" y="72"/>
                  </a:moveTo>
                  <a:lnTo>
                    <a:pt x="18" y="86"/>
                  </a:lnTo>
                  <a:lnTo>
                    <a:pt x="34" y="84"/>
                  </a:lnTo>
                  <a:lnTo>
                    <a:pt x="54" y="66"/>
                  </a:lnTo>
                  <a:lnTo>
                    <a:pt x="74" y="62"/>
                  </a:lnTo>
                  <a:lnTo>
                    <a:pt x="76" y="54"/>
                  </a:lnTo>
                  <a:lnTo>
                    <a:pt x="94" y="54"/>
                  </a:lnTo>
                  <a:lnTo>
                    <a:pt x="114" y="48"/>
                  </a:lnTo>
                  <a:lnTo>
                    <a:pt x="96" y="30"/>
                  </a:lnTo>
                  <a:lnTo>
                    <a:pt x="88" y="16"/>
                  </a:lnTo>
                  <a:lnTo>
                    <a:pt x="84" y="0"/>
                  </a:lnTo>
                  <a:lnTo>
                    <a:pt x="66" y="4"/>
                  </a:lnTo>
                  <a:lnTo>
                    <a:pt x="52" y="2"/>
                  </a:lnTo>
                  <a:lnTo>
                    <a:pt x="36" y="2"/>
                  </a:lnTo>
                  <a:lnTo>
                    <a:pt x="16" y="22"/>
                  </a:lnTo>
                  <a:lnTo>
                    <a:pt x="14" y="42"/>
                  </a:lnTo>
                  <a:lnTo>
                    <a:pt x="0" y="68"/>
                  </a:lnTo>
                  <a:lnTo>
                    <a:pt x="20" y="72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srgbClr val="E7E6E6">
                    <a:lumMod val="85000"/>
                  </a:srgbClr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400" name="Turkmenistan">
              <a:extLst>
                <a:ext uri="{FF2B5EF4-FFF2-40B4-BE49-F238E27FC236}">
                  <a16:creationId xmlns="" xmlns:a16="http://schemas.microsoft.com/office/drawing/2014/main" id="{9A53E79E-3834-4445-9FC0-197154DE535C}"/>
                </a:ext>
              </a:extLst>
            </p:cNvPr>
            <p:cNvSpPr>
              <a:spLocks/>
            </p:cNvSpPr>
            <p:nvPr/>
          </p:nvSpPr>
          <p:spPr bwMode="gray">
            <a:xfrm>
              <a:off x="7425295" y="3054334"/>
              <a:ext cx="400222" cy="314649"/>
            </a:xfrm>
            <a:custGeom>
              <a:avLst/>
              <a:gdLst/>
              <a:ahLst/>
              <a:cxnLst>
                <a:cxn ang="0">
                  <a:pos x="54" y="278"/>
                </a:cxn>
                <a:cxn ang="0">
                  <a:pos x="108" y="250"/>
                </a:cxn>
                <a:cxn ang="0">
                  <a:pos x="146" y="236"/>
                </a:cxn>
                <a:cxn ang="0">
                  <a:pos x="186" y="252"/>
                </a:cxn>
                <a:cxn ang="0">
                  <a:pos x="216" y="268"/>
                </a:cxn>
                <a:cxn ang="0">
                  <a:pos x="254" y="282"/>
                </a:cxn>
                <a:cxn ang="0">
                  <a:pos x="284" y="296"/>
                </a:cxn>
                <a:cxn ang="0">
                  <a:pos x="304" y="318"/>
                </a:cxn>
                <a:cxn ang="0">
                  <a:pos x="324" y="354"/>
                </a:cxn>
                <a:cxn ang="0">
                  <a:pos x="370" y="384"/>
                </a:cxn>
                <a:cxn ang="0">
                  <a:pos x="418" y="356"/>
                </a:cxn>
                <a:cxn ang="0">
                  <a:pos x="454" y="314"/>
                </a:cxn>
                <a:cxn ang="0">
                  <a:pos x="470" y="286"/>
                </a:cxn>
                <a:cxn ang="0">
                  <a:pos x="488" y="244"/>
                </a:cxn>
                <a:cxn ang="0">
                  <a:pos x="470" y="214"/>
                </a:cxn>
                <a:cxn ang="0">
                  <a:pos x="366" y="124"/>
                </a:cxn>
                <a:cxn ang="0">
                  <a:pos x="338" y="82"/>
                </a:cxn>
                <a:cxn ang="0">
                  <a:pos x="280" y="70"/>
                </a:cxn>
                <a:cxn ang="0">
                  <a:pos x="280" y="42"/>
                </a:cxn>
                <a:cxn ang="0">
                  <a:pos x="216" y="8"/>
                </a:cxn>
                <a:cxn ang="0">
                  <a:pos x="206" y="16"/>
                </a:cxn>
                <a:cxn ang="0">
                  <a:pos x="168" y="54"/>
                </a:cxn>
                <a:cxn ang="0">
                  <a:pos x="168" y="74"/>
                </a:cxn>
                <a:cxn ang="0">
                  <a:pos x="116" y="72"/>
                </a:cxn>
                <a:cxn ang="0">
                  <a:pos x="86" y="28"/>
                </a:cxn>
                <a:cxn ang="0">
                  <a:pos x="16" y="18"/>
                </a:cxn>
                <a:cxn ang="0">
                  <a:pos x="0" y="46"/>
                </a:cxn>
                <a:cxn ang="0">
                  <a:pos x="22" y="64"/>
                </a:cxn>
                <a:cxn ang="0">
                  <a:pos x="22" y="40"/>
                </a:cxn>
                <a:cxn ang="0">
                  <a:pos x="64" y="70"/>
                </a:cxn>
                <a:cxn ang="0">
                  <a:pos x="72" y="114"/>
                </a:cxn>
                <a:cxn ang="0">
                  <a:pos x="22" y="104"/>
                </a:cxn>
                <a:cxn ang="0">
                  <a:pos x="8" y="144"/>
                </a:cxn>
                <a:cxn ang="0">
                  <a:pos x="22" y="146"/>
                </a:cxn>
                <a:cxn ang="0">
                  <a:pos x="48" y="150"/>
                </a:cxn>
                <a:cxn ang="0">
                  <a:pos x="54" y="174"/>
                </a:cxn>
                <a:cxn ang="0">
                  <a:pos x="32" y="180"/>
                </a:cxn>
                <a:cxn ang="0">
                  <a:pos x="22" y="184"/>
                </a:cxn>
                <a:cxn ang="0">
                  <a:pos x="30" y="190"/>
                </a:cxn>
                <a:cxn ang="0">
                  <a:pos x="46" y="204"/>
                </a:cxn>
              </a:cxnLst>
              <a:rect l="0" t="0" r="r" b="b"/>
              <a:pathLst>
                <a:path w="494" h="384">
                  <a:moveTo>
                    <a:pt x="56" y="212"/>
                  </a:moveTo>
                  <a:lnTo>
                    <a:pt x="54" y="278"/>
                  </a:lnTo>
                  <a:lnTo>
                    <a:pt x="70" y="286"/>
                  </a:lnTo>
                  <a:lnTo>
                    <a:pt x="108" y="250"/>
                  </a:lnTo>
                  <a:lnTo>
                    <a:pt x="136" y="250"/>
                  </a:lnTo>
                  <a:lnTo>
                    <a:pt x="146" y="236"/>
                  </a:lnTo>
                  <a:lnTo>
                    <a:pt x="172" y="234"/>
                  </a:lnTo>
                  <a:lnTo>
                    <a:pt x="186" y="252"/>
                  </a:lnTo>
                  <a:lnTo>
                    <a:pt x="204" y="256"/>
                  </a:lnTo>
                  <a:lnTo>
                    <a:pt x="216" y="268"/>
                  </a:lnTo>
                  <a:lnTo>
                    <a:pt x="246" y="268"/>
                  </a:lnTo>
                  <a:lnTo>
                    <a:pt x="254" y="282"/>
                  </a:lnTo>
                  <a:lnTo>
                    <a:pt x="270" y="286"/>
                  </a:lnTo>
                  <a:lnTo>
                    <a:pt x="284" y="296"/>
                  </a:lnTo>
                  <a:lnTo>
                    <a:pt x="290" y="312"/>
                  </a:lnTo>
                  <a:lnTo>
                    <a:pt x="304" y="318"/>
                  </a:lnTo>
                  <a:lnTo>
                    <a:pt x="324" y="316"/>
                  </a:lnTo>
                  <a:lnTo>
                    <a:pt x="324" y="354"/>
                  </a:lnTo>
                  <a:lnTo>
                    <a:pt x="364" y="366"/>
                  </a:lnTo>
                  <a:lnTo>
                    <a:pt x="370" y="384"/>
                  </a:lnTo>
                  <a:lnTo>
                    <a:pt x="402" y="356"/>
                  </a:lnTo>
                  <a:lnTo>
                    <a:pt x="418" y="356"/>
                  </a:lnTo>
                  <a:lnTo>
                    <a:pt x="452" y="330"/>
                  </a:lnTo>
                  <a:lnTo>
                    <a:pt x="454" y="314"/>
                  </a:lnTo>
                  <a:lnTo>
                    <a:pt x="466" y="300"/>
                  </a:lnTo>
                  <a:lnTo>
                    <a:pt x="470" y="286"/>
                  </a:lnTo>
                  <a:lnTo>
                    <a:pt x="490" y="272"/>
                  </a:lnTo>
                  <a:lnTo>
                    <a:pt x="488" y="244"/>
                  </a:lnTo>
                  <a:lnTo>
                    <a:pt x="494" y="228"/>
                  </a:lnTo>
                  <a:lnTo>
                    <a:pt x="470" y="214"/>
                  </a:lnTo>
                  <a:lnTo>
                    <a:pt x="454" y="214"/>
                  </a:lnTo>
                  <a:lnTo>
                    <a:pt x="366" y="124"/>
                  </a:lnTo>
                  <a:lnTo>
                    <a:pt x="364" y="108"/>
                  </a:lnTo>
                  <a:lnTo>
                    <a:pt x="338" y="82"/>
                  </a:lnTo>
                  <a:lnTo>
                    <a:pt x="304" y="82"/>
                  </a:lnTo>
                  <a:lnTo>
                    <a:pt x="280" y="70"/>
                  </a:lnTo>
                  <a:lnTo>
                    <a:pt x="284" y="52"/>
                  </a:lnTo>
                  <a:lnTo>
                    <a:pt x="280" y="42"/>
                  </a:lnTo>
                  <a:lnTo>
                    <a:pt x="224" y="0"/>
                  </a:lnTo>
                  <a:lnTo>
                    <a:pt x="216" y="8"/>
                  </a:lnTo>
                  <a:lnTo>
                    <a:pt x="226" y="20"/>
                  </a:lnTo>
                  <a:lnTo>
                    <a:pt x="206" y="16"/>
                  </a:lnTo>
                  <a:lnTo>
                    <a:pt x="172" y="32"/>
                  </a:lnTo>
                  <a:lnTo>
                    <a:pt x="168" y="54"/>
                  </a:lnTo>
                  <a:lnTo>
                    <a:pt x="180" y="66"/>
                  </a:lnTo>
                  <a:lnTo>
                    <a:pt x="168" y="74"/>
                  </a:lnTo>
                  <a:lnTo>
                    <a:pt x="132" y="72"/>
                  </a:lnTo>
                  <a:lnTo>
                    <a:pt x="116" y="72"/>
                  </a:lnTo>
                  <a:lnTo>
                    <a:pt x="90" y="42"/>
                  </a:lnTo>
                  <a:lnTo>
                    <a:pt x="86" y="28"/>
                  </a:lnTo>
                  <a:lnTo>
                    <a:pt x="64" y="0"/>
                  </a:lnTo>
                  <a:lnTo>
                    <a:pt x="16" y="18"/>
                  </a:lnTo>
                  <a:lnTo>
                    <a:pt x="14" y="38"/>
                  </a:lnTo>
                  <a:lnTo>
                    <a:pt x="0" y="46"/>
                  </a:lnTo>
                  <a:lnTo>
                    <a:pt x="20" y="90"/>
                  </a:lnTo>
                  <a:lnTo>
                    <a:pt x="22" y="64"/>
                  </a:lnTo>
                  <a:lnTo>
                    <a:pt x="18" y="54"/>
                  </a:lnTo>
                  <a:lnTo>
                    <a:pt x="22" y="40"/>
                  </a:lnTo>
                  <a:lnTo>
                    <a:pt x="52" y="34"/>
                  </a:lnTo>
                  <a:lnTo>
                    <a:pt x="64" y="70"/>
                  </a:lnTo>
                  <a:lnTo>
                    <a:pt x="82" y="92"/>
                  </a:lnTo>
                  <a:lnTo>
                    <a:pt x="72" y="114"/>
                  </a:lnTo>
                  <a:lnTo>
                    <a:pt x="22" y="114"/>
                  </a:lnTo>
                  <a:lnTo>
                    <a:pt x="22" y="104"/>
                  </a:lnTo>
                  <a:lnTo>
                    <a:pt x="12" y="114"/>
                  </a:lnTo>
                  <a:lnTo>
                    <a:pt x="8" y="144"/>
                  </a:lnTo>
                  <a:lnTo>
                    <a:pt x="18" y="164"/>
                  </a:lnTo>
                  <a:lnTo>
                    <a:pt x="22" y="146"/>
                  </a:lnTo>
                  <a:lnTo>
                    <a:pt x="38" y="150"/>
                  </a:lnTo>
                  <a:lnTo>
                    <a:pt x="48" y="150"/>
                  </a:lnTo>
                  <a:lnTo>
                    <a:pt x="48" y="166"/>
                  </a:lnTo>
                  <a:lnTo>
                    <a:pt x="54" y="174"/>
                  </a:lnTo>
                  <a:lnTo>
                    <a:pt x="46" y="180"/>
                  </a:lnTo>
                  <a:lnTo>
                    <a:pt x="32" y="180"/>
                  </a:lnTo>
                  <a:lnTo>
                    <a:pt x="30" y="170"/>
                  </a:lnTo>
                  <a:lnTo>
                    <a:pt x="22" y="184"/>
                  </a:lnTo>
                  <a:lnTo>
                    <a:pt x="24" y="196"/>
                  </a:lnTo>
                  <a:lnTo>
                    <a:pt x="30" y="190"/>
                  </a:lnTo>
                  <a:lnTo>
                    <a:pt x="40" y="192"/>
                  </a:lnTo>
                  <a:lnTo>
                    <a:pt x="46" y="204"/>
                  </a:lnTo>
                  <a:lnTo>
                    <a:pt x="56" y="212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401" name="Uganda">
              <a:extLst>
                <a:ext uri="{FF2B5EF4-FFF2-40B4-BE49-F238E27FC236}">
                  <a16:creationId xmlns="" xmlns:a16="http://schemas.microsoft.com/office/drawing/2014/main" id="{D363614C-A6A6-445C-9B0C-0EF75E0E3520}"/>
                </a:ext>
              </a:extLst>
            </p:cNvPr>
            <p:cNvSpPr>
              <a:spLocks/>
            </p:cNvSpPr>
            <p:nvPr/>
          </p:nvSpPr>
          <p:spPr bwMode="gray">
            <a:xfrm>
              <a:off x="6724418" y="4430924"/>
              <a:ext cx="167898" cy="176991"/>
            </a:xfrm>
            <a:custGeom>
              <a:avLst/>
              <a:gdLst/>
              <a:ahLst/>
              <a:cxnLst>
                <a:cxn ang="0">
                  <a:pos x="24" y="216"/>
                </a:cxn>
                <a:cxn ang="0">
                  <a:pos x="12" y="212"/>
                </a:cxn>
                <a:cxn ang="0">
                  <a:pos x="0" y="194"/>
                </a:cxn>
                <a:cxn ang="0">
                  <a:pos x="8" y="168"/>
                </a:cxn>
                <a:cxn ang="0">
                  <a:pos x="10" y="136"/>
                </a:cxn>
                <a:cxn ang="0">
                  <a:pos x="36" y="108"/>
                </a:cxn>
                <a:cxn ang="0">
                  <a:pos x="58" y="74"/>
                </a:cxn>
                <a:cxn ang="0">
                  <a:pos x="40" y="72"/>
                </a:cxn>
                <a:cxn ang="0">
                  <a:pos x="48" y="60"/>
                </a:cxn>
                <a:cxn ang="0">
                  <a:pos x="48" y="44"/>
                </a:cxn>
                <a:cxn ang="0">
                  <a:pos x="52" y="28"/>
                </a:cxn>
                <a:cxn ang="0">
                  <a:pos x="64" y="12"/>
                </a:cxn>
                <a:cxn ang="0">
                  <a:pos x="80" y="10"/>
                </a:cxn>
                <a:cxn ang="0">
                  <a:pos x="94" y="0"/>
                </a:cxn>
                <a:cxn ang="0">
                  <a:pos x="106" y="16"/>
                </a:cxn>
                <a:cxn ang="0">
                  <a:pos x="160" y="20"/>
                </a:cxn>
                <a:cxn ang="0">
                  <a:pos x="174" y="6"/>
                </a:cxn>
                <a:cxn ang="0">
                  <a:pos x="186" y="18"/>
                </a:cxn>
                <a:cxn ang="0">
                  <a:pos x="186" y="38"/>
                </a:cxn>
                <a:cxn ang="0">
                  <a:pos x="204" y="46"/>
                </a:cxn>
                <a:cxn ang="0">
                  <a:pos x="208" y="70"/>
                </a:cxn>
                <a:cxn ang="0">
                  <a:pos x="200" y="88"/>
                </a:cxn>
                <a:cxn ang="0">
                  <a:pos x="194" y="108"/>
                </a:cxn>
                <a:cxn ang="0">
                  <a:pos x="180" y="118"/>
                </a:cxn>
                <a:cxn ang="0">
                  <a:pos x="170" y="140"/>
                </a:cxn>
                <a:cxn ang="0">
                  <a:pos x="166" y="156"/>
                </a:cxn>
                <a:cxn ang="0">
                  <a:pos x="158" y="170"/>
                </a:cxn>
                <a:cxn ang="0">
                  <a:pos x="160" y="202"/>
                </a:cxn>
                <a:cxn ang="0">
                  <a:pos x="44" y="204"/>
                </a:cxn>
                <a:cxn ang="0">
                  <a:pos x="34" y="208"/>
                </a:cxn>
                <a:cxn ang="0">
                  <a:pos x="24" y="216"/>
                </a:cxn>
              </a:cxnLst>
              <a:rect l="0" t="0" r="r" b="b"/>
              <a:pathLst>
                <a:path w="208" h="216">
                  <a:moveTo>
                    <a:pt x="24" y="216"/>
                  </a:moveTo>
                  <a:lnTo>
                    <a:pt x="12" y="212"/>
                  </a:lnTo>
                  <a:lnTo>
                    <a:pt x="0" y="194"/>
                  </a:lnTo>
                  <a:lnTo>
                    <a:pt x="8" y="168"/>
                  </a:lnTo>
                  <a:lnTo>
                    <a:pt x="10" y="136"/>
                  </a:lnTo>
                  <a:lnTo>
                    <a:pt x="36" y="108"/>
                  </a:lnTo>
                  <a:lnTo>
                    <a:pt x="58" y="74"/>
                  </a:lnTo>
                  <a:lnTo>
                    <a:pt x="40" y="72"/>
                  </a:lnTo>
                  <a:lnTo>
                    <a:pt x="48" y="60"/>
                  </a:lnTo>
                  <a:lnTo>
                    <a:pt x="48" y="44"/>
                  </a:lnTo>
                  <a:lnTo>
                    <a:pt x="52" y="28"/>
                  </a:lnTo>
                  <a:lnTo>
                    <a:pt x="64" y="12"/>
                  </a:lnTo>
                  <a:lnTo>
                    <a:pt x="80" y="10"/>
                  </a:lnTo>
                  <a:lnTo>
                    <a:pt x="94" y="0"/>
                  </a:lnTo>
                  <a:lnTo>
                    <a:pt x="106" y="16"/>
                  </a:lnTo>
                  <a:lnTo>
                    <a:pt x="160" y="20"/>
                  </a:lnTo>
                  <a:lnTo>
                    <a:pt x="174" y="6"/>
                  </a:lnTo>
                  <a:lnTo>
                    <a:pt x="186" y="18"/>
                  </a:lnTo>
                  <a:lnTo>
                    <a:pt x="186" y="38"/>
                  </a:lnTo>
                  <a:lnTo>
                    <a:pt x="204" y="46"/>
                  </a:lnTo>
                  <a:lnTo>
                    <a:pt x="208" y="70"/>
                  </a:lnTo>
                  <a:lnTo>
                    <a:pt x="200" y="88"/>
                  </a:lnTo>
                  <a:lnTo>
                    <a:pt x="194" y="108"/>
                  </a:lnTo>
                  <a:lnTo>
                    <a:pt x="180" y="118"/>
                  </a:lnTo>
                  <a:lnTo>
                    <a:pt x="170" y="140"/>
                  </a:lnTo>
                  <a:lnTo>
                    <a:pt x="166" y="156"/>
                  </a:lnTo>
                  <a:lnTo>
                    <a:pt x="158" y="170"/>
                  </a:lnTo>
                  <a:lnTo>
                    <a:pt x="160" y="202"/>
                  </a:lnTo>
                  <a:lnTo>
                    <a:pt x="44" y="204"/>
                  </a:lnTo>
                  <a:lnTo>
                    <a:pt x="34" y="208"/>
                  </a:lnTo>
                  <a:lnTo>
                    <a:pt x="24" y="216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402" name="Ukraine">
              <a:extLst>
                <a:ext uri="{FF2B5EF4-FFF2-40B4-BE49-F238E27FC236}">
                  <a16:creationId xmlns="" xmlns:a16="http://schemas.microsoft.com/office/drawing/2014/main" id="{00114ADE-AADA-43B1-B7FB-FAA140B8B6FB}"/>
                </a:ext>
              </a:extLst>
            </p:cNvPr>
            <p:cNvSpPr>
              <a:spLocks/>
            </p:cNvSpPr>
            <p:nvPr/>
          </p:nvSpPr>
          <p:spPr bwMode="gray">
            <a:xfrm>
              <a:off x="6488189" y="2582359"/>
              <a:ext cx="564216" cy="399212"/>
            </a:xfrm>
            <a:custGeom>
              <a:avLst/>
              <a:gdLst/>
              <a:ahLst/>
              <a:cxnLst>
                <a:cxn ang="0">
                  <a:pos x="520" y="434"/>
                </a:cxn>
                <a:cxn ang="0">
                  <a:pos x="552" y="436"/>
                </a:cxn>
                <a:cxn ang="0">
                  <a:pos x="546" y="456"/>
                </a:cxn>
                <a:cxn ang="0">
                  <a:pos x="520" y="452"/>
                </a:cxn>
                <a:cxn ang="0">
                  <a:pos x="490" y="464"/>
                </a:cxn>
                <a:cxn ang="0">
                  <a:pos x="448" y="488"/>
                </a:cxn>
                <a:cxn ang="0">
                  <a:pos x="424" y="482"/>
                </a:cxn>
                <a:cxn ang="0">
                  <a:pos x="432" y="444"/>
                </a:cxn>
                <a:cxn ang="0">
                  <a:pos x="396" y="428"/>
                </a:cxn>
                <a:cxn ang="0">
                  <a:pos x="388" y="392"/>
                </a:cxn>
                <a:cxn ang="0">
                  <a:pos x="384" y="368"/>
                </a:cxn>
                <a:cxn ang="0">
                  <a:pos x="334" y="370"/>
                </a:cxn>
                <a:cxn ang="0">
                  <a:pos x="282" y="430"/>
                </a:cxn>
                <a:cxn ang="0">
                  <a:pos x="270" y="440"/>
                </a:cxn>
                <a:cxn ang="0">
                  <a:pos x="228" y="444"/>
                </a:cxn>
                <a:cxn ang="0">
                  <a:pos x="242" y="418"/>
                </a:cxn>
                <a:cxn ang="0">
                  <a:pos x="262" y="370"/>
                </a:cxn>
                <a:cxn ang="0">
                  <a:pos x="308" y="372"/>
                </a:cxn>
                <a:cxn ang="0">
                  <a:pos x="292" y="326"/>
                </a:cxn>
                <a:cxn ang="0">
                  <a:pos x="272" y="286"/>
                </a:cxn>
                <a:cxn ang="0">
                  <a:pos x="242" y="270"/>
                </a:cxn>
                <a:cxn ang="0">
                  <a:pos x="206" y="268"/>
                </a:cxn>
                <a:cxn ang="0">
                  <a:pos x="160" y="254"/>
                </a:cxn>
                <a:cxn ang="0">
                  <a:pos x="144" y="278"/>
                </a:cxn>
                <a:cxn ang="0">
                  <a:pos x="92" y="286"/>
                </a:cxn>
                <a:cxn ang="0">
                  <a:pos x="38" y="276"/>
                </a:cxn>
                <a:cxn ang="0">
                  <a:pos x="10" y="272"/>
                </a:cxn>
                <a:cxn ang="0">
                  <a:pos x="4" y="238"/>
                </a:cxn>
                <a:cxn ang="0">
                  <a:pos x="28" y="182"/>
                </a:cxn>
                <a:cxn ang="0">
                  <a:pos x="78" y="134"/>
                </a:cxn>
                <a:cxn ang="0">
                  <a:pos x="54" y="72"/>
                </a:cxn>
                <a:cxn ang="0">
                  <a:pos x="74" y="56"/>
                </a:cxn>
                <a:cxn ang="0">
                  <a:pos x="134" y="44"/>
                </a:cxn>
                <a:cxn ang="0">
                  <a:pos x="160" y="46"/>
                </a:cxn>
                <a:cxn ang="0">
                  <a:pos x="186" y="56"/>
                </a:cxn>
                <a:cxn ang="0">
                  <a:pos x="220" y="70"/>
                </a:cxn>
                <a:cxn ang="0">
                  <a:pos x="254" y="68"/>
                </a:cxn>
                <a:cxn ang="0">
                  <a:pos x="276" y="64"/>
                </a:cxn>
                <a:cxn ang="0">
                  <a:pos x="304" y="78"/>
                </a:cxn>
                <a:cxn ang="0">
                  <a:pos x="324" y="54"/>
                </a:cxn>
                <a:cxn ang="0">
                  <a:pos x="368" y="20"/>
                </a:cxn>
                <a:cxn ang="0">
                  <a:pos x="440" y="0"/>
                </a:cxn>
                <a:cxn ang="0">
                  <a:pos x="476" y="56"/>
                </a:cxn>
                <a:cxn ang="0">
                  <a:pos x="474" y="86"/>
                </a:cxn>
                <a:cxn ang="0">
                  <a:pos x="520" y="98"/>
                </a:cxn>
                <a:cxn ang="0">
                  <a:pos x="508" y="130"/>
                </a:cxn>
                <a:cxn ang="0">
                  <a:pos x="536" y="142"/>
                </a:cxn>
                <a:cxn ang="0">
                  <a:pos x="594" y="134"/>
                </a:cxn>
                <a:cxn ang="0">
                  <a:pos x="626" y="160"/>
                </a:cxn>
                <a:cxn ang="0">
                  <a:pos x="698" y="190"/>
                </a:cxn>
                <a:cxn ang="0">
                  <a:pos x="666" y="224"/>
                </a:cxn>
                <a:cxn ang="0">
                  <a:pos x="688" y="262"/>
                </a:cxn>
                <a:cxn ang="0">
                  <a:pos x="652" y="292"/>
                </a:cxn>
                <a:cxn ang="0">
                  <a:pos x="620" y="328"/>
                </a:cxn>
                <a:cxn ang="0">
                  <a:pos x="594" y="340"/>
                </a:cxn>
                <a:cxn ang="0">
                  <a:pos x="568" y="344"/>
                </a:cxn>
                <a:cxn ang="0">
                  <a:pos x="544" y="352"/>
                </a:cxn>
                <a:cxn ang="0">
                  <a:pos x="516" y="362"/>
                </a:cxn>
                <a:cxn ang="0">
                  <a:pos x="488" y="370"/>
                </a:cxn>
                <a:cxn ang="0">
                  <a:pos x="490" y="414"/>
                </a:cxn>
              </a:cxnLst>
              <a:rect l="0" t="0" r="r" b="b"/>
              <a:pathLst>
                <a:path w="698" h="488">
                  <a:moveTo>
                    <a:pt x="508" y="438"/>
                  </a:moveTo>
                  <a:lnTo>
                    <a:pt x="520" y="434"/>
                  </a:lnTo>
                  <a:lnTo>
                    <a:pt x="546" y="432"/>
                  </a:lnTo>
                  <a:lnTo>
                    <a:pt x="552" y="436"/>
                  </a:lnTo>
                  <a:lnTo>
                    <a:pt x="548" y="444"/>
                  </a:lnTo>
                  <a:lnTo>
                    <a:pt x="546" y="456"/>
                  </a:lnTo>
                  <a:lnTo>
                    <a:pt x="530" y="458"/>
                  </a:lnTo>
                  <a:lnTo>
                    <a:pt x="520" y="452"/>
                  </a:lnTo>
                  <a:lnTo>
                    <a:pt x="508" y="448"/>
                  </a:lnTo>
                  <a:lnTo>
                    <a:pt x="490" y="464"/>
                  </a:lnTo>
                  <a:lnTo>
                    <a:pt x="474" y="468"/>
                  </a:lnTo>
                  <a:lnTo>
                    <a:pt x="448" y="488"/>
                  </a:lnTo>
                  <a:lnTo>
                    <a:pt x="438" y="482"/>
                  </a:lnTo>
                  <a:lnTo>
                    <a:pt x="424" y="482"/>
                  </a:lnTo>
                  <a:lnTo>
                    <a:pt x="434" y="458"/>
                  </a:lnTo>
                  <a:lnTo>
                    <a:pt x="432" y="444"/>
                  </a:lnTo>
                  <a:lnTo>
                    <a:pt x="392" y="436"/>
                  </a:lnTo>
                  <a:lnTo>
                    <a:pt x="396" y="428"/>
                  </a:lnTo>
                  <a:lnTo>
                    <a:pt x="430" y="404"/>
                  </a:lnTo>
                  <a:lnTo>
                    <a:pt x="388" y="392"/>
                  </a:lnTo>
                  <a:lnTo>
                    <a:pt x="374" y="384"/>
                  </a:lnTo>
                  <a:lnTo>
                    <a:pt x="384" y="368"/>
                  </a:lnTo>
                  <a:lnTo>
                    <a:pt x="366" y="360"/>
                  </a:lnTo>
                  <a:lnTo>
                    <a:pt x="334" y="370"/>
                  </a:lnTo>
                  <a:lnTo>
                    <a:pt x="312" y="392"/>
                  </a:lnTo>
                  <a:lnTo>
                    <a:pt x="282" y="430"/>
                  </a:lnTo>
                  <a:lnTo>
                    <a:pt x="280" y="448"/>
                  </a:lnTo>
                  <a:lnTo>
                    <a:pt x="270" y="440"/>
                  </a:lnTo>
                  <a:lnTo>
                    <a:pt x="250" y="444"/>
                  </a:lnTo>
                  <a:lnTo>
                    <a:pt x="228" y="444"/>
                  </a:lnTo>
                  <a:lnTo>
                    <a:pt x="224" y="428"/>
                  </a:lnTo>
                  <a:lnTo>
                    <a:pt x="242" y="418"/>
                  </a:lnTo>
                  <a:lnTo>
                    <a:pt x="254" y="396"/>
                  </a:lnTo>
                  <a:lnTo>
                    <a:pt x="262" y="370"/>
                  </a:lnTo>
                  <a:lnTo>
                    <a:pt x="284" y="376"/>
                  </a:lnTo>
                  <a:lnTo>
                    <a:pt x="308" y="372"/>
                  </a:lnTo>
                  <a:lnTo>
                    <a:pt x="298" y="350"/>
                  </a:lnTo>
                  <a:lnTo>
                    <a:pt x="292" y="326"/>
                  </a:lnTo>
                  <a:lnTo>
                    <a:pt x="286" y="302"/>
                  </a:lnTo>
                  <a:lnTo>
                    <a:pt x="272" y="286"/>
                  </a:lnTo>
                  <a:lnTo>
                    <a:pt x="258" y="278"/>
                  </a:lnTo>
                  <a:lnTo>
                    <a:pt x="242" y="270"/>
                  </a:lnTo>
                  <a:lnTo>
                    <a:pt x="226" y="274"/>
                  </a:lnTo>
                  <a:lnTo>
                    <a:pt x="206" y="268"/>
                  </a:lnTo>
                  <a:lnTo>
                    <a:pt x="176" y="250"/>
                  </a:lnTo>
                  <a:lnTo>
                    <a:pt x="160" y="254"/>
                  </a:lnTo>
                  <a:lnTo>
                    <a:pt x="158" y="266"/>
                  </a:lnTo>
                  <a:lnTo>
                    <a:pt x="144" y="278"/>
                  </a:lnTo>
                  <a:lnTo>
                    <a:pt x="110" y="292"/>
                  </a:lnTo>
                  <a:lnTo>
                    <a:pt x="92" y="286"/>
                  </a:lnTo>
                  <a:lnTo>
                    <a:pt x="76" y="290"/>
                  </a:lnTo>
                  <a:lnTo>
                    <a:pt x="38" y="276"/>
                  </a:lnTo>
                  <a:lnTo>
                    <a:pt x="24" y="282"/>
                  </a:lnTo>
                  <a:lnTo>
                    <a:pt x="10" y="272"/>
                  </a:lnTo>
                  <a:lnTo>
                    <a:pt x="0" y="250"/>
                  </a:lnTo>
                  <a:lnTo>
                    <a:pt x="4" y="238"/>
                  </a:lnTo>
                  <a:lnTo>
                    <a:pt x="10" y="220"/>
                  </a:lnTo>
                  <a:lnTo>
                    <a:pt x="28" y="182"/>
                  </a:lnTo>
                  <a:lnTo>
                    <a:pt x="52" y="154"/>
                  </a:lnTo>
                  <a:lnTo>
                    <a:pt x="78" y="134"/>
                  </a:lnTo>
                  <a:lnTo>
                    <a:pt x="72" y="110"/>
                  </a:lnTo>
                  <a:lnTo>
                    <a:pt x="54" y="72"/>
                  </a:lnTo>
                  <a:lnTo>
                    <a:pt x="56" y="56"/>
                  </a:lnTo>
                  <a:lnTo>
                    <a:pt x="74" y="56"/>
                  </a:lnTo>
                  <a:lnTo>
                    <a:pt x="90" y="48"/>
                  </a:lnTo>
                  <a:lnTo>
                    <a:pt x="134" y="44"/>
                  </a:lnTo>
                  <a:lnTo>
                    <a:pt x="146" y="46"/>
                  </a:lnTo>
                  <a:lnTo>
                    <a:pt x="160" y="46"/>
                  </a:lnTo>
                  <a:lnTo>
                    <a:pt x="172" y="56"/>
                  </a:lnTo>
                  <a:lnTo>
                    <a:pt x="186" y="56"/>
                  </a:lnTo>
                  <a:lnTo>
                    <a:pt x="198" y="54"/>
                  </a:lnTo>
                  <a:lnTo>
                    <a:pt x="220" y="70"/>
                  </a:lnTo>
                  <a:lnTo>
                    <a:pt x="236" y="58"/>
                  </a:lnTo>
                  <a:lnTo>
                    <a:pt x="254" y="68"/>
                  </a:lnTo>
                  <a:lnTo>
                    <a:pt x="264" y="60"/>
                  </a:lnTo>
                  <a:lnTo>
                    <a:pt x="276" y="64"/>
                  </a:lnTo>
                  <a:lnTo>
                    <a:pt x="280" y="82"/>
                  </a:lnTo>
                  <a:lnTo>
                    <a:pt x="304" y="78"/>
                  </a:lnTo>
                  <a:lnTo>
                    <a:pt x="320" y="80"/>
                  </a:lnTo>
                  <a:lnTo>
                    <a:pt x="324" y="54"/>
                  </a:lnTo>
                  <a:lnTo>
                    <a:pt x="338" y="28"/>
                  </a:lnTo>
                  <a:lnTo>
                    <a:pt x="368" y="20"/>
                  </a:lnTo>
                  <a:lnTo>
                    <a:pt x="414" y="20"/>
                  </a:lnTo>
                  <a:lnTo>
                    <a:pt x="440" y="0"/>
                  </a:lnTo>
                  <a:lnTo>
                    <a:pt x="458" y="10"/>
                  </a:lnTo>
                  <a:lnTo>
                    <a:pt x="476" y="56"/>
                  </a:lnTo>
                  <a:lnTo>
                    <a:pt x="464" y="58"/>
                  </a:lnTo>
                  <a:lnTo>
                    <a:pt x="474" y="86"/>
                  </a:lnTo>
                  <a:lnTo>
                    <a:pt x="506" y="84"/>
                  </a:lnTo>
                  <a:lnTo>
                    <a:pt x="520" y="98"/>
                  </a:lnTo>
                  <a:lnTo>
                    <a:pt x="516" y="124"/>
                  </a:lnTo>
                  <a:lnTo>
                    <a:pt x="508" y="130"/>
                  </a:lnTo>
                  <a:lnTo>
                    <a:pt x="518" y="150"/>
                  </a:lnTo>
                  <a:lnTo>
                    <a:pt x="536" y="142"/>
                  </a:lnTo>
                  <a:lnTo>
                    <a:pt x="560" y="154"/>
                  </a:lnTo>
                  <a:lnTo>
                    <a:pt x="594" y="134"/>
                  </a:lnTo>
                  <a:lnTo>
                    <a:pt x="598" y="158"/>
                  </a:lnTo>
                  <a:lnTo>
                    <a:pt x="626" y="160"/>
                  </a:lnTo>
                  <a:lnTo>
                    <a:pt x="676" y="190"/>
                  </a:lnTo>
                  <a:lnTo>
                    <a:pt x="698" y="190"/>
                  </a:lnTo>
                  <a:lnTo>
                    <a:pt x="694" y="216"/>
                  </a:lnTo>
                  <a:lnTo>
                    <a:pt x="666" y="224"/>
                  </a:lnTo>
                  <a:lnTo>
                    <a:pt x="666" y="236"/>
                  </a:lnTo>
                  <a:lnTo>
                    <a:pt x="688" y="262"/>
                  </a:lnTo>
                  <a:lnTo>
                    <a:pt x="674" y="288"/>
                  </a:lnTo>
                  <a:lnTo>
                    <a:pt x="652" y="292"/>
                  </a:lnTo>
                  <a:lnTo>
                    <a:pt x="622" y="308"/>
                  </a:lnTo>
                  <a:lnTo>
                    <a:pt x="620" y="328"/>
                  </a:lnTo>
                  <a:lnTo>
                    <a:pt x="614" y="342"/>
                  </a:lnTo>
                  <a:lnTo>
                    <a:pt x="594" y="340"/>
                  </a:lnTo>
                  <a:lnTo>
                    <a:pt x="576" y="350"/>
                  </a:lnTo>
                  <a:lnTo>
                    <a:pt x="568" y="344"/>
                  </a:lnTo>
                  <a:lnTo>
                    <a:pt x="554" y="358"/>
                  </a:lnTo>
                  <a:lnTo>
                    <a:pt x="544" y="352"/>
                  </a:lnTo>
                  <a:lnTo>
                    <a:pt x="526" y="368"/>
                  </a:lnTo>
                  <a:lnTo>
                    <a:pt x="516" y="362"/>
                  </a:lnTo>
                  <a:lnTo>
                    <a:pt x="500" y="380"/>
                  </a:lnTo>
                  <a:lnTo>
                    <a:pt x="488" y="370"/>
                  </a:lnTo>
                  <a:lnTo>
                    <a:pt x="480" y="386"/>
                  </a:lnTo>
                  <a:lnTo>
                    <a:pt x="490" y="414"/>
                  </a:lnTo>
                  <a:lnTo>
                    <a:pt x="508" y="438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403" name="United Arab Emirates">
              <a:extLst>
                <a:ext uri="{FF2B5EF4-FFF2-40B4-BE49-F238E27FC236}">
                  <a16:creationId xmlns="" xmlns:a16="http://schemas.microsoft.com/office/drawing/2014/main" id="{464B41D3-0825-4ED0-8964-3A53C6A2E7F1}"/>
                </a:ext>
              </a:extLst>
            </p:cNvPr>
            <p:cNvSpPr>
              <a:spLocks/>
            </p:cNvSpPr>
            <p:nvPr/>
          </p:nvSpPr>
          <p:spPr bwMode="gray">
            <a:xfrm>
              <a:off x="7374536" y="3707231"/>
              <a:ext cx="156183" cy="123894"/>
            </a:xfrm>
            <a:custGeom>
              <a:avLst/>
              <a:gdLst/>
              <a:ahLst/>
              <a:cxnLst>
                <a:cxn ang="0">
                  <a:pos x="182" y="16"/>
                </a:cxn>
                <a:cxn ang="0">
                  <a:pos x="192" y="0"/>
                </a:cxn>
                <a:cxn ang="0">
                  <a:pos x="194" y="22"/>
                </a:cxn>
                <a:cxn ang="0">
                  <a:pos x="186" y="52"/>
                </a:cxn>
                <a:cxn ang="0">
                  <a:pos x="180" y="64"/>
                </a:cxn>
                <a:cxn ang="0">
                  <a:pos x="172" y="112"/>
                </a:cxn>
                <a:cxn ang="0">
                  <a:pos x="164" y="118"/>
                </a:cxn>
                <a:cxn ang="0">
                  <a:pos x="160" y="150"/>
                </a:cxn>
                <a:cxn ang="0">
                  <a:pos x="20" y="122"/>
                </a:cxn>
                <a:cxn ang="0">
                  <a:pos x="20" y="104"/>
                </a:cxn>
                <a:cxn ang="0">
                  <a:pos x="10" y="76"/>
                </a:cxn>
                <a:cxn ang="0">
                  <a:pos x="2" y="66"/>
                </a:cxn>
                <a:cxn ang="0">
                  <a:pos x="0" y="52"/>
                </a:cxn>
                <a:cxn ang="0">
                  <a:pos x="6" y="38"/>
                </a:cxn>
                <a:cxn ang="0">
                  <a:pos x="22" y="46"/>
                </a:cxn>
                <a:cxn ang="0">
                  <a:pos x="26" y="60"/>
                </a:cxn>
                <a:cxn ang="0">
                  <a:pos x="32" y="56"/>
                </a:cxn>
                <a:cxn ang="0">
                  <a:pos x="42" y="58"/>
                </a:cxn>
                <a:cxn ang="0">
                  <a:pos x="56" y="72"/>
                </a:cxn>
                <a:cxn ang="0">
                  <a:pos x="68" y="62"/>
                </a:cxn>
                <a:cxn ang="0">
                  <a:pos x="78" y="68"/>
                </a:cxn>
                <a:cxn ang="0">
                  <a:pos x="108" y="70"/>
                </a:cxn>
                <a:cxn ang="0">
                  <a:pos x="110" y="76"/>
                </a:cxn>
                <a:cxn ang="0">
                  <a:pos x="132" y="74"/>
                </a:cxn>
                <a:cxn ang="0">
                  <a:pos x="160" y="38"/>
                </a:cxn>
                <a:cxn ang="0">
                  <a:pos x="182" y="16"/>
                </a:cxn>
              </a:cxnLst>
              <a:rect l="0" t="0" r="r" b="b"/>
              <a:pathLst>
                <a:path w="194" h="150">
                  <a:moveTo>
                    <a:pt x="182" y="16"/>
                  </a:moveTo>
                  <a:lnTo>
                    <a:pt x="192" y="0"/>
                  </a:lnTo>
                  <a:lnTo>
                    <a:pt x="194" y="22"/>
                  </a:lnTo>
                  <a:lnTo>
                    <a:pt x="186" y="52"/>
                  </a:lnTo>
                  <a:lnTo>
                    <a:pt x="180" y="64"/>
                  </a:lnTo>
                  <a:lnTo>
                    <a:pt x="172" y="112"/>
                  </a:lnTo>
                  <a:lnTo>
                    <a:pt x="164" y="118"/>
                  </a:lnTo>
                  <a:lnTo>
                    <a:pt x="160" y="150"/>
                  </a:lnTo>
                  <a:lnTo>
                    <a:pt x="20" y="122"/>
                  </a:lnTo>
                  <a:lnTo>
                    <a:pt x="20" y="104"/>
                  </a:lnTo>
                  <a:lnTo>
                    <a:pt x="10" y="76"/>
                  </a:lnTo>
                  <a:lnTo>
                    <a:pt x="2" y="66"/>
                  </a:lnTo>
                  <a:lnTo>
                    <a:pt x="0" y="52"/>
                  </a:lnTo>
                  <a:lnTo>
                    <a:pt x="6" y="38"/>
                  </a:lnTo>
                  <a:lnTo>
                    <a:pt x="22" y="46"/>
                  </a:lnTo>
                  <a:lnTo>
                    <a:pt x="26" y="60"/>
                  </a:lnTo>
                  <a:lnTo>
                    <a:pt x="32" y="56"/>
                  </a:lnTo>
                  <a:lnTo>
                    <a:pt x="42" y="58"/>
                  </a:lnTo>
                  <a:lnTo>
                    <a:pt x="56" y="72"/>
                  </a:lnTo>
                  <a:lnTo>
                    <a:pt x="68" y="62"/>
                  </a:lnTo>
                  <a:lnTo>
                    <a:pt x="78" y="68"/>
                  </a:lnTo>
                  <a:lnTo>
                    <a:pt x="108" y="70"/>
                  </a:lnTo>
                  <a:lnTo>
                    <a:pt x="110" y="76"/>
                  </a:lnTo>
                  <a:lnTo>
                    <a:pt x="132" y="74"/>
                  </a:lnTo>
                  <a:lnTo>
                    <a:pt x="160" y="38"/>
                  </a:lnTo>
                  <a:lnTo>
                    <a:pt x="182" y="16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404" name="United Kingdom">
              <a:extLst>
                <a:ext uri="{FF2B5EF4-FFF2-40B4-BE49-F238E27FC236}">
                  <a16:creationId xmlns="" xmlns:a16="http://schemas.microsoft.com/office/drawing/2014/main" id="{CE18A2E0-E032-4435-B455-34E9355D19C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551083" y="2240176"/>
              <a:ext cx="314323" cy="477875"/>
            </a:xfrm>
            <a:custGeom>
              <a:avLst/>
              <a:gdLst/>
              <a:ahLst/>
              <a:cxnLst>
                <a:cxn ang="0">
                  <a:pos x="224" y="80"/>
                </a:cxn>
                <a:cxn ang="0">
                  <a:pos x="244" y="110"/>
                </a:cxn>
                <a:cxn ang="0">
                  <a:pos x="204" y="166"/>
                </a:cxn>
                <a:cxn ang="0">
                  <a:pos x="224" y="198"/>
                </a:cxn>
                <a:cxn ang="0">
                  <a:pos x="260" y="266"/>
                </a:cxn>
                <a:cxn ang="0">
                  <a:pos x="294" y="300"/>
                </a:cxn>
                <a:cxn ang="0">
                  <a:pos x="324" y="358"/>
                </a:cxn>
                <a:cxn ang="0">
                  <a:pos x="320" y="402"/>
                </a:cxn>
                <a:cxn ang="0">
                  <a:pos x="356" y="400"/>
                </a:cxn>
                <a:cxn ang="0">
                  <a:pos x="388" y="434"/>
                </a:cxn>
                <a:cxn ang="0">
                  <a:pos x="356" y="470"/>
                </a:cxn>
                <a:cxn ang="0">
                  <a:pos x="374" y="490"/>
                </a:cxn>
                <a:cxn ang="0">
                  <a:pos x="346" y="524"/>
                </a:cxn>
                <a:cxn ang="0">
                  <a:pos x="294" y="538"/>
                </a:cxn>
                <a:cxn ang="0">
                  <a:pos x="246" y="548"/>
                </a:cxn>
                <a:cxn ang="0">
                  <a:pos x="188" y="544"/>
                </a:cxn>
                <a:cxn ang="0">
                  <a:pos x="154" y="560"/>
                </a:cxn>
                <a:cxn ang="0">
                  <a:pos x="110" y="580"/>
                </a:cxn>
                <a:cxn ang="0">
                  <a:pos x="130" y="550"/>
                </a:cxn>
                <a:cxn ang="0">
                  <a:pos x="160" y="510"/>
                </a:cxn>
                <a:cxn ang="0">
                  <a:pos x="158" y="474"/>
                </a:cxn>
                <a:cxn ang="0">
                  <a:pos x="118" y="464"/>
                </a:cxn>
                <a:cxn ang="0">
                  <a:pos x="174" y="434"/>
                </a:cxn>
                <a:cxn ang="0">
                  <a:pos x="144" y="400"/>
                </a:cxn>
                <a:cxn ang="0">
                  <a:pos x="198" y="374"/>
                </a:cxn>
                <a:cxn ang="0">
                  <a:pos x="188" y="308"/>
                </a:cxn>
                <a:cxn ang="0">
                  <a:pos x="174" y="278"/>
                </a:cxn>
                <a:cxn ang="0">
                  <a:pos x="142" y="284"/>
                </a:cxn>
                <a:cxn ang="0">
                  <a:pos x="140" y="238"/>
                </a:cxn>
                <a:cxn ang="0">
                  <a:pos x="126" y="210"/>
                </a:cxn>
                <a:cxn ang="0">
                  <a:pos x="104" y="220"/>
                </a:cxn>
                <a:cxn ang="0">
                  <a:pos x="92" y="208"/>
                </a:cxn>
                <a:cxn ang="0">
                  <a:pos x="122" y="144"/>
                </a:cxn>
                <a:cxn ang="0">
                  <a:pos x="92" y="122"/>
                </a:cxn>
                <a:cxn ang="0">
                  <a:pos x="88" y="64"/>
                </a:cxn>
                <a:cxn ang="0">
                  <a:pos x="116" y="30"/>
                </a:cxn>
                <a:cxn ang="0">
                  <a:pos x="148" y="2"/>
                </a:cxn>
                <a:cxn ang="0">
                  <a:pos x="194" y="20"/>
                </a:cxn>
                <a:cxn ang="0">
                  <a:pos x="170" y="58"/>
                </a:cxn>
                <a:cxn ang="0">
                  <a:pos x="36" y="252"/>
                </a:cxn>
                <a:cxn ang="0">
                  <a:pos x="4" y="288"/>
                </a:cxn>
                <a:cxn ang="0">
                  <a:pos x="28" y="316"/>
                </a:cxn>
                <a:cxn ang="0">
                  <a:pos x="68" y="318"/>
                </a:cxn>
                <a:cxn ang="0">
                  <a:pos x="94" y="286"/>
                </a:cxn>
                <a:cxn ang="0">
                  <a:pos x="78" y="250"/>
                </a:cxn>
              </a:cxnLst>
              <a:rect l="0" t="0" r="r" b="b"/>
              <a:pathLst>
                <a:path w="388" h="586">
                  <a:moveTo>
                    <a:pt x="158" y="86"/>
                  </a:moveTo>
                  <a:lnTo>
                    <a:pt x="198" y="74"/>
                  </a:lnTo>
                  <a:lnTo>
                    <a:pt x="224" y="80"/>
                  </a:lnTo>
                  <a:lnTo>
                    <a:pt x="242" y="76"/>
                  </a:lnTo>
                  <a:lnTo>
                    <a:pt x="252" y="86"/>
                  </a:lnTo>
                  <a:lnTo>
                    <a:pt x="244" y="110"/>
                  </a:lnTo>
                  <a:lnTo>
                    <a:pt x="224" y="132"/>
                  </a:lnTo>
                  <a:lnTo>
                    <a:pt x="218" y="148"/>
                  </a:lnTo>
                  <a:lnTo>
                    <a:pt x="204" y="166"/>
                  </a:lnTo>
                  <a:lnTo>
                    <a:pt x="214" y="176"/>
                  </a:lnTo>
                  <a:lnTo>
                    <a:pt x="208" y="192"/>
                  </a:lnTo>
                  <a:lnTo>
                    <a:pt x="224" y="198"/>
                  </a:lnTo>
                  <a:lnTo>
                    <a:pt x="240" y="208"/>
                  </a:lnTo>
                  <a:lnTo>
                    <a:pt x="256" y="232"/>
                  </a:lnTo>
                  <a:lnTo>
                    <a:pt x="260" y="266"/>
                  </a:lnTo>
                  <a:lnTo>
                    <a:pt x="276" y="280"/>
                  </a:lnTo>
                  <a:lnTo>
                    <a:pt x="280" y="294"/>
                  </a:lnTo>
                  <a:lnTo>
                    <a:pt x="294" y="300"/>
                  </a:lnTo>
                  <a:lnTo>
                    <a:pt x="310" y="324"/>
                  </a:lnTo>
                  <a:lnTo>
                    <a:pt x="322" y="346"/>
                  </a:lnTo>
                  <a:lnTo>
                    <a:pt x="324" y="358"/>
                  </a:lnTo>
                  <a:lnTo>
                    <a:pt x="328" y="372"/>
                  </a:lnTo>
                  <a:lnTo>
                    <a:pt x="324" y="390"/>
                  </a:lnTo>
                  <a:lnTo>
                    <a:pt x="320" y="402"/>
                  </a:lnTo>
                  <a:lnTo>
                    <a:pt x="328" y="414"/>
                  </a:lnTo>
                  <a:lnTo>
                    <a:pt x="340" y="400"/>
                  </a:lnTo>
                  <a:lnTo>
                    <a:pt x="356" y="400"/>
                  </a:lnTo>
                  <a:lnTo>
                    <a:pt x="374" y="400"/>
                  </a:lnTo>
                  <a:lnTo>
                    <a:pt x="384" y="414"/>
                  </a:lnTo>
                  <a:lnTo>
                    <a:pt x="388" y="434"/>
                  </a:lnTo>
                  <a:lnTo>
                    <a:pt x="382" y="452"/>
                  </a:lnTo>
                  <a:lnTo>
                    <a:pt x="366" y="456"/>
                  </a:lnTo>
                  <a:lnTo>
                    <a:pt x="356" y="470"/>
                  </a:lnTo>
                  <a:lnTo>
                    <a:pt x="342" y="486"/>
                  </a:lnTo>
                  <a:lnTo>
                    <a:pt x="360" y="492"/>
                  </a:lnTo>
                  <a:lnTo>
                    <a:pt x="374" y="490"/>
                  </a:lnTo>
                  <a:lnTo>
                    <a:pt x="374" y="502"/>
                  </a:lnTo>
                  <a:lnTo>
                    <a:pt x="362" y="520"/>
                  </a:lnTo>
                  <a:lnTo>
                    <a:pt x="346" y="524"/>
                  </a:lnTo>
                  <a:lnTo>
                    <a:pt x="332" y="538"/>
                  </a:lnTo>
                  <a:lnTo>
                    <a:pt x="318" y="532"/>
                  </a:lnTo>
                  <a:lnTo>
                    <a:pt x="294" y="538"/>
                  </a:lnTo>
                  <a:lnTo>
                    <a:pt x="266" y="530"/>
                  </a:lnTo>
                  <a:lnTo>
                    <a:pt x="268" y="554"/>
                  </a:lnTo>
                  <a:lnTo>
                    <a:pt x="246" y="548"/>
                  </a:lnTo>
                  <a:lnTo>
                    <a:pt x="228" y="556"/>
                  </a:lnTo>
                  <a:lnTo>
                    <a:pt x="212" y="542"/>
                  </a:lnTo>
                  <a:lnTo>
                    <a:pt x="188" y="544"/>
                  </a:lnTo>
                  <a:lnTo>
                    <a:pt x="188" y="562"/>
                  </a:lnTo>
                  <a:lnTo>
                    <a:pt x="178" y="570"/>
                  </a:lnTo>
                  <a:lnTo>
                    <a:pt x="154" y="560"/>
                  </a:lnTo>
                  <a:lnTo>
                    <a:pt x="130" y="574"/>
                  </a:lnTo>
                  <a:lnTo>
                    <a:pt x="120" y="586"/>
                  </a:lnTo>
                  <a:lnTo>
                    <a:pt x="110" y="580"/>
                  </a:lnTo>
                  <a:lnTo>
                    <a:pt x="96" y="576"/>
                  </a:lnTo>
                  <a:lnTo>
                    <a:pt x="108" y="564"/>
                  </a:lnTo>
                  <a:lnTo>
                    <a:pt x="130" y="550"/>
                  </a:lnTo>
                  <a:lnTo>
                    <a:pt x="144" y="538"/>
                  </a:lnTo>
                  <a:lnTo>
                    <a:pt x="144" y="524"/>
                  </a:lnTo>
                  <a:lnTo>
                    <a:pt x="160" y="510"/>
                  </a:lnTo>
                  <a:lnTo>
                    <a:pt x="186" y="504"/>
                  </a:lnTo>
                  <a:lnTo>
                    <a:pt x="174" y="490"/>
                  </a:lnTo>
                  <a:lnTo>
                    <a:pt x="158" y="474"/>
                  </a:lnTo>
                  <a:lnTo>
                    <a:pt x="142" y="472"/>
                  </a:lnTo>
                  <a:lnTo>
                    <a:pt x="122" y="484"/>
                  </a:lnTo>
                  <a:lnTo>
                    <a:pt x="118" y="464"/>
                  </a:lnTo>
                  <a:lnTo>
                    <a:pt x="136" y="458"/>
                  </a:lnTo>
                  <a:lnTo>
                    <a:pt x="150" y="444"/>
                  </a:lnTo>
                  <a:lnTo>
                    <a:pt x="174" y="434"/>
                  </a:lnTo>
                  <a:lnTo>
                    <a:pt x="168" y="412"/>
                  </a:lnTo>
                  <a:lnTo>
                    <a:pt x="172" y="396"/>
                  </a:lnTo>
                  <a:lnTo>
                    <a:pt x="144" y="400"/>
                  </a:lnTo>
                  <a:lnTo>
                    <a:pt x="160" y="378"/>
                  </a:lnTo>
                  <a:lnTo>
                    <a:pt x="180" y="372"/>
                  </a:lnTo>
                  <a:lnTo>
                    <a:pt x="198" y="374"/>
                  </a:lnTo>
                  <a:lnTo>
                    <a:pt x="206" y="340"/>
                  </a:lnTo>
                  <a:lnTo>
                    <a:pt x="204" y="320"/>
                  </a:lnTo>
                  <a:lnTo>
                    <a:pt x="188" y="308"/>
                  </a:lnTo>
                  <a:lnTo>
                    <a:pt x="186" y="290"/>
                  </a:lnTo>
                  <a:lnTo>
                    <a:pt x="196" y="268"/>
                  </a:lnTo>
                  <a:lnTo>
                    <a:pt x="174" y="278"/>
                  </a:lnTo>
                  <a:lnTo>
                    <a:pt x="164" y="278"/>
                  </a:lnTo>
                  <a:lnTo>
                    <a:pt x="156" y="286"/>
                  </a:lnTo>
                  <a:lnTo>
                    <a:pt x="142" y="284"/>
                  </a:lnTo>
                  <a:lnTo>
                    <a:pt x="132" y="296"/>
                  </a:lnTo>
                  <a:lnTo>
                    <a:pt x="126" y="274"/>
                  </a:lnTo>
                  <a:lnTo>
                    <a:pt x="140" y="238"/>
                  </a:lnTo>
                  <a:lnTo>
                    <a:pt x="134" y="218"/>
                  </a:lnTo>
                  <a:lnTo>
                    <a:pt x="134" y="202"/>
                  </a:lnTo>
                  <a:lnTo>
                    <a:pt x="126" y="210"/>
                  </a:lnTo>
                  <a:lnTo>
                    <a:pt x="118" y="220"/>
                  </a:lnTo>
                  <a:lnTo>
                    <a:pt x="110" y="230"/>
                  </a:lnTo>
                  <a:lnTo>
                    <a:pt x="104" y="220"/>
                  </a:lnTo>
                  <a:lnTo>
                    <a:pt x="100" y="236"/>
                  </a:lnTo>
                  <a:lnTo>
                    <a:pt x="90" y="236"/>
                  </a:lnTo>
                  <a:lnTo>
                    <a:pt x="92" y="208"/>
                  </a:lnTo>
                  <a:lnTo>
                    <a:pt x="90" y="192"/>
                  </a:lnTo>
                  <a:lnTo>
                    <a:pt x="112" y="162"/>
                  </a:lnTo>
                  <a:lnTo>
                    <a:pt x="122" y="144"/>
                  </a:lnTo>
                  <a:lnTo>
                    <a:pt x="94" y="148"/>
                  </a:lnTo>
                  <a:lnTo>
                    <a:pt x="82" y="140"/>
                  </a:lnTo>
                  <a:lnTo>
                    <a:pt x="92" y="122"/>
                  </a:lnTo>
                  <a:lnTo>
                    <a:pt x="88" y="104"/>
                  </a:lnTo>
                  <a:lnTo>
                    <a:pt x="96" y="92"/>
                  </a:lnTo>
                  <a:lnTo>
                    <a:pt x="88" y="64"/>
                  </a:lnTo>
                  <a:lnTo>
                    <a:pt x="94" y="52"/>
                  </a:lnTo>
                  <a:lnTo>
                    <a:pt x="108" y="52"/>
                  </a:lnTo>
                  <a:lnTo>
                    <a:pt x="116" y="30"/>
                  </a:lnTo>
                  <a:lnTo>
                    <a:pt x="122" y="24"/>
                  </a:lnTo>
                  <a:lnTo>
                    <a:pt x="126" y="2"/>
                  </a:lnTo>
                  <a:lnTo>
                    <a:pt x="148" y="2"/>
                  </a:lnTo>
                  <a:lnTo>
                    <a:pt x="158" y="6"/>
                  </a:lnTo>
                  <a:lnTo>
                    <a:pt x="192" y="0"/>
                  </a:lnTo>
                  <a:lnTo>
                    <a:pt x="194" y="20"/>
                  </a:lnTo>
                  <a:lnTo>
                    <a:pt x="176" y="38"/>
                  </a:lnTo>
                  <a:lnTo>
                    <a:pt x="158" y="50"/>
                  </a:lnTo>
                  <a:lnTo>
                    <a:pt x="170" y="58"/>
                  </a:lnTo>
                  <a:lnTo>
                    <a:pt x="162" y="72"/>
                  </a:lnTo>
                  <a:lnTo>
                    <a:pt x="158" y="86"/>
                  </a:lnTo>
                  <a:close/>
                  <a:moveTo>
                    <a:pt x="36" y="252"/>
                  </a:moveTo>
                  <a:lnTo>
                    <a:pt x="22" y="264"/>
                  </a:lnTo>
                  <a:lnTo>
                    <a:pt x="16" y="278"/>
                  </a:lnTo>
                  <a:lnTo>
                    <a:pt x="4" y="288"/>
                  </a:lnTo>
                  <a:lnTo>
                    <a:pt x="0" y="304"/>
                  </a:lnTo>
                  <a:lnTo>
                    <a:pt x="2" y="318"/>
                  </a:lnTo>
                  <a:lnTo>
                    <a:pt x="28" y="316"/>
                  </a:lnTo>
                  <a:lnTo>
                    <a:pt x="40" y="304"/>
                  </a:lnTo>
                  <a:lnTo>
                    <a:pt x="54" y="316"/>
                  </a:lnTo>
                  <a:lnTo>
                    <a:pt x="68" y="318"/>
                  </a:lnTo>
                  <a:lnTo>
                    <a:pt x="82" y="314"/>
                  </a:lnTo>
                  <a:lnTo>
                    <a:pt x="94" y="296"/>
                  </a:lnTo>
                  <a:lnTo>
                    <a:pt x="94" y="286"/>
                  </a:lnTo>
                  <a:lnTo>
                    <a:pt x="84" y="280"/>
                  </a:lnTo>
                  <a:lnTo>
                    <a:pt x="84" y="268"/>
                  </a:lnTo>
                  <a:lnTo>
                    <a:pt x="78" y="250"/>
                  </a:lnTo>
                  <a:lnTo>
                    <a:pt x="62" y="250"/>
                  </a:lnTo>
                  <a:lnTo>
                    <a:pt x="36" y="252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405" name="United States">
              <a:extLst>
                <a:ext uri="{FF2B5EF4-FFF2-40B4-BE49-F238E27FC236}">
                  <a16:creationId xmlns="" xmlns:a16="http://schemas.microsoft.com/office/drawing/2014/main" id="{20D3CDA3-3383-442D-84D4-3E258BDFDB5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62946" y="1327694"/>
              <a:ext cx="3188112" cy="2619458"/>
            </a:xfrm>
            <a:custGeom>
              <a:avLst/>
              <a:gdLst/>
              <a:ahLst/>
              <a:cxnLst>
                <a:cxn ang="0">
                  <a:pos x="1893" y="935"/>
                </a:cxn>
                <a:cxn ang="0">
                  <a:pos x="1784" y="1022"/>
                </a:cxn>
                <a:cxn ang="0">
                  <a:pos x="1657" y="1093"/>
                </a:cxn>
                <a:cxn ang="0">
                  <a:pos x="1630" y="1037"/>
                </a:cxn>
                <a:cxn ang="0">
                  <a:pos x="1600" y="981"/>
                </a:cxn>
                <a:cxn ang="0">
                  <a:pos x="1581" y="1080"/>
                </a:cxn>
                <a:cxn ang="0">
                  <a:pos x="1555" y="1010"/>
                </a:cxn>
                <a:cxn ang="0">
                  <a:pos x="1568" y="980"/>
                </a:cxn>
                <a:cxn ang="0">
                  <a:pos x="1598" y="952"/>
                </a:cxn>
                <a:cxn ang="0">
                  <a:pos x="1531" y="937"/>
                </a:cxn>
                <a:cxn ang="0">
                  <a:pos x="1492" y="930"/>
                </a:cxn>
                <a:cxn ang="0">
                  <a:pos x="1423" y="912"/>
                </a:cxn>
                <a:cxn ang="0">
                  <a:pos x="887" y="903"/>
                </a:cxn>
                <a:cxn ang="0">
                  <a:pos x="843" y="952"/>
                </a:cxn>
                <a:cxn ang="0">
                  <a:pos x="799" y="1077"/>
                </a:cxn>
                <a:cxn ang="0">
                  <a:pos x="800" y="1176"/>
                </a:cxn>
                <a:cxn ang="0">
                  <a:pos x="816" y="1240"/>
                </a:cxn>
                <a:cxn ang="0">
                  <a:pos x="872" y="1288"/>
                </a:cxn>
                <a:cxn ang="0">
                  <a:pos x="1167" y="1407"/>
                </a:cxn>
                <a:cxn ang="0">
                  <a:pos x="1267" y="1469"/>
                </a:cxn>
                <a:cxn ang="0">
                  <a:pos x="1317" y="1455"/>
                </a:cxn>
                <a:cxn ang="0">
                  <a:pos x="1423" y="1431"/>
                </a:cxn>
                <a:cxn ang="0">
                  <a:pos x="1522" y="1442"/>
                </a:cxn>
                <a:cxn ang="0">
                  <a:pos x="1531" y="1417"/>
                </a:cxn>
                <a:cxn ang="0">
                  <a:pos x="1570" y="1406"/>
                </a:cxn>
                <a:cxn ang="0">
                  <a:pos x="1639" y="1413"/>
                </a:cxn>
                <a:cxn ang="0">
                  <a:pos x="1711" y="1462"/>
                </a:cxn>
                <a:cxn ang="0">
                  <a:pos x="1780" y="1517"/>
                </a:cxn>
                <a:cxn ang="0">
                  <a:pos x="1745" y="1416"/>
                </a:cxn>
                <a:cxn ang="0">
                  <a:pos x="1760" y="1320"/>
                </a:cxn>
                <a:cxn ang="0">
                  <a:pos x="1823" y="1249"/>
                </a:cxn>
                <a:cxn ang="0">
                  <a:pos x="1829" y="1220"/>
                </a:cxn>
                <a:cxn ang="0">
                  <a:pos x="1809" y="1163"/>
                </a:cxn>
                <a:cxn ang="0">
                  <a:pos x="1833" y="1174"/>
                </a:cxn>
                <a:cxn ang="0">
                  <a:pos x="1848" y="1097"/>
                </a:cxn>
                <a:cxn ang="0">
                  <a:pos x="1896" y="1065"/>
                </a:cxn>
                <a:cxn ang="0">
                  <a:pos x="1902" y="1017"/>
                </a:cxn>
                <a:cxn ang="0">
                  <a:pos x="163" y="1543"/>
                </a:cxn>
                <a:cxn ang="0">
                  <a:pos x="223" y="1562"/>
                </a:cxn>
                <a:cxn ang="0">
                  <a:pos x="223" y="1564"/>
                </a:cxn>
                <a:cxn ang="0">
                  <a:pos x="259" y="1594"/>
                </a:cxn>
                <a:cxn ang="0">
                  <a:pos x="308" y="633"/>
                </a:cxn>
                <a:cxn ang="0">
                  <a:pos x="79" y="703"/>
                </a:cxn>
                <a:cxn ang="0">
                  <a:pos x="48" y="510"/>
                </a:cxn>
                <a:cxn ang="0">
                  <a:pos x="659" y="615"/>
                </a:cxn>
                <a:cxn ang="0">
                  <a:pos x="634" y="618"/>
                </a:cxn>
                <a:cxn ang="0">
                  <a:pos x="724" y="705"/>
                </a:cxn>
                <a:cxn ang="0">
                  <a:pos x="442" y="109"/>
                </a:cxn>
                <a:cxn ang="0">
                  <a:pos x="250" y="15"/>
                </a:cxn>
                <a:cxn ang="0">
                  <a:pos x="39" y="183"/>
                </a:cxn>
                <a:cxn ang="0">
                  <a:pos x="40" y="277"/>
                </a:cxn>
                <a:cxn ang="0">
                  <a:pos x="134" y="353"/>
                </a:cxn>
                <a:cxn ang="0">
                  <a:pos x="65" y="474"/>
                </a:cxn>
                <a:cxn ang="0">
                  <a:pos x="143" y="566"/>
                </a:cxn>
                <a:cxn ang="0">
                  <a:pos x="181" y="643"/>
                </a:cxn>
                <a:cxn ang="0">
                  <a:pos x="201" y="654"/>
                </a:cxn>
                <a:cxn ang="0">
                  <a:pos x="339" y="468"/>
                </a:cxn>
                <a:cxn ang="0">
                  <a:pos x="357" y="546"/>
                </a:cxn>
                <a:cxn ang="0">
                  <a:pos x="471" y="525"/>
                </a:cxn>
                <a:cxn ang="0">
                  <a:pos x="602" y="562"/>
                </a:cxn>
                <a:cxn ang="0">
                  <a:pos x="706" y="663"/>
                </a:cxn>
              </a:cxnLst>
              <a:rect l="0" t="0" r="r" b="b"/>
              <a:pathLst>
                <a:path w="1964" h="1601">
                  <a:moveTo>
                    <a:pt x="1960" y="952"/>
                  </a:moveTo>
                  <a:cubicBezTo>
                    <a:pt x="1962" y="948"/>
                    <a:pt x="1962" y="948"/>
                    <a:pt x="1962" y="948"/>
                  </a:cubicBezTo>
                  <a:cubicBezTo>
                    <a:pt x="1960" y="941"/>
                    <a:pt x="1960" y="941"/>
                    <a:pt x="1960" y="941"/>
                  </a:cubicBezTo>
                  <a:cubicBezTo>
                    <a:pt x="1955" y="943"/>
                    <a:pt x="1955" y="943"/>
                    <a:pt x="1955" y="943"/>
                  </a:cubicBezTo>
                  <a:cubicBezTo>
                    <a:pt x="1952" y="940"/>
                    <a:pt x="1952" y="940"/>
                    <a:pt x="1952" y="940"/>
                  </a:cubicBezTo>
                  <a:cubicBezTo>
                    <a:pt x="1950" y="932"/>
                    <a:pt x="1950" y="932"/>
                    <a:pt x="1950" y="932"/>
                  </a:cubicBezTo>
                  <a:cubicBezTo>
                    <a:pt x="1943" y="931"/>
                    <a:pt x="1943" y="931"/>
                    <a:pt x="1943" y="931"/>
                  </a:cubicBezTo>
                  <a:cubicBezTo>
                    <a:pt x="1933" y="894"/>
                    <a:pt x="1933" y="894"/>
                    <a:pt x="1933" y="894"/>
                  </a:cubicBezTo>
                  <a:cubicBezTo>
                    <a:pt x="1924" y="886"/>
                    <a:pt x="1924" y="886"/>
                    <a:pt x="1924" y="886"/>
                  </a:cubicBezTo>
                  <a:cubicBezTo>
                    <a:pt x="1919" y="887"/>
                    <a:pt x="1919" y="887"/>
                    <a:pt x="1919" y="887"/>
                  </a:cubicBezTo>
                  <a:cubicBezTo>
                    <a:pt x="1918" y="890"/>
                    <a:pt x="1918" y="890"/>
                    <a:pt x="1918" y="890"/>
                  </a:cubicBezTo>
                  <a:cubicBezTo>
                    <a:pt x="1908" y="894"/>
                    <a:pt x="1908" y="894"/>
                    <a:pt x="1908" y="894"/>
                  </a:cubicBezTo>
                  <a:cubicBezTo>
                    <a:pt x="1907" y="888"/>
                    <a:pt x="1907" y="888"/>
                    <a:pt x="1907" y="888"/>
                  </a:cubicBezTo>
                  <a:cubicBezTo>
                    <a:pt x="1900" y="888"/>
                    <a:pt x="1900" y="888"/>
                    <a:pt x="1900" y="888"/>
                  </a:cubicBezTo>
                  <a:cubicBezTo>
                    <a:pt x="1891" y="915"/>
                    <a:pt x="1891" y="915"/>
                    <a:pt x="1891" y="915"/>
                  </a:cubicBezTo>
                  <a:cubicBezTo>
                    <a:pt x="1893" y="917"/>
                    <a:pt x="1893" y="917"/>
                    <a:pt x="1893" y="917"/>
                  </a:cubicBezTo>
                  <a:cubicBezTo>
                    <a:pt x="1893" y="921"/>
                    <a:pt x="1893" y="921"/>
                    <a:pt x="1893" y="921"/>
                  </a:cubicBezTo>
                  <a:cubicBezTo>
                    <a:pt x="1890" y="923"/>
                    <a:pt x="1890" y="923"/>
                    <a:pt x="1890" y="923"/>
                  </a:cubicBezTo>
                  <a:cubicBezTo>
                    <a:pt x="1893" y="935"/>
                    <a:pt x="1893" y="935"/>
                    <a:pt x="1893" y="935"/>
                  </a:cubicBezTo>
                  <a:cubicBezTo>
                    <a:pt x="1891" y="937"/>
                    <a:pt x="1891" y="937"/>
                    <a:pt x="1891" y="937"/>
                  </a:cubicBezTo>
                  <a:cubicBezTo>
                    <a:pt x="1890" y="940"/>
                    <a:pt x="1890" y="940"/>
                    <a:pt x="1890" y="940"/>
                  </a:cubicBezTo>
                  <a:cubicBezTo>
                    <a:pt x="1886" y="946"/>
                    <a:pt x="1886" y="946"/>
                    <a:pt x="1886" y="946"/>
                  </a:cubicBezTo>
                  <a:cubicBezTo>
                    <a:pt x="1887" y="949"/>
                    <a:pt x="1887" y="949"/>
                    <a:pt x="1887" y="949"/>
                  </a:cubicBezTo>
                  <a:cubicBezTo>
                    <a:pt x="1885" y="953"/>
                    <a:pt x="1885" y="953"/>
                    <a:pt x="1885" y="953"/>
                  </a:cubicBezTo>
                  <a:cubicBezTo>
                    <a:pt x="1880" y="954"/>
                    <a:pt x="1880" y="954"/>
                    <a:pt x="1880" y="954"/>
                  </a:cubicBezTo>
                  <a:cubicBezTo>
                    <a:pt x="1873" y="957"/>
                    <a:pt x="1873" y="957"/>
                    <a:pt x="1873" y="957"/>
                  </a:cubicBezTo>
                  <a:cubicBezTo>
                    <a:pt x="1874" y="961"/>
                    <a:pt x="1874" y="961"/>
                    <a:pt x="1874" y="961"/>
                  </a:cubicBezTo>
                  <a:cubicBezTo>
                    <a:pt x="1872" y="965"/>
                    <a:pt x="1872" y="965"/>
                    <a:pt x="1872" y="965"/>
                  </a:cubicBezTo>
                  <a:cubicBezTo>
                    <a:pt x="1836" y="972"/>
                    <a:pt x="1836" y="972"/>
                    <a:pt x="1836" y="972"/>
                  </a:cubicBezTo>
                  <a:cubicBezTo>
                    <a:pt x="1807" y="977"/>
                    <a:pt x="1807" y="977"/>
                    <a:pt x="1807" y="977"/>
                  </a:cubicBezTo>
                  <a:cubicBezTo>
                    <a:pt x="1790" y="993"/>
                    <a:pt x="1790" y="993"/>
                    <a:pt x="1790" y="993"/>
                  </a:cubicBezTo>
                  <a:cubicBezTo>
                    <a:pt x="1790" y="997"/>
                    <a:pt x="1790" y="997"/>
                    <a:pt x="1790" y="997"/>
                  </a:cubicBezTo>
                  <a:cubicBezTo>
                    <a:pt x="1780" y="1006"/>
                    <a:pt x="1780" y="1006"/>
                    <a:pt x="1780" y="1006"/>
                  </a:cubicBezTo>
                  <a:cubicBezTo>
                    <a:pt x="1781" y="1009"/>
                    <a:pt x="1781" y="1009"/>
                    <a:pt x="1781" y="1009"/>
                  </a:cubicBezTo>
                  <a:cubicBezTo>
                    <a:pt x="1784" y="1011"/>
                    <a:pt x="1784" y="1011"/>
                    <a:pt x="1784" y="1011"/>
                  </a:cubicBezTo>
                  <a:cubicBezTo>
                    <a:pt x="1784" y="1014"/>
                    <a:pt x="1784" y="1014"/>
                    <a:pt x="1784" y="1014"/>
                  </a:cubicBezTo>
                  <a:cubicBezTo>
                    <a:pt x="1786" y="1017"/>
                    <a:pt x="1786" y="1017"/>
                    <a:pt x="1786" y="1017"/>
                  </a:cubicBezTo>
                  <a:cubicBezTo>
                    <a:pt x="1784" y="1022"/>
                    <a:pt x="1784" y="1022"/>
                    <a:pt x="1784" y="1022"/>
                  </a:cubicBezTo>
                  <a:cubicBezTo>
                    <a:pt x="1781" y="1024"/>
                    <a:pt x="1781" y="1024"/>
                    <a:pt x="1781" y="1024"/>
                  </a:cubicBezTo>
                  <a:cubicBezTo>
                    <a:pt x="1776" y="1028"/>
                    <a:pt x="1776" y="1028"/>
                    <a:pt x="1776" y="1028"/>
                  </a:cubicBezTo>
                  <a:cubicBezTo>
                    <a:pt x="1771" y="1030"/>
                    <a:pt x="1771" y="1030"/>
                    <a:pt x="1771" y="1030"/>
                  </a:cubicBezTo>
                  <a:cubicBezTo>
                    <a:pt x="1761" y="1033"/>
                    <a:pt x="1761" y="1033"/>
                    <a:pt x="1761" y="1033"/>
                  </a:cubicBezTo>
                  <a:cubicBezTo>
                    <a:pt x="1755" y="1032"/>
                    <a:pt x="1755" y="1032"/>
                    <a:pt x="1755" y="1032"/>
                  </a:cubicBezTo>
                  <a:cubicBezTo>
                    <a:pt x="1743" y="1032"/>
                    <a:pt x="1743" y="1032"/>
                    <a:pt x="1743" y="1032"/>
                  </a:cubicBezTo>
                  <a:cubicBezTo>
                    <a:pt x="1735" y="1034"/>
                    <a:pt x="1735" y="1034"/>
                    <a:pt x="1735" y="1034"/>
                  </a:cubicBezTo>
                  <a:cubicBezTo>
                    <a:pt x="1730" y="1039"/>
                    <a:pt x="1730" y="1039"/>
                    <a:pt x="1730" y="1039"/>
                  </a:cubicBezTo>
                  <a:cubicBezTo>
                    <a:pt x="1731" y="1042"/>
                    <a:pt x="1731" y="1042"/>
                    <a:pt x="1731" y="1042"/>
                  </a:cubicBezTo>
                  <a:cubicBezTo>
                    <a:pt x="1734" y="1046"/>
                    <a:pt x="1734" y="1046"/>
                    <a:pt x="1734" y="1046"/>
                  </a:cubicBezTo>
                  <a:cubicBezTo>
                    <a:pt x="1734" y="1052"/>
                    <a:pt x="1734" y="1052"/>
                    <a:pt x="1734" y="1052"/>
                  </a:cubicBezTo>
                  <a:cubicBezTo>
                    <a:pt x="1718" y="1067"/>
                    <a:pt x="1718" y="1067"/>
                    <a:pt x="1718" y="1067"/>
                  </a:cubicBezTo>
                  <a:cubicBezTo>
                    <a:pt x="1711" y="1072"/>
                    <a:pt x="1711" y="1072"/>
                    <a:pt x="1711" y="1072"/>
                  </a:cubicBezTo>
                  <a:cubicBezTo>
                    <a:pt x="1704" y="1077"/>
                    <a:pt x="1704" y="1077"/>
                    <a:pt x="1704" y="1077"/>
                  </a:cubicBezTo>
                  <a:cubicBezTo>
                    <a:pt x="1687" y="1085"/>
                    <a:pt x="1687" y="1085"/>
                    <a:pt x="1687" y="1085"/>
                  </a:cubicBezTo>
                  <a:cubicBezTo>
                    <a:pt x="1680" y="1092"/>
                    <a:pt x="1680" y="1092"/>
                    <a:pt x="1680" y="1092"/>
                  </a:cubicBezTo>
                  <a:cubicBezTo>
                    <a:pt x="1672" y="1091"/>
                    <a:pt x="1672" y="1091"/>
                    <a:pt x="1672" y="1091"/>
                  </a:cubicBezTo>
                  <a:cubicBezTo>
                    <a:pt x="1665" y="1097"/>
                    <a:pt x="1665" y="1097"/>
                    <a:pt x="1665" y="1097"/>
                  </a:cubicBezTo>
                  <a:cubicBezTo>
                    <a:pt x="1657" y="1093"/>
                    <a:pt x="1657" y="1093"/>
                    <a:pt x="1657" y="1093"/>
                  </a:cubicBezTo>
                  <a:cubicBezTo>
                    <a:pt x="1643" y="1090"/>
                    <a:pt x="1643" y="1090"/>
                    <a:pt x="1643" y="1090"/>
                  </a:cubicBezTo>
                  <a:cubicBezTo>
                    <a:pt x="1649" y="1079"/>
                    <a:pt x="1649" y="1079"/>
                    <a:pt x="1649" y="1079"/>
                  </a:cubicBezTo>
                  <a:cubicBezTo>
                    <a:pt x="1647" y="1076"/>
                    <a:pt x="1647" y="1076"/>
                    <a:pt x="1647" y="1076"/>
                  </a:cubicBezTo>
                  <a:cubicBezTo>
                    <a:pt x="1649" y="1072"/>
                    <a:pt x="1649" y="1072"/>
                    <a:pt x="1649" y="1072"/>
                  </a:cubicBezTo>
                  <a:cubicBezTo>
                    <a:pt x="1653" y="1070"/>
                    <a:pt x="1653" y="1070"/>
                    <a:pt x="1653" y="1070"/>
                  </a:cubicBezTo>
                  <a:cubicBezTo>
                    <a:pt x="1653" y="1064"/>
                    <a:pt x="1653" y="1064"/>
                    <a:pt x="1653" y="1064"/>
                  </a:cubicBezTo>
                  <a:cubicBezTo>
                    <a:pt x="1655" y="1061"/>
                    <a:pt x="1655" y="1061"/>
                    <a:pt x="1655" y="1061"/>
                  </a:cubicBezTo>
                  <a:cubicBezTo>
                    <a:pt x="1658" y="1062"/>
                    <a:pt x="1658" y="1062"/>
                    <a:pt x="1658" y="1062"/>
                  </a:cubicBezTo>
                  <a:cubicBezTo>
                    <a:pt x="1661" y="1060"/>
                    <a:pt x="1661" y="1060"/>
                    <a:pt x="1661" y="1060"/>
                  </a:cubicBezTo>
                  <a:cubicBezTo>
                    <a:pt x="1660" y="1058"/>
                    <a:pt x="1660" y="1058"/>
                    <a:pt x="1660" y="1058"/>
                  </a:cubicBezTo>
                  <a:cubicBezTo>
                    <a:pt x="1659" y="1046"/>
                    <a:pt x="1659" y="1046"/>
                    <a:pt x="1659" y="1046"/>
                  </a:cubicBezTo>
                  <a:cubicBezTo>
                    <a:pt x="1657" y="1038"/>
                    <a:pt x="1657" y="1038"/>
                    <a:pt x="1657" y="1038"/>
                  </a:cubicBezTo>
                  <a:cubicBezTo>
                    <a:pt x="1653" y="1030"/>
                    <a:pt x="1653" y="1030"/>
                    <a:pt x="1653" y="1030"/>
                  </a:cubicBezTo>
                  <a:cubicBezTo>
                    <a:pt x="1652" y="1025"/>
                    <a:pt x="1652" y="1025"/>
                    <a:pt x="1652" y="1025"/>
                  </a:cubicBezTo>
                  <a:cubicBezTo>
                    <a:pt x="1646" y="1023"/>
                    <a:pt x="1646" y="1023"/>
                    <a:pt x="1646" y="1023"/>
                  </a:cubicBezTo>
                  <a:cubicBezTo>
                    <a:pt x="1642" y="1026"/>
                    <a:pt x="1642" y="1026"/>
                    <a:pt x="1642" y="1026"/>
                  </a:cubicBezTo>
                  <a:cubicBezTo>
                    <a:pt x="1637" y="1032"/>
                    <a:pt x="1637" y="1032"/>
                    <a:pt x="1637" y="1032"/>
                  </a:cubicBezTo>
                  <a:cubicBezTo>
                    <a:pt x="1632" y="1038"/>
                    <a:pt x="1632" y="1038"/>
                    <a:pt x="1632" y="1038"/>
                  </a:cubicBezTo>
                  <a:cubicBezTo>
                    <a:pt x="1630" y="1037"/>
                    <a:pt x="1630" y="1037"/>
                    <a:pt x="1630" y="1037"/>
                  </a:cubicBezTo>
                  <a:cubicBezTo>
                    <a:pt x="1627" y="1035"/>
                    <a:pt x="1627" y="1035"/>
                    <a:pt x="1627" y="1035"/>
                  </a:cubicBezTo>
                  <a:cubicBezTo>
                    <a:pt x="1627" y="1031"/>
                    <a:pt x="1627" y="1031"/>
                    <a:pt x="1627" y="1031"/>
                  </a:cubicBezTo>
                  <a:cubicBezTo>
                    <a:pt x="1629" y="1027"/>
                    <a:pt x="1629" y="1027"/>
                    <a:pt x="1629" y="1027"/>
                  </a:cubicBezTo>
                  <a:cubicBezTo>
                    <a:pt x="1633" y="1024"/>
                    <a:pt x="1633" y="1024"/>
                    <a:pt x="1633" y="1024"/>
                  </a:cubicBezTo>
                  <a:cubicBezTo>
                    <a:pt x="1634" y="1021"/>
                    <a:pt x="1634" y="1021"/>
                    <a:pt x="1634" y="1021"/>
                  </a:cubicBezTo>
                  <a:cubicBezTo>
                    <a:pt x="1635" y="1018"/>
                    <a:pt x="1635" y="1018"/>
                    <a:pt x="1635" y="1018"/>
                  </a:cubicBezTo>
                  <a:cubicBezTo>
                    <a:pt x="1638" y="1015"/>
                    <a:pt x="1638" y="1015"/>
                    <a:pt x="1638" y="1015"/>
                  </a:cubicBezTo>
                  <a:cubicBezTo>
                    <a:pt x="1638" y="1007"/>
                    <a:pt x="1638" y="1007"/>
                    <a:pt x="1638" y="1007"/>
                  </a:cubicBezTo>
                  <a:cubicBezTo>
                    <a:pt x="1636" y="1003"/>
                    <a:pt x="1636" y="1003"/>
                    <a:pt x="1636" y="1003"/>
                  </a:cubicBezTo>
                  <a:cubicBezTo>
                    <a:pt x="1632" y="999"/>
                    <a:pt x="1632" y="999"/>
                    <a:pt x="1632" y="999"/>
                  </a:cubicBezTo>
                  <a:cubicBezTo>
                    <a:pt x="1633" y="997"/>
                    <a:pt x="1633" y="997"/>
                    <a:pt x="1633" y="997"/>
                  </a:cubicBezTo>
                  <a:cubicBezTo>
                    <a:pt x="1636" y="995"/>
                    <a:pt x="1636" y="995"/>
                    <a:pt x="1636" y="995"/>
                  </a:cubicBezTo>
                  <a:cubicBezTo>
                    <a:pt x="1634" y="990"/>
                    <a:pt x="1634" y="990"/>
                    <a:pt x="1634" y="990"/>
                  </a:cubicBezTo>
                  <a:cubicBezTo>
                    <a:pt x="1625" y="986"/>
                    <a:pt x="1625" y="986"/>
                    <a:pt x="1625" y="986"/>
                  </a:cubicBezTo>
                  <a:cubicBezTo>
                    <a:pt x="1618" y="984"/>
                    <a:pt x="1618" y="984"/>
                    <a:pt x="1618" y="984"/>
                  </a:cubicBezTo>
                  <a:cubicBezTo>
                    <a:pt x="1616" y="982"/>
                    <a:pt x="1616" y="982"/>
                    <a:pt x="1616" y="982"/>
                  </a:cubicBezTo>
                  <a:cubicBezTo>
                    <a:pt x="1610" y="981"/>
                    <a:pt x="1610" y="981"/>
                    <a:pt x="1610" y="981"/>
                  </a:cubicBezTo>
                  <a:cubicBezTo>
                    <a:pt x="1606" y="979"/>
                    <a:pt x="1606" y="979"/>
                    <a:pt x="1606" y="979"/>
                  </a:cubicBezTo>
                  <a:cubicBezTo>
                    <a:pt x="1600" y="981"/>
                    <a:pt x="1600" y="981"/>
                    <a:pt x="1600" y="981"/>
                  </a:cubicBezTo>
                  <a:cubicBezTo>
                    <a:pt x="1599" y="987"/>
                    <a:pt x="1599" y="987"/>
                    <a:pt x="1599" y="987"/>
                  </a:cubicBezTo>
                  <a:cubicBezTo>
                    <a:pt x="1600" y="990"/>
                    <a:pt x="1600" y="990"/>
                    <a:pt x="1600" y="990"/>
                  </a:cubicBezTo>
                  <a:cubicBezTo>
                    <a:pt x="1594" y="995"/>
                    <a:pt x="1594" y="995"/>
                    <a:pt x="1594" y="995"/>
                  </a:cubicBezTo>
                  <a:cubicBezTo>
                    <a:pt x="1594" y="1001"/>
                    <a:pt x="1594" y="1001"/>
                    <a:pt x="1594" y="1001"/>
                  </a:cubicBezTo>
                  <a:cubicBezTo>
                    <a:pt x="1592" y="1005"/>
                    <a:pt x="1592" y="1005"/>
                    <a:pt x="1592" y="1005"/>
                  </a:cubicBezTo>
                  <a:cubicBezTo>
                    <a:pt x="1590" y="1006"/>
                    <a:pt x="1590" y="1006"/>
                    <a:pt x="1590" y="1006"/>
                  </a:cubicBezTo>
                  <a:cubicBezTo>
                    <a:pt x="1590" y="1000"/>
                    <a:pt x="1590" y="1000"/>
                    <a:pt x="1590" y="1000"/>
                  </a:cubicBezTo>
                  <a:cubicBezTo>
                    <a:pt x="1589" y="996"/>
                    <a:pt x="1589" y="996"/>
                    <a:pt x="1589" y="996"/>
                  </a:cubicBezTo>
                  <a:cubicBezTo>
                    <a:pt x="1586" y="1002"/>
                    <a:pt x="1586" y="1002"/>
                    <a:pt x="1586" y="1002"/>
                  </a:cubicBezTo>
                  <a:cubicBezTo>
                    <a:pt x="1583" y="1003"/>
                    <a:pt x="1583" y="1003"/>
                    <a:pt x="1583" y="1003"/>
                  </a:cubicBezTo>
                  <a:cubicBezTo>
                    <a:pt x="1578" y="1011"/>
                    <a:pt x="1578" y="1011"/>
                    <a:pt x="1578" y="1011"/>
                  </a:cubicBezTo>
                  <a:cubicBezTo>
                    <a:pt x="1577" y="1023"/>
                    <a:pt x="1577" y="1023"/>
                    <a:pt x="1577" y="1023"/>
                  </a:cubicBezTo>
                  <a:cubicBezTo>
                    <a:pt x="1573" y="1030"/>
                    <a:pt x="1573" y="1030"/>
                    <a:pt x="1573" y="1030"/>
                  </a:cubicBezTo>
                  <a:cubicBezTo>
                    <a:pt x="1575" y="1036"/>
                    <a:pt x="1575" y="1036"/>
                    <a:pt x="1575" y="1036"/>
                  </a:cubicBezTo>
                  <a:cubicBezTo>
                    <a:pt x="1575" y="1042"/>
                    <a:pt x="1575" y="1042"/>
                    <a:pt x="1575" y="1042"/>
                  </a:cubicBezTo>
                  <a:cubicBezTo>
                    <a:pt x="1579" y="1051"/>
                    <a:pt x="1579" y="1051"/>
                    <a:pt x="1579" y="1051"/>
                  </a:cubicBezTo>
                  <a:cubicBezTo>
                    <a:pt x="1583" y="1060"/>
                    <a:pt x="1583" y="1060"/>
                    <a:pt x="1583" y="1060"/>
                  </a:cubicBezTo>
                  <a:cubicBezTo>
                    <a:pt x="1583" y="1068"/>
                    <a:pt x="1583" y="1068"/>
                    <a:pt x="1583" y="1068"/>
                  </a:cubicBezTo>
                  <a:cubicBezTo>
                    <a:pt x="1581" y="1080"/>
                    <a:pt x="1581" y="1080"/>
                    <a:pt x="1581" y="1080"/>
                  </a:cubicBezTo>
                  <a:cubicBezTo>
                    <a:pt x="1576" y="1089"/>
                    <a:pt x="1576" y="1089"/>
                    <a:pt x="1576" y="1089"/>
                  </a:cubicBezTo>
                  <a:cubicBezTo>
                    <a:pt x="1573" y="1094"/>
                    <a:pt x="1573" y="1094"/>
                    <a:pt x="1573" y="1094"/>
                  </a:cubicBezTo>
                  <a:cubicBezTo>
                    <a:pt x="1569" y="1096"/>
                    <a:pt x="1569" y="1096"/>
                    <a:pt x="1569" y="1096"/>
                  </a:cubicBezTo>
                  <a:cubicBezTo>
                    <a:pt x="1562" y="1097"/>
                    <a:pt x="1562" y="1097"/>
                    <a:pt x="1562" y="1097"/>
                  </a:cubicBezTo>
                  <a:cubicBezTo>
                    <a:pt x="1558" y="1095"/>
                    <a:pt x="1558" y="1095"/>
                    <a:pt x="1558" y="1095"/>
                  </a:cubicBezTo>
                  <a:cubicBezTo>
                    <a:pt x="1556" y="1094"/>
                    <a:pt x="1556" y="1094"/>
                    <a:pt x="1556" y="1094"/>
                  </a:cubicBezTo>
                  <a:cubicBezTo>
                    <a:pt x="1555" y="1087"/>
                    <a:pt x="1555" y="1087"/>
                    <a:pt x="1555" y="1087"/>
                  </a:cubicBezTo>
                  <a:cubicBezTo>
                    <a:pt x="1553" y="1084"/>
                    <a:pt x="1553" y="1084"/>
                    <a:pt x="1553" y="1084"/>
                  </a:cubicBezTo>
                  <a:cubicBezTo>
                    <a:pt x="1550" y="1081"/>
                    <a:pt x="1550" y="1081"/>
                    <a:pt x="1550" y="1081"/>
                  </a:cubicBezTo>
                  <a:cubicBezTo>
                    <a:pt x="1549" y="1074"/>
                    <a:pt x="1549" y="1074"/>
                    <a:pt x="1549" y="1074"/>
                  </a:cubicBezTo>
                  <a:cubicBezTo>
                    <a:pt x="1549" y="1066"/>
                    <a:pt x="1549" y="1066"/>
                    <a:pt x="1549" y="1066"/>
                  </a:cubicBezTo>
                  <a:cubicBezTo>
                    <a:pt x="1547" y="1058"/>
                    <a:pt x="1547" y="1058"/>
                    <a:pt x="1547" y="1058"/>
                  </a:cubicBezTo>
                  <a:cubicBezTo>
                    <a:pt x="1546" y="1050"/>
                    <a:pt x="1546" y="1050"/>
                    <a:pt x="1546" y="1050"/>
                  </a:cubicBezTo>
                  <a:cubicBezTo>
                    <a:pt x="1549" y="1042"/>
                    <a:pt x="1549" y="1042"/>
                    <a:pt x="1549" y="1042"/>
                  </a:cubicBezTo>
                  <a:cubicBezTo>
                    <a:pt x="1549" y="1030"/>
                    <a:pt x="1549" y="1030"/>
                    <a:pt x="1549" y="1030"/>
                  </a:cubicBezTo>
                  <a:cubicBezTo>
                    <a:pt x="1553" y="1027"/>
                    <a:pt x="1553" y="1027"/>
                    <a:pt x="1553" y="1027"/>
                  </a:cubicBezTo>
                  <a:cubicBezTo>
                    <a:pt x="1552" y="1018"/>
                    <a:pt x="1552" y="1018"/>
                    <a:pt x="1552" y="1018"/>
                  </a:cubicBezTo>
                  <a:cubicBezTo>
                    <a:pt x="1555" y="1014"/>
                    <a:pt x="1555" y="1014"/>
                    <a:pt x="1555" y="1014"/>
                  </a:cubicBezTo>
                  <a:cubicBezTo>
                    <a:pt x="1555" y="1010"/>
                    <a:pt x="1555" y="1010"/>
                    <a:pt x="1555" y="1010"/>
                  </a:cubicBezTo>
                  <a:cubicBezTo>
                    <a:pt x="1560" y="1001"/>
                    <a:pt x="1560" y="1001"/>
                    <a:pt x="1560" y="1001"/>
                  </a:cubicBezTo>
                  <a:cubicBezTo>
                    <a:pt x="1561" y="997"/>
                    <a:pt x="1561" y="997"/>
                    <a:pt x="1561" y="997"/>
                  </a:cubicBezTo>
                  <a:cubicBezTo>
                    <a:pt x="1560" y="994"/>
                    <a:pt x="1560" y="994"/>
                    <a:pt x="1560" y="994"/>
                  </a:cubicBezTo>
                  <a:cubicBezTo>
                    <a:pt x="1556" y="999"/>
                    <a:pt x="1556" y="999"/>
                    <a:pt x="1556" y="999"/>
                  </a:cubicBezTo>
                  <a:cubicBezTo>
                    <a:pt x="1555" y="1003"/>
                    <a:pt x="1555" y="1003"/>
                    <a:pt x="1555" y="1003"/>
                  </a:cubicBezTo>
                  <a:cubicBezTo>
                    <a:pt x="1553" y="1007"/>
                    <a:pt x="1553" y="1007"/>
                    <a:pt x="1553" y="1007"/>
                  </a:cubicBezTo>
                  <a:cubicBezTo>
                    <a:pt x="1548" y="1010"/>
                    <a:pt x="1548" y="1010"/>
                    <a:pt x="1548" y="1010"/>
                  </a:cubicBezTo>
                  <a:cubicBezTo>
                    <a:pt x="1544" y="1017"/>
                    <a:pt x="1544" y="1017"/>
                    <a:pt x="1544" y="1017"/>
                  </a:cubicBezTo>
                  <a:cubicBezTo>
                    <a:pt x="1541" y="1016"/>
                    <a:pt x="1541" y="1016"/>
                    <a:pt x="1541" y="1016"/>
                  </a:cubicBezTo>
                  <a:cubicBezTo>
                    <a:pt x="1542" y="1011"/>
                    <a:pt x="1542" y="1011"/>
                    <a:pt x="1542" y="1011"/>
                  </a:cubicBezTo>
                  <a:cubicBezTo>
                    <a:pt x="1545" y="1005"/>
                    <a:pt x="1545" y="1005"/>
                    <a:pt x="1545" y="1005"/>
                  </a:cubicBezTo>
                  <a:cubicBezTo>
                    <a:pt x="1547" y="1001"/>
                    <a:pt x="1547" y="1001"/>
                    <a:pt x="1547" y="1001"/>
                  </a:cubicBezTo>
                  <a:cubicBezTo>
                    <a:pt x="1550" y="1001"/>
                    <a:pt x="1550" y="1001"/>
                    <a:pt x="1550" y="1001"/>
                  </a:cubicBezTo>
                  <a:cubicBezTo>
                    <a:pt x="1550" y="997"/>
                    <a:pt x="1550" y="997"/>
                    <a:pt x="1550" y="997"/>
                  </a:cubicBezTo>
                  <a:cubicBezTo>
                    <a:pt x="1555" y="989"/>
                    <a:pt x="1555" y="989"/>
                    <a:pt x="1555" y="989"/>
                  </a:cubicBezTo>
                  <a:cubicBezTo>
                    <a:pt x="1559" y="982"/>
                    <a:pt x="1559" y="982"/>
                    <a:pt x="1559" y="982"/>
                  </a:cubicBezTo>
                  <a:cubicBezTo>
                    <a:pt x="1562" y="983"/>
                    <a:pt x="1562" y="983"/>
                    <a:pt x="1562" y="983"/>
                  </a:cubicBezTo>
                  <a:cubicBezTo>
                    <a:pt x="1564" y="979"/>
                    <a:pt x="1564" y="979"/>
                    <a:pt x="1564" y="979"/>
                  </a:cubicBezTo>
                  <a:cubicBezTo>
                    <a:pt x="1568" y="980"/>
                    <a:pt x="1568" y="980"/>
                    <a:pt x="1568" y="980"/>
                  </a:cubicBezTo>
                  <a:cubicBezTo>
                    <a:pt x="1565" y="984"/>
                    <a:pt x="1565" y="984"/>
                    <a:pt x="1565" y="984"/>
                  </a:cubicBezTo>
                  <a:cubicBezTo>
                    <a:pt x="1567" y="986"/>
                    <a:pt x="1567" y="986"/>
                    <a:pt x="1567" y="986"/>
                  </a:cubicBezTo>
                  <a:cubicBezTo>
                    <a:pt x="1574" y="979"/>
                    <a:pt x="1574" y="979"/>
                    <a:pt x="1574" y="979"/>
                  </a:cubicBezTo>
                  <a:cubicBezTo>
                    <a:pt x="1574" y="977"/>
                    <a:pt x="1574" y="977"/>
                    <a:pt x="1574" y="977"/>
                  </a:cubicBezTo>
                  <a:cubicBezTo>
                    <a:pt x="1580" y="977"/>
                    <a:pt x="1580" y="977"/>
                    <a:pt x="1580" y="977"/>
                  </a:cubicBezTo>
                  <a:cubicBezTo>
                    <a:pt x="1591" y="971"/>
                    <a:pt x="1591" y="971"/>
                    <a:pt x="1591" y="971"/>
                  </a:cubicBezTo>
                  <a:cubicBezTo>
                    <a:pt x="1600" y="973"/>
                    <a:pt x="1600" y="973"/>
                    <a:pt x="1600" y="973"/>
                  </a:cubicBezTo>
                  <a:cubicBezTo>
                    <a:pt x="1604" y="975"/>
                    <a:pt x="1604" y="975"/>
                    <a:pt x="1604" y="975"/>
                  </a:cubicBezTo>
                  <a:cubicBezTo>
                    <a:pt x="1607" y="972"/>
                    <a:pt x="1607" y="972"/>
                    <a:pt x="1607" y="972"/>
                  </a:cubicBezTo>
                  <a:cubicBezTo>
                    <a:pt x="1627" y="972"/>
                    <a:pt x="1627" y="972"/>
                    <a:pt x="1627" y="972"/>
                  </a:cubicBezTo>
                  <a:cubicBezTo>
                    <a:pt x="1629" y="970"/>
                    <a:pt x="1629" y="970"/>
                    <a:pt x="1629" y="970"/>
                  </a:cubicBezTo>
                  <a:cubicBezTo>
                    <a:pt x="1627" y="968"/>
                    <a:pt x="1627" y="968"/>
                    <a:pt x="1627" y="968"/>
                  </a:cubicBezTo>
                  <a:cubicBezTo>
                    <a:pt x="1620" y="968"/>
                    <a:pt x="1620" y="968"/>
                    <a:pt x="1620" y="968"/>
                  </a:cubicBezTo>
                  <a:cubicBezTo>
                    <a:pt x="1617" y="967"/>
                    <a:pt x="1617" y="967"/>
                    <a:pt x="1617" y="967"/>
                  </a:cubicBezTo>
                  <a:cubicBezTo>
                    <a:pt x="1613" y="960"/>
                    <a:pt x="1613" y="960"/>
                    <a:pt x="1613" y="960"/>
                  </a:cubicBezTo>
                  <a:cubicBezTo>
                    <a:pt x="1609" y="959"/>
                    <a:pt x="1609" y="959"/>
                    <a:pt x="1609" y="959"/>
                  </a:cubicBezTo>
                  <a:cubicBezTo>
                    <a:pt x="1599" y="960"/>
                    <a:pt x="1599" y="960"/>
                    <a:pt x="1599" y="960"/>
                  </a:cubicBezTo>
                  <a:cubicBezTo>
                    <a:pt x="1596" y="955"/>
                    <a:pt x="1596" y="955"/>
                    <a:pt x="1596" y="955"/>
                  </a:cubicBezTo>
                  <a:cubicBezTo>
                    <a:pt x="1598" y="952"/>
                    <a:pt x="1598" y="952"/>
                    <a:pt x="1598" y="952"/>
                  </a:cubicBezTo>
                  <a:cubicBezTo>
                    <a:pt x="1594" y="951"/>
                    <a:pt x="1594" y="951"/>
                    <a:pt x="1594" y="951"/>
                  </a:cubicBezTo>
                  <a:cubicBezTo>
                    <a:pt x="1589" y="954"/>
                    <a:pt x="1589" y="954"/>
                    <a:pt x="1589" y="954"/>
                  </a:cubicBezTo>
                  <a:cubicBezTo>
                    <a:pt x="1573" y="956"/>
                    <a:pt x="1573" y="956"/>
                    <a:pt x="1573" y="956"/>
                  </a:cubicBezTo>
                  <a:cubicBezTo>
                    <a:pt x="1568" y="959"/>
                    <a:pt x="1568" y="959"/>
                    <a:pt x="1568" y="959"/>
                  </a:cubicBezTo>
                  <a:cubicBezTo>
                    <a:pt x="1564" y="963"/>
                    <a:pt x="1564" y="963"/>
                    <a:pt x="1564" y="963"/>
                  </a:cubicBezTo>
                  <a:cubicBezTo>
                    <a:pt x="1556" y="960"/>
                    <a:pt x="1556" y="960"/>
                    <a:pt x="1556" y="960"/>
                  </a:cubicBezTo>
                  <a:cubicBezTo>
                    <a:pt x="1554" y="961"/>
                    <a:pt x="1554" y="961"/>
                    <a:pt x="1554" y="961"/>
                  </a:cubicBezTo>
                  <a:cubicBezTo>
                    <a:pt x="1549" y="961"/>
                    <a:pt x="1549" y="961"/>
                    <a:pt x="1549" y="961"/>
                  </a:cubicBezTo>
                  <a:cubicBezTo>
                    <a:pt x="1547" y="956"/>
                    <a:pt x="1547" y="956"/>
                    <a:pt x="1547" y="956"/>
                  </a:cubicBezTo>
                  <a:cubicBezTo>
                    <a:pt x="1543" y="954"/>
                    <a:pt x="1543" y="954"/>
                    <a:pt x="1543" y="954"/>
                  </a:cubicBezTo>
                  <a:cubicBezTo>
                    <a:pt x="1537" y="951"/>
                    <a:pt x="1537" y="951"/>
                    <a:pt x="1537" y="951"/>
                  </a:cubicBezTo>
                  <a:cubicBezTo>
                    <a:pt x="1532" y="952"/>
                    <a:pt x="1532" y="952"/>
                    <a:pt x="1532" y="952"/>
                  </a:cubicBezTo>
                  <a:cubicBezTo>
                    <a:pt x="1528" y="955"/>
                    <a:pt x="1528" y="955"/>
                    <a:pt x="1528" y="955"/>
                  </a:cubicBezTo>
                  <a:cubicBezTo>
                    <a:pt x="1529" y="948"/>
                    <a:pt x="1529" y="948"/>
                    <a:pt x="1529" y="948"/>
                  </a:cubicBezTo>
                  <a:cubicBezTo>
                    <a:pt x="1533" y="946"/>
                    <a:pt x="1533" y="946"/>
                    <a:pt x="1533" y="946"/>
                  </a:cubicBezTo>
                  <a:cubicBezTo>
                    <a:pt x="1537" y="939"/>
                    <a:pt x="1537" y="939"/>
                    <a:pt x="1537" y="939"/>
                  </a:cubicBezTo>
                  <a:cubicBezTo>
                    <a:pt x="1541" y="936"/>
                    <a:pt x="1541" y="936"/>
                    <a:pt x="1541" y="936"/>
                  </a:cubicBezTo>
                  <a:cubicBezTo>
                    <a:pt x="1539" y="935"/>
                    <a:pt x="1539" y="935"/>
                    <a:pt x="1539" y="935"/>
                  </a:cubicBezTo>
                  <a:cubicBezTo>
                    <a:pt x="1531" y="937"/>
                    <a:pt x="1531" y="937"/>
                    <a:pt x="1531" y="937"/>
                  </a:cubicBezTo>
                  <a:cubicBezTo>
                    <a:pt x="1525" y="943"/>
                    <a:pt x="1525" y="943"/>
                    <a:pt x="1525" y="943"/>
                  </a:cubicBezTo>
                  <a:cubicBezTo>
                    <a:pt x="1523" y="943"/>
                    <a:pt x="1523" y="943"/>
                    <a:pt x="1523" y="943"/>
                  </a:cubicBezTo>
                  <a:cubicBezTo>
                    <a:pt x="1516" y="951"/>
                    <a:pt x="1516" y="951"/>
                    <a:pt x="1516" y="951"/>
                  </a:cubicBezTo>
                  <a:cubicBezTo>
                    <a:pt x="1506" y="955"/>
                    <a:pt x="1506" y="955"/>
                    <a:pt x="1506" y="955"/>
                  </a:cubicBezTo>
                  <a:cubicBezTo>
                    <a:pt x="1503" y="956"/>
                    <a:pt x="1503" y="956"/>
                    <a:pt x="1503" y="956"/>
                  </a:cubicBezTo>
                  <a:cubicBezTo>
                    <a:pt x="1499" y="959"/>
                    <a:pt x="1499" y="959"/>
                    <a:pt x="1499" y="959"/>
                  </a:cubicBezTo>
                  <a:cubicBezTo>
                    <a:pt x="1491" y="963"/>
                    <a:pt x="1491" y="963"/>
                    <a:pt x="1491" y="963"/>
                  </a:cubicBezTo>
                  <a:cubicBezTo>
                    <a:pt x="1488" y="963"/>
                    <a:pt x="1488" y="963"/>
                    <a:pt x="1488" y="963"/>
                  </a:cubicBezTo>
                  <a:cubicBezTo>
                    <a:pt x="1485" y="961"/>
                    <a:pt x="1485" y="961"/>
                    <a:pt x="1485" y="961"/>
                  </a:cubicBezTo>
                  <a:cubicBezTo>
                    <a:pt x="1480" y="962"/>
                    <a:pt x="1480" y="962"/>
                    <a:pt x="1480" y="962"/>
                  </a:cubicBezTo>
                  <a:cubicBezTo>
                    <a:pt x="1482" y="955"/>
                    <a:pt x="1482" y="955"/>
                    <a:pt x="1482" y="955"/>
                  </a:cubicBezTo>
                  <a:cubicBezTo>
                    <a:pt x="1479" y="953"/>
                    <a:pt x="1479" y="953"/>
                    <a:pt x="1479" y="953"/>
                  </a:cubicBezTo>
                  <a:cubicBezTo>
                    <a:pt x="1469" y="959"/>
                    <a:pt x="1469" y="959"/>
                    <a:pt x="1469" y="959"/>
                  </a:cubicBezTo>
                  <a:cubicBezTo>
                    <a:pt x="1464" y="962"/>
                    <a:pt x="1464" y="962"/>
                    <a:pt x="1464" y="962"/>
                  </a:cubicBezTo>
                  <a:cubicBezTo>
                    <a:pt x="1456" y="961"/>
                    <a:pt x="1456" y="961"/>
                    <a:pt x="1456" y="961"/>
                  </a:cubicBezTo>
                  <a:cubicBezTo>
                    <a:pt x="1467" y="951"/>
                    <a:pt x="1467" y="951"/>
                    <a:pt x="1467" y="951"/>
                  </a:cubicBezTo>
                  <a:cubicBezTo>
                    <a:pt x="1480" y="937"/>
                    <a:pt x="1480" y="937"/>
                    <a:pt x="1480" y="937"/>
                  </a:cubicBezTo>
                  <a:cubicBezTo>
                    <a:pt x="1486" y="935"/>
                    <a:pt x="1486" y="935"/>
                    <a:pt x="1486" y="935"/>
                  </a:cubicBezTo>
                  <a:cubicBezTo>
                    <a:pt x="1492" y="930"/>
                    <a:pt x="1492" y="930"/>
                    <a:pt x="1492" y="930"/>
                  </a:cubicBezTo>
                  <a:cubicBezTo>
                    <a:pt x="1496" y="930"/>
                    <a:pt x="1496" y="930"/>
                    <a:pt x="1496" y="930"/>
                  </a:cubicBezTo>
                  <a:cubicBezTo>
                    <a:pt x="1505" y="923"/>
                    <a:pt x="1505" y="923"/>
                    <a:pt x="1505" y="923"/>
                  </a:cubicBezTo>
                  <a:cubicBezTo>
                    <a:pt x="1499" y="923"/>
                    <a:pt x="1499" y="923"/>
                    <a:pt x="1499" y="923"/>
                  </a:cubicBezTo>
                  <a:cubicBezTo>
                    <a:pt x="1495" y="920"/>
                    <a:pt x="1495" y="920"/>
                    <a:pt x="1495" y="920"/>
                  </a:cubicBezTo>
                  <a:cubicBezTo>
                    <a:pt x="1482" y="921"/>
                    <a:pt x="1482" y="921"/>
                    <a:pt x="1482" y="921"/>
                  </a:cubicBezTo>
                  <a:cubicBezTo>
                    <a:pt x="1478" y="918"/>
                    <a:pt x="1478" y="918"/>
                    <a:pt x="1478" y="918"/>
                  </a:cubicBezTo>
                  <a:cubicBezTo>
                    <a:pt x="1469" y="923"/>
                    <a:pt x="1469" y="923"/>
                    <a:pt x="1469" y="923"/>
                  </a:cubicBezTo>
                  <a:cubicBezTo>
                    <a:pt x="1465" y="923"/>
                    <a:pt x="1465" y="923"/>
                    <a:pt x="1465" y="923"/>
                  </a:cubicBezTo>
                  <a:cubicBezTo>
                    <a:pt x="1460" y="919"/>
                    <a:pt x="1460" y="919"/>
                    <a:pt x="1460" y="919"/>
                  </a:cubicBezTo>
                  <a:cubicBezTo>
                    <a:pt x="1458" y="918"/>
                    <a:pt x="1458" y="918"/>
                    <a:pt x="1458" y="918"/>
                  </a:cubicBezTo>
                  <a:cubicBezTo>
                    <a:pt x="1454" y="915"/>
                    <a:pt x="1454" y="915"/>
                    <a:pt x="1454" y="915"/>
                  </a:cubicBezTo>
                  <a:cubicBezTo>
                    <a:pt x="1451" y="918"/>
                    <a:pt x="1451" y="918"/>
                    <a:pt x="1451" y="918"/>
                  </a:cubicBezTo>
                  <a:cubicBezTo>
                    <a:pt x="1448" y="918"/>
                    <a:pt x="1448" y="918"/>
                    <a:pt x="1448" y="918"/>
                  </a:cubicBezTo>
                  <a:cubicBezTo>
                    <a:pt x="1448" y="915"/>
                    <a:pt x="1448" y="915"/>
                    <a:pt x="1448" y="915"/>
                  </a:cubicBezTo>
                  <a:cubicBezTo>
                    <a:pt x="1445" y="913"/>
                    <a:pt x="1445" y="913"/>
                    <a:pt x="1445" y="913"/>
                  </a:cubicBezTo>
                  <a:cubicBezTo>
                    <a:pt x="1441" y="910"/>
                    <a:pt x="1441" y="910"/>
                    <a:pt x="1441" y="910"/>
                  </a:cubicBezTo>
                  <a:cubicBezTo>
                    <a:pt x="1430" y="910"/>
                    <a:pt x="1430" y="910"/>
                    <a:pt x="1430" y="910"/>
                  </a:cubicBezTo>
                  <a:cubicBezTo>
                    <a:pt x="1428" y="911"/>
                    <a:pt x="1428" y="911"/>
                    <a:pt x="1428" y="911"/>
                  </a:cubicBezTo>
                  <a:cubicBezTo>
                    <a:pt x="1423" y="912"/>
                    <a:pt x="1423" y="912"/>
                    <a:pt x="1423" y="912"/>
                  </a:cubicBezTo>
                  <a:cubicBezTo>
                    <a:pt x="1421" y="910"/>
                    <a:pt x="1421" y="910"/>
                    <a:pt x="1421" y="910"/>
                  </a:cubicBezTo>
                  <a:cubicBezTo>
                    <a:pt x="1414" y="908"/>
                    <a:pt x="1414" y="908"/>
                    <a:pt x="1414" y="908"/>
                  </a:cubicBezTo>
                  <a:cubicBezTo>
                    <a:pt x="1408" y="907"/>
                    <a:pt x="1408" y="907"/>
                    <a:pt x="1408" y="907"/>
                  </a:cubicBezTo>
                  <a:cubicBezTo>
                    <a:pt x="1405" y="905"/>
                    <a:pt x="1405" y="905"/>
                    <a:pt x="1405" y="905"/>
                  </a:cubicBezTo>
                  <a:cubicBezTo>
                    <a:pt x="1406" y="902"/>
                    <a:pt x="1406" y="902"/>
                    <a:pt x="1406" y="902"/>
                  </a:cubicBezTo>
                  <a:cubicBezTo>
                    <a:pt x="1404" y="897"/>
                    <a:pt x="1404" y="897"/>
                    <a:pt x="1404" y="897"/>
                  </a:cubicBezTo>
                  <a:cubicBezTo>
                    <a:pt x="1404" y="892"/>
                    <a:pt x="1404" y="892"/>
                    <a:pt x="1404" y="892"/>
                  </a:cubicBezTo>
                  <a:cubicBezTo>
                    <a:pt x="1398" y="890"/>
                    <a:pt x="1398" y="890"/>
                    <a:pt x="1398" y="890"/>
                  </a:cubicBezTo>
                  <a:cubicBezTo>
                    <a:pt x="1396" y="899"/>
                    <a:pt x="1396" y="899"/>
                    <a:pt x="1396" y="899"/>
                  </a:cubicBezTo>
                  <a:cubicBezTo>
                    <a:pt x="1358" y="902"/>
                    <a:pt x="1358" y="902"/>
                    <a:pt x="1358" y="902"/>
                  </a:cubicBezTo>
                  <a:cubicBezTo>
                    <a:pt x="1228" y="902"/>
                    <a:pt x="1228" y="902"/>
                    <a:pt x="1228" y="902"/>
                  </a:cubicBezTo>
                  <a:cubicBezTo>
                    <a:pt x="1113" y="902"/>
                    <a:pt x="1113" y="902"/>
                    <a:pt x="1113" y="902"/>
                  </a:cubicBezTo>
                  <a:cubicBezTo>
                    <a:pt x="1077" y="900"/>
                    <a:pt x="1077" y="900"/>
                    <a:pt x="1077" y="900"/>
                  </a:cubicBezTo>
                  <a:cubicBezTo>
                    <a:pt x="1005" y="900"/>
                    <a:pt x="1005" y="900"/>
                    <a:pt x="1005" y="900"/>
                  </a:cubicBezTo>
                  <a:cubicBezTo>
                    <a:pt x="987" y="900"/>
                    <a:pt x="987" y="900"/>
                    <a:pt x="987" y="900"/>
                  </a:cubicBezTo>
                  <a:cubicBezTo>
                    <a:pt x="933" y="898"/>
                    <a:pt x="933" y="898"/>
                    <a:pt x="933" y="898"/>
                  </a:cubicBezTo>
                  <a:cubicBezTo>
                    <a:pt x="884" y="897"/>
                    <a:pt x="884" y="897"/>
                    <a:pt x="884" y="897"/>
                  </a:cubicBezTo>
                  <a:cubicBezTo>
                    <a:pt x="884" y="903"/>
                    <a:pt x="884" y="903"/>
                    <a:pt x="884" y="903"/>
                  </a:cubicBezTo>
                  <a:cubicBezTo>
                    <a:pt x="887" y="903"/>
                    <a:pt x="887" y="903"/>
                    <a:pt x="887" y="903"/>
                  </a:cubicBezTo>
                  <a:cubicBezTo>
                    <a:pt x="887" y="909"/>
                    <a:pt x="887" y="909"/>
                    <a:pt x="887" y="909"/>
                  </a:cubicBezTo>
                  <a:cubicBezTo>
                    <a:pt x="883" y="912"/>
                    <a:pt x="883" y="912"/>
                    <a:pt x="883" y="912"/>
                  </a:cubicBezTo>
                  <a:cubicBezTo>
                    <a:pt x="887" y="924"/>
                    <a:pt x="887" y="924"/>
                    <a:pt x="887" y="924"/>
                  </a:cubicBezTo>
                  <a:cubicBezTo>
                    <a:pt x="882" y="931"/>
                    <a:pt x="882" y="931"/>
                    <a:pt x="882" y="931"/>
                  </a:cubicBezTo>
                  <a:cubicBezTo>
                    <a:pt x="880" y="935"/>
                    <a:pt x="880" y="935"/>
                    <a:pt x="880" y="935"/>
                  </a:cubicBezTo>
                  <a:cubicBezTo>
                    <a:pt x="880" y="939"/>
                    <a:pt x="880" y="939"/>
                    <a:pt x="880" y="939"/>
                  </a:cubicBezTo>
                  <a:cubicBezTo>
                    <a:pt x="875" y="941"/>
                    <a:pt x="875" y="941"/>
                    <a:pt x="875" y="941"/>
                  </a:cubicBezTo>
                  <a:cubicBezTo>
                    <a:pt x="875" y="934"/>
                    <a:pt x="875" y="934"/>
                    <a:pt x="875" y="934"/>
                  </a:cubicBezTo>
                  <a:cubicBezTo>
                    <a:pt x="879" y="927"/>
                    <a:pt x="879" y="927"/>
                    <a:pt x="879" y="927"/>
                  </a:cubicBezTo>
                  <a:cubicBezTo>
                    <a:pt x="879" y="920"/>
                    <a:pt x="879" y="920"/>
                    <a:pt x="879" y="920"/>
                  </a:cubicBezTo>
                  <a:cubicBezTo>
                    <a:pt x="873" y="920"/>
                    <a:pt x="873" y="920"/>
                    <a:pt x="873" y="920"/>
                  </a:cubicBezTo>
                  <a:cubicBezTo>
                    <a:pt x="863" y="918"/>
                    <a:pt x="863" y="918"/>
                    <a:pt x="863" y="918"/>
                  </a:cubicBezTo>
                  <a:cubicBezTo>
                    <a:pt x="845" y="912"/>
                    <a:pt x="845" y="912"/>
                    <a:pt x="845" y="912"/>
                  </a:cubicBezTo>
                  <a:cubicBezTo>
                    <a:pt x="842" y="921"/>
                    <a:pt x="842" y="921"/>
                    <a:pt x="842" y="921"/>
                  </a:cubicBezTo>
                  <a:cubicBezTo>
                    <a:pt x="844" y="928"/>
                    <a:pt x="844" y="928"/>
                    <a:pt x="844" y="928"/>
                  </a:cubicBezTo>
                  <a:cubicBezTo>
                    <a:pt x="843" y="934"/>
                    <a:pt x="843" y="934"/>
                    <a:pt x="843" y="934"/>
                  </a:cubicBezTo>
                  <a:cubicBezTo>
                    <a:pt x="843" y="948"/>
                    <a:pt x="843" y="948"/>
                    <a:pt x="843" y="948"/>
                  </a:cubicBezTo>
                  <a:cubicBezTo>
                    <a:pt x="847" y="949"/>
                    <a:pt x="847" y="949"/>
                    <a:pt x="847" y="949"/>
                  </a:cubicBezTo>
                  <a:cubicBezTo>
                    <a:pt x="843" y="952"/>
                    <a:pt x="843" y="952"/>
                    <a:pt x="843" y="952"/>
                  </a:cubicBezTo>
                  <a:cubicBezTo>
                    <a:pt x="843" y="955"/>
                    <a:pt x="843" y="955"/>
                    <a:pt x="843" y="955"/>
                  </a:cubicBezTo>
                  <a:cubicBezTo>
                    <a:pt x="845" y="957"/>
                    <a:pt x="845" y="957"/>
                    <a:pt x="845" y="957"/>
                  </a:cubicBezTo>
                  <a:cubicBezTo>
                    <a:pt x="843" y="961"/>
                    <a:pt x="843" y="961"/>
                    <a:pt x="843" y="961"/>
                  </a:cubicBezTo>
                  <a:cubicBezTo>
                    <a:pt x="840" y="961"/>
                    <a:pt x="840" y="961"/>
                    <a:pt x="840" y="961"/>
                  </a:cubicBezTo>
                  <a:cubicBezTo>
                    <a:pt x="839" y="966"/>
                    <a:pt x="839" y="966"/>
                    <a:pt x="839" y="966"/>
                  </a:cubicBezTo>
                  <a:cubicBezTo>
                    <a:pt x="844" y="968"/>
                    <a:pt x="844" y="968"/>
                    <a:pt x="844" y="968"/>
                  </a:cubicBezTo>
                  <a:cubicBezTo>
                    <a:pt x="839" y="971"/>
                    <a:pt x="839" y="971"/>
                    <a:pt x="839" y="971"/>
                  </a:cubicBezTo>
                  <a:cubicBezTo>
                    <a:pt x="831" y="995"/>
                    <a:pt x="831" y="995"/>
                    <a:pt x="831" y="995"/>
                  </a:cubicBezTo>
                  <a:cubicBezTo>
                    <a:pt x="829" y="1000"/>
                    <a:pt x="829" y="1000"/>
                    <a:pt x="829" y="1000"/>
                  </a:cubicBezTo>
                  <a:cubicBezTo>
                    <a:pt x="824" y="1007"/>
                    <a:pt x="824" y="1007"/>
                    <a:pt x="824" y="1007"/>
                  </a:cubicBezTo>
                  <a:cubicBezTo>
                    <a:pt x="821" y="1018"/>
                    <a:pt x="821" y="1018"/>
                    <a:pt x="821" y="1018"/>
                  </a:cubicBezTo>
                  <a:cubicBezTo>
                    <a:pt x="813" y="1034"/>
                    <a:pt x="813" y="1034"/>
                    <a:pt x="813" y="1034"/>
                  </a:cubicBezTo>
                  <a:cubicBezTo>
                    <a:pt x="806" y="1043"/>
                    <a:pt x="806" y="1043"/>
                    <a:pt x="806" y="1043"/>
                  </a:cubicBezTo>
                  <a:cubicBezTo>
                    <a:pt x="806" y="1047"/>
                    <a:pt x="806" y="1047"/>
                    <a:pt x="806" y="1047"/>
                  </a:cubicBezTo>
                  <a:cubicBezTo>
                    <a:pt x="799" y="1054"/>
                    <a:pt x="799" y="1054"/>
                    <a:pt x="799" y="1054"/>
                  </a:cubicBezTo>
                  <a:cubicBezTo>
                    <a:pt x="800" y="1058"/>
                    <a:pt x="800" y="1058"/>
                    <a:pt x="800" y="1058"/>
                  </a:cubicBezTo>
                  <a:cubicBezTo>
                    <a:pt x="800" y="1064"/>
                    <a:pt x="800" y="1064"/>
                    <a:pt x="800" y="1064"/>
                  </a:cubicBezTo>
                  <a:cubicBezTo>
                    <a:pt x="797" y="1070"/>
                    <a:pt x="797" y="1070"/>
                    <a:pt x="797" y="1070"/>
                  </a:cubicBezTo>
                  <a:cubicBezTo>
                    <a:pt x="799" y="1077"/>
                    <a:pt x="799" y="1077"/>
                    <a:pt x="799" y="1077"/>
                  </a:cubicBezTo>
                  <a:cubicBezTo>
                    <a:pt x="797" y="1081"/>
                    <a:pt x="797" y="1081"/>
                    <a:pt x="797" y="1081"/>
                  </a:cubicBezTo>
                  <a:cubicBezTo>
                    <a:pt x="798" y="1086"/>
                    <a:pt x="798" y="1086"/>
                    <a:pt x="798" y="1086"/>
                  </a:cubicBezTo>
                  <a:cubicBezTo>
                    <a:pt x="798" y="1091"/>
                    <a:pt x="798" y="1091"/>
                    <a:pt x="798" y="1091"/>
                  </a:cubicBezTo>
                  <a:cubicBezTo>
                    <a:pt x="794" y="1096"/>
                    <a:pt x="794" y="1096"/>
                    <a:pt x="794" y="1096"/>
                  </a:cubicBezTo>
                  <a:cubicBezTo>
                    <a:pt x="794" y="1100"/>
                    <a:pt x="794" y="1100"/>
                    <a:pt x="794" y="1100"/>
                  </a:cubicBezTo>
                  <a:cubicBezTo>
                    <a:pt x="782" y="1113"/>
                    <a:pt x="782" y="1113"/>
                    <a:pt x="782" y="1113"/>
                  </a:cubicBezTo>
                  <a:cubicBezTo>
                    <a:pt x="782" y="1118"/>
                    <a:pt x="782" y="1118"/>
                    <a:pt x="782" y="1118"/>
                  </a:cubicBezTo>
                  <a:cubicBezTo>
                    <a:pt x="783" y="1122"/>
                    <a:pt x="783" y="1122"/>
                    <a:pt x="783" y="1122"/>
                  </a:cubicBezTo>
                  <a:cubicBezTo>
                    <a:pt x="788" y="1130"/>
                    <a:pt x="788" y="1130"/>
                    <a:pt x="788" y="1130"/>
                  </a:cubicBezTo>
                  <a:cubicBezTo>
                    <a:pt x="788" y="1136"/>
                    <a:pt x="788" y="1136"/>
                    <a:pt x="788" y="1136"/>
                  </a:cubicBezTo>
                  <a:cubicBezTo>
                    <a:pt x="784" y="1142"/>
                    <a:pt x="784" y="1142"/>
                    <a:pt x="784" y="1142"/>
                  </a:cubicBezTo>
                  <a:cubicBezTo>
                    <a:pt x="785" y="1146"/>
                    <a:pt x="785" y="1146"/>
                    <a:pt x="785" y="1146"/>
                  </a:cubicBezTo>
                  <a:cubicBezTo>
                    <a:pt x="783" y="1150"/>
                    <a:pt x="783" y="1150"/>
                    <a:pt x="783" y="1150"/>
                  </a:cubicBezTo>
                  <a:cubicBezTo>
                    <a:pt x="788" y="1159"/>
                    <a:pt x="788" y="1159"/>
                    <a:pt x="788" y="1159"/>
                  </a:cubicBezTo>
                  <a:cubicBezTo>
                    <a:pt x="793" y="1162"/>
                    <a:pt x="793" y="1162"/>
                    <a:pt x="793" y="1162"/>
                  </a:cubicBezTo>
                  <a:cubicBezTo>
                    <a:pt x="793" y="1170"/>
                    <a:pt x="793" y="1170"/>
                    <a:pt x="793" y="1170"/>
                  </a:cubicBezTo>
                  <a:cubicBezTo>
                    <a:pt x="791" y="1172"/>
                    <a:pt x="791" y="1172"/>
                    <a:pt x="791" y="1172"/>
                  </a:cubicBezTo>
                  <a:cubicBezTo>
                    <a:pt x="797" y="1176"/>
                    <a:pt x="797" y="1176"/>
                    <a:pt x="797" y="1176"/>
                  </a:cubicBezTo>
                  <a:cubicBezTo>
                    <a:pt x="800" y="1176"/>
                    <a:pt x="800" y="1176"/>
                    <a:pt x="800" y="1176"/>
                  </a:cubicBezTo>
                  <a:cubicBezTo>
                    <a:pt x="804" y="1173"/>
                    <a:pt x="804" y="1173"/>
                    <a:pt x="804" y="1173"/>
                  </a:cubicBezTo>
                  <a:cubicBezTo>
                    <a:pt x="805" y="1177"/>
                    <a:pt x="805" y="1177"/>
                    <a:pt x="805" y="1177"/>
                  </a:cubicBezTo>
                  <a:cubicBezTo>
                    <a:pt x="806" y="1182"/>
                    <a:pt x="806" y="1182"/>
                    <a:pt x="806" y="1182"/>
                  </a:cubicBezTo>
                  <a:cubicBezTo>
                    <a:pt x="805" y="1185"/>
                    <a:pt x="805" y="1185"/>
                    <a:pt x="805" y="1185"/>
                  </a:cubicBezTo>
                  <a:cubicBezTo>
                    <a:pt x="802" y="1183"/>
                    <a:pt x="802" y="1183"/>
                    <a:pt x="802" y="1183"/>
                  </a:cubicBezTo>
                  <a:cubicBezTo>
                    <a:pt x="800" y="1179"/>
                    <a:pt x="800" y="1179"/>
                    <a:pt x="800" y="1179"/>
                  </a:cubicBezTo>
                  <a:cubicBezTo>
                    <a:pt x="798" y="1183"/>
                    <a:pt x="798" y="1183"/>
                    <a:pt x="798" y="1183"/>
                  </a:cubicBezTo>
                  <a:cubicBezTo>
                    <a:pt x="797" y="1194"/>
                    <a:pt x="797" y="1194"/>
                    <a:pt x="797" y="1194"/>
                  </a:cubicBezTo>
                  <a:cubicBezTo>
                    <a:pt x="799" y="1198"/>
                    <a:pt x="799" y="1198"/>
                    <a:pt x="799" y="1198"/>
                  </a:cubicBezTo>
                  <a:cubicBezTo>
                    <a:pt x="806" y="1199"/>
                    <a:pt x="806" y="1199"/>
                    <a:pt x="806" y="1199"/>
                  </a:cubicBezTo>
                  <a:cubicBezTo>
                    <a:pt x="807" y="1200"/>
                    <a:pt x="807" y="1200"/>
                    <a:pt x="807" y="1200"/>
                  </a:cubicBezTo>
                  <a:cubicBezTo>
                    <a:pt x="807" y="1205"/>
                    <a:pt x="807" y="1205"/>
                    <a:pt x="807" y="1205"/>
                  </a:cubicBezTo>
                  <a:cubicBezTo>
                    <a:pt x="803" y="1208"/>
                    <a:pt x="803" y="1208"/>
                    <a:pt x="803" y="1208"/>
                  </a:cubicBezTo>
                  <a:cubicBezTo>
                    <a:pt x="802" y="1213"/>
                    <a:pt x="802" y="1213"/>
                    <a:pt x="802" y="1213"/>
                  </a:cubicBezTo>
                  <a:cubicBezTo>
                    <a:pt x="806" y="1219"/>
                    <a:pt x="806" y="1219"/>
                    <a:pt x="806" y="1219"/>
                  </a:cubicBezTo>
                  <a:cubicBezTo>
                    <a:pt x="807" y="1223"/>
                    <a:pt x="807" y="1223"/>
                    <a:pt x="807" y="1223"/>
                  </a:cubicBezTo>
                  <a:cubicBezTo>
                    <a:pt x="815" y="1235"/>
                    <a:pt x="815" y="1235"/>
                    <a:pt x="815" y="1235"/>
                  </a:cubicBezTo>
                  <a:cubicBezTo>
                    <a:pt x="818" y="1236"/>
                    <a:pt x="818" y="1236"/>
                    <a:pt x="818" y="1236"/>
                  </a:cubicBezTo>
                  <a:cubicBezTo>
                    <a:pt x="816" y="1240"/>
                    <a:pt x="816" y="1240"/>
                    <a:pt x="816" y="1240"/>
                  </a:cubicBezTo>
                  <a:cubicBezTo>
                    <a:pt x="817" y="1243"/>
                    <a:pt x="817" y="1243"/>
                    <a:pt x="817" y="1243"/>
                  </a:cubicBezTo>
                  <a:cubicBezTo>
                    <a:pt x="819" y="1243"/>
                    <a:pt x="819" y="1243"/>
                    <a:pt x="819" y="1243"/>
                  </a:cubicBezTo>
                  <a:cubicBezTo>
                    <a:pt x="820" y="1246"/>
                    <a:pt x="820" y="1246"/>
                    <a:pt x="820" y="1246"/>
                  </a:cubicBezTo>
                  <a:cubicBezTo>
                    <a:pt x="818" y="1252"/>
                    <a:pt x="818" y="1252"/>
                    <a:pt x="818" y="1252"/>
                  </a:cubicBezTo>
                  <a:cubicBezTo>
                    <a:pt x="816" y="1255"/>
                    <a:pt x="816" y="1255"/>
                    <a:pt x="816" y="1255"/>
                  </a:cubicBezTo>
                  <a:cubicBezTo>
                    <a:pt x="816" y="1258"/>
                    <a:pt x="816" y="1258"/>
                    <a:pt x="816" y="1258"/>
                  </a:cubicBezTo>
                  <a:cubicBezTo>
                    <a:pt x="820" y="1260"/>
                    <a:pt x="820" y="1260"/>
                    <a:pt x="820" y="1260"/>
                  </a:cubicBezTo>
                  <a:cubicBezTo>
                    <a:pt x="828" y="1261"/>
                    <a:pt x="828" y="1261"/>
                    <a:pt x="828" y="1261"/>
                  </a:cubicBezTo>
                  <a:cubicBezTo>
                    <a:pt x="834" y="1263"/>
                    <a:pt x="834" y="1263"/>
                    <a:pt x="834" y="1263"/>
                  </a:cubicBezTo>
                  <a:cubicBezTo>
                    <a:pt x="838" y="1263"/>
                    <a:pt x="838" y="1263"/>
                    <a:pt x="838" y="1263"/>
                  </a:cubicBezTo>
                  <a:cubicBezTo>
                    <a:pt x="843" y="1264"/>
                    <a:pt x="843" y="1264"/>
                    <a:pt x="843" y="1264"/>
                  </a:cubicBezTo>
                  <a:cubicBezTo>
                    <a:pt x="846" y="1269"/>
                    <a:pt x="846" y="1269"/>
                    <a:pt x="846" y="1269"/>
                  </a:cubicBezTo>
                  <a:cubicBezTo>
                    <a:pt x="851" y="1273"/>
                    <a:pt x="851" y="1273"/>
                    <a:pt x="851" y="1273"/>
                  </a:cubicBezTo>
                  <a:cubicBezTo>
                    <a:pt x="858" y="1273"/>
                    <a:pt x="858" y="1273"/>
                    <a:pt x="858" y="1273"/>
                  </a:cubicBezTo>
                  <a:cubicBezTo>
                    <a:pt x="860" y="1276"/>
                    <a:pt x="860" y="1276"/>
                    <a:pt x="860" y="1276"/>
                  </a:cubicBezTo>
                  <a:cubicBezTo>
                    <a:pt x="861" y="1281"/>
                    <a:pt x="861" y="1281"/>
                    <a:pt x="861" y="1281"/>
                  </a:cubicBezTo>
                  <a:cubicBezTo>
                    <a:pt x="862" y="1283"/>
                    <a:pt x="862" y="1283"/>
                    <a:pt x="862" y="1283"/>
                  </a:cubicBezTo>
                  <a:cubicBezTo>
                    <a:pt x="865" y="1282"/>
                    <a:pt x="865" y="1282"/>
                    <a:pt x="865" y="1282"/>
                  </a:cubicBezTo>
                  <a:cubicBezTo>
                    <a:pt x="872" y="1288"/>
                    <a:pt x="872" y="1288"/>
                    <a:pt x="872" y="1288"/>
                  </a:cubicBezTo>
                  <a:cubicBezTo>
                    <a:pt x="881" y="1299"/>
                    <a:pt x="881" y="1299"/>
                    <a:pt x="881" y="1299"/>
                  </a:cubicBezTo>
                  <a:cubicBezTo>
                    <a:pt x="881" y="1308"/>
                    <a:pt x="881" y="1308"/>
                    <a:pt x="881" y="1308"/>
                  </a:cubicBezTo>
                  <a:cubicBezTo>
                    <a:pt x="882" y="1310"/>
                    <a:pt x="882" y="1310"/>
                    <a:pt x="882" y="1310"/>
                  </a:cubicBezTo>
                  <a:cubicBezTo>
                    <a:pt x="881" y="1313"/>
                    <a:pt x="881" y="1313"/>
                    <a:pt x="881" y="1313"/>
                  </a:cubicBezTo>
                  <a:cubicBezTo>
                    <a:pt x="883" y="1315"/>
                    <a:pt x="883" y="1315"/>
                    <a:pt x="883" y="1315"/>
                  </a:cubicBezTo>
                  <a:cubicBezTo>
                    <a:pt x="937" y="1317"/>
                    <a:pt x="937" y="1317"/>
                    <a:pt x="937" y="1317"/>
                  </a:cubicBezTo>
                  <a:cubicBezTo>
                    <a:pt x="936" y="1321"/>
                    <a:pt x="936" y="1321"/>
                    <a:pt x="936" y="1321"/>
                  </a:cubicBezTo>
                  <a:cubicBezTo>
                    <a:pt x="1017" y="1362"/>
                    <a:pt x="1017" y="1362"/>
                    <a:pt x="1017" y="1362"/>
                  </a:cubicBezTo>
                  <a:cubicBezTo>
                    <a:pt x="1065" y="1368"/>
                    <a:pt x="1065" y="1368"/>
                    <a:pt x="1065" y="1368"/>
                  </a:cubicBezTo>
                  <a:cubicBezTo>
                    <a:pt x="1085" y="1369"/>
                    <a:pt x="1085" y="1369"/>
                    <a:pt x="1085" y="1369"/>
                  </a:cubicBezTo>
                  <a:cubicBezTo>
                    <a:pt x="1088" y="1358"/>
                    <a:pt x="1088" y="1358"/>
                    <a:pt x="1088" y="1358"/>
                  </a:cubicBezTo>
                  <a:cubicBezTo>
                    <a:pt x="1125" y="1362"/>
                    <a:pt x="1125" y="1362"/>
                    <a:pt x="1125" y="1362"/>
                  </a:cubicBezTo>
                  <a:cubicBezTo>
                    <a:pt x="1129" y="1363"/>
                    <a:pt x="1129" y="1363"/>
                    <a:pt x="1129" y="1363"/>
                  </a:cubicBezTo>
                  <a:cubicBezTo>
                    <a:pt x="1133" y="1370"/>
                    <a:pt x="1133" y="1370"/>
                    <a:pt x="1133" y="1370"/>
                  </a:cubicBezTo>
                  <a:cubicBezTo>
                    <a:pt x="1137" y="1373"/>
                    <a:pt x="1137" y="1373"/>
                    <a:pt x="1137" y="1373"/>
                  </a:cubicBezTo>
                  <a:cubicBezTo>
                    <a:pt x="1151" y="1388"/>
                    <a:pt x="1151" y="1388"/>
                    <a:pt x="1151" y="1388"/>
                  </a:cubicBezTo>
                  <a:cubicBezTo>
                    <a:pt x="1164" y="1398"/>
                    <a:pt x="1164" y="1398"/>
                    <a:pt x="1164" y="1398"/>
                  </a:cubicBezTo>
                  <a:cubicBezTo>
                    <a:pt x="1164" y="1403"/>
                    <a:pt x="1164" y="1403"/>
                    <a:pt x="1164" y="1403"/>
                  </a:cubicBezTo>
                  <a:cubicBezTo>
                    <a:pt x="1167" y="1407"/>
                    <a:pt x="1167" y="1407"/>
                    <a:pt x="1167" y="1407"/>
                  </a:cubicBezTo>
                  <a:cubicBezTo>
                    <a:pt x="1167" y="1417"/>
                    <a:pt x="1167" y="1417"/>
                    <a:pt x="1167" y="1417"/>
                  </a:cubicBezTo>
                  <a:cubicBezTo>
                    <a:pt x="1171" y="1424"/>
                    <a:pt x="1171" y="1424"/>
                    <a:pt x="1171" y="1424"/>
                  </a:cubicBezTo>
                  <a:cubicBezTo>
                    <a:pt x="1190" y="1430"/>
                    <a:pt x="1190" y="1430"/>
                    <a:pt x="1190" y="1430"/>
                  </a:cubicBezTo>
                  <a:cubicBezTo>
                    <a:pt x="1192" y="1429"/>
                    <a:pt x="1192" y="1429"/>
                    <a:pt x="1192" y="1429"/>
                  </a:cubicBezTo>
                  <a:cubicBezTo>
                    <a:pt x="1199" y="1415"/>
                    <a:pt x="1199" y="1415"/>
                    <a:pt x="1199" y="1415"/>
                  </a:cubicBezTo>
                  <a:cubicBezTo>
                    <a:pt x="1202" y="1414"/>
                    <a:pt x="1202" y="1414"/>
                    <a:pt x="1202" y="1414"/>
                  </a:cubicBezTo>
                  <a:cubicBezTo>
                    <a:pt x="1206" y="1416"/>
                    <a:pt x="1206" y="1416"/>
                    <a:pt x="1206" y="1416"/>
                  </a:cubicBezTo>
                  <a:cubicBezTo>
                    <a:pt x="1208" y="1412"/>
                    <a:pt x="1208" y="1412"/>
                    <a:pt x="1208" y="1412"/>
                  </a:cubicBezTo>
                  <a:cubicBezTo>
                    <a:pt x="1213" y="1414"/>
                    <a:pt x="1213" y="1414"/>
                    <a:pt x="1213" y="1414"/>
                  </a:cubicBezTo>
                  <a:cubicBezTo>
                    <a:pt x="1219" y="1415"/>
                    <a:pt x="1219" y="1415"/>
                    <a:pt x="1219" y="1415"/>
                  </a:cubicBezTo>
                  <a:cubicBezTo>
                    <a:pt x="1223" y="1417"/>
                    <a:pt x="1223" y="1417"/>
                    <a:pt x="1223" y="1417"/>
                  </a:cubicBezTo>
                  <a:cubicBezTo>
                    <a:pt x="1226" y="1416"/>
                    <a:pt x="1226" y="1416"/>
                    <a:pt x="1226" y="1416"/>
                  </a:cubicBezTo>
                  <a:cubicBezTo>
                    <a:pt x="1232" y="1419"/>
                    <a:pt x="1232" y="1419"/>
                    <a:pt x="1232" y="1419"/>
                  </a:cubicBezTo>
                  <a:cubicBezTo>
                    <a:pt x="1234" y="1423"/>
                    <a:pt x="1234" y="1423"/>
                    <a:pt x="1234" y="1423"/>
                  </a:cubicBezTo>
                  <a:cubicBezTo>
                    <a:pt x="1236" y="1424"/>
                    <a:pt x="1236" y="1424"/>
                    <a:pt x="1236" y="1424"/>
                  </a:cubicBezTo>
                  <a:cubicBezTo>
                    <a:pt x="1246" y="1433"/>
                    <a:pt x="1246" y="1433"/>
                    <a:pt x="1246" y="1433"/>
                  </a:cubicBezTo>
                  <a:cubicBezTo>
                    <a:pt x="1248" y="1450"/>
                    <a:pt x="1248" y="1450"/>
                    <a:pt x="1248" y="1450"/>
                  </a:cubicBezTo>
                  <a:cubicBezTo>
                    <a:pt x="1256" y="1460"/>
                    <a:pt x="1256" y="1460"/>
                    <a:pt x="1256" y="1460"/>
                  </a:cubicBezTo>
                  <a:cubicBezTo>
                    <a:pt x="1267" y="1469"/>
                    <a:pt x="1267" y="1469"/>
                    <a:pt x="1267" y="1469"/>
                  </a:cubicBezTo>
                  <a:cubicBezTo>
                    <a:pt x="1267" y="1477"/>
                    <a:pt x="1267" y="1477"/>
                    <a:pt x="1267" y="1477"/>
                  </a:cubicBezTo>
                  <a:cubicBezTo>
                    <a:pt x="1269" y="1485"/>
                    <a:pt x="1269" y="1485"/>
                    <a:pt x="1269" y="1485"/>
                  </a:cubicBezTo>
                  <a:cubicBezTo>
                    <a:pt x="1272" y="1492"/>
                    <a:pt x="1272" y="1492"/>
                    <a:pt x="1272" y="1492"/>
                  </a:cubicBezTo>
                  <a:cubicBezTo>
                    <a:pt x="1273" y="1496"/>
                    <a:pt x="1273" y="1496"/>
                    <a:pt x="1273" y="1496"/>
                  </a:cubicBezTo>
                  <a:cubicBezTo>
                    <a:pt x="1276" y="1497"/>
                    <a:pt x="1276" y="1497"/>
                    <a:pt x="1276" y="1497"/>
                  </a:cubicBezTo>
                  <a:cubicBezTo>
                    <a:pt x="1281" y="1500"/>
                    <a:pt x="1281" y="1500"/>
                    <a:pt x="1281" y="1500"/>
                  </a:cubicBezTo>
                  <a:cubicBezTo>
                    <a:pt x="1290" y="1506"/>
                    <a:pt x="1290" y="1506"/>
                    <a:pt x="1290" y="1506"/>
                  </a:cubicBezTo>
                  <a:cubicBezTo>
                    <a:pt x="1298" y="1507"/>
                    <a:pt x="1298" y="1507"/>
                    <a:pt x="1298" y="1507"/>
                  </a:cubicBezTo>
                  <a:cubicBezTo>
                    <a:pt x="1306" y="1512"/>
                    <a:pt x="1306" y="1512"/>
                    <a:pt x="1306" y="1512"/>
                  </a:cubicBezTo>
                  <a:cubicBezTo>
                    <a:pt x="1309" y="1509"/>
                    <a:pt x="1309" y="1509"/>
                    <a:pt x="1309" y="1509"/>
                  </a:cubicBezTo>
                  <a:cubicBezTo>
                    <a:pt x="1312" y="1509"/>
                    <a:pt x="1312" y="1509"/>
                    <a:pt x="1312" y="1509"/>
                  </a:cubicBezTo>
                  <a:cubicBezTo>
                    <a:pt x="1314" y="1507"/>
                    <a:pt x="1314" y="1507"/>
                    <a:pt x="1314" y="1507"/>
                  </a:cubicBezTo>
                  <a:cubicBezTo>
                    <a:pt x="1309" y="1502"/>
                    <a:pt x="1309" y="1502"/>
                    <a:pt x="1309" y="1502"/>
                  </a:cubicBezTo>
                  <a:cubicBezTo>
                    <a:pt x="1312" y="1481"/>
                    <a:pt x="1312" y="1481"/>
                    <a:pt x="1312" y="1481"/>
                  </a:cubicBezTo>
                  <a:cubicBezTo>
                    <a:pt x="1315" y="1474"/>
                    <a:pt x="1315" y="1474"/>
                    <a:pt x="1315" y="1474"/>
                  </a:cubicBezTo>
                  <a:cubicBezTo>
                    <a:pt x="1313" y="1469"/>
                    <a:pt x="1313" y="1469"/>
                    <a:pt x="1313" y="1469"/>
                  </a:cubicBezTo>
                  <a:cubicBezTo>
                    <a:pt x="1316" y="1467"/>
                    <a:pt x="1316" y="1467"/>
                    <a:pt x="1316" y="1467"/>
                  </a:cubicBezTo>
                  <a:cubicBezTo>
                    <a:pt x="1318" y="1461"/>
                    <a:pt x="1318" y="1461"/>
                    <a:pt x="1318" y="1461"/>
                  </a:cubicBezTo>
                  <a:cubicBezTo>
                    <a:pt x="1317" y="1455"/>
                    <a:pt x="1317" y="1455"/>
                    <a:pt x="1317" y="1455"/>
                  </a:cubicBezTo>
                  <a:cubicBezTo>
                    <a:pt x="1321" y="1455"/>
                    <a:pt x="1321" y="1455"/>
                    <a:pt x="1321" y="1455"/>
                  </a:cubicBezTo>
                  <a:cubicBezTo>
                    <a:pt x="1325" y="1451"/>
                    <a:pt x="1325" y="1451"/>
                    <a:pt x="1325" y="1451"/>
                  </a:cubicBezTo>
                  <a:cubicBezTo>
                    <a:pt x="1324" y="1445"/>
                    <a:pt x="1324" y="1445"/>
                    <a:pt x="1324" y="1445"/>
                  </a:cubicBezTo>
                  <a:cubicBezTo>
                    <a:pt x="1331" y="1446"/>
                    <a:pt x="1331" y="1446"/>
                    <a:pt x="1331" y="1446"/>
                  </a:cubicBezTo>
                  <a:cubicBezTo>
                    <a:pt x="1333" y="1441"/>
                    <a:pt x="1333" y="1441"/>
                    <a:pt x="1333" y="1441"/>
                  </a:cubicBezTo>
                  <a:cubicBezTo>
                    <a:pt x="1341" y="1440"/>
                    <a:pt x="1341" y="1440"/>
                    <a:pt x="1341" y="1440"/>
                  </a:cubicBezTo>
                  <a:cubicBezTo>
                    <a:pt x="1338" y="1437"/>
                    <a:pt x="1338" y="1437"/>
                    <a:pt x="1338" y="1437"/>
                  </a:cubicBezTo>
                  <a:cubicBezTo>
                    <a:pt x="1342" y="1434"/>
                    <a:pt x="1342" y="1434"/>
                    <a:pt x="1342" y="1434"/>
                  </a:cubicBezTo>
                  <a:cubicBezTo>
                    <a:pt x="1345" y="1433"/>
                    <a:pt x="1345" y="1433"/>
                    <a:pt x="1345" y="1433"/>
                  </a:cubicBezTo>
                  <a:cubicBezTo>
                    <a:pt x="1346" y="1435"/>
                    <a:pt x="1346" y="1435"/>
                    <a:pt x="1346" y="1435"/>
                  </a:cubicBezTo>
                  <a:cubicBezTo>
                    <a:pt x="1370" y="1424"/>
                    <a:pt x="1370" y="1424"/>
                    <a:pt x="1370" y="1424"/>
                  </a:cubicBezTo>
                  <a:cubicBezTo>
                    <a:pt x="1371" y="1420"/>
                    <a:pt x="1371" y="1420"/>
                    <a:pt x="1371" y="1420"/>
                  </a:cubicBezTo>
                  <a:cubicBezTo>
                    <a:pt x="1382" y="1422"/>
                    <a:pt x="1382" y="1422"/>
                    <a:pt x="1382" y="1422"/>
                  </a:cubicBezTo>
                  <a:cubicBezTo>
                    <a:pt x="1380" y="1418"/>
                    <a:pt x="1380" y="1418"/>
                    <a:pt x="1380" y="1418"/>
                  </a:cubicBezTo>
                  <a:cubicBezTo>
                    <a:pt x="1380" y="1416"/>
                    <a:pt x="1380" y="1416"/>
                    <a:pt x="1380" y="1416"/>
                  </a:cubicBezTo>
                  <a:cubicBezTo>
                    <a:pt x="1385" y="1414"/>
                    <a:pt x="1385" y="1414"/>
                    <a:pt x="1385" y="1414"/>
                  </a:cubicBezTo>
                  <a:cubicBezTo>
                    <a:pt x="1386" y="1416"/>
                    <a:pt x="1386" y="1416"/>
                    <a:pt x="1386" y="1416"/>
                  </a:cubicBezTo>
                  <a:cubicBezTo>
                    <a:pt x="1391" y="1418"/>
                    <a:pt x="1391" y="1418"/>
                    <a:pt x="1391" y="1418"/>
                  </a:cubicBezTo>
                  <a:cubicBezTo>
                    <a:pt x="1423" y="1431"/>
                    <a:pt x="1423" y="1431"/>
                    <a:pt x="1423" y="1431"/>
                  </a:cubicBezTo>
                  <a:cubicBezTo>
                    <a:pt x="1430" y="1429"/>
                    <a:pt x="1430" y="1429"/>
                    <a:pt x="1430" y="1429"/>
                  </a:cubicBezTo>
                  <a:cubicBezTo>
                    <a:pt x="1439" y="1428"/>
                    <a:pt x="1439" y="1428"/>
                    <a:pt x="1439" y="1428"/>
                  </a:cubicBezTo>
                  <a:cubicBezTo>
                    <a:pt x="1447" y="1427"/>
                    <a:pt x="1447" y="1427"/>
                    <a:pt x="1447" y="1427"/>
                  </a:cubicBezTo>
                  <a:cubicBezTo>
                    <a:pt x="1452" y="1428"/>
                    <a:pt x="1452" y="1428"/>
                    <a:pt x="1452" y="1428"/>
                  </a:cubicBezTo>
                  <a:cubicBezTo>
                    <a:pt x="1465" y="1431"/>
                    <a:pt x="1465" y="1431"/>
                    <a:pt x="1465" y="1431"/>
                  </a:cubicBezTo>
                  <a:cubicBezTo>
                    <a:pt x="1474" y="1431"/>
                    <a:pt x="1474" y="1431"/>
                    <a:pt x="1474" y="1431"/>
                  </a:cubicBezTo>
                  <a:cubicBezTo>
                    <a:pt x="1474" y="1428"/>
                    <a:pt x="1474" y="1428"/>
                    <a:pt x="1474" y="1428"/>
                  </a:cubicBezTo>
                  <a:cubicBezTo>
                    <a:pt x="1479" y="1424"/>
                    <a:pt x="1479" y="1424"/>
                    <a:pt x="1479" y="1424"/>
                  </a:cubicBezTo>
                  <a:cubicBezTo>
                    <a:pt x="1481" y="1426"/>
                    <a:pt x="1481" y="1426"/>
                    <a:pt x="1481" y="1426"/>
                  </a:cubicBezTo>
                  <a:cubicBezTo>
                    <a:pt x="1485" y="1426"/>
                    <a:pt x="1485" y="1426"/>
                    <a:pt x="1485" y="1426"/>
                  </a:cubicBezTo>
                  <a:cubicBezTo>
                    <a:pt x="1490" y="1431"/>
                    <a:pt x="1490" y="1431"/>
                    <a:pt x="1490" y="1431"/>
                  </a:cubicBezTo>
                  <a:cubicBezTo>
                    <a:pt x="1496" y="1433"/>
                    <a:pt x="1496" y="1433"/>
                    <a:pt x="1496" y="1433"/>
                  </a:cubicBezTo>
                  <a:cubicBezTo>
                    <a:pt x="1500" y="1439"/>
                    <a:pt x="1500" y="1439"/>
                    <a:pt x="1500" y="1439"/>
                  </a:cubicBezTo>
                  <a:cubicBezTo>
                    <a:pt x="1505" y="1440"/>
                    <a:pt x="1505" y="1440"/>
                    <a:pt x="1505" y="1440"/>
                  </a:cubicBezTo>
                  <a:cubicBezTo>
                    <a:pt x="1507" y="1443"/>
                    <a:pt x="1507" y="1443"/>
                    <a:pt x="1507" y="1443"/>
                  </a:cubicBezTo>
                  <a:cubicBezTo>
                    <a:pt x="1510" y="1441"/>
                    <a:pt x="1510" y="1441"/>
                    <a:pt x="1510" y="1441"/>
                  </a:cubicBezTo>
                  <a:cubicBezTo>
                    <a:pt x="1514" y="1438"/>
                    <a:pt x="1514" y="1438"/>
                    <a:pt x="1514" y="1438"/>
                  </a:cubicBezTo>
                  <a:cubicBezTo>
                    <a:pt x="1518" y="1438"/>
                    <a:pt x="1518" y="1438"/>
                    <a:pt x="1518" y="1438"/>
                  </a:cubicBezTo>
                  <a:cubicBezTo>
                    <a:pt x="1522" y="1442"/>
                    <a:pt x="1522" y="1442"/>
                    <a:pt x="1522" y="1442"/>
                  </a:cubicBezTo>
                  <a:cubicBezTo>
                    <a:pt x="1526" y="1439"/>
                    <a:pt x="1526" y="1439"/>
                    <a:pt x="1526" y="1439"/>
                  </a:cubicBezTo>
                  <a:cubicBezTo>
                    <a:pt x="1526" y="1436"/>
                    <a:pt x="1526" y="1436"/>
                    <a:pt x="1526" y="1436"/>
                  </a:cubicBezTo>
                  <a:cubicBezTo>
                    <a:pt x="1527" y="1433"/>
                    <a:pt x="1527" y="1433"/>
                    <a:pt x="1527" y="1433"/>
                  </a:cubicBezTo>
                  <a:cubicBezTo>
                    <a:pt x="1530" y="1432"/>
                    <a:pt x="1530" y="1432"/>
                    <a:pt x="1530" y="1432"/>
                  </a:cubicBezTo>
                  <a:cubicBezTo>
                    <a:pt x="1531" y="1435"/>
                    <a:pt x="1531" y="1435"/>
                    <a:pt x="1531" y="1435"/>
                  </a:cubicBezTo>
                  <a:cubicBezTo>
                    <a:pt x="1542" y="1440"/>
                    <a:pt x="1542" y="1440"/>
                    <a:pt x="1542" y="1440"/>
                  </a:cubicBezTo>
                  <a:cubicBezTo>
                    <a:pt x="1542" y="1444"/>
                    <a:pt x="1542" y="1444"/>
                    <a:pt x="1542" y="1444"/>
                  </a:cubicBezTo>
                  <a:cubicBezTo>
                    <a:pt x="1550" y="1441"/>
                    <a:pt x="1550" y="1441"/>
                    <a:pt x="1550" y="1441"/>
                  </a:cubicBezTo>
                  <a:cubicBezTo>
                    <a:pt x="1551" y="1438"/>
                    <a:pt x="1551" y="1438"/>
                    <a:pt x="1551" y="1438"/>
                  </a:cubicBezTo>
                  <a:cubicBezTo>
                    <a:pt x="1536" y="1432"/>
                    <a:pt x="1536" y="1432"/>
                    <a:pt x="1536" y="1432"/>
                  </a:cubicBezTo>
                  <a:cubicBezTo>
                    <a:pt x="1537" y="1427"/>
                    <a:pt x="1537" y="1427"/>
                    <a:pt x="1537" y="1427"/>
                  </a:cubicBezTo>
                  <a:cubicBezTo>
                    <a:pt x="1545" y="1420"/>
                    <a:pt x="1545" y="1420"/>
                    <a:pt x="1545" y="1420"/>
                  </a:cubicBezTo>
                  <a:cubicBezTo>
                    <a:pt x="1545" y="1414"/>
                    <a:pt x="1545" y="1414"/>
                    <a:pt x="1545" y="1414"/>
                  </a:cubicBezTo>
                  <a:cubicBezTo>
                    <a:pt x="1544" y="1413"/>
                    <a:pt x="1544" y="1413"/>
                    <a:pt x="1544" y="1413"/>
                  </a:cubicBezTo>
                  <a:cubicBezTo>
                    <a:pt x="1538" y="1416"/>
                    <a:pt x="1538" y="1416"/>
                    <a:pt x="1538" y="1416"/>
                  </a:cubicBezTo>
                  <a:cubicBezTo>
                    <a:pt x="1536" y="1417"/>
                    <a:pt x="1536" y="1417"/>
                    <a:pt x="1536" y="1417"/>
                  </a:cubicBezTo>
                  <a:cubicBezTo>
                    <a:pt x="1534" y="1420"/>
                    <a:pt x="1534" y="1420"/>
                    <a:pt x="1534" y="1420"/>
                  </a:cubicBezTo>
                  <a:cubicBezTo>
                    <a:pt x="1532" y="1419"/>
                    <a:pt x="1532" y="1419"/>
                    <a:pt x="1532" y="1419"/>
                  </a:cubicBezTo>
                  <a:cubicBezTo>
                    <a:pt x="1531" y="1417"/>
                    <a:pt x="1531" y="1417"/>
                    <a:pt x="1531" y="1417"/>
                  </a:cubicBezTo>
                  <a:cubicBezTo>
                    <a:pt x="1533" y="1414"/>
                    <a:pt x="1533" y="1414"/>
                    <a:pt x="1533" y="1414"/>
                  </a:cubicBezTo>
                  <a:cubicBezTo>
                    <a:pt x="1528" y="1414"/>
                    <a:pt x="1528" y="1414"/>
                    <a:pt x="1528" y="1414"/>
                  </a:cubicBezTo>
                  <a:cubicBezTo>
                    <a:pt x="1524" y="1416"/>
                    <a:pt x="1524" y="1416"/>
                    <a:pt x="1524" y="1416"/>
                  </a:cubicBezTo>
                  <a:cubicBezTo>
                    <a:pt x="1520" y="1417"/>
                    <a:pt x="1520" y="1417"/>
                    <a:pt x="1520" y="1417"/>
                  </a:cubicBezTo>
                  <a:cubicBezTo>
                    <a:pt x="1516" y="1415"/>
                    <a:pt x="1516" y="1415"/>
                    <a:pt x="1516" y="1415"/>
                  </a:cubicBezTo>
                  <a:cubicBezTo>
                    <a:pt x="1516" y="1413"/>
                    <a:pt x="1516" y="1413"/>
                    <a:pt x="1516" y="1413"/>
                  </a:cubicBezTo>
                  <a:cubicBezTo>
                    <a:pt x="1518" y="1409"/>
                    <a:pt x="1518" y="1409"/>
                    <a:pt x="1518" y="1409"/>
                  </a:cubicBezTo>
                  <a:cubicBezTo>
                    <a:pt x="1522" y="1408"/>
                    <a:pt x="1522" y="1408"/>
                    <a:pt x="1522" y="1408"/>
                  </a:cubicBezTo>
                  <a:cubicBezTo>
                    <a:pt x="1529" y="1411"/>
                    <a:pt x="1529" y="1411"/>
                    <a:pt x="1529" y="1411"/>
                  </a:cubicBezTo>
                  <a:cubicBezTo>
                    <a:pt x="1535" y="1411"/>
                    <a:pt x="1535" y="1411"/>
                    <a:pt x="1535" y="1411"/>
                  </a:cubicBezTo>
                  <a:cubicBezTo>
                    <a:pt x="1539" y="1411"/>
                    <a:pt x="1539" y="1411"/>
                    <a:pt x="1539" y="1411"/>
                  </a:cubicBezTo>
                  <a:cubicBezTo>
                    <a:pt x="1542" y="1408"/>
                    <a:pt x="1542" y="1408"/>
                    <a:pt x="1542" y="1408"/>
                  </a:cubicBezTo>
                  <a:cubicBezTo>
                    <a:pt x="1547" y="1407"/>
                    <a:pt x="1547" y="1407"/>
                    <a:pt x="1547" y="1407"/>
                  </a:cubicBezTo>
                  <a:cubicBezTo>
                    <a:pt x="1554" y="1406"/>
                    <a:pt x="1554" y="1406"/>
                    <a:pt x="1554" y="1406"/>
                  </a:cubicBezTo>
                  <a:cubicBezTo>
                    <a:pt x="1557" y="1407"/>
                    <a:pt x="1557" y="1407"/>
                    <a:pt x="1557" y="1407"/>
                  </a:cubicBezTo>
                  <a:cubicBezTo>
                    <a:pt x="1560" y="1406"/>
                    <a:pt x="1560" y="1406"/>
                    <a:pt x="1560" y="1406"/>
                  </a:cubicBezTo>
                  <a:cubicBezTo>
                    <a:pt x="1563" y="1407"/>
                    <a:pt x="1563" y="1407"/>
                    <a:pt x="1563" y="1407"/>
                  </a:cubicBezTo>
                  <a:cubicBezTo>
                    <a:pt x="1566" y="1405"/>
                    <a:pt x="1566" y="1405"/>
                    <a:pt x="1566" y="1405"/>
                  </a:cubicBezTo>
                  <a:cubicBezTo>
                    <a:pt x="1570" y="1406"/>
                    <a:pt x="1570" y="1406"/>
                    <a:pt x="1570" y="1406"/>
                  </a:cubicBezTo>
                  <a:cubicBezTo>
                    <a:pt x="1571" y="1401"/>
                    <a:pt x="1571" y="1401"/>
                    <a:pt x="1571" y="1401"/>
                  </a:cubicBezTo>
                  <a:cubicBezTo>
                    <a:pt x="1573" y="1396"/>
                    <a:pt x="1573" y="1396"/>
                    <a:pt x="1573" y="1396"/>
                  </a:cubicBezTo>
                  <a:cubicBezTo>
                    <a:pt x="1576" y="1398"/>
                    <a:pt x="1576" y="1398"/>
                    <a:pt x="1576" y="1398"/>
                  </a:cubicBezTo>
                  <a:cubicBezTo>
                    <a:pt x="1576" y="1403"/>
                    <a:pt x="1576" y="1403"/>
                    <a:pt x="1576" y="1403"/>
                  </a:cubicBezTo>
                  <a:cubicBezTo>
                    <a:pt x="1578" y="1407"/>
                    <a:pt x="1578" y="1407"/>
                    <a:pt x="1578" y="1407"/>
                  </a:cubicBezTo>
                  <a:cubicBezTo>
                    <a:pt x="1582" y="1407"/>
                    <a:pt x="1582" y="1407"/>
                    <a:pt x="1582" y="1407"/>
                  </a:cubicBezTo>
                  <a:cubicBezTo>
                    <a:pt x="1587" y="1404"/>
                    <a:pt x="1587" y="1404"/>
                    <a:pt x="1587" y="1404"/>
                  </a:cubicBezTo>
                  <a:cubicBezTo>
                    <a:pt x="1588" y="1406"/>
                    <a:pt x="1588" y="1406"/>
                    <a:pt x="1588" y="1406"/>
                  </a:cubicBezTo>
                  <a:cubicBezTo>
                    <a:pt x="1591" y="1404"/>
                    <a:pt x="1591" y="1404"/>
                    <a:pt x="1591" y="1404"/>
                  </a:cubicBezTo>
                  <a:cubicBezTo>
                    <a:pt x="1595" y="1400"/>
                    <a:pt x="1595" y="1400"/>
                    <a:pt x="1595" y="1400"/>
                  </a:cubicBezTo>
                  <a:cubicBezTo>
                    <a:pt x="1598" y="1400"/>
                    <a:pt x="1598" y="1400"/>
                    <a:pt x="1598" y="1400"/>
                  </a:cubicBezTo>
                  <a:cubicBezTo>
                    <a:pt x="1598" y="1403"/>
                    <a:pt x="1598" y="1403"/>
                    <a:pt x="1598" y="1403"/>
                  </a:cubicBezTo>
                  <a:cubicBezTo>
                    <a:pt x="1612" y="1399"/>
                    <a:pt x="1612" y="1399"/>
                    <a:pt x="1612" y="1399"/>
                  </a:cubicBezTo>
                  <a:cubicBezTo>
                    <a:pt x="1614" y="1402"/>
                    <a:pt x="1614" y="1402"/>
                    <a:pt x="1614" y="1402"/>
                  </a:cubicBezTo>
                  <a:cubicBezTo>
                    <a:pt x="1620" y="1403"/>
                    <a:pt x="1620" y="1403"/>
                    <a:pt x="1620" y="1403"/>
                  </a:cubicBezTo>
                  <a:cubicBezTo>
                    <a:pt x="1628" y="1407"/>
                    <a:pt x="1628" y="1407"/>
                    <a:pt x="1628" y="1407"/>
                  </a:cubicBezTo>
                  <a:cubicBezTo>
                    <a:pt x="1630" y="1405"/>
                    <a:pt x="1630" y="1405"/>
                    <a:pt x="1630" y="1405"/>
                  </a:cubicBezTo>
                  <a:cubicBezTo>
                    <a:pt x="1635" y="1409"/>
                    <a:pt x="1635" y="1409"/>
                    <a:pt x="1635" y="1409"/>
                  </a:cubicBezTo>
                  <a:cubicBezTo>
                    <a:pt x="1639" y="1413"/>
                    <a:pt x="1639" y="1413"/>
                    <a:pt x="1639" y="1413"/>
                  </a:cubicBezTo>
                  <a:cubicBezTo>
                    <a:pt x="1639" y="1418"/>
                    <a:pt x="1639" y="1418"/>
                    <a:pt x="1639" y="1418"/>
                  </a:cubicBezTo>
                  <a:cubicBezTo>
                    <a:pt x="1646" y="1417"/>
                    <a:pt x="1646" y="1417"/>
                    <a:pt x="1646" y="1417"/>
                  </a:cubicBezTo>
                  <a:cubicBezTo>
                    <a:pt x="1649" y="1415"/>
                    <a:pt x="1649" y="1415"/>
                    <a:pt x="1649" y="1415"/>
                  </a:cubicBezTo>
                  <a:cubicBezTo>
                    <a:pt x="1652" y="1415"/>
                    <a:pt x="1652" y="1415"/>
                    <a:pt x="1652" y="1415"/>
                  </a:cubicBezTo>
                  <a:cubicBezTo>
                    <a:pt x="1659" y="1410"/>
                    <a:pt x="1659" y="1410"/>
                    <a:pt x="1659" y="1410"/>
                  </a:cubicBezTo>
                  <a:cubicBezTo>
                    <a:pt x="1663" y="1410"/>
                    <a:pt x="1663" y="1410"/>
                    <a:pt x="1663" y="1410"/>
                  </a:cubicBezTo>
                  <a:cubicBezTo>
                    <a:pt x="1664" y="1406"/>
                    <a:pt x="1664" y="1406"/>
                    <a:pt x="1664" y="1406"/>
                  </a:cubicBezTo>
                  <a:cubicBezTo>
                    <a:pt x="1667" y="1404"/>
                    <a:pt x="1667" y="1404"/>
                    <a:pt x="1667" y="1404"/>
                  </a:cubicBezTo>
                  <a:cubicBezTo>
                    <a:pt x="1673" y="1405"/>
                    <a:pt x="1673" y="1405"/>
                    <a:pt x="1673" y="1405"/>
                  </a:cubicBezTo>
                  <a:cubicBezTo>
                    <a:pt x="1680" y="1408"/>
                    <a:pt x="1680" y="1408"/>
                    <a:pt x="1680" y="1408"/>
                  </a:cubicBezTo>
                  <a:cubicBezTo>
                    <a:pt x="1683" y="1410"/>
                    <a:pt x="1683" y="1410"/>
                    <a:pt x="1683" y="1410"/>
                  </a:cubicBezTo>
                  <a:cubicBezTo>
                    <a:pt x="1688" y="1417"/>
                    <a:pt x="1688" y="1417"/>
                    <a:pt x="1688" y="1417"/>
                  </a:cubicBezTo>
                  <a:cubicBezTo>
                    <a:pt x="1693" y="1420"/>
                    <a:pt x="1693" y="1420"/>
                    <a:pt x="1693" y="1420"/>
                  </a:cubicBezTo>
                  <a:cubicBezTo>
                    <a:pt x="1697" y="1425"/>
                    <a:pt x="1697" y="1425"/>
                    <a:pt x="1697" y="1425"/>
                  </a:cubicBezTo>
                  <a:cubicBezTo>
                    <a:pt x="1704" y="1425"/>
                    <a:pt x="1704" y="1425"/>
                    <a:pt x="1704" y="1425"/>
                  </a:cubicBezTo>
                  <a:cubicBezTo>
                    <a:pt x="1710" y="1436"/>
                    <a:pt x="1710" y="1436"/>
                    <a:pt x="1710" y="1436"/>
                  </a:cubicBezTo>
                  <a:cubicBezTo>
                    <a:pt x="1709" y="1447"/>
                    <a:pt x="1709" y="1447"/>
                    <a:pt x="1709" y="1447"/>
                  </a:cubicBezTo>
                  <a:cubicBezTo>
                    <a:pt x="1708" y="1457"/>
                    <a:pt x="1708" y="1457"/>
                    <a:pt x="1708" y="1457"/>
                  </a:cubicBezTo>
                  <a:cubicBezTo>
                    <a:pt x="1711" y="1462"/>
                    <a:pt x="1711" y="1462"/>
                    <a:pt x="1711" y="1462"/>
                  </a:cubicBezTo>
                  <a:cubicBezTo>
                    <a:pt x="1714" y="1460"/>
                    <a:pt x="1714" y="1460"/>
                    <a:pt x="1714" y="1460"/>
                  </a:cubicBezTo>
                  <a:cubicBezTo>
                    <a:pt x="1713" y="1456"/>
                    <a:pt x="1713" y="1456"/>
                    <a:pt x="1713" y="1456"/>
                  </a:cubicBezTo>
                  <a:cubicBezTo>
                    <a:pt x="1717" y="1457"/>
                    <a:pt x="1717" y="1457"/>
                    <a:pt x="1717" y="1457"/>
                  </a:cubicBezTo>
                  <a:cubicBezTo>
                    <a:pt x="1719" y="1460"/>
                    <a:pt x="1719" y="1460"/>
                    <a:pt x="1719" y="1460"/>
                  </a:cubicBezTo>
                  <a:cubicBezTo>
                    <a:pt x="1714" y="1468"/>
                    <a:pt x="1714" y="1468"/>
                    <a:pt x="1714" y="1468"/>
                  </a:cubicBezTo>
                  <a:cubicBezTo>
                    <a:pt x="1719" y="1473"/>
                    <a:pt x="1719" y="1473"/>
                    <a:pt x="1719" y="1473"/>
                  </a:cubicBezTo>
                  <a:cubicBezTo>
                    <a:pt x="1722" y="1481"/>
                    <a:pt x="1722" y="1481"/>
                    <a:pt x="1722" y="1481"/>
                  </a:cubicBezTo>
                  <a:cubicBezTo>
                    <a:pt x="1728" y="1483"/>
                    <a:pt x="1728" y="1483"/>
                    <a:pt x="1728" y="1483"/>
                  </a:cubicBezTo>
                  <a:cubicBezTo>
                    <a:pt x="1731" y="1481"/>
                    <a:pt x="1731" y="1481"/>
                    <a:pt x="1731" y="1481"/>
                  </a:cubicBezTo>
                  <a:cubicBezTo>
                    <a:pt x="1735" y="1491"/>
                    <a:pt x="1735" y="1491"/>
                    <a:pt x="1735" y="1491"/>
                  </a:cubicBezTo>
                  <a:cubicBezTo>
                    <a:pt x="1739" y="1492"/>
                    <a:pt x="1739" y="1492"/>
                    <a:pt x="1739" y="1492"/>
                  </a:cubicBezTo>
                  <a:cubicBezTo>
                    <a:pt x="1744" y="1505"/>
                    <a:pt x="1744" y="1505"/>
                    <a:pt x="1744" y="1505"/>
                  </a:cubicBezTo>
                  <a:cubicBezTo>
                    <a:pt x="1753" y="1507"/>
                    <a:pt x="1753" y="1507"/>
                    <a:pt x="1753" y="1507"/>
                  </a:cubicBezTo>
                  <a:cubicBezTo>
                    <a:pt x="1762" y="1516"/>
                    <a:pt x="1762" y="1516"/>
                    <a:pt x="1762" y="1516"/>
                  </a:cubicBezTo>
                  <a:cubicBezTo>
                    <a:pt x="1764" y="1518"/>
                    <a:pt x="1764" y="1518"/>
                    <a:pt x="1764" y="1518"/>
                  </a:cubicBezTo>
                  <a:cubicBezTo>
                    <a:pt x="1762" y="1520"/>
                    <a:pt x="1762" y="1520"/>
                    <a:pt x="1762" y="1520"/>
                  </a:cubicBezTo>
                  <a:cubicBezTo>
                    <a:pt x="1764" y="1522"/>
                    <a:pt x="1764" y="1522"/>
                    <a:pt x="1764" y="1522"/>
                  </a:cubicBezTo>
                  <a:cubicBezTo>
                    <a:pt x="1769" y="1521"/>
                    <a:pt x="1769" y="1521"/>
                    <a:pt x="1769" y="1521"/>
                  </a:cubicBezTo>
                  <a:cubicBezTo>
                    <a:pt x="1780" y="1517"/>
                    <a:pt x="1780" y="1517"/>
                    <a:pt x="1780" y="1517"/>
                  </a:cubicBezTo>
                  <a:cubicBezTo>
                    <a:pt x="1782" y="1514"/>
                    <a:pt x="1782" y="1514"/>
                    <a:pt x="1782" y="1514"/>
                  </a:cubicBezTo>
                  <a:cubicBezTo>
                    <a:pt x="1782" y="1508"/>
                    <a:pt x="1782" y="1508"/>
                    <a:pt x="1782" y="1508"/>
                  </a:cubicBezTo>
                  <a:cubicBezTo>
                    <a:pt x="1783" y="1502"/>
                    <a:pt x="1783" y="1502"/>
                    <a:pt x="1783" y="1502"/>
                  </a:cubicBezTo>
                  <a:cubicBezTo>
                    <a:pt x="1785" y="1502"/>
                    <a:pt x="1785" y="1502"/>
                    <a:pt x="1785" y="1502"/>
                  </a:cubicBezTo>
                  <a:cubicBezTo>
                    <a:pt x="1784" y="1498"/>
                    <a:pt x="1784" y="1498"/>
                    <a:pt x="1784" y="1498"/>
                  </a:cubicBezTo>
                  <a:cubicBezTo>
                    <a:pt x="1783" y="1492"/>
                    <a:pt x="1783" y="1492"/>
                    <a:pt x="1783" y="1492"/>
                  </a:cubicBezTo>
                  <a:cubicBezTo>
                    <a:pt x="1784" y="1489"/>
                    <a:pt x="1784" y="1489"/>
                    <a:pt x="1784" y="1489"/>
                  </a:cubicBezTo>
                  <a:cubicBezTo>
                    <a:pt x="1783" y="1478"/>
                    <a:pt x="1783" y="1478"/>
                    <a:pt x="1783" y="1478"/>
                  </a:cubicBezTo>
                  <a:cubicBezTo>
                    <a:pt x="1781" y="1473"/>
                    <a:pt x="1781" y="1473"/>
                    <a:pt x="1781" y="1473"/>
                  </a:cubicBezTo>
                  <a:cubicBezTo>
                    <a:pt x="1775" y="1466"/>
                    <a:pt x="1775" y="1466"/>
                    <a:pt x="1775" y="1466"/>
                  </a:cubicBezTo>
                  <a:cubicBezTo>
                    <a:pt x="1772" y="1461"/>
                    <a:pt x="1772" y="1461"/>
                    <a:pt x="1772" y="1461"/>
                  </a:cubicBezTo>
                  <a:cubicBezTo>
                    <a:pt x="1770" y="1455"/>
                    <a:pt x="1770" y="1455"/>
                    <a:pt x="1770" y="1455"/>
                  </a:cubicBezTo>
                  <a:cubicBezTo>
                    <a:pt x="1764" y="1448"/>
                    <a:pt x="1764" y="1448"/>
                    <a:pt x="1764" y="1448"/>
                  </a:cubicBezTo>
                  <a:cubicBezTo>
                    <a:pt x="1762" y="1444"/>
                    <a:pt x="1762" y="1444"/>
                    <a:pt x="1762" y="1444"/>
                  </a:cubicBezTo>
                  <a:cubicBezTo>
                    <a:pt x="1762" y="1439"/>
                    <a:pt x="1762" y="1439"/>
                    <a:pt x="1762" y="1439"/>
                  </a:cubicBezTo>
                  <a:cubicBezTo>
                    <a:pt x="1763" y="1437"/>
                    <a:pt x="1763" y="1437"/>
                    <a:pt x="1763" y="1437"/>
                  </a:cubicBezTo>
                  <a:cubicBezTo>
                    <a:pt x="1756" y="1426"/>
                    <a:pt x="1756" y="1426"/>
                    <a:pt x="1756" y="1426"/>
                  </a:cubicBezTo>
                  <a:cubicBezTo>
                    <a:pt x="1750" y="1423"/>
                    <a:pt x="1750" y="1423"/>
                    <a:pt x="1750" y="1423"/>
                  </a:cubicBezTo>
                  <a:cubicBezTo>
                    <a:pt x="1745" y="1416"/>
                    <a:pt x="1745" y="1416"/>
                    <a:pt x="1745" y="1416"/>
                  </a:cubicBezTo>
                  <a:cubicBezTo>
                    <a:pt x="1738" y="1405"/>
                    <a:pt x="1738" y="1405"/>
                    <a:pt x="1738" y="1405"/>
                  </a:cubicBezTo>
                  <a:cubicBezTo>
                    <a:pt x="1737" y="1400"/>
                    <a:pt x="1737" y="1400"/>
                    <a:pt x="1737" y="1400"/>
                  </a:cubicBezTo>
                  <a:cubicBezTo>
                    <a:pt x="1733" y="1391"/>
                    <a:pt x="1733" y="1391"/>
                    <a:pt x="1733" y="1391"/>
                  </a:cubicBezTo>
                  <a:cubicBezTo>
                    <a:pt x="1731" y="1388"/>
                    <a:pt x="1731" y="1388"/>
                    <a:pt x="1731" y="1388"/>
                  </a:cubicBezTo>
                  <a:cubicBezTo>
                    <a:pt x="1730" y="1381"/>
                    <a:pt x="1730" y="1381"/>
                    <a:pt x="1730" y="1381"/>
                  </a:cubicBezTo>
                  <a:cubicBezTo>
                    <a:pt x="1728" y="1373"/>
                    <a:pt x="1728" y="1373"/>
                    <a:pt x="1728" y="1373"/>
                  </a:cubicBezTo>
                  <a:cubicBezTo>
                    <a:pt x="1728" y="1368"/>
                    <a:pt x="1728" y="1368"/>
                    <a:pt x="1728" y="1368"/>
                  </a:cubicBezTo>
                  <a:cubicBezTo>
                    <a:pt x="1732" y="1360"/>
                    <a:pt x="1732" y="1360"/>
                    <a:pt x="1732" y="1360"/>
                  </a:cubicBezTo>
                  <a:cubicBezTo>
                    <a:pt x="1733" y="1356"/>
                    <a:pt x="1733" y="1356"/>
                    <a:pt x="1733" y="1356"/>
                  </a:cubicBezTo>
                  <a:cubicBezTo>
                    <a:pt x="1735" y="1351"/>
                    <a:pt x="1735" y="1351"/>
                    <a:pt x="1735" y="1351"/>
                  </a:cubicBezTo>
                  <a:cubicBezTo>
                    <a:pt x="1740" y="1346"/>
                    <a:pt x="1740" y="1346"/>
                    <a:pt x="1740" y="1346"/>
                  </a:cubicBezTo>
                  <a:cubicBezTo>
                    <a:pt x="1738" y="1344"/>
                    <a:pt x="1738" y="1344"/>
                    <a:pt x="1738" y="1344"/>
                  </a:cubicBezTo>
                  <a:cubicBezTo>
                    <a:pt x="1741" y="1340"/>
                    <a:pt x="1741" y="1340"/>
                    <a:pt x="1741" y="1340"/>
                  </a:cubicBezTo>
                  <a:cubicBezTo>
                    <a:pt x="1740" y="1336"/>
                    <a:pt x="1740" y="1336"/>
                    <a:pt x="1740" y="1336"/>
                  </a:cubicBezTo>
                  <a:cubicBezTo>
                    <a:pt x="1743" y="1336"/>
                    <a:pt x="1743" y="1336"/>
                    <a:pt x="1743" y="1336"/>
                  </a:cubicBezTo>
                  <a:cubicBezTo>
                    <a:pt x="1746" y="1331"/>
                    <a:pt x="1746" y="1331"/>
                    <a:pt x="1746" y="1331"/>
                  </a:cubicBezTo>
                  <a:cubicBezTo>
                    <a:pt x="1751" y="1329"/>
                    <a:pt x="1751" y="1329"/>
                    <a:pt x="1751" y="1329"/>
                  </a:cubicBezTo>
                  <a:cubicBezTo>
                    <a:pt x="1757" y="1325"/>
                    <a:pt x="1757" y="1325"/>
                    <a:pt x="1757" y="1325"/>
                  </a:cubicBezTo>
                  <a:cubicBezTo>
                    <a:pt x="1760" y="1320"/>
                    <a:pt x="1760" y="1320"/>
                    <a:pt x="1760" y="1320"/>
                  </a:cubicBezTo>
                  <a:cubicBezTo>
                    <a:pt x="1764" y="1319"/>
                    <a:pt x="1764" y="1319"/>
                    <a:pt x="1764" y="1319"/>
                  </a:cubicBezTo>
                  <a:cubicBezTo>
                    <a:pt x="1768" y="1312"/>
                    <a:pt x="1768" y="1312"/>
                    <a:pt x="1768" y="1312"/>
                  </a:cubicBezTo>
                  <a:cubicBezTo>
                    <a:pt x="1772" y="1311"/>
                    <a:pt x="1772" y="1311"/>
                    <a:pt x="1772" y="1311"/>
                  </a:cubicBezTo>
                  <a:cubicBezTo>
                    <a:pt x="1773" y="1304"/>
                    <a:pt x="1773" y="1304"/>
                    <a:pt x="1773" y="1304"/>
                  </a:cubicBezTo>
                  <a:cubicBezTo>
                    <a:pt x="1776" y="1296"/>
                    <a:pt x="1776" y="1296"/>
                    <a:pt x="1776" y="1296"/>
                  </a:cubicBezTo>
                  <a:cubicBezTo>
                    <a:pt x="1780" y="1292"/>
                    <a:pt x="1780" y="1292"/>
                    <a:pt x="1780" y="1292"/>
                  </a:cubicBezTo>
                  <a:cubicBezTo>
                    <a:pt x="1784" y="1289"/>
                    <a:pt x="1784" y="1289"/>
                    <a:pt x="1784" y="1289"/>
                  </a:cubicBezTo>
                  <a:cubicBezTo>
                    <a:pt x="1797" y="1287"/>
                    <a:pt x="1797" y="1287"/>
                    <a:pt x="1797" y="1287"/>
                  </a:cubicBezTo>
                  <a:cubicBezTo>
                    <a:pt x="1799" y="1283"/>
                    <a:pt x="1799" y="1283"/>
                    <a:pt x="1799" y="1283"/>
                  </a:cubicBezTo>
                  <a:cubicBezTo>
                    <a:pt x="1800" y="1276"/>
                    <a:pt x="1800" y="1276"/>
                    <a:pt x="1800" y="1276"/>
                  </a:cubicBezTo>
                  <a:cubicBezTo>
                    <a:pt x="1804" y="1271"/>
                    <a:pt x="1804" y="1271"/>
                    <a:pt x="1804" y="1271"/>
                  </a:cubicBezTo>
                  <a:cubicBezTo>
                    <a:pt x="1811" y="1266"/>
                    <a:pt x="1811" y="1266"/>
                    <a:pt x="1811" y="1266"/>
                  </a:cubicBezTo>
                  <a:cubicBezTo>
                    <a:pt x="1814" y="1260"/>
                    <a:pt x="1814" y="1260"/>
                    <a:pt x="1814" y="1260"/>
                  </a:cubicBezTo>
                  <a:cubicBezTo>
                    <a:pt x="1825" y="1259"/>
                    <a:pt x="1825" y="1259"/>
                    <a:pt x="1825" y="1259"/>
                  </a:cubicBezTo>
                  <a:cubicBezTo>
                    <a:pt x="1829" y="1253"/>
                    <a:pt x="1829" y="1253"/>
                    <a:pt x="1829" y="1253"/>
                  </a:cubicBezTo>
                  <a:cubicBezTo>
                    <a:pt x="1828" y="1251"/>
                    <a:pt x="1828" y="1251"/>
                    <a:pt x="1828" y="1251"/>
                  </a:cubicBezTo>
                  <a:cubicBezTo>
                    <a:pt x="1823" y="1254"/>
                    <a:pt x="1823" y="1254"/>
                    <a:pt x="1823" y="1254"/>
                  </a:cubicBezTo>
                  <a:cubicBezTo>
                    <a:pt x="1819" y="1252"/>
                    <a:pt x="1819" y="1252"/>
                    <a:pt x="1819" y="1252"/>
                  </a:cubicBezTo>
                  <a:cubicBezTo>
                    <a:pt x="1823" y="1249"/>
                    <a:pt x="1823" y="1249"/>
                    <a:pt x="1823" y="1249"/>
                  </a:cubicBezTo>
                  <a:cubicBezTo>
                    <a:pt x="1823" y="1245"/>
                    <a:pt x="1823" y="1245"/>
                    <a:pt x="1823" y="1245"/>
                  </a:cubicBezTo>
                  <a:cubicBezTo>
                    <a:pt x="1821" y="1243"/>
                    <a:pt x="1821" y="1243"/>
                    <a:pt x="1821" y="1243"/>
                  </a:cubicBezTo>
                  <a:cubicBezTo>
                    <a:pt x="1821" y="1239"/>
                    <a:pt x="1821" y="1239"/>
                    <a:pt x="1821" y="1239"/>
                  </a:cubicBezTo>
                  <a:cubicBezTo>
                    <a:pt x="1824" y="1242"/>
                    <a:pt x="1824" y="1242"/>
                    <a:pt x="1824" y="1242"/>
                  </a:cubicBezTo>
                  <a:cubicBezTo>
                    <a:pt x="1827" y="1242"/>
                    <a:pt x="1827" y="1242"/>
                    <a:pt x="1827" y="1242"/>
                  </a:cubicBezTo>
                  <a:cubicBezTo>
                    <a:pt x="1833" y="1241"/>
                    <a:pt x="1833" y="1241"/>
                    <a:pt x="1833" y="1241"/>
                  </a:cubicBezTo>
                  <a:cubicBezTo>
                    <a:pt x="1835" y="1237"/>
                    <a:pt x="1835" y="1237"/>
                    <a:pt x="1835" y="1237"/>
                  </a:cubicBezTo>
                  <a:cubicBezTo>
                    <a:pt x="1839" y="1235"/>
                    <a:pt x="1839" y="1235"/>
                    <a:pt x="1839" y="1235"/>
                  </a:cubicBezTo>
                  <a:cubicBezTo>
                    <a:pt x="1837" y="1226"/>
                    <a:pt x="1837" y="1226"/>
                    <a:pt x="1837" y="1226"/>
                  </a:cubicBezTo>
                  <a:cubicBezTo>
                    <a:pt x="1835" y="1227"/>
                    <a:pt x="1835" y="1227"/>
                    <a:pt x="1835" y="1227"/>
                  </a:cubicBezTo>
                  <a:cubicBezTo>
                    <a:pt x="1830" y="1230"/>
                    <a:pt x="1830" y="1230"/>
                    <a:pt x="1830" y="1230"/>
                  </a:cubicBezTo>
                  <a:cubicBezTo>
                    <a:pt x="1830" y="1226"/>
                    <a:pt x="1830" y="1226"/>
                    <a:pt x="1830" y="1226"/>
                  </a:cubicBezTo>
                  <a:cubicBezTo>
                    <a:pt x="1827" y="1225"/>
                    <a:pt x="1827" y="1225"/>
                    <a:pt x="1827" y="1225"/>
                  </a:cubicBezTo>
                  <a:cubicBezTo>
                    <a:pt x="1818" y="1228"/>
                    <a:pt x="1818" y="1228"/>
                    <a:pt x="1818" y="1228"/>
                  </a:cubicBezTo>
                  <a:cubicBezTo>
                    <a:pt x="1816" y="1229"/>
                    <a:pt x="1816" y="1229"/>
                    <a:pt x="1816" y="1229"/>
                  </a:cubicBezTo>
                  <a:cubicBezTo>
                    <a:pt x="1816" y="1226"/>
                    <a:pt x="1816" y="1226"/>
                    <a:pt x="1816" y="1226"/>
                  </a:cubicBezTo>
                  <a:cubicBezTo>
                    <a:pt x="1820" y="1224"/>
                    <a:pt x="1820" y="1224"/>
                    <a:pt x="1820" y="1224"/>
                  </a:cubicBezTo>
                  <a:cubicBezTo>
                    <a:pt x="1823" y="1222"/>
                    <a:pt x="1823" y="1222"/>
                    <a:pt x="1823" y="1222"/>
                  </a:cubicBezTo>
                  <a:cubicBezTo>
                    <a:pt x="1829" y="1220"/>
                    <a:pt x="1829" y="1220"/>
                    <a:pt x="1829" y="1220"/>
                  </a:cubicBezTo>
                  <a:cubicBezTo>
                    <a:pt x="1833" y="1219"/>
                    <a:pt x="1833" y="1219"/>
                    <a:pt x="1833" y="1219"/>
                  </a:cubicBezTo>
                  <a:cubicBezTo>
                    <a:pt x="1833" y="1215"/>
                    <a:pt x="1833" y="1215"/>
                    <a:pt x="1833" y="1215"/>
                  </a:cubicBezTo>
                  <a:cubicBezTo>
                    <a:pt x="1827" y="1211"/>
                    <a:pt x="1827" y="1211"/>
                    <a:pt x="1827" y="1211"/>
                  </a:cubicBezTo>
                  <a:cubicBezTo>
                    <a:pt x="1830" y="1207"/>
                    <a:pt x="1830" y="1207"/>
                    <a:pt x="1830" y="1207"/>
                  </a:cubicBezTo>
                  <a:cubicBezTo>
                    <a:pt x="1827" y="1200"/>
                    <a:pt x="1827" y="1200"/>
                    <a:pt x="1827" y="1200"/>
                  </a:cubicBezTo>
                  <a:cubicBezTo>
                    <a:pt x="1823" y="1200"/>
                    <a:pt x="1823" y="1200"/>
                    <a:pt x="1823" y="1200"/>
                  </a:cubicBezTo>
                  <a:cubicBezTo>
                    <a:pt x="1818" y="1202"/>
                    <a:pt x="1818" y="1202"/>
                    <a:pt x="1818" y="1202"/>
                  </a:cubicBezTo>
                  <a:cubicBezTo>
                    <a:pt x="1815" y="1199"/>
                    <a:pt x="1815" y="1199"/>
                    <a:pt x="1815" y="1199"/>
                  </a:cubicBezTo>
                  <a:cubicBezTo>
                    <a:pt x="1818" y="1196"/>
                    <a:pt x="1818" y="1196"/>
                    <a:pt x="1818" y="1196"/>
                  </a:cubicBezTo>
                  <a:cubicBezTo>
                    <a:pt x="1814" y="1192"/>
                    <a:pt x="1814" y="1192"/>
                    <a:pt x="1814" y="1192"/>
                  </a:cubicBezTo>
                  <a:cubicBezTo>
                    <a:pt x="1817" y="1189"/>
                    <a:pt x="1817" y="1189"/>
                    <a:pt x="1817" y="1189"/>
                  </a:cubicBezTo>
                  <a:cubicBezTo>
                    <a:pt x="1813" y="1183"/>
                    <a:pt x="1813" y="1183"/>
                    <a:pt x="1813" y="1183"/>
                  </a:cubicBezTo>
                  <a:cubicBezTo>
                    <a:pt x="1815" y="1176"/>
                    <a:pt x="1815" y="1176"/>
                    <a:pt x="1815" y="1176"/>
                  </a:cubicBezTo>
                  <a:cubicBezTo>
                    <a:pt x="1806" y="1171"/>
                    <a:pt x="1806" y="1171"/>
                    <a:pt x="1806" y="1171"/>
                  </a:cubicBezTo>
                  <a:cubicBezTo>
                    <a:pt x="1802" y="1171"/>
                    <a:pt x="1802" y="1171"/>
                    <a:pt x="1802" y="1171"/>
                  </a:cubicBezTo>
                  <a:cubicBezTo>
                    <a:pt x="1799" y="1168"/>
                    <a:pt x="1799" y="1168"/>
                    <a:pt x="1799" y="1168"/>
                  </a:cubicBezTo>
                  <a:cubicBezTo>
                    <a:pt x="1805" y="1167"/>
                    <a:pt x="1805" y="1167"/>
                    <a:pt x="1805" y="1167"/>
                  </a:cubicBezTo>
                  <a:cubicBezTo>
                    <a:pt x="1812" y="1170"/>
                    <a:pt x="1812" y="1170"/>
                    <a:pt x="1812" y="1170"/>
                  </a:cubicBezTo>
                  <a:cubicBezTo>
                    <a:pt x="1809" y="1163"/>
                    <a:pt x="1809" y="1163"/>
                    <a:pt x="1809" y="1163"/>
                  </a:cubicBezTo>
                  <a:cubicBezTo>
                    <a:pt x="1803" y="1153"/>
                    <a:pt x="1803" y="1153"/>
                    <a:pt x="1803" y="1153"/>
                  </a:cubicBezTo>
                  <a:cubicBezTo>
                    <a:pt x="1803" y="1141"/>
                    <a:pt x="1803" y="1141"/>
                    <a:pt x="1803" y="1141"/>
                  </a:cubicBezTo>
                  <a:cubicBezTo>
                    <a:pt x="1805" y="1136"/>
                    <a:pt x="1805" y="1136"/>
                    <a:pt x="1805" y="1136"/>
                  </a:cubicBezTo>
                  <a:cubicBezTo>
                    <a:pt x="1811" y="1131"/>
                    <a:pt x="1811" y="1131"/>
                    <a:pt x="1811" y="1131"/>
                  </a:cubicBezTo>
                  <a:cubicBezTo>
                    <a:pt x="1814" y="1132"/>
                    <a:pt x="1814" y="1132"/>
                    <a:pt x="1814" y="1132"/>
                  </a:cubicBezTo>
                  <a:cubicBezTo>
                    <a:pt x="1809" y="1140"/>
                    <a:pt x="1809" y="1140"/>
                    <a:pt x="1809" y="1140"/>
                  </a:cubicBezTo>
                  <a:cubicBezTo>
                    <a:pt x="1812" y="1148"/>
                    <a:pt x="1812" y="1148"/>
                    <a:pt x="1812" y="1148"/>
                  </a:cubicBezTo>
                  <a:cubicBezTo>
                    <a:pt x="1810" y="1151"/>
                    <a:pt x="1810" y="1151"/>
                    <a:pt x="1810" y="1151"/>
                  </a:cubicBezTo>
                  <a:cubicBezTo>
                    <a:pt x="1813" y="1155"/>
                    <a:pt x="1813" y="1155"/>
                    <a:pt x="1813" y="1155"/>
                  </a:cubicBezTo>
                  <a:cubicBezTo>
                    <a:pt x="1813" y="1162"/>
                    <a:pt x="1813" y="1162"/>
                    <a:pt x="1813" y="1162"/>
                  </a:cubicBezTo>
                  <a:cubicBezTo>
                    <a:pt x="1817" y="1165"/>
                    <a:pt x="1817" y="1165"/>
                    <a:pt x="1817" y="1165"/>
                  </a:cubicBezTo>
                  <a:cubicBezTo>
                    <a:pt x="1822" y="1165"/>
                    <a:pt x="1822" y="1165"/>
                    <a:pt x="1822" y="1165"/>
                  </a:cubicBezTo>
                  <a:cubicBezTo>
                    <a:pt x="1824" y="1170"/>
                    <a:pt x="1824" y="1170"/>
                    <a:pt x="1824" y="1170"/>
                  </a:cubicBezTo>
                  <a:cubicBezTo>
                    <a:pt x="1828" y="1171"/>
                    <a:pt x="1828" y="1171"/>
                    <a:pt x="1828" y="1171"/>
                  </a:cubicBezTo>
                  <a:cubicBezTo>
                    <a:pt x="1828" y="1176"/>
                    <a:pt x="1828" y="1176"/>
                    <a:pt x="1828" y="1176"/>
                  </a:cubicBezTo>
                  <a:cubicBezTo>
                    <a:pt x="1824" y="1182"/>
                    <a:pt x="1824" y="1182"/>
                    <a:pt x="1824" y="1182"/>
                  </a:cubicBezTo>
                  <a:cubicBezTo>
                    <a:pt x="1825" y="1192"/>
                    <a:pt x="1825" y="1192"/>
                    <a:pt x="1825" y="1192"/>
                  </a:cubicBezTo>
                  <a:cubicBezTo>
                    <a:pt x="1833" y="1177"/>
                    <a:pt x="1833" y="1177"/>
                    <a:pt x="1833" y="1177"/>
                  </a:cubicBezTo>
                  <a:cubicBezTo>
                    <a:pt x="1833" y="1174"/>
                    <a:pt x="1833" y="1174"/>
                    <a:pt x="1833" y="1174"/>
                  </a:cubicBezTo>
                  <a:cubicBezTo>
                    <a:pt x="1836" y="1169"/>
                    <a:pt x="1836" y="1169"/>
                    <a:pt x="1836" y="1169"/>
                  </a:cubicBezTo>
                  <a:cubicBezTo>
                    <a:pt x="1839" y="1156"/>
                    <a:pt x="1839" y="1156"/>
                    <a:pt x="1839" y="1156"/>
                  </a:cubicBezTo>
                  <a:cubicBezTo>
                    <a:pt x="1838" y="1150"/>
                    <a:pt x="1838" y="1150"/>
                    <a:pt x="1838" y="1150"/>
                  </a:cubicBezTo>
                  <a:cubicBezTo>
                    <a:pt x="1831" y="1145"/>
                    <a:pt x="1831" y="1145"/>
                    <a:pt x="1831" y="1145"/>
                  </a:cubicBezTo>
                  <a:cubicBezTo>
                    <a:pt x="1820" y="1129"/>
                    <a:pt x="1820" y="1129"/>
                    <a:pt x="1820" y="1129"/>
                  </a:cubicBezTo>
                  <a:cubicBezTo>
                    <a:pt x="1821" y="1126"/>
                    <a:pt x="1821" y="1126"/>
                    <a:pt x="1821" y="1126"/>
                  </a:cubicBezTo>
                  <a:cubicBezTo>
                    <a:pt x="1827" y="1133"/>
                    <a:pt x="1827" y="1133"/>
                    <a:pt x="1827" y="1133"/>
                  </a:cubicBezTo>
                  <a:cubicBezTo>
                    <a:pt x="1833" y="1136"/>
                    <a:pt x="1833" y="1136"/>
                    <a:pt x="1833" y="1136"/>
                  </a:cubicBezTo>
                  <a:cubicBezTo>
                    <a:pt x="1838" y="1137"/>
                    <a:pt x="1838" y="1137"/>
                    <a:pt x="1838" y="1137"/>
                  </a:cubicBezTo>
                  <a:cubicBezTo>
                    <a:pt x="1838" y="1141"/>
                    <a:pt x="1838" y="1141"/>
                    <a:pt x="1838" y="1141"/>
                  </a:cubicBezTo>
                  <a:cubicBezTo>
                    <a:pt x="1840" y="1143"/>
                    <a:pt x="1840" y="1143"/>
                    <a:pt x="1840" y="1143"/>
                  </a:cubicBezTo>
                  <a:cubicBezTo>
                    <a:pt x="1843" y="1135"/>
                    <a:pt x="1843" y="1135"/>
                    <a:pt x="1843" y="1135"/>
                  </a:cubicBezTo>
                  <a:cubicBezTo>
                    <a:pt x="1850" y="1123"/>
                    <a:pt x="1850" y="1123"/>
                    <a:pt x="1850" y="1123"/>
                  </a:cubicBezTo>
                  <a:cubicBezTo>
                    <a:pt x="1853" y="1116"/>
                    <a:pt x="1853" y="1116"/>
                    <a:pt x="1853" y="1116"/>
                  </a:cubicBezTo>
                  <a:cubicBezTo>
                    <a:pt x="1851" y="1102"/>
                    <a:pt x="1851" y="1102"/>
                    <a:pt x="1851" y="1102"/>
                  </a:cubicBezTo>
                  <a:cubicBezTo>
                    <a:pt x="1849" y="1099"/>
                    <a:pt x="1849" y="1099"/>
                    <a:pt x="1849" y="1099"/>
                  </a:cubicBezTo>
                  <a:cubicBezTo>
                    <a:pt x="1845" y="1101"/>
                    <a:pt x="1845" y="1101"/>
                    <a:pt x="1845" y="1101"/>
                  </a:cubicBezTo>
                  <a:cubicBezTo>
                    <a:pt x="1843" y="1099"/>
                    <a:pt x="1843" y="1099"/>
                    <a:pt x="1843" y="1099"/>
                  </a:cubicBezTo>
                  <a:cubicBezTo>
                    <a:pt x="1848" y="1097"/>
                    <a:pt x="1848" y="1097"/>
                    <a:pt x="1848" y="1097"/>
                  </a:cubicBezTo>
                  <a:cubicBezTo>
                    <a:pt x="1855" y="1096"/>
                    <a:pt x="1855" y="1096"/>
                    <a:pt x="1855" y="1096"/>
                  </a:cubicBezTo>
                  <a:cubicBezTo>
                    <a:pt x="1865" y="1093"/>
                    <a:pt x="1865" y="1093"/>
                    <a:pt x="1865" y="1093"/>
                  </a:cubicBezTo>
                  <a:cubicBezTo>
                    <a:pt x="1878" y="1083"/>
                    <a:pt x="1878" y="1083"/>
                    <a:pt x="1878" y="1083"/>
                  </a:cubicBezTo>
                  <a:cubicBezTo>
                    <a:pt x="1888" y="1079"/>
                    <a:pt x="1888" y="1079"/>
                    <a:pt x="1888" y="1079"/>
                  </a:cubicBezTo>
                  <a:cubicBezTo>
                    <a:pt x="1890" y="1075"/>
                    <a:pt x="1890" y="1075"/>
                    <a:pt x="1890" y="1075"/>
                  </a:cubicBezTo>
                  <a:cubicBezTo>
                    <a:pt x="1885" y="1075"/>
                    <a:pt x="1885" y="1075"/>
                    <a:pt x="1885" y="1075"/>
                  </a:cubicBezTo>
                  <a:cubicBezTo>
                    <a:pt x="1879" y="1074"/>
                    <a:pt x="1879" y="1074"/>
                    <a:pt x="1879" y="1074"/>
                  </a:cubicBezTo>
                  <a:cubicBezTo>
                    <a:pt x="1876" y="1078"/>
                    <a:pt x="1876" y="1078"/>
                    <a:pt x="1876" y="1078"/>
                  </a:cubicBezTo>
                  <a:cubicBezTo>
                    <a:pt x="1867" y="1081"/>
                    <a:pt x="1867" y="1081"/>
                    <a:pt x="1867" y="1081"/>
                  </a:cubicBezTo>
                  <a:cubicBezTo>
                    <a:pt x="1856" y="1086"/>
                    <a:pt x="1856" y="1086"/>
                    <a:pt x="1856" y="1086"/>
                  </a:cubicBezTo>
                  <a:cubicBezTo>
                    <a:pt x="1853" y="1090"/>
                    <a:pt x="1853" y="1090"/>
                    <a:pt x="1853" y="1090"/>
                  </a:cubicBezTo>
                  <a:cubicBezTo>
                    <a:pt x="1850" y="1087"/>
                    <a:pt x="1850" y="1087"/>
                    <a:pt x="1850" y="1087"/>
                  </a:cubicBezTo>
                  <a:cubicBezTo>
                    <a:pt x="1854" y="1083"/>
                    <a:pt x="1854" y="1083"/>
                    <a:pt x="1854" y="1083"/>
                  </a:cubicBezTo>
                  <a:cubicBezTo>
                    <a:pt x="1858" y="1081"/>
                    <a:pt x="1858" y="1081"/>
                    <a:pt x="1858" y="1081"/>
                  </a:cubicBezTo>
                  <a:cubicBezTo>
                    <a:pt x="1867" y="1073"/>
                    <a:pt x="1867" y="1073"/>
                    <a:pt x="1867" y="1073"/>
                  </a:cubicBezTo>
                  <a:cubicBezTo>
                    <a:pt x="1877" y="1071"/>
                    <a:pt x="1877" y="1071"/>
                    <a:pt x="1877" y="1071"/>
                  </a:cubicBezTo>
                  <a:cubicBezTo>
                    <a:pt x="1883" y="1068"/>
                    <a:pt x="1883" y="1068"/>
                    <a:pt x="1883" y="1068"/>
                  </a:cubicBezTo>
                  <a:cubicBezTo>
                    <a:pt x="1889" y="1068"/>
                    <a:pt x="1889" y="1068"/>
                    <a:pt x="1889" y="1068"/>
                  </a:cubicBezTo>
                  <a:cubicBezTo>
                    <a:pt x="1896" y="1065"/>
                    <a:pt x="1896" y="1065"/>
                    <a:pt x="1896" y="1065"/>
                  </a:cubicBezTo>
                  <a:cubicBezTo>
                    <a:pt x="1898" y="1060"/>
                    <a:pt x="1898" y="1060"/>
                    <a:pt x="1898" y="1060"/>
                  </a:cubicBezTo>
                  <a:cubicBezTo>
                    <a:pt x="1901" y="1062"/>
                    <a:pt x="1901" y="1062"/>
                    <a:pt x="1901" y="1062"/>
                  </a:cubicBezTo>
                  <a:cubicBezTo>
                    <a:pt x="1907" y="1058"/>
                    <a:pt x="1907" y="1058"/>
                    <a:pt x="1907" y="1058"/>
                  </a:cubicBezTo>
                  <a:cubicBezTo>
                    <a:pt x="1912" y="1053"/>
                    <a:pt x="1912" y="1053"/>
                    <a:pt x="1912" y="1053"/>
                  </a:cubicBezTo>
                  <a:cubicBezTo>
                    <a:pt x="1915" y="1057"/>
                    <a:pt x="1915" y="1057"/>
                    <a:pt x="1915" y="1057"/>
                  </a:cubicBezTo>
                  <a:cubicBezTo>
                    <a:pt x="1920" y="1054"/>
                    <a:pt x="1920" y="1054"/>
                    <a:pt x="1920" y="1054"/>
                  </a:cubicBezTo>
                  <a:cubicBezTo>
                    <a:pt x="1927" y="1053"/>
                    <a:pt x="1927" y="1053"/>
                    <a:pt x="1927" y="1053"/>
                  </a:cubicBezTo>
                  <a:cubicBezTo>
                    <a:pt x="1928" y="1050"/>
                    <a:pt x="1928" y="1050"/>
                    <a:pt x="1928" y="1050"/>
                  </a:cubicBezTo>
                  <a:cubicBezTo>
                    <a:pt x="1923" y="1041"/>
                    <a:pt x="1923" y="1041"/>
                    <a:pt x="1923" y="1041"/>
                  </a:cubicBezTo>
                  <a:cubicBezTo>
                    <a:pt x="1918" y="1041"/>
                    <a:pt x="1918" y="1041"/>
                    <a:pt x="1918" y="1041"/>
                  </a:cubicBezTo>
                  <a:cubicBezTo>
                    <a:pt x="1923" y="1046"/>
                    <a:pt x="1923" y="1046"/>
                    <a:pt x="1923" y="1046"/>
                  </a:cubicBezTo>
                  <a:cubicBezTo>
                    <a:pt x="1921" y="1049"/>
                    <a:pt x="1921" y="1049"/>
                    <a:pt x="1921" y="1049"/>
                  </a:cubicBezTo>
                  <a:cubicBezTo>
                    <a:pt x="1913" y="1049"/>
                    <a:pt x="1913" y="1049"/>
                    <a:pt x="1913" y="1049"/>
                  </a:cubicBezTo>
                  <a:cubicBezTo>
                    <a:pt x="1906" y="1038"/>
                    <a:pt x="1906" y="1038"/>
                    <a:pt x="1906" y="1038"/>
                  </a:cubicBezTo>
                  <a:cubicBezTo>
                    <a:pt x="1900" y="1037"/>
                    <a:pt x="1900" y="1037"/>
                    <a:pt x="1900" y="1037"/>
                  </a:cubicBezTo>
                  <a:cubicBezTo>
                    <a:pt x="1905" y="1029"/>
                    <a:pt x="1905" y="1029"/>
                    <a:pt x="1905" y="1029"/>
                  </a:cubicBezTo>
                  <a:cubicBezTo>
                    <a:pt x="1901" y="1024"/>
                    <a:pt x="1901" y="1024"/>
                    <a:pt x="1901" y="1024"/>
                  </a:cubicBezTo>
                  <a:cubicBezTo>
                    <a:pt x="1901" y="1021"/>
                    <a:pt x="1901" y="1021"/>
                    <a:pt x="1901" y="1021"/>
                  </a:cubicBezTo>
                  <a:cubicBezTo>
                    <a:pt x="1902" y="1017"/>
                    <a:pt x="1902" y="1017"/>
                    <a:pt x="1902" y="1017"/>
                  </a:cubicBezTo>
                  <a:cubicBezTo>
                    <a:pt x="1903" y="1012"/>
                    <a:pt x="1903" y="1012"/>
                    <a:pt x="1903" y="1012"/>
                  </a:cubicBezTo>
                  <a:cubicBezTo>
                    <a:pt x="1906" y="1003"/>
                    <a:pt x="1906" y="1003"/>
                    <a:pt x="1906" y="1003"/>
                  </a:cubicBezTo>
                  <a:cubicBezTo>
                    <a:pt x="1909" y="1001"/>
                    <a:pt x="1909" y="1001"/>
                    <a:pt x="1909" y="1001"/>
                  </a:cubicBezTo>
                  <a:cubicBezTo>
                    <a:pt x="1907" y="995"/>
                    <a:pt x="1907" y="995"/>
                    <a:pt x="1907" y="995"/>
                  </a:cubicBezTo>
                  <a:cubicBezTo>
                    <a:pt x="1911" y="992"/>
                    <a:pt x="1911" y="992"/>
                    <a:pt x="1911" y="992"/>
                  </a:cubicBezTo>
                  <a:cubicBezTo>
                    <a:pt x="1915" y="993"/>
                    <a:pt x="1915" y="993"/>
                    <a:pt x="1915" y="993"/>
                  </a:cubicBezTo>
                  <a:cubicBezTo>
                    <a:pt x="1917" y="989"/>
                    <a:pt x="1917" y="989"/>
                    <a:pt x="1917" y="989"/>
                  </a:cubicBezTo>
                  <a:cubicBezTo>
                    <a:pt x="1923" y="986"/>
                    <a:pt x="1923" y="986"/>
                    <a:pt x="1923" y="986"/>
                  </a:cubicBezTo>
                  <a:cubicBezTo>
                    <a:pt x="1927" y="984"/>
                    <a:pt x="1927" y="984"/>
                    <a:pt x="1927" y="984"/>
                  </a:cubicBezTo>
                  <a:cubicBezTo>
                    <a:pt x="1928" y="979"/>
                    <a:pt x="1928" y="979"/>
                    <a:pt x="1928" y="979"/>
                  </a:cubicBezTo>
                  <a:cubicBezTo>
                    <a:pt x="1931" y="972"/>
                    <a:pt x="1931" y="972"/>
                    <a:pt x="1931" y="972"/>
                  </a:cubicBezTo>
                  <a:cubicBezTo>
                    <a:pt x="1935" y="974"/>
                    <a:pt x="1935" y="974"/>
                    <a:pt x="1935" y="974"/>
                  </a:cubicBezTo>
                  <a:cubicBezTo>
                    <a:pt x="1942" y="966"/>
                    <a:pt x="1942" y="966"/>
                    <a:pt x="1942" y="966"/>
                  </a:cubicBezTo>
                  <a:cubicBezTo>
                    <a:pt x="1948" y="969"/>
                    <a:pt x="1948" y="969"/>
                    <a:pt x="1948" y="969"/>
                  </a:cubicBezTo>
                  <a:cubicBezTo>
                    <a:pt x="1952" y="963"/>
                    <a:pt x="1952" y="963"/>
                    <a:pt x="1952" y="963"/>
                  </a:cubicBezTo>
                  <a:cubicBezTo>
                    <a:pt x="1960" y="958"/>
                    <a:pt x="1960" y="958"/>
                    <a:pt x="1960" y="958"/>
                  </a:cubicBezTo>
                  <a:cubicBezTo>
                    <a:pt x="1964" y="954"/>
                    <a:pt x="1964" y="954"/>
                    <a:pt x="1964" y="954"/>
                  </a:cubicBezTo>
                  <a:lnTo>
                    <a:pt x="1960" y="952"/>
                  </a:lnTo>
                  <a:close/>
                  <a:moveTo>
                    <a:pt x="163" y="1543"/>
                  </a:moveTo>
                  <a:cubicBezTo>
                    <a:pt x="166" y="1540"/>
                    <a:pt x="166" y="1540"/>
                    <a:pt x="166" y="1540"/>
                  </a:cubicBezTo>
                  <a:cubicBezTo>
                    <a:pt x="171" y="1539"/>
                    <a:pt x="171" y="1539"/>
                    <a:pt x="171" y="1539"/>
                  </a:cubicBezTo>
                  <a:cubicBezTo>
                    <a:pt x="173" y="1540"/>
                    <a:pt x="173" y="1540"/>
                    <a:pt x="173" y="1540"/>
                  </a:cubicBezTo>
                  <a:cubicBezTo>
                    <a:pt x="173" y="1544"/>
                    <a:pt x="173" y="1544"/>
                    <a:pt x="173" y="1544"/>
                  </a:cubicBezTo>
                  <a:cubicBezTo>
                    <a:pt x="170" y="1546"/>
                    <a:pt x="170" y="1546"/>
                    <a:pt x="170" y="1546"/>
                  </a:cubicBezTo>
                  <a:cubicBezTo>
                    <a:pt x="167" y="1546"/>
                    <a:pt x="167" y="1546"/>
                    <a:pt x="167" y="1546"/>
                  </a:cubicBezTo>
                  <a:lnTo>
                    <a:pt x="163" y="1543"/>
                  </a:lnTo>
                  <a:close/>
                  <a:moveTo>
                    <a:pt x="198" y="1557"/>
                  </a:moveTo>
                  <a:cubicBezTo>
                    <a:pt x="203" y="1557"/>
                    <a:pt x="203" y="1557"/>
                    <a:pt x="203" y="1557"/>
                  </a:cubicBezTo>
                  <a:cubicBezTo>
                    <a:pt x="205" y="1557"/>
                    <a:pt x="205" y="1557"/>
                    <a:pt x="205" y="1557"/>
                  </a:cubicBezTo>
                  <a:cubicBezTo>
                    <a:pt x="207" y="1556"/>
                    <a:pt x="207" y="1556"/>
                    <a:pt x="207" y="1556"/>
                  </a:cubicBezTo>
                  <a:cubicBezTo>
                    <a:pt x="201" y="1549"/>
                    <a:pt x="201" y="1549"/>
                    <a:pt x="201" y="1549"/>
                  </a:cubicBezTo>
                  <a:cubicBezTo>
                    <a:pt x="198" y="1551"/>
                    <a:pt x="198" y="1551"/>
                    <a:pt x="198" y="1551"/>
                  </a:cubicBezTo>
                  <a:cubicBezTo>
                    <a:pt x="194" y="1551"/>
                    <a:pt x="194" y="1551"/>
                    <a:pt x="194" y="1551"/>
                  </a:cubicBezTo>
                  <a:lnTo>
                    <a:pt x="198" y="1557"/>
                  </a:lnTo>
                  <a:close/>
                  <a:moveTo>
                    <a:pt x="215" y="1562"/>
                  </a:moveTo>
                  <a:cubicBezTo>
                    <a:pt x="217" y="1561"/>
                    <a:pt x="217" y="1561"/>
                    <a:pt x="217" y="1561"/>
                  </a:cubicBezTo>
                  <a:cubicBezTo>
                    <a:pt x="222" y="1561"/>
                    <a:pt x="222" y="1561"/>
                    <a:pt x="222" y="1561"/>
                  </a:cubicBezTo>
                  <a:cubicBezTo>
                    <a:pt x="223" y="1562"/>
                    <a:pt x="223" y="1562"/>
                    <a:pt x="223" y="1562"/>
                  </a:cubicBezTo>
                  <a:cubicBezTo>
                    <a:pt x="227" y="1559"/>
                    <a:pt x="227" y="1559"/>
                    <a:pt x="227" y="1559"/>
                  </a:cubicBezTo>
                  <a:cubicBezTo>
                    <a:pt x="216" y="1557"/>
                    <a:pt x="216" y="1557"/>
                    <a:pt x="216" y="1557"/>
                  </a:cubicBezTo>
                  <a:cubicBezTo>
                    <a:pt x="214" y="1560"/>
                    <a:pt x="214" y="1560"/>
                    <a:pt x="214" y="1560"/>
                  </a:cubicBezTo>
                  <a:lnTo>
                    <a:pt x="215" y="1562"/>
                  </a:lnTo>
                  <a:close/>
                  <a:moveTo>
                    <a:pt x="227" y="1563"/>
                  </a:moveTo>
                  <a:cubicBezTo>
                    <a:pt x="228" y="1565"/>
                    <a:pt x="228" y="1565"/>
                    <a:pt x="228" y="1565"/>
                  </a:cubicBezTo>
                  <a:cubicBezTo>
                    <a:pt x="230" y="1565"/>
                    <a:pt x="230" y="1565"/>
                    <a:pt x="230" y="1565"/>
                  </a:cubicBezTo>
                  <a:cubicBezTo>
                    <a:pt x="232" y="1567"/>
                    <a:pt x="232" y="1567"/>
                    <a:pt x="232" y="1567"/>
                  </a:cubicBezTo>
                  <a:cubicBezTo>
                    <a:pt x="233" y="1570"/>
                    <a:pt x="233" y="1570"/>
                    <a:pt x="233" y="1570"/>
                  </a:cubicBezTo>
                  <a:cubicBezTo>
                    <a:pt x="236" y="1570"/>
                    <a:pt x="236" y="1570"/>
                    <a:pt x="236" y="1570"/>
                  </a:cubicBezTo>
                  <a:cubicBezTo>
                    <a:pt x="242" y="1566"/>
                    <a:pt x="242" y="1566"/>
                    <a:pt x="242" y="1566"/>
                  </a:cubicBezTo>
                  <a:cubicBezTo>
                    <a:pt x="236" y="1563"/>
                    <a:pt x="236" y="1563"/>
                    <a:pt x="236" y="1563"/>
                  </a:cubicBezTo>
                  <a:cubicBezTo>
                    <a:pt x="234" y="1564"/>
                    <a:pt x="234" y="1564"/>
                    <a:pt x="234" y="1564"/>
                  </a:cubicBezTo>
                  <a:cubicBezTo>
                    <a:pt x="231" y="1564"/>
                    <a:pt x="231" y="1564"/>
                    <a:pt x="231" y="1564"/>
                  </a:cubicBezTo>
                  <a:cubicBezTo>
                    <a:pt x="229" y="1561"/>
                    <a:pt x="229" y="1561"/>
                    <a:pt x="229" y="1561"/>
                  </a:cubicBezTo>
                  <a:lnTo>
                    <a:pt x="227" y="1563"/>
                  </a:lnTo>
                  <a:close/>
                  <a:moveTo>
                    <a:pt x="222" y="1568"/>
                  </a:moveTo>
                  <a:cubicBezTo>
                    <a:pt x="225" y="1566"/>
                    <a:pt x="225" y="1566"/>
                    <a:pt x="225" y="1566"/>
                  </a:cubicBezTo>
                  <a:cubicBezTo>
                    <a:pt x="223" y="1564"/>
                    <a:pt x="223" y="1564"/>
                    <a:pt x="223" y="1564"/>
                  </a:cubicBezTo>
                  <a:cubicBezTo>
                    <a:pt x="219" y="1564"/>
                    <a:pt x="219" y="1564"/>
                    <a:pt x="219" y="1564"/>
                  </a:cubicBezTo>
                  <a:lnTo>
                    <a:pt x="222" y="1568"/>
                  </a:lnTo>
                  <a:close/>
                  <a:moveTo>
                    <a:pt x="230" y="1571"/>
                  </a:moveTo>
                  <a:cubicBezTo>
                    <a:pt x="228" y="1569"/>
                    <a:pt x="228" y="1569"/>
                    <a:pt x="228" y="1569"/>
                  </a:cubicBezTo>
                  <a:cubicBezTo>
                    <a:pt x="228" y="1571"/>
                    <a:pt x="228" y="1571"/>
                    <a:pt x="228" y="1571"/>
                  </a:cubicBezTo>
                  <a:lnTo>
                    <a:pt x="230" y="1571"/>
                  </a:lnTo>
                  <a:close/>
                  <a:moveTo>
                    <a:pt x="155" y="1548"/>
                  </a:moveTo>
                  <a:cubicBezTo>
                    <a:pt x="158" y="1544"/>
                    <a:pt x="158" y="1544"/>
                    <a:pt x="158" y="1544"/>
                  </a:cubicBezTo>
                  <a:cubicBezTo>
                    <a:pt x="157" y="1543"/>
                    <a:pt x="157" y="1543"/>
                    <a:pt x="157" y="1543"/>
                  </a:cubicBezTo>
                  <a:cubicBezTo>
                    <a:pt x="153" y="1548"/>
                    <a:pt x="153" y="1548"/>
                    <a:pt x="153" y="1548"/>
                  </a:cubicBezTo>
                  <a:lnTo>
                    <a:pt x="155" y="1548"/>
                  </a:lnTo>
                  <a:close/>
                  <a:moveTo>
                    <a:pt x="244" y="1580"/>
                  </a:moveTo>
                  <a:cubicBezTo>
                    <a:pt x="245" y="1582"/>
                    <a:pt x="245" y="1582"/>
                    <a:pt x="245" y="1582"/>
                  </a:cubicBezTo>
                  <a:cubicBezTo>
                    <a:pt x="241" y="1585"/>
                    <a:pt x="241" y="1585"/>
                    <a:pt x="241" y="1585"/>
                  </a:cubicBezTo>
                  <a:cubicBezTo>
                    <a:pt x="244" y="1593"/>
                    <a:pt x="244" y="1593"/>
                    <a:pt x="244" y="1593"/>
                  </a:cubicBezTo>
                  <a:cubicBezTo>
                    <a:pt x="244" y="1600"/>
                    <a:pt x="244" y="1600"/>
                    <a:pt x="244" y="1600"/>
                  </a:cubicBezTo>
                  <a:cubicBezTo>
                    <a:pt x="250" y="1601"/>
                    <a:pt x="250" y="1601"/>
                    <a:pt x="250" y="1601"/>
                  </a:cubicBezTo>
                  <a:cubicBezTo>
                    <a:pt x="254" y="1596"/>
                    <a:pt x="254" y="1596"/>
                    <a:pt x="254" y="1596"/>
                  </a:cubicBezTo>
                  <a:cubicBezTo>
                    <a:pt x="259" y="1594"/>
                    <a:pt x="259" y="1594"/>
                    <a:pt x="259" y="1594"/>
                  </a:cubicBezTo>
                  <a:cubicBezTo>
                    <a:pt x="265" y="1592"/>
                    <a:pt x="265" y="1592"/>
                    <a:pt x="265" y="1592"/>
                  </a:cubicBezTo>
                  <a:cubicBezTo>
                    <a:pt x="266" y="1590"/>
                    <a:pt x="266" y="1590"/>
                    <a:pt x="266" y="1590"/>
                  </a:cubicBezTo>
                  <a:cubicBezTo>
                    <a:pt x="260" y="1586"/>
                    <a:pt x="260" y="1586"/>
                    <a:pt x="260" y="1586"/>
                  </a:cubicBezTo>
                  <a:cubicBezTo>
                    <a:pt x="260" y="1583"/>
                    <a:pt x="260" y="1583"/>
                    <a:pt x="260" y="1583"/>
                  </a:cubicBezTo>
                  <a:cubicBezTo>
                    <a:pt x="251" y="1578"/>
                    <a:pt x="251" y="1578"/>
                    <a:pt x="251" y="1578"/>
                  </a:cubicBezTo>
                  <a:cubicBezTo>
                    <a:pt x="244" y="1576"/>
                    <a:pt x="244" y="1576"/>
                    <a:pt x="244" y="1576"/>
                  </a:cubicBezTo>
                  <a:lnTo>
                    <a:pt x="244" y="1580"/>
                  </a:lnTo>
                  <a:close/>
                  <a:moveTo>
                    <a:pt x="288" y="622"/>
                  </a:moveTo>
                  <a:cubicBezTo>
                    <a:pt x="284" y="617"/>
                    <a:pt x="284" y="617"/>
                    <a:pt x="284" y="617"/>
                  </a:cubicBezTo>
                  <a:cubicBezTo>
                    <a:pt x="269" y="625"/>
                    <a:pt x="269" y="625"/>
                    <a:pt x="269" y="625"/>
                  </a:cubicBezTo>
                  <a:cubicBezTo>
                    <a:pt x="268" y="639"/>
                    <a:pt x="268" y="639"/>
                    <a:pt x="268" y="639"/>
                  </a:cubicBezTo>
                  <a:cubicBezTo>
                    <a:pt x="279" y="648"/>
                    <a:pt x="279" y="648"/>
                    <a:pt x="279" y="648"/>
                  </a:cubicBezTo>
                  <a:cubicBezTo>
                    <a:pt x="280" y="639"/>
                    <a:pt x="280" y="639"/>
                    <a:pt x="280" y="639"/>
                  </a:cubicBezTo>
                  <a:cubicBezTo>
                    <a:pt x="290" y="636"/>
                    <a:pt x="290" y="636"/>
                    <a:pt x="290" y="636"/>
                  </a:cubicBezTo>
                  <a:cubicBezTo>
                    <a:pt x="285" y="650"/>
                    <a:pt x="285" y="650"/>
                    <a:pt x="285" y="650"/>
                  </a:cubicBezTo>
                  <a:cubicBezTo>
                    <a:pt x="290" y="650"/>
                    <a:pt x="290" y="650"/>
                    <a:pt x="290" y="650"/>
                  </a:cubicBezTo>
                  <a:cubicBezTo>
                    <a:pt x="295" y="640"/>
                    <a:pt x="295" y="640"/>
                    <a:pt x="295" y="640"/>
                  </a:cubicBezTo>
                  <a:cubicBezTo>
                    <a:pt x="306" y="638"/>
                    <a:pt x="306" y="638"/>
                    <a:pt x="306" y="638"/>
                  </a:cubicBezTo>
                  <a:cubicBezTo>
                    <a:pt x="308" y="633"/>
                    <a:pt x="308" y="633"/>
                    <a:pt x="308" y="633"/>
                  </a:cubicBezTo>
                  <a:cubicBezTo>
                    <a:pt x="307" y="629"/>
                    <a:pt x="307" y="629"/>
                    <a:pt x="307" y="629"/>
                  </a:cubicBezTo>
                  <a:cubicBezTo>
                    <a:pt x="317" y="625"/>
                    <a:pt x="317" y="625"/>
                    <a:pt x="317" y="625"/>
                  </a:cubicBezTo>
                  <a:cubicBezTo>
                    <a:pt x="308" y="617"/>
                    <a:pt x="308" y="617"/>
                    <a:pt x="308" y="617"/>
                  </a:cubicBezTo>
                  <a:cubicBezTo>
                    <a:pt x="317" y="617"/>
                    <a:pt x="317" y="617"/>
                    <a:pt x="317" y="617"/>
                  </a:cubicBezTo>
                  <a:cubicBezTo>
                    <a:pt x="324" y="611"/>
                    <a:pt x="324" y="611"/>
                    <a:pt x="324" y="611"/>
                  </a:cubicBezTo>
                  <a:cubicBezTo>
                    <a:pt x="320" y="603"/>
                    <a:pt x="320" y="603"/>
                    <a:pt x="320" y="603"/>
                  </a:cubicBezTo>
                  <a:cubicBezTo>
                    <a:pt x="310" y="609"/>
                    <a:pt x="310" y="609"/>
                    <a:pt x="310" y="609"/>
                  </a:cubicBezTo>
                  <a:cubicBezTo>
                    <a:pt x="308" y="603"/>
                    <a:pt x="308" y="603"/>
                    <a:pt x="308" y="603"/>
                  </a:cubicBezTo>
                  <a:cubicBezTo>
                    <a:pt x="302" y="610"/>
                    <a:pt x="302" y="610"/>
                    <a:pt x="302" y="610"/>
                  </a:cubicBezTo>
                  <a:cubicBezTo>
                    <a:pt x="300" y="603"/>
                    <a:pt x="300" y="603"/>
                    <a:pt x="300" y="603"/>
                  </a:cubicBezTo>
                  <a:cubicBezTo>
                    <a:pt x="286" y="611"/>
                    <a:pt x="286" y="611"/>
                    <a:pt x="286" y="611"/>
                  </a:cubicBezTo>
                  <a:lnTo>
                    <a:pt x="288" y="622"/>
                  </a:lnTo>
                  <a:close/>
                  <a:moveTo>
                    <a:pt x="70" y="728"/>
                  </a:moveTo>
                  <a:cubicBezTo>
                    <a:pt x="83" y="726"/>
                    <a:pt x="83" y="726"/>
                    <a:pt x="83" y="726"/>
                  </a:cubicBezTo>
                  <a:cubicBezTo>
                    <a:pt x="83" y="721"/>
                    <a:pt x="83" y="721"/>
                    <a:pt x="83" y="721"/>
                  </a:cubicBezTo>
                  <a:cubicBezTo>
                    <a:pt x="99" y="717"/>
                    <a:pt x="99" y="717"/>
                    <a:pt x="99" y="717"/>
                  </a:cubicBezTo>
                  <a:cubicBezTo>
                    <a:pt x="99" y="711"/>
                    <a:pt x="99" y="711"/>
                    <a:pt x="99" y="711"/>
                  </a:cubicBezTo>
                  <a:cubicBezTo>
                    <a:pt x="96" y="704"/>
                    <a:pt x="96" y="704"/>
                    <a:pt x="96" y="704"/>
                  </a:cubicBezTo>
                  <a:cubicBezTo>
                    <a:pt x="79" y="703"/>
                    <a:pt x="79" y="703"/>
                    <a:pt x="79" y="703"/>
                  </a:cubicBezTo>
                  <a:cubicBezTo>
                    <a:pt x="72" y="719"/>
                    <a:pt x="72" y="719"/>
                    <a:pt x="72" y="719"/>
                  </a:cubicBezTo>
                  <a:cubicBezTo>
                    <a:pt x="67" y="720"/>
                    <a:pt x="67" y="720"/>
                    <a:pt x="67" y="720"/>
                  </a:cubicBezTo>
                  <a:lnTo>
                    <a:pt x="70" y="728"/>
                  </a:lnTo>
                  <a:close/>
                  <a:moveTo>
                    <a:pt x="11" y="762"/>
                  </a:moveTo>
                  <a:cubicBezTo>
                    <a:pt x="22" y="756"/>
                    <a:pt x="22" y="756"/>
                    <a:pt x="22" y="756"/>
                  </a:cubicBezTo>
                  <a:cubicBezTo>
                    <a:pt x="40" y="754"/>
                    <a:pt x="40" y="754"/>
                    <a:pt x="40" y="754"/>
                  </a:cubicBezTo>
                  <a:cubicBezTo>
                    <a:pt x="45" y="744"/>
                    <a:pt x="45" y="744"/>
                    <a:pt x="45" y="744"/>
                  </a:cubicBezTo>
                  <a:cubicBezTo>
                    <a:pt x="46" y="733"/>
                    <a:pt x="46" y="733"/>
                    <a:pt x="46" y="733"/>
                  </a:cubicBezTo>
                  <a:cubicBezTo>
                    <a:pt x="34" y="739"/>
                    <a:pt x="34" y="739"/>
                    <a:pt x="34" y="739"/>
                  </a:cubicBezTo>
                  <a:cubicBezTo>
                    <a:pt x="33" y="736"/>
                    <a:pt x="33" y="736"/>
                    <a:pt x="33" y="736"/>
                  </a:cubicBezTo>
                  <a:cubicBezTo>
                    <a:pt x="23" y="738"/>
                    <a:pt x="23" y="738"/>
                    <a:pt x="23" y="738"/>
                  </a:cubicBezTo>
                  <a:cubicBezTo>
                    <a:pt x="33" y="746"/>
                    <a:pt x="33" y="746"/>
                    <a:pt x="33" y="746"/>
                  </a:cubicBezTo>
                  <a:cubicBezTo>
                    <a:pt x="12" y="758"/>
                    <a:pt x="12" y="758"/>
                    <a:pt x="12" y="758"/>
                  </a:cubicBezTo>
                  <a:lnTo>
                    <a:pt x="11" y="762"/>
                  </a:lnTo>
                  <a:close/>
                  <a:moveTo>
                    <a:pt x="23" y="522"/>
                  </a:moveTo>
                  <a:cubicBezTo>
                    <a:pt x="29" y="522"/>
                    <a:pt x="29" y="522"/>
                    <a:pt x="29" y="522"/>
                  </a:cubicBezTo>
                  <a:cubicBezTo>
                    <a:pt x="36" y="529"/>
                    <a:pt x="36" y="529"/>
                    <a:pt x="36" y="529"/>
                  </a:cubicBezTo>
                  <a:cubicBezTo>
                    <a:pt x="45" y="529"/>
                    <a:pt x="45" y="529"/>
                    <a:pt x="45" y="529"/>
                  </a:cubicBezTo>
                  <a:cubicBezTo>
                    <a:pt x="48" y="510"/>
                    <a:pt x="48" y="510"/>
                    <a:pt x="48" y="510"/>
                  </a:cubicBezTo>
                  <a:cubicBezTo>
                    <a:pt x="37" y="504"/>
                    <a:pt x="37" y="504"/>
                    <a:pt x="37" y="504"/>
                  </a:cubicBezTo>
                  <a:cubicBezTo>
                    <a:pt x="30" y="511"/>
                    <a:pt x="30" y="511"/>
                    <a:pt x="30" y="511"/>
                  </a:cubicBezTo>
                  <a:cubicBezTo>
                    <a:pt x="17" y="512"/>
                    <a:pt x="17" y="512"/>
                    <a:pt x="17" y="512"/>
                  </a:cubicBezTo>
                  <a:lnTo>
                    <a:pt x="23" y="522"/>
                  </a:lnTo>
                  <a:close/>
                  <a:moveTo>
                    <a:pt x="610" y="601"/>
                  </a:moveTo>
                  <a:cubicBezTo>
                    <a:pt x="618" y="606"/>
                    <a:pt x="618" y="606"/>
                    <a:pt x="618" y="606"/>
                  </a:cubicBezTo>
                  <a:cubicBezTo>
                    <a:pt x="625" y="617"/>
                    <a:pt x="625" y="617"/>
                    <a:pt x="625" y="617"/>
                  </a:cubicBezTo>
                  <a:cubicBezTo>
                    <a:pt x="629" y="610"/>
                    <a:pt x="629" y="610"/>
                    <a:pt x="629" y="610"/>
                  </a:cubicBezTo>
                  <a:cubicBezTo>
                    <a:pt x="640" y="617"/>
                    <a:pt x="640" y="617"/>
                    <a:pt x="640" y="617"/>
                  </a:cubicBezTo>
                  <a:cubicBezTo>
                    <a:pt x="644" y="612"/>
                    <a:pt x="644" y="612"/>
                    <a:pt x="644" y="612"/>
                  </a:cubicBezTo>
                  <a:cubicBezTo>
                    <a:pt x="632" y="602"/>
                    <a:pt x="632" y="602"/>
                    <a:pt x="632" y="602"/>
                  </a:cubicBezTo>
                  <a:cubicBezTo>
                    <a:pt x="641" y="598"/>
                    <a:pt x="641" y="598"/>
                    <a:pt x="641" y="598"/>
                  </a:cubicBezTo>
                  <a:cubicBezTo>
                    <a:pt x="626" y="590"/>
                    <a:pt x="626" y="590"/>
                    <a:pt x="626" y="590"/>
                  </a:cubicBezTo>
                  <a:cubicBezTo>
                    <a:pt x="616" y="590"/>
                    <a:pt x="616" y="590"/>
                    <a:pt x="616" y="590"/>
                  </a:cubicBezTo>
                  <a:lnTo>
                    <a:pt x="610" y="601"/>
                  </a:lnTo>
                  <a:close/>
                  <a:moveTo>
                    <a:pt x="640" y="589"/>
                  </a:moveTo>
                  <a:cubicBezTo>
                    <a:pt x="649" y="600"/>
                    <a:pt x="649" y="600"/>
                    <a:pt x="649" y="600"/>
                  </a:cubicBezTo>
                  <a:cubicBezTo>
                    <a:pt x="649" y="626"/>
                    <a:pt x="649" y="626"/>
                    <a:pt x="649" y="626"/>
                  </a:cubicBezTo>
                  <a:cubicBezTo>
                    <a:pt x="659" y="615"/>
                    <a:pt x="659" y="615"/>
                    <a:pt x="659" y="615"/>
                  </a:cubicBezTo>
                  <a:cubicBezTo>
                    <a:pt x="660" y="608"/>
                    <a:pt x="660" y="608"/>
                    <a:pt x="660" y="608"/>
                  </a:cubicBezTo>
                  <a:cubicBezTo>
                    <a:pt x="656" y="595"/>
                    <a:pt x="656" y="595"/>
                    <a:pt x="656" y="595"/>
                  </a:cubicBezTo>
                  <a:cubicBezTo>
                    <a:pt x="642" y="588"/>
                    <a:pt x="642" y="588"/>
                    <a:pt x="642" y="588"/>
                  </a:cubicBezTo>
                  <a:lnTo>
                    <a:pt x="640" y="589"/>
                  </a:lnTo>
                  <a:close/>
                  <a:moveTo>
                    <a:pt x="662" y="637"/>
                  </a:moveTo>
                  <a:cubicBezTo>
                    <a:pt x="667" y="641"/>
                    <a:pt x="667" y="641"/>
                    <a:pt x="667" y="641"/>
                  </a:cubicBezTo>
                  <a:cubicBezTo>
                    <a:pt x="667" y="650"/>
                    <a:pt x="667" y="650"/>
                    <a:pt x="667" y="650"/>
                  </a:cubicBezTo>
                  <a:cubicBezTo>
                    <a:pt x="677" y="649"/>
                    <a:pt x="677" y="649"/>
                    <a:pt x="677" y="649"/>
                  </a:cubicBezTo>
                  <a:cubicBezTo>
                    <a:pt x="684" y="646"/>
                    <a:pt x="684" y="646"/>
                    <a:pt x="684" y="646"/>
                  </a:cubicBezTo>
                  <a:cubicBezTo>
                    <a:pt x="673" y="634"/>
                    <a:pt x="673" y="634"/>
                    <a:pt x="673" y="634"/>
                  </a:cubicBezTo>
                  <a:cubicBezTo>
                    <a:pt x="664" y="631"/>
                    <a:pt x="664" y="631"/>
                    <a:pt x="664" y="631"/>
                  </a:cubicBezTo>
                  <a:lnTo>
                    <a:pt x="662" y="637"/>
                  </a:lnTo>
                  <a:close/>
                  <a:moveTo>
                    <a:pt x="630" y="623"/>
                  </a:moveTo>
                  <a:cubicBezTo>
                    <a:pt x="635" y="632"/>
                    <a:pt x="635" y="632"/>
                    <a:pt x="635" y="632"/>
                  </a:cubicBezTo>
                  <a:cubicBezTo>
                    <a:pt x="635" y="642"/>
                    <a:pt x="635" y="642"/>
                    <a:pt x="635" y="642"/>
                  </a:cubicBezTo>
                  <a:cubicBezTo>
                    <a:pt x="646" y="657"/>
                    <a:pt x="646" y="657"/>
                    <a:pt x="646" y="657"/>
                  </a:cubicBezTo>
                  <a:cubicBezTo>
                    <a:pt x="646" y="631"/>
                    <a:pt x="646" y="631"/>
                    <a:pt x="646" y="631"/>
                  </a:cubicBezTo>
                  <a:cubicBezTo>
                    <a:pt x="638" y="624"/>
                    <a:pt x="638" y="624"/>
                    <a:pt x="638" y="624"/>
                  </a:cubicBezTo>
                  <a:cubicBezTo>
                    <a:pt x="634" y="618"/>
                    <a:pt x="634" y="618"/>
                    <a:pt x="634" y="618"/>
                  </a:cubicBezTo>
                  <a:lnTo>
                    <a:pt x="630" y="623"/>
                  </a:lnTo>
                  <a:close/>
                  <a:moveTo>
                    <a:pt x="656" y="647"/>
                  </a:moveTo>
                  <a:cubicBezTo>
                    <a:pt x="652" y="657"/>
                    <a:pt x="652" y="657"/>
                    <a:pt x="652" y="657"/>
                  </a:cubicBezTo>
                  <a:cubicBezTo>
                    <a:pt x="658" y="663"/>
                    <a:pt x="658" y="663"/>
                    <a:pt x="658" y="663"/>
                  </a:cubicBezTo>
                  <a:cubicBezTo>
                    <a:pt x="661" y="643"/>
                    <a:pt x="661" y="643"/>
                    <a:pt x="661" y="643"/>
                  </a:cubicBezTo>
                  <a:cubicBezTo>
                    <a:pt x="658" y="633"/>
                    <a:pt x="658" y="633"/>
                    <a:pt x="658" y="633"/>
                  </a:cubicBezTo>
                  <a:cubicBezTo>
                    <a:pt x="650" y="636"/>
                    <a:pt x="650" y="636"/>
                    <a:pt x="650" y="636"/>
                  </a:cubicBezTo>
                  <a:lnTo>
                    <a:pt x="656" y="647"/>
                  </a:lnTo>
                  <a:close/>
                  <a:moveTo>
                    <a:pt x="672" y="672"/>
                  </a:moveTo>
                  <a:cubicBezTo>
                    <a:pt x="673" y="683"/>
                    <a:pt x="673" y="683"/>
                    <a:pt x="673" y="683"/>
                  </a:cubicBezTo>
                  <a:cubicBezTo>
                    <a:pt x="681" y="701"/>
                    <a:pt x="681" y="701"/>
                    <a:pt x="681" y="701"/>
                  </a:cubicBezTo>
                  <a:cubicBezTo>
                    <a:pt x="690" y="686"/>
                    <a:pt x="690" y="686"/>
                    <a:pt x="690" y="686"/>
                  </a:cubicBezTo>
                  <a:cubicBezTo>
                    <a:pt x="682" y="671"/>
                    <a:pt x="682" y="671"/>
                    <a:pt x="682" y="671"/>
                  </a:cubicBezTo>
                  <a:cubicBezTo>
                    <a:pt x="676" y="669"/>
                    <a:pt x="676" y="669"/>
                    <a:pt x="676" y="669"/>
                  </a:cubicBezTo>
                  <a:cubicBezTo>
                    <a:pt x="676" y="662"/>
                    <a:pt x="676" y="662"/>
                    <a:pt x="676" y="662"/>
                  </a:cubicBezTo>
                  <a:cubicBezTo>
                    <a:pt x="668" y="656"/>
                    <a:pt x="668" y="656"/>
                    <a:pt x="668" y="656"/>
                  </a:cubicBezTo>
                  <a:cubicBezTo>
                    <a:pt x="663" y="668"/>
                    <a:pt x="663" y="668"/>
                    <a:pt x="663" y="668"/>
                  </a:cubicBezTo>
                  <a:lnTo>
                    <a:pt x="672" y="672"/>
                  </a:lnTo>
                  <a:close/>
                  <a:moveTo>
                    <a:pt x="724" y="705"/>
                  </a:moveTo>
                  <a:cubicBezTo>
                    <a:pt x="732" y="690"/>
                    <a:pt x="732" y="690"/>
                    <a:pt x="732" y="690"/>
                  </a:cubicBezTo>
                  <a:cubicBezTo>
                    <a:pt x="724" y="670"/>
                    <a:pt x="724" y="670"/>
                    <a:pt x="724" y="670"/>
                  </a:cubicBezTo>
                  <a:cubicBezTo>
                    <a:pt x="717" y="655"/>
                    <a:pt x="717" y="655"/>
                    <a:pt x="717" y="655"/>
                  </a:cubicBezTo>
                  <a:cubicBezTo>
                    <a:pt x="697" y="647"/>
                    <a:pt x="697" y="647"/>
                    <a:pt x="697" y="647"/>
                  </a:cubicBezTo>
                  <a:cubicBezTo>
                    <a:pt x="684" y="620"/>
                    <a:pt x="684" y="620"/>
                    <a:pt x="684" y="620"/>
                  </a:cubicBezTo>
                  <a:cubicBezTo>
                    <a:pt x="644" y="552"/>
                    <a:pt x="644" y="552"/>
                    <a:pt x="644" y="552"/>
                  </a:cubicBezTo>
                  <a:cubicBezTo>
                    <a:pt x="634" y="534"/>
                    <a:pt x="634" y="534"/>
                    <a:pt x="634" y="534"/>
                  </a:cubicBezTo>
                  <a:cubicBezTo>
                    <a:pt x="611" y="532"/>
                    <a:pt x="611" y="532"/>
                    <a:pt x="611" y="532"/>
                  </a:cubicBezTo>
                  <a:cubicBezTo>
                    <a:pt x="591" y="555"/>
                    <a:pt x="591" y="555"/>
                    <a:pt x="591" y="555"/>
                  </a:cubicBezTo>
                  <a:cubicBezTo>
                    <a:pt x="566" y="522"/>
                    <a:pt x="566" y="522"/>
                    <a:pt x="566" y="522"/>
                  </a:cubicBezTo>
                  <a:cubicBezTo>
                    <a:pt x="559" y="519"/>
                    <a:pt x="559" y="519"/>
                    <a:pt x="559" y="519"/>
                  </a:cubicBezTo>
                  <a:cubicBezTo>
                    <a:pt x="554" y="509"/>
                    <a:pt x="554" y="509"/>
                    <a:pt x="554" y="509"/>
                  </a:cubicBezTo>
                  <a:cubicBezTo>
                    <a:pt x="529" y="512"/>
                    <a:pt x="529" y="512"/>
                    <a:pt x="529" y="512"/>
                  </a:cubicBezTo>
                  <a:cubicBezTo>
                    <a:pt x="521" y="502"/>
                    <a:pt x="521" y="502"/>
                    <a:pt x="521" y="502"/>
                  </a:cubicBezTo>
                  <a:cubicBezTo>
                    <a:pt x="516" y="138"/>
                    <a:pt x="516" y="138"/>
                    <a:pt x="516" y="138"/>
                  </a:cubicBezTo>
                  <a:cubicBezTo>
                    <a:pt x="493" y="125"/>
                    <a:pt x="493" y="125"/>
                    <a:pt x="493" y="125"/>
                  </a:cubicBezTo>
                  <a:cubicBezTo>
                    <a:pt x="473" y="115"/>
                    <a:pt x="473" y="115"/>
                    <a:pt x="473" y="115"/>
                  </a:cubicBezTo>
                  <a:cubicBezTo>
                    <a:pt x="454" y="100"/>
                    <a:pt x="454" y="100"/>
                    <a:pt x="454" y="100"/>
                  </a:cubicBezTo>
                  <a:cubicBezTo>
                    <a:pt x="442" y="109"/>
                    <a:pt x="442" y="109"/>
                    <a:pt x="442" y="109"/>
                  </a:cubicBezTo>
                  <a:cubicBezTo>
                    <a:pt x="434" y="101"/>
                    <a:pt x="434" y="101"/>
                    <a:pt x="434" y="101"/>
                  </a:cubicBezTo>
                  <a:cubicBezTo>
                    <a:pt x="412" y="96"/>
                    <a:pt x="412" y="96"/>
                    <a:pt x="412" y="96"/>
                  </a:cubicBezTo>
                  <a:cubicBezTo>
                    <a:pt x="407" y="98"/>
                    <a:pt x="407" y="98"/>
                    <a:pt x="407" y="98"/>
                  </a:cubicBezTo>
                  <a:cubicBezTo>
                    <a:pt x="378" y="86"/>
                    <a:pt x="378" y="86"/>
                    <a:pt x="378" y="86"/>
                  </a:cubicBezTo>
                  <a:cubicBezTo>
                    <a:pt x="370" y="90"/>
                    <a:pt x="370" y="90"/>
                    <a:pt x="370" y="90"/>
                  </a:cubicBezTo>
                  <a:cubicBezTo>
                    <a:pt x="370" y="81"/>
                    <a:pt x="370" y="81"/>
                    <a:pt x="370" y="81"/>
                  </a:cubicBezTo>
                  <a:cubicBezTo>
                    <a:pt x="344" y="79"/>
                    <a:pt x="344" y="79"/>
                    <a:pt x="344" y="79"/>
                  </a:cubicBezTo>
                  <a:cubicBezTo>
                    <a:pt x="328" y="89"/>
                    <a:pt x="328" y="89"/>
                    <a:pt x="328" y="89"/>
                  </a:cubicBezTo>
                  <a:cubicBezTo>
                    <a:pt x="330" y="79"/>
                    <a:pt x="330" y="79"/>
                    <a:pt x="330" y="79"/>
                  </a:cubicBezTo>
                  <a:cubicBezTo>
                    <a:pt x="297" y="61"/>
                    <a:pt x="297" y="61"/>
                    <a:pt x="297" y="61"/>
                  </a:cubicBezTo>
                  <a:cubicBezTo>
                    <a:pt x="294" y="44"/>
                    <a:pt x="294" y="44"/>
                    <a:pt x="294" y="44"/>
                  </a:cubicBezTo>
                  <a:cubicBezTo>
                    <a:pt x="268" y="40"/>
                    <a:pt x="268" y="40"/>
                    <a:pt x="268" y="40"/>
                  </a:cubicBezTo>
                  <a:cubicBezTo>
                    <a:pt x="268" y="22"/>
                    <a:pt x="268" y="22"/>
                    <a:pt x="268" y="22"/>
                  </a:cubicBezTo>
                  <a:cubicBezTo>
                    <a:pt x="257" y="14"/>
                    <a:pt x="257" y="14"/>
                    <a:pt x="257" y="14"/>
                  </a:cubicBezTo>
                  <a:cubicBezTo>
                    <a:pt x="253" y="39"/>
                    <a:pt x="253" y="39"/>
                    <a:pt x="253" y="39"/>
                  </a:cubicBezTo>
                  <a:cubicBezTo>
                    <a:pt x="237" y="43"/>
                    <a:pt x="237" y="43"/>
                    <a:pt x="237" y="43"/>
                  </a:cubicBezTo>
                  <a:cubicBezTo>
                    <a:pt x="235" y="33"/>
                    <a:pt x="235" y="33"/>
                    <a:pt x="235" y="33"/>
                  </a:cubicBezTo>
                  <a:cubicBezTo>
                    <a:pt x="244" y="28"/>
                    <a:pt x="244" y="28"/>
                    <a:pt x="244" y="28"/>
                  </a:cubicBezTo>
                  <a:cubicBezTo>
                    <a:pt x="250" y="15"/>
                    <a:pt x="250" y="15"/>
                    <a:pt x="250" y="15"/>
                  </a:cubicBezTo>
                  <a:cubicBezTo>
                    <a:pt x="239" y="10"/>
                    <a:pt x="239" y="10"/>
                    <a:pt x="239" y="10"/>
                  </a:cubicBezTo>
                  <a:cubicBezTo>
                    <a:pt x="227" y="0"/>
                    <a:pt x="227" y="0"/>
                    <a:pt x="227" y="0"/>
                  </a:cubicBezTo>
                  <a:cubicBezTo>
                    <a:pt x="197" y="39"/>
                    <a:pt x="197" y="39"/>
                    <a:pt x="197" y="39"/>
                  </a:cubicBezTo>
                  <a:cubicBezTo>
                    <a:pt x="175" y="46"/>
                    <a:pt x="175" y="46"/>
                    <a:pt x="175" y="46"/>
                  </a:cubicBezTo>
                  <a:cubicBezTo>
                    <a:pt x="158" y="56"/>
                    <a:pt x="158" y="56"/>
                    <a:pt x="158" y="56"/>
                  </a:cubicBezTo>
                  <a:cubicBezTo>
                    <a:pt x="162" y="69"/>
                    <a:pt x="162" y="69"/>
                    <a:pt x="162" y="69"/>
                  </a:cubicBezTo>
                  <a:cubicBezTo>
                    <a:pt x="154" y="64"/>
                    <a:pt x="154" y="64"/>
                    <a:pt x="154" y="64"/>
                  </a:cubicBezTo>
                  <a:cubicBezTo>
                    <a:pt x="124" y="65"/>
                    <a:pt x="124" y="65"/>
                    <a:pt x="124" y="65"/>
                  </a:cubicBezTo>
                  <a:cubicBezTo>
                    <a:pt x="113" y="87"/>
                    <a:pt x="113" y="87"/>
                    <a:pt x="113" y="87"/>
                  </a:cubicBezTo>
                  <a:cubicBezTo>
                    <a:pt x="109" y="89"/>
                    <a:pt x="109" y="89"/>
                    <a:pt x="109" y="89"/>
                  </a:cubicBezTo>
                  <a:cubicBezTo>
                    <a:pt x="99" y="105"/>
                    <a:pt x="99" y="105"/>
                    <a:pt x="99" y="105"/>
                  </a:cubicBezTo>
                  <a:cubicBezTo>
                    <a:pt x="98" y="122"/>
                    <a:pt x="98" y="122"/>
                    <a:pt x="98" y="122"/>
                  </a:cubicBezTo>
                  <a:cubicBezTo>
                    <a:pt x="94" y="132"/>
                    <a:pt x="94" y="132"/>
                    <a:pt x="94" y="132"/>
                  </a:cubicBezTo>
                  <a:cubicBezTo>
                    <a:pt x="68" y="142"/>
                    <a:pt x="68" y="142"/>
                    <a:pt x="68" y="142"/>
                  </a:cubicBezTo>
                  <a:cubicBezTo>
                    <a:pt x="59" y="150"/>
                    <a:pt x="59" y="150"/>
                    <a:pt x="59" y="150"/>
                  </a:cubicBezTo>
                  <a:cubicBezTo>
                    <a:pt x="37" y="151"/>
                    <a:pt x="37" y="151"/>
                    <a:pt x="37" y="151"/>
                  </a:cubicBezTo>
                  <a:cubicBezTo>
                    <a:pt x="34" y="169"/>
                    <a:pt x="34" y="169"/>
                    <a:pt x="34" y="169"/>
                  </a:cubicBezTo>
                  <a:cubicBezTo>
                    <a:pt x="30" y="176"/>
                    <a:pt x="30" y="176"/>
                    <a:pt x="30" y="176"/>
                  </a:cubicBezTo>
                  <a:cubicBezTo>
                    <a:pt x="39" y="183"/>
                    <a:pt x="39" y="183"/>
                    <a:pt x="39" y="183"/>
                  </a:cubicBezTo>
                  <a:cubicBezTo>
                    <a:pt x="58" y="187"/>
                    <a:pt x="58" y="187"/>
                    <a:pt x="58" y="187"/>
                  </a:cubicBezTo>
                  <a:cubicBezTo>
                    <a:pt x="88" y="210"/>
                    <a:pt x="88" y="210"/>
                    <a:pt x="88" y="210"/>
                  </a:cubicBezTo>
                  <a:cubicBezTo>
                    <a:pt x="89" y="226"/>
                    <a:pt x="89" y="226"/>
                    <a:pt x="89" y="226"/>
                  </a:cubicBezTo>
                  <a:cubicBezTo>
                    <a:pt x="105" y="228"/>
                    <a:pt x="105" y="228"/>
                    <a:pt x="105" y="228"/>
                  </a:cubicBezTo>
                  <a:cubicBezTo>
                    <a:pt x="111" y="232"/>
                    <a:pt x="111" y="232"/>
                    <a:pt x="111" y="232"/>
                  </a:cubicBezTo>
                  <a:cubicBezTo>
                    <a:pt x="110" y="242"/>
                    <a:pt x="110" y="242"/>
                    <a:pt x="110" y="242"/>
                  </a:cubicBezTo>
                  <a:cubicBezTo>
                    <a:pt x="121" y="256"/>
                    <a:pt x="121" y="256"/>
                    <a:pt x="121" y="256"/>
                  </a:cubicBezTo>
                  <a:cubicBezTo>
                    <a:pt x="123" y="264"/>
                    <a:pt x="123" y="264"/>
                    <a:pt x="123" y="264"/>
                  </a:cubicBezTo>
                  <a:cubicBezTo>
                    <a:pt x="131" y="266"/>
                    <a:pt x="131" y="266"/>
                    <a:pt x="131" y="266"/>
                  </a:cubicBezTo>
                  <a:cubicBezTo>
                    <a:pt x="138" y="280"/>
                    <a:pt x="138" y="280"/>
                    <a:pt x="138" y="280"/>
                  </a:cubicBezTo>
                  <a:cubicBezTo>
                    <a:pt x="91" y="281"/>
                    <a:pt x="91" y="281"/>
                    <a:pt x="91" y="281"/>
                  </a:cubicBezTo>
                  <a:cubicBezTo>
                    <a:pt x="93" y="273"/>
                    <a:pt x="93" y="273"/>
                    <a:pt x="93" y="273"/>
                  </a:cubicBezTo>
                  <a:cubicBezTo>
                    <a:pt x="92" y="264"/>
                    <a:pt x="92" y="264"/>
                    <a:pt x="92" y="264"/>
                  </a:cubicBezTo>
                  <a:cubicBezTo>
                    <a:pt x="93" y="259"/>
                    <a:pt x="93" y="259"/>
                    <a:pt x="93" y="259"/>
                  </a:cubicBezTo>
                  <a:cubicBezTo>
                    <a:pt x="93" y="255"/>
                    <a:pt x="93" y="255"/>
                    <a:pt x="93" y="255"/>
                  </a:cubicBezTo>
                  <a:cubicBezTo>
                    <a:pt x="75" y="255"/>
                    <a:pt x="75" y="255"/>
                    <a:pt x="75" y="255"/>
                  </a:cubicBezTo>
                  <a:cubicBezTo>
                    <a:pt x="54" y="269"/>
                    <a:pt x="54" y="269"/>
                    <a:pt x="54" y="269"/>
                  </a:cubicBezTo>
                  <a:cubicBezTo>
                    <a:pt x="53" y="276"/>
                    <a:pt x="53" y="276"/>
                    <a:pt x="53" y="276"/>
                  </a:cubicBezTo>
                  <a:cubicBezTo>
                    <a:pt x="40" y="277"/>
                    <a:pt x="40" y="277"/>
                    <a:pt x="40" y="277"/>
                  </a:cubicBezTo>
                  <a:cubicBezTo>
                    <a:pt x="12" y="291"/>
                    <a:pt x="12" y="291"/>
                    <a:pt x="12" y="291"/>
                  </a:cubicBezTo>
                  <a:cubicBezTo>
                    <a:pt x="0" y="301"/>
                    <a:pt x="0" y="301"/>
                    <a:pt x="0" y="301"/>
                  </a:cubicBezTo>
                  <a:cubicBezTo>
                    <a:pt x="17" y="313"/>
                    <a:pt x="17" y="313"/>
                    <a:pt x="17" y="313"/>
                  </a:cubicBezTo>
                  <a:cubicBezTo>
                    <a:pt x="41" y="315"/>
                    <a:pt x="41" y="315"/>
                    <a:pt x="41" y="315"/>
                  </a:cubicBezTo>
                  <a:cubicBezTo>
                    <a:pt x="46" y="322"/>
                    <a:pt x="46" y="322"/>
                    <a:pt x="46" y="322"/>
                  </a:cubicBezTo>
                  <a:cubicBezTo>
                    <a:pt x="27" y="322"/>
                    <a:pt x="27" y="322"/>
                    <a:pt x="27" y="322"/>
                  </a:cubicBezTo>
                  <a:cubicBezTo>
                    <a:pt x="23" y="326"/>
                    <a:pt x="23" y="326"/>
                    <a:pt x="23" y="326"/>
                  </a:cubicBezTo>
                  <a:cubicBezTo>
                    <a:pt x="35" y="339"/>
                    <a:pt x="35" y="339"/>
                    <a:pt x="35" y="339"/>
                  </a:cubicBezTo>
                  <a:cubicBezTo>
                    <a:pt x="35" y="348"/>
                    <a:pt x="35" y="348"/>
                    <a:pt x="35" y="348"/>
                  </a:cubicBezTo>
                  <a:cubicBezTo>
                    <a:pt x="46" y="358"/>
                    <a:pt x="46" y="358"/>
                    <a:pt x="46" y="358"/>
                  </a:cubicBezTo>
                  <a:cubicBezTo>
                    <a:pt x="83" y="358"/>
                    <a:pt x="83" y="358"/>
                    <a:pt x="83" y="358"/>
                  </a:cubicBezTo>
                  <a:cubicBezTo>
                    <a:pt x="92" y="364"/>
                    <a:pt x="92" y="364"/>
                    <a:pt x="92" y="364"/>
                  </a:cubicBezTo>
                  <a:cubicBezTo>
                    <a:pt x="89" y="356"/>
                    <a:pt x="89" y="356"/>
                    <a:pt x="89" y="356"/>
                  </a:cubicBezTo>
                  <a:cubicBezTo>
                    <a:pt x="94" y="353"/>
                    <a:pt x="94" y="353"/>
                    <a:pt x="94" y="353"/>
                  </a:cubicBezTo>
                  <a:cubicBezTo>
                    <a:pt x="101" y="364"/>
                    <a:pt x="101" y="364"/>
                    <a:pt x="101" y="364"/>
                  </a:cubicBezTo>
                  <a:cubicBezTo>
                    <a:pt x="111" y="351"/>
                    <a:pt x="111" y="351"/>
                    <a:pt x="111" y="351"/>
                  </a:cubicBezTo>
                  <a:cubicBezTo>
                    <a:pt x="141" y="336"/>
                    <a:pt x="141" y="336"/>
                    <a:pt x="141" y="336"/>
                  </a:cubicBezTo>
                  <a:cubicBezTo>
                    <a:pt x="143" y="350"/>
                    <a:pt x="143" y="350"/>
                    <a:pt x="143" y="350"/>
                  </a:cubicBezTo>
                  <a:cubicBezTo>
                    <a:pt x="134" y="353"/>
                    <a:pt x="134" y="353"/>
                    <a:pt x="134" y="353"/>
                  </a:cubicBezTo>
                  <a:cubicBezTo>
                    <a:pt x="131" y="357"/>
                    <a:pt x="131" y="357"/>
                    <a:pt x="131" y="357"/>
                  </a:cubicBezTo>
                  <a:cubicBezTo>
                    <a:pt x="137" y="360"/>
                    <a:pt x="137" y="360"/>
                    <a:pt x="137" y="360"/>
                  </a:cubicBezTo>
                  <a:cubicBezTo>
                    <a:pt x="145" y="391"/>
                    <a:pt x="145" y="391"/>
                    <a:pt x="145" y="391"/>
                  </a:cubicBezTo>
                  <a:cubicBezTo>
                    <a:pt x="131" y="402"/>
                    <a:pt x="131" y="402"/>
                    <a:pt x="131" y="402"/>
                  </a:cubicBezTo>
                  <a:cubicBezTo>
                    <a:pt x="124" y="397"/>
                    <a:pt x="124" y="397"/>
                    <a:pt x="124" y="397"/>
                  </a:cubicBezTo>
                  <a:cubicBezTo>
                    <a:pt x="113" y="410"/>
                    <a:pt x="113" y="410"/>
                    <a:pt x="113" y="410"/>
                  </a:cubicBezTo>
                  <a:cubicBezTo>
                    <a:pt x="94" y="409"/>
                    <a:pt x="94" y="409"/>
                    <a:pt x="94" y="409"/>
                  </a:cubicBezTo>
                  <a:cubicBezTo>
                    <a:pt x="96" y="403"/>
                    <a:pt x="96" y="403"/>
                    <a:pt x="96" y="403"/>
                  </a:cubicBezTo>
                  <a:cubicBezTo>
                    <a:pt x="86" y="402"/>
                    <a:pt x="86" y="402"/>
                    <a:pt x="86" y="402"/>
                  </a:cubicBezTo>
                  <a:cubicBezTo>
                    <a:pt x="80" y="408"/>
                    <a:pt x="80" y="408"/>
                    <a:pt x="80" y="408"/>
                  </a:cubicBezTo>
                  <a:cubicBezTo>
                    <a:pt x="77" y="420"/>
                    <a:pt x="77" y="420"/>
                    <a:pt x="77" y="420"/>
                  </a:cubicBezTo>
                  <a:cubicBezTo>
                    <a:pt x="72" y="427"/>
                    <a:pt x="72" y="427"/>
                    <a:pt x="72" y="427"/>
                  </a:cubicBezTo>
                  <a:cubicBezTo>
                    <a:pt x="72" y="416"/>
                    <a:pt x="72" y="416"/>
                    <a:pt x="72" y="416"/>
                  </a:cubicBezTo>
                  <a:cubicBezTo>
                    <a:pt x="67" y="430"/>
                    <a:pt x="67" y="430"/>
                    <a:pt x="67" y="430"/>
                  </a:cubicBezTo>
                  <a:cubicBezTo>
                    <a:pt x="59" y="436"/>
                    <a:pt x="59" y="436"/>
                    <a:pt x="59" y="436"/>
                  </a:cubicBezTo>
                  <a:cubicBezTo>
                    <a:pt x="49" y="449"/>
                    <a:pt x="49" y="449"/>
                    <a:pt x="49" y="449"/>
                  </a:cubicBezTo>
                  <a:cubicBezTo>
                    <a:pt x="58" y="467"/>
                    <a:pt x="58" y="467"/>
                    <a:pt x="58" y="467"/>
                  </a:cubicBezTo>
                  <a:cubicBezTo>
                    <a:pt x="66" y="467"/>
                    <a:pt x="66" y="467"/>
                    <a:pt x="66" y="467"/>
                  </a:cubicBezTo>
                  <a:cubicBezTo>
                    <a:pt x="65" y="474"/>
                    <a:pt x="65" y="474"/>
                    <a:pt x="65" y="474"/>
                  </a:cubicBezTo>
                  <a:cubicBezTo>
                    <a:pt x="85" y="481"/>
                    <a:pt x="85" y="481"/>
                    <a:pt x="85" y="481"/>
                  </a:cubicBezTo>
                  <a:cubicBezTo>
                    <a:pt x="92" y="497"/>
                    <a:pt x="92" y="497"/>
                    <a:pt x="92" y="497"/>
                  </a:cubicBezTo>
                  <a:cubicBezTo>
                    <a:pt x="85" y="492"/>
                    <a:pt x="85" y="492"/>
                    <a:pt x="85" y="492"/>
                  </a:cubicBezTo>
                  <a:cubicBezTo>
                    <a:pt x="76" y="496"/>
                    <a:pt x="76" y="496"/>
                    <a:pt x="76" y="496"/>
                  </a:cubicBezTo>
                  <a:cubicBezTo>
                    <a:pt x="72" y="515"/>
                    <a:pt x="72" y="515"/>
                    <a:pt x="72" y="515"/>
                  </a:cubicBezTo>
                  <a:cubicBezTo>
                    <a:pt x="78" y="522"/>
                    <a:pt x="78" y="522"/>
                    <a:pt x="78" y="522"/>
                  </a:cubicBezTo>
                  <a:cubicBezTo>
                    <a:pt x="78" y="530"/>
                    <a:pt x="78" y="530"/>
                    <a:pt x="78" y="530"/>
                  </a:cubicBezTo>
                  <a:cubicBezTo>
                    <a:pt x="93" y="531"/>
                    <a:pt x="93" y="531"/>
                    <a:pt x="93" y="531"/>
                  </a:cubicBezTo>
                  <a:cubicBezTo>
                    <a:pt x="98" y="526"/>
                    <a:pt x="98" y="526"/>
                    <a:pt x="98" y="526"/>
                  </a:cubicBezTo>
                  <a:cubicBezTo>
                    <a:pt x="105" y="525"/>
                    <a:pt x="105" y="525"/>
                    <a:pt x="105" y="525"/>
                  </a:cubicBezTo>
                  <a:cubicBezTo>
                    <a:pt x="111" y="520"/>
                    <a:pt x="111" y="520"/>
                    <a:pt x="111" y="520"/>
                  </a:cubicBezTo>
                  <a:cubicBezTo>
                    <a:pt x="124" y="523"/>
                    <a:pt x="124" y="523"/>
                    <a:pt x="124" y="523"/>
                  </a:cubicBezTo>
                  <a:cubicBezTo>
                    <a:pt x="125" y="541"/>
                    <a:pt x="125" y="541"/>
                    <a:pt x="125" y="541"/>
                  </a:cubicBezTo>
                  <a:cubicBezTo>
                    <a:pt x="122" y="551"/>
                    <a:pt x="122" y="551"/>
                    <a:pt x="122" y="551"/>
                  </a:cubicBezTo>
                  <a:cubicBezTo>
                    <a:pt x="125" y="557"/>
                    <a:pt x="125" y="557"/>
                    <a:pt x="125" y="557"/>
                  </a:cubicBezTo>
                  <a:cubicBezTo>
                    <a:pt x="123" y="571"/>
                    <a:pt x="123" y="571"/>
                    <a:pt x="123" y="571"/>
                  </a:cubicBezTo>
                  <a:cubicBezTo>
                    <a:pt x="117" y="579"/>
                    <a:pt x="117" y="579"/>
                    <a:pt x="117" y="579"/>
                  </a:cubicBezTo>
                  <a:cubicBezTo>
                    <a:pt x="128" y="580"/>
                    <a:pt x="128" y="580"/>
                    <a:pt x="128" y="580"/>
                  </a:cubicBezTo>
                  <a:cubicBezTo>
                    <a:pt x="143" y="566"/>
                    <a:pt x="143" y="566"/>
                    <a:pt x="143" y="566"/>
                  </a:cubicBezTo>
                  <a:cubicBezTo>
                    <a:pt x="164" y="562"/>
                    <a:pt x="164" y="562"/>
                    <a:pt x="164" y="562"/>
                  </a:cubicBezTo>
                  <a:cubicBezTo>
                    <a:pt x="173" y="568"/>
                    <a:pt x="173" y="568"/>
                    <a:pt x="173" y="568"/>
                  </a:cubicBezTo>
                  <a:cubicBezTo>
                    <a:pt x="186" y="595"/>
                    <a:pt x="186" y="595"/>
                    <a:pt x="186" y="595"/>
                  </a:cubicBezTo>
                  <a:cubicBezTo>
                    <a:pt x="193" y="598"/>
                    <a:pt x="193" y="598"/>
                    <a:pt x="193" y="598"/>
                  </a:cubicBezTo>
                  <a:cubicBezTo>
                    <a:pt x="194" y="594"/>
                    <a:pt x="194" y="594"/>
                    <a:pt x="194" y="594"/>
                  </a:cubicBezTo>
                  <a:cubicBezTo>
                    <a:pt x="192" y="585"/>
                    <a:pt x="192" y="585"/>
                    <a:pt x="192" y="585"/>
                  </a:cubicBezTo>
                  <a:cubicBezTo>
                    <a:pt x="193" y="568"/>
                    <a:pt x="193" y="568"/>
                    <a:pt x="193" y="568"/>
                  </a:cubicBezTo>
                  <a:cubicBezTo>
                    <a:pt x="198" y="573"/>
                    <a:pt x="198" y="573"/>
                    <a:pt x="198" y="573"/>
                  </a:cubicBezTo>
                  <a:cubicBezTo>
                    <a:pt x="198" y="584"/>
                    <a:pt x="198" y="584"/>
                    <a:pt x="198" y="584"/>
                  </a:cubicBezTo>
                  <a:cubicBezTo>
                    <a:pt x="213" y="579"/>
                    <a:pt x="213" y="579"/>
                    <a:pt x="213" y="579"/>
                  </a:cubicBezTo>
                  <a:cubicBezTo>
                    <a:pt x="226" y="556"/>
                    <a:pt x="226" y="556"/>
                    <a:pt x="226" y="556"/>
                  </a:cubicBezTo>
                  <a:cubicBezTo>
                    <a:pt x="231" y="559"/>
                    <a:pt x="231" y="559"/>
                    <a:pt x="231" y="559"/>
                  </a:cubicBezTo>
                  <a:cubicBezTo>
                    <a:pt x="225" y="571"/>
                    <a:pt x="225" y="571"/>
                    <a:pt x="225" y="571"/>
                  </a:cubicBezTo>
                  <a:cubicBezTo>
                    <a:pt x="223" y="594"/>
                    <a:pt x="223" y="594"/>
                    <a:pt x="223" y="594"/>
                  </a:cubicBezTo>
                  <a:cubicBezTo>
                    <a:pt x="227" y="601"/>
                    <a:pt x="227" y="601"/>
                    <a:pt x="227" y="601"/>
                  </a:cubicBezTo>
                  <a:cubicBezTo>
                    <a:pt x="216" y="622"/>
                    <a:pt x="216" y="622"/>
                    <a:pt x="216" y="622"/>
                  </a:cubicBezTo>
                  <a:cubicBezTo>
                    <a:pt x="199" y="628"/>
                    <a:pt x="199" y="628"/>
                    <a:pt x="199" y="628"/>
                  </a:cubicBezTo>
                  <a:cubicBezTo>
                    <a:pt x="187" y="644"/>
                    <a:pt x="187" y="644"/>
                    <a:pt x="187" y="644"/>
                  </a:cubicBezTo>
                  <a:cubicBezTo>
                    <a:pt x="181" y="643"/>
                    <a:pt x="181" y="643"/>
                    <a:pt x="181" y="643"/>
                  </a:cubicBezTo>
                  <a:cubicBezTo>
                    <a:pt x="160" y="651"/>
                    <a:pt x="160" y="651"/>
                    <a:pt x="160" y="651"/>
                  </a:cubicBezTo>
                  <a:cubicBezTo>
                    <a:pt x="148" y="663"/>
                    <a:pt x="148" y="663"/>
                    <a:pt x="148" y="663"/>
                  </a:cubicBezTo>
                  <a:cubicBezTo>
                    <a:pt x="150" y="674"/>
                    <a:pt x="150" y="674"/>
                    <a:pt x="150" y="674"/>
                  </a:cubicBezTo>
                  <a:cubicBezTo>
                    <a:pt x="142" y="675"/>
                    <a:pt x="142" y="675"/>
                    <a:pt x="142" y="675"/>
                  </a:cubicBezTo>
                  <a:cubicBezTo>
                    <a:pt x="136" y="661"/>
                    <a:pt x="136" y="661"/>
                    <a:pt x="136" y="661"/>
                  </a:cubicBezTo>
                  <a:cubicBezTo>
                    <a:pt x="132" y="661"/>
                    <a:pt x="132" y="661"/>
                    <a:pt x="132" y="661"/>
                  </a:cubicBezTo>
                  <a:cubicBezTo>
                    <a:pt x="110" y="680"/>
                    <a:pt x="110" y="680"/>
                    <a:pt x="110" y="680"/>
                  </a:cubicBezTo>
                  <a:cubicBezTo>
                    <a:pt x="118" y="705"/>
                    <a:pt x="118" y="705"/>
                    <a:pt x="118" y="705"/>
                  </a:cubicBezTo>
                  <a:cubicBezTo>
                    <a:pt x="128" y="700"/>
                    <a:pt x="128" y="700"/>
                    <a:pt x="128" y="700"/>
                  </a:cubicBezTo>
                  <a:cubicBezTo>
                    <a:pt x="129" y="686"/>
                    <a:pt x="129" y="686"/>
                    <a:pt x="129" y="686"/>
                  </a:cubicBezTo>
                  <a:cubicBezTo>
                    <a:pt x="135" y="684"/>
                    <a:pt x="135" y="684"/>
                    <a:pt x="135" y="684"/>
                  </a:cubicBezTo>
                  <a:cubicBezTo>
                    <a:pt x="138" y="696"/>
                    <a:pt x="138" y="696"/>
                    <a:pt x="138" y="696"/>
                  </a:cubicBezTo>
                  <a:cubicBezTo>
                    <a:pt x="164" y="674"/>
                    <a:pt x="164" y="674"/>
                    <a:pt x="164" y="674"/>
                  </a:cubicBezTo>
                  <a:cubicBezTo>
                    <a:pt x="164" y="685"/>
                    <a:pt x="164" y="685"/>
                    <a:pt x="164" y="685"/>
                  </a:cubicBezTo>
                  <a:cubicBezTo>
                    <a:pt x="171" y="680"/>
                    <a:pt x="171" y="680"/>
                    <a:pt x="171" y="680"/>
                  </a:cubicBezTo>
                  <a:cubicBezTo>
                    <a:pt x="174" y="669"/>
                    <a:pt x="174" y="669"/>
                    <a:pt x="174" y="669"/>
                  </a:cubicBezTo>
                  <a:cubicBezTo>
                    <a:pt x="183" y="666"/>
                    <a:pt x="183" y="666"/>
                    <a:pt x="183" y="666"/>
                  </a:cubicBezTo>
                  <a:cubicBezTo>
                    <a:pt x="185" y="671"/>
                    <a:pt x="185" y="671"/>
                    <a:pt x="185" y="671"/>
                  </a:cubicBezTo>
                  <a:cubicBezTo>
                    <a:pt x="201" y="654"/>
                    <a:pt x="201" y="654"/>
                    <a:pt x="201" y="654"/>
                  </a:cubicBezTo>
                  <a:cubicBezTo>
                    <a:pt x="221" y="647"/>
                    <a:pt x="221" y="647"/>
                    <a:pt x="221" y="647"/>
                  </a:cubicBezTo>
                  <a:cubicBezTo>
                    <a:pt x="241" y="637"/>
                    <a:pt x="241" y="637"/>
                    <a:pt x="241" y="637"/>
                  </a:cubicBezTo>
                  <a:cubicBezTo>
                    <a:pt x="251" y="616"/>
                    <a:pt x="251" y="616"/>
                    <a:pt x="251" y="616"/>
                  </a:cubicBezTo>
                  <a:cubicBezTo>
                    <a:pt x="256" y="616"/>
                    <a:pt x="256" y="616"/>
                    <a:pt x="256" y="616"/>
                  </a:cubicBezTo>
                  <a:cubicBezTo>
                    <a:pt x="256" y="611"/>
                    <a:pt x="256" y="611"/>
                    <a:pt x="256" y="611"/>
                  </a:cubicBezTo>
                  <a:cubicBezTo>
                    <a:pt x="265" y="602"/>
                    <a:pt x="265" y="602"/>
                    <a:pt x="265" y="602"/>
                  </a:cubicBezTo>
                  <a:cubicBezTo>
                    <a:pt x="274" y="593"/>
                    <a:pt x="274" y="593"/>
                    <a:pt x="274" y="593"/>
                  </a:cubicBezTo>
                  <a:cubicBezTo>
                    <a:pt x="277" y="584"/>
                    <a:pt x="277" y="584"/>
                    <a:pt x="277" y="584"/>
                  </a:cubicBezTo>
                  <a:cubicBezTo>
                    <a:pt x="286" y="577"/>
                    <a:pt x="286" y="577"/>
                    <a:pt x="286" y="577"/>
                  </a:cubicBezTo>
                  <a:cubicBezTo>
                    <a:pt x="292" y="569"/>
                    <a:pt x="292" y="569"/>
                    <a:pt x="292" y="569"/>
                  </a:cubicBezTo>
                  <a:cubicBezTo>
                    <a:pt x="293" y="559"/>
                    <a:pt x="293" y="559"/>
                    <a:pt x="293" y="559"/>
                  </a:cubicBezTo>
                  <a:cubicBezTo>
                    <a:pt x="286" y="556"/>
                    <a:pt x="286" y="556"/>
                    <a:pt x="286" y="556"/>
                  </a:cubicBezTo>
                  <a:cubicBezTo>
                    <a:pt x="279" y="558"/>
                    <a:pt x="279" y="558"/>
                    <a:pt x="279" y="558"/>
                  </a:cubicBezTo>
                  <a:cubicBezTo>
                    <a:pt x="283" y="537"/>
                    <a:pt x="283" y="537"/>
                    <a:pt x="283" y="537"/>
                  </a:cubicBezTo>
                  <a:cubicBezTo>
                    <a:pt x="292" y="537"/>
                    <a:pt x="292" y="537"/>
                    <a:pt x="292" y="537"/>
                  </a:cubicBezTo>
                  <a:cubicBezTo>
                    <a:pt x="297" y="531"/>
                    <a:pt x="297" y="531"/>
                    <a:pt x="297" y="531"/>
                  </a:cubicBezTo>
                  <a:cubicBezTo>
                    <a:pt x="300" y="515"/>
                    <a:pt x="300" y="515"/>
                    <a:pt x="300" y="515"/>
                  </a:cubicBezTo>
                  <a:cubicBezTo>
                    <a:pt x="318" y="491"/>
                    <a:pt x="318" y="491"/>
                    <a:pt x="318" y="491"/>
                  </a:cubicBezTo>
                  <a:cubicBezTo>
                    <a:pt x="339" y="468"/>
                    <a:pt x="339" y="468"/>
                    <a:pt x="339" y="468"/>
                  </a:cubicBezTo>
                  <a:cubicBezTo>
                    <a:pt x="357" y="468"/>
                    <a:pt x="357" y="468"/>
                    <a:pt x="357" y="468"/>
                  </a:cubicBezTo>
                  <a:cubicBezTo>
                    <a:pt x="375" y="481"/>
                    <a:pt x="375" y="481"/>
                    <a:pt x="375" y="481"/>
                  </a:cubicBezTo>
                  <a:cubicBezTo>
                    <a:pt x="365" y="482"/>
                    <a:pt x="365" y="482"/>
                    <a:pt x="365" y="482"/>
                  </a:cubicBezTo>
                  <a:cubicBezTo>
                    <a:pt x="357" y="476"/>
                    <a:pt x="357" y="476"/>
                    <a:pt x="357" y="476"/>
                  </a:cubicBezTo>
                  <a:cubicBezTo>
                    <a:pt x="340" y="478"/>
                    <a:pt x="340" y="478"/>
                    <a:pt x="340" y="478"/>
                  </a:cubicBezTo>
                  <a:cubicBezTo>
                    <a:pt x="325" y="493"/>
                    <a:pt x="325" y="493"/>
                    <a:pt x="325" y="493"/>
                  </a:cubicBezTo>
                  <a:cubicBezTo>
                    <a:pt x="327" y="505"/>
                    <a:pt x="327" y="505"/>
                    <a:pt x="327" y="505"/>
                  </a:cubicBezTo>
                  <a:cubicBezTo>
                    <a:pt x="316" y="525"/>
                    <a:pt x="316" y="525"/>
                    <a:pt x="316" y="525"/>
                  </a:cubicBezTo>
                  <a:cubicBezTo>
                    <a:pt x="317" y="542"/>
                    <a:pt x="317" y="542"/>
                    <a:pt x="317" y="542"/>
                  </a:cubicBezTo>
                  <a:cubicBezTo>
                    <a:pt x="322" y="540"/>
                    <a:pt x="322" y="540"/>
                    <a:pt x="322" y="540"/>
                  </a:cubicBezTo>
                  <a:cubicBezTo>
                    <a:pt x="327" y="535"/>
                    <a:pt x="327" y="535"/>
                    <a:pt x="327" y="535"/>
                  </a:cubicBezTo>
                  <a:cubicBezTo>
                    <a:pt x="333" y="535"/>
                    <a:pt x="333" y="535"/>
                    <a:pt x="333" y="535"/>
                  </a:cubicBezTo>
                  <a:cubicBezTo>
                    <a:pt x="320" y="549"/>
                    <a:pt x="320" y="549"/>
                    <a:pt x="320" y="549"/>
                  </a:cubicBezTo>
                  <a:cubicBezTo>
                    <a:pt x="315" y="552"/>
                    <a:pt x="315" y="552"/>
                    <a:pt x="315" y="552"/>
                  </a:cubicBezTo>
                  <a:cubicBezTo>
                    <a:pt x="314" y="558"/>
                    <a:pt x="314" y="558"/>
                    <a:pt x="314" y="558"/>
                  </a:cubicBezTo>
                  <a:cubicBezTo>
                    <a:pt x="334" y="556"/>
                    <a:pt x="334" y="556"/>
                    <a:pt x="334" y="556"/>
                  </a:cubicBezTo>
                  <a:cubicBezTo>
                    <a:pt x="344" y="544"/>
                    <a:pt x="344" y="544"/>
                    <a:pt x="344" y="544"/>
                  </a:cubicBezTo>
                  <a:cubicBezTo>
                    <a:pt x="350" y="550"/>
                    <a:pt x="350" y="550"/>
                    <a:pt x="350" y="550"/>
                  </a:cubicBezTo>
                  <a:cubicBezTo>
                    <a:pt x="357" y="546"/>
                    <a:pt x="357" y="546"/>
                    <a:pt x="357" y="546"/>
                  </a:cubicBezTo>
                  <a:cubicBezTo>
                    <a:pt x="365" y="542"/>
                    <a:pt x="365" y="542"/>
                    <a:pt x="365" y="542"/>
                  </a:cubicBezTo>
                  <a:cubicBezTo>
                    <a:pt x="362" y="535"/>
                    <a:pt x="362" y="535"/>
                    <a:pt x="362" y="535"/>
                  </a:cubicBezTo>
                  <a:cubicBezTo>
                    <a:pt x="366" y="527"/>
                    <a:pt x="366" y="527"/>
                    <a:pt x="366" y="527"/>
                  </a:cubicBezTo>
                  <a:cubicBezTo>
                    <a:pt x="370" y="527"/>
                    <a:pt x="370" y="527"/>
                    <a:pt x="370" y="527"/>
                  </a:cubicBezTo>
                  <a:cubicBezTo>
                    <a:pt x="378" y="529"/>
                    <a:pt x="378" y="529"/>
                    <a:pt x="378" y="529"/>
                  </a:cubicBezTo>
                  <a:cubicBezTo>
                    <a:pt x="388" y="520"/>
                    <a:pt x="388" y="520"/>
                    <a:pt x="388" y="520"/>
                  </a:cubicBezTo>
                  <a:cubicBezTo>
                    <a:pt x="387" y="499"/>
                    <a:pt x="387" y="499"/>
                    <a:pt x="387" y="499"/>
                  </a:cubicBezTo>
                  <a:cubicBezTo>
                    <a:pt x="392" y="481"/>
                    <a:pt x="392" y="481"/>
                    <a:pt x="392" y="481"/>
                  </a:cubicBezTo>
                  <a:cubicBezTo>
                    <a:pt x="397" y="492"/>
                    <a:pt x="397" y="492"/>
                    <a:pt x="397" y="492"/>
                  </a:cubicBezTo>
                  <a:cubicBezTo>
                    <a:pt x="414" y="484"/>
                    <a:pt x="414" y="484"/>
                    <a:pt x="414" y="484"/>
                  </a:cubicBezTo>
                  <a:cubicBezTo>
                    <a:pt x="420" y="495"/>
                    <a:pt x="420" y="495"/>
                    <a:pt x="420" y="495"/>
                  </a:cubicBezTo>
                  <a:cubicBezTo>
                    <a:pt x="433" y="505"/>
                    <a:pt x="433" y="505"/>
                    <a:pt x="433" y="505"/>
                  </a:cubicBezTo>
                  <a:cubicBezTo>
                    <a:pt x="448" y="509"/>
                    <a:pt x="448" y="509"/>
                    <a:pt x="448" y="509"/>
                  </a:cubicBezTo>
                  <a:cubicBezTo>
                    <a:pt x="455" y="504"/>
                    <a:pt x="455" y="504"/>
                    <a:pt x="455" y="504"/>
                  </a:cubicBezTo>
                  <a:cubicBezTo>
                    <a:pt x="456" y="513"/>
                    <a:pt x="456" y="513"/>
                    <a:pt x="456" y="513"/>
                  </a:cubicBezTo>
                  <a:cubicBezTo>
                    <a:pt x="461" y="517"/>
                    <a:pt x="461" y="517"/>
                    <a:pt x="461" y="517"/>
                  </a:cubicBezTo>
                  <a:cubicBezTo>
                    <a:pt x="466" y="516"/>
                    <a:pt x="466" y="516"/>
                    <a:pt x="466" y="516"/>
                  </a:cubicBezTo>
                  <a:cubicBezTo>
                    <a:pt x="466" y="523"/>
                    <a:pt x="466" y="523"/>
                    <a:pt x="466" y="523"/>
                  </a:cubicBezTo>
                  <a:cubicBezTo>
                    <a:pt x="471" y="525"/>
                    <a:pt x="471" y="525"/>
                    <a:pt x="471" y="525"/>
                  </a:cubicBezTo>
                  <a:cubicBezTo>
                    <a:pt x="483" y="519"/>
                    <a:pt x="483" y="519"/>
                    <a:pt x="483" y="519"/>
                  </a:cubicBezTo>
                  <a:cubicBezTo>
                    <a:pt x="495" y="522"/>
                    <a:pt x="495" y="522"/>
                    <a:pt x="495" y="522"/>
                  </a:cubicBezTo>
                  <a:cubicBezTo>
                    <a:pt x="512" y="527"/>
                    <a:pt x="512" y="527"/>
                    <a:pt x="512" y="527"/>
                  </a:cubicBezTo>
                  <a:cubicBezTo>
                    <a:pt x="540" y="533"/>
                    <a:pt x="540" y="533"/>
                    <a:pt x="540" y="533"/>
                  </a:cubicBezTo>
                  <a:cubicBezTo>
                    <a:pt x="549" y="525"/>
                    <a:pt x="549" y="525"/>
                    <a:pt x="549" y="525"/>
                  </a:cubicBezTo>
                  <a:cubicBezTo>
                    <a:pt x="555" y="526"/>
                    <a:pt x="555" y="526"/>
                    <a:pt x="555" y="526"/>
                  </a:cubicBezTo>
                  <a:cubicBezTo>
                    <a:pt x="553" y="534"/>
                    <a:pt x="553" y="534"/>
                    <a:pt x="553" y="534"/>
                  </a:cubicBezTo>
                  <a:cubicBezTo>
                    <a:pt x="548" y="544"/>
                    <a:pt x="548" y="544"/>
                    <a:pt x="548" y="544"/>
                  </a:cubicBezTo>
                  <a:cubicBezTo>
                    <a:pt x="550" y="549"/>
                    <a:pt x="550" y="549"/>
                    <a:pt x="550" y="549"/>
                  </a:cubicBezTo>
                  <a:cubicBezTo>
                    <a:pt x="558" y="551"/>
                    <a:pt x="558" y="551"/>
                    <a:pt x="558" y="551"/>
                  </a:cubicBezTo>
                  <a:cubicBezTo>
                    <a:pt x="566" y="558"/>
                    <a:pt x="566" y="558"/>
                    <a:pt x="566" y="558"/>
                  </a:cubicBezTo>
                  <a:cubicBezTo>
                    <a:pt x="571" y="552"/>
                    <a:pt x="571" y="552"/>
                    <a:pt x="571" y="552"/>
                  </a:cubicBezTo>
                  <a:cubicBezTo>
                    <a:pt x="573" y="563"/>
                    <a:pt x="573" y="563"/>
                    <a:pt x="573" y="563"/>
                  </a:cubicBezTo>
                  <a:cubicBezTo>
                    <a:pt x="582" y="566"/>
                    <a:pt x="582" y="566"/>
                    <a:pt x="582" y="566"/>
                  </a:cubicBezTo>
                  <a:cubicBezTo>
                    <a:pt x="594" y="577"/>
                    <a:pt x="594" y="577"/>
                    <a:pt x="594" y="577"/>
                  </a:cubicBezTo>
                  <a:cubicBezTo>
                    <a:pt x="601" y="578"/>
                    <a:pt x="601" y="578"/>
                    <a:pt x="601" y="578"/>
                  </a:cubicBezTo>
                  <a:cubicBezTo>
                    <a:pt x="608" y="582"/>
                    <a:pt x="608" y="582"/>
                    <a:pt x="608" y="582"/>
                  </a:cubicBezTo>
                  <a:cubicBezTo>
                    <a:pt x="618" y="576"/>
                    <a:pt x="618" y="576"/>
                    <a:pt x="618" y="576"/>
                  </a:cubicBezTo>
                  <a:cubicBezTo>
                    <a:pt x="602" y="562"/>
                    <a:pt x="602" y="562"/>
                    <a:pt x="602" y="562"/>
                  </a:cubicBezTo>
                  <a:cubicBezTo>
                    <a:pt x="601" y="553"/>
                    <a:pt x="601" y="553"/>
                    <a:pt x="601" y="553"/>
                  </a:cubicBezTo>
                  <a:cubicBezTo>
                    <a:pt x="613" y="560"/>
                    <a:pt x="613" y="560"/>
                    <a:pt x="613" y="560"/>
                  </a:cubicBezTo>
                  <a:cubicBezTo>
                    <a:pt x="617" y="555"/>
                    <a:pt x="617" y="555"/>
                    <a:pt x="617" y="555"/>
                  </a:cubicBezTo>
                  <a:cubicBezTo>
                    <a:pt x="622" y="566"/>
                    <a:pt x="622" y="566"/>
                    <a:pt x="622" y="566"/>
                  </a:cubicBezTo>
                  <a:cubicBezTo>
                    <a:pt x="624" y="580"/>
                    <a:pt x="624" y="580"/>
                    <a:pt x="624" y="580"/>
                  </a:cubicBezTo>
                  <a:cubicBezTo>
                    <a:pt x="628" y="579"/>
                    <a:pt x="628" y="579"/>
                    <a:pt x="628" y="579"/>
                  </a:cubicBezTo>
                  <a:cubicBezTo>
                    <a:pt x="633" y="584"/>
                    <a:pt x="633" y="584"/>
                    <a:pt x="633" y="584"/>
                  </a:cubicBezTo>
                  <a:cubicBezTo>
                    <a:pt x="636" y="567"/>
                    <a:pt x="636" y="567"/>
                    <a:pt x="636" y="567"/>
                  </a:cubicBezTo>
                  <a:cubicBezTo>
                    <a:pt x="634" y="551"/>
                    <a:pt x="634" y="551"/>
                    <a:pt x="634" y="551"/>
                  </a:cubicBezTo>
                  <a:cubicBezTo>
                    <a:pt x="639" y="557"/>
                    <a:pt x="639" y="557"/>
                    <a:pt x="639" y="557"/>
                  </a:cubicBezTo>
                  <a:cubicBezTo>
                    <a:pt x="652" y="585"/>
                    <a:pt x="652" y="585"/>
                    <a:pt x="652" y="585"/>
                  </a:cubicBezTo>
                  <a:cubicBezTo>
                    <a:pt x="659" y="587"/>
                    <a:pt x="659" y="587"/>
                    <a:pt x="659" y="587"/>
                  </a:cubicBezTo>
                  <a:cubicBezTo>
                    <a:pt x="665" y="602"/>
                    <a:pt x="665" y="602"/>
                    <a:pt x="665" y="602"/>
                  </a:cubicBezTo>
                  <a:cubicBezTo>
                    <a:pt x="669" y="606"/>
                    <a:pt x="669" y="606"/>
                    <a:pt x="669" y="606"/>
                  </a:cubicBezTo>
                  <a:cubicBezTo>
                    <a:pt x="666" y="611"/>
                    <a:pt x="666" y="611"/>
                    <a:pt x="666" y="611"/>
                  </a:cubicBezTo>
                  <a:cubicBezTo>
                    <a:pt x="671" y="623"/>
                    <a:pt x="671" y="623"/>
                    <a:pt x="671" y="623"/>
                  </a:cubicBezTo>
                  <a:cubicBezTo>
                    <a:pt x="690" y="643"/>
                    <a:pt x="690" y="643"/>
                    <a:pt x="690" y="643"/>
                  </a:cubicBezTo>
                  <a:cubicBezTo>
                    <a:pt x="689" y="650"/>
                    <a:pt x="689" y="650"/>
                    <a:pt x="689" y="650"/>
                  </a:cubicBezTo>
                  <a:cubicBezTo>
                    <a:pt x="706" y="663"/>
                    <a:pt x="706" y="663"/>
                    <a:pt x="706" y="663"/>
                  </a:cubicBezTo>
                  <a:cubicBezTo>
                    <a:pt x="701" y="668"/>
                    <a:pt x="701" y="668"/>
                    <a:pt x="701" y="668"/>
                  </a:cubicBezTo>
                  <a:cubicBezTo>
                    <a:pt x="700" y="676"/>
                    <a:pt x="700" y="676"/>
                    <a:pt x="700" y="676"/>
                  </a:cubicBezTo>
                  <a:cubicBezTo>
                    <a:pt x="696" y="681"/>
                    <a:pt x="696" y="681"/>
                    <a:pt x="696" y="681"/>
                  </a:cubicBezTo>
                  <a:cubicBezTo>
                    <a:pt x="700" y="688"/>
                    <a:pt x="700" y="688"/>
                    <a:pt x="700" y="688"/>
                  </a:cubicBezTo>
                  <a:cubicBezTo>
                    <a:pt x="705" y="692"/>
                    <a:pt x="705" y="692"/>
                    <a:pt x="705" y="692"/>
                  </a:cubicBezTo>
                  <a:cubicBezTo>
                    <a:pt x="719" y="695"/>
                    <a:pt x="719" y="695"/>
                    <a:pt x="719" y="695"/>
                  </a:cubicBezTo>
                  <a:lnTo>
                    <a:pt x="724" y="705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406" name="Uruguay">
              <a:extLst>
                <a:ext uri="{FF2B5EF4-FFF2-40B4-BE49-F238E27FC236}">
                  <a16:creationId xmlns="" xmlns:a16="http://schemas.microsoft.com/office/drawing/2014/main" id="{02C7E6AC-DA45-41F0-8929-5C688C6A0A91}"/>
                </a:ext>
              </a:extLst>
            </p:cNvPr>
            <p:cNvSpPr>
              <a:spLocks/>
            </p:cNvSpPr>
            <p:nvPr/>
          </p:nvSpPr>
          <p:spPr bwMode="gray">
            <a:xfrm>
              <a:off x="3905291" y="5606927"/>
              <a:ext cx="152278" cy="204523"/>
            </a:xfrm>
            <a:custGeom>
              <a:avLst/>
              <a:gdLst/>
              <a:ahLst/>
              <a:cxnLst>
                <a:cxn ang="0">
                  <a:pos x="8" y="181"/>
                </a:cxn>
                <a:cxn ang="0">
                  <a:pos x="0" y="162"/>
                </a:cxn>
                <a:cxn ang="0">
                  <a:pos x="2" y="130"/>
                </a:cxn>
                <a:cxn ang="0">
                  <a:pos x="6" y="94"/>
                </a:cxn>
                <a:cxn ang="0">
                  <a:pos x="12" y="68"/>
                </a:cxn>
                <a:cxn ang="0">
                  <a:pos x="30" y="24"/>
                </a:cxn>
                <a:cxn ang="0">
                  <a:pos x="52" y="0"/>
                </a:cxn>
                <a:cxn ang="0">
                  <a:pos x="70" y="40"/>
                </a:cxn>
                <a:cxn ang="0">
                  <a:pos x="84" y="60"/>
                </a:cxn>
                <a:cxn ang="0">
                  <a:pos x="98" y="52"/>
                </a:cxn>
                <a:cxn ang="0">
                  <a:pos x="120" y="70"/>
                </a:cxn>
                <a:cxn ang="0">
                  <a:pos x="144" y="82"/>
                </a:cxn>
                <a:cxn ang="0">
                  <a:pos x="160" y="100"/>
                </a:cxn>
                <a:cxn ang="0">
                  <a:pos x="174" y="124"/>
                </a:cxn>
                <a:cxn ang="0">
                  <a:pos x="188" y="128"/>
                </a:cxn>
                <a:cxn ang="0">
                  <a:pos x="180" y="148"/>
                </a:cxn>
                <a:cxn ang="0">
                  <a:pos x="178" y="168"/>
                </a:cxn>
                <a:cxn ang="0">
                  <a:pos x="178" y="181"/>
                </a:cxn>
                <a:cxn ang="0">
                  <a:pos x="188" y="191"/>
                </a:cxn>
                <a:cxn ang="0">
                  <a:pos x="178" y="211"/>
                </a:cxn>
                <a:cxn ang="0">
                  <a:pos x="170" y="223"/>
                </a:cxn>
                <a:cxn ang="0">
                  <a:pos x="142" y="239"/>
                </a:cxn>
                <a:cxn ang="0">
                  <a:pos x="126" y="247"/>
                </a:cxn>
                <a:cxn ang="0">
                  <a:pos x="86" y="247"/>
                </a:cxn>
                <a:cxn ang="0">
                  <a:pos x="68" y="243"/>
                </a:cxn>
                <a:cxn ang="0">
                  <a:pos x="42" y="227"/>
                </a:cxn>
                <a:cxn ang="0">
                  <a:pos x="26" y="225"/>
                </a:cxn>
                <a:cxn ang="0">
                  <a:pos x="8" y="209"/>
                </a:cxn>
                <a:cxn ang="0">
                  <a:pos x="8" y="181"/>
                </a:cxn>
              </a:cxnLst>
              <a:rect l="0" t="0" r="r" b="b"/>
              <a:pathLst>
                <a:path w="188" h="247">
                  <a:moveTo>
                    <a:pt x="8" y="181"/>
                  </a:moveTo>
                  <a:lnTo>
                    <a:pt x="0" y="162"/>
                  </a:lnTo>
                  <a:lnTo>
                    <a:pt x="2" y="130"/>
                  </a:lnTo>
                  <a:lnTo>
                    <a:pt x="6" y="94"/>
                  </a:lnTo>
                  <a:lnTo>
                    <a:pt x="12" y="68"/>
                  </a:lnTo>
                  <a:lnTo>
                    <a:pt x="30" y="24"/>
                  </a:lnTo>
                  <a:lnTo>
                    <a:pt x="52" y="0"/>
                  </a:lnTo>
                  <a:lnTo>
                    <a:pt x="70" y="40"/>
                  </a:lnTo>
                  <a:lnTo>
                    <a:pt x="84" y="60"/>
                  </a:lnTo>
                  <a:lnTo>
                    <a:pt x="98" y="52"/>
                  </a:lnTo>
                  <a:lnTo>
                    <a:pt x="120" y="70"/>
                  </a:lnTo>
                  <a:lnTo>
                    <a:pt x="144" y="82"/>
                  </a:lnTo>
                  <a:lnTo>
                    <a:pt x="160" y="100"/>
                  </a:lnTo>
                  <a:lnTo>
                    <a:pt x="174" y="124"/>
                  </a:lnTo>
                  <a:lnTo>
                    <a:pt x="188" y="128"/>
                  </a:lnTo>
                  <a:lnTo>
                    <a:pt x="180" y="148"/>
                  </a:lnTo>
                  <a:lnTo>
                    <a:pt x="178" y="168"/>
                  </a:lnTo>
                  <a:lnTo>
                    <a:pt x="178" y="181"/>
                  </a:lnTo>
                  <a:lnTo>
                    <a:pt x="188" y="191"/>
                  </a:lnTo>
                  <a:lnTo>
                    <a:pt x="178" y="211"/>
                  </a:lnTo>
                  <a:lnTo>
                    <a:pt x="170" y="223"/>
                  </a:lnTo>
                  <a:lnTo>
                    <a:pt x="142" y="239"/>
                  </a:lnTo>
                  <a:lnTo>
                    <a:pt x="126" y="247"/>
                  </a:lnTo>
                  <a:lnTo>
                    <a:pt x="86" y="247"/>
                  </a:lnTo>
                  <a:lnTo>
                    <a:pt x="68" y="243"/>
                  </a:lnTo>
                  <a:lnTo>
                    <a:pt x="42" y="227"/>
                  </a:lnTo>
                  <a:lnTo>
                    <a:pt x="26" y="225"/>
                  </a:lnTo>
                  <a:lnTo>
                    <a:pt x="8" y="209"/>
                  </a:lnTo>
                  <a:lnTo>
                    <a:pt x="8" y="181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407" name="Uzbekistan">
              <a:extLst>
                <a:ext uri="{FF2B5EF4-FFF2-40B4-BE49-F238E27FC236}">
                  <a16:creationId xmlns="" xmlns:a16="http://schemas.microsoft.com/office/drawing/2014/main" id="{55C87C37-C565-45E8-8A09-ABC51EC0A3F9}"/>
                </a:ext>
              </a:extLst>
            </p:cNvPr>
            <p:cNvSpPr>
              <a:spLocks/>
            </p:cNvSpPr>
            <p:nvPr/>
          </p:nvSpPr>
          <p:spPr bwMode="gray">
            <a:xfrm>
              <a:off x="7530719" y="2924540"/>
              <a:ext cx="515408" cy="369714"/>
            </a:xfrm>
            <a:custGeom>
              <a:avLst/>
              <a:gdLst/>
              <a:ahLst/>
              <a:cxnLst>
                <a:cxn ang="0">
                  <a:pos x="564" y="188"/>
                </a:cxn>
                <a:cxn ang="0">
                  <a:pos x="470" y="226"/>
                </a:cxn>
                <a:cxn ang="0">
                  <a:pos x="460" y="246"/>
                </a:cxn>
                <a:cxn ang="0">
                  <a:pos x="392" y="230"/>
                </a:cxn>
                <a:cxn ang="0">
                  <a:pos x="368" y="200"/>
                </a:cxn>
                <a:cxn ang="0">
                  <a:pos x="378" y="176"/>
                </a:cxn>
                <a:cxn ang="0">
                  <a:pos x="356" y="148"/>
                </a:cxn>
                <a:cxn ang="0">
                  <a:pos x="312" y="96"/>
                </a:cxn>
                <a:cxn ang="0">
                  <a:pos x="222" y="108"/>
                </a:cxn>
                <a:cxn ang="0">
                  <a:pos x="198" y="58"/>
                </a:cxn>
                <a:cxn ang="0">
                  <a:pos x="0" y="24"/>
                </a:cxn>
                <a:cxn ang="0">
                  <a:pos x="36" y="234"/>
                </a:cxn>
                <a:cxn ang="0">
                  <a:pos x="36" y="214"/>
                </a:cxn>
                <a:cxn ang="0">
                  <a:pos x="74" y="176"/>
                </a:cxn>
                <a:cxn ang="0">
                  <a:pos x="84" y="168"/>
                </a:cxn>
                <a:cxn ang="0">
                  <a:pos x="148" y="202"/>
                </a:cxn>
                <a:cxn ang="0">
                  <a:pos x="148" y="230"/>
                </a:cxn>
                <a:cxn ang="0">
                  <a:pos x="206" y="242"/>
                </a:cxn>
                <a:cxn ang="0">
                  <a:pos x="234" y="284"/>
                </a:cxn>
                <a:cxn ang="0">
                  <a:pos x="338" y="374"/>
                </a:cxn>
                <a:cxn ang="0">
                  <a:pos x="356" y="404"/>
                </a:cxn>
                <a:cxn ang="0">
                  <a:pos x="426" y="454"/>
                </a:cxn>
                <a:cxn ang="0">
                  <a:pos x="454" y="382"/>
                </a:cxn>
                <a:cxn ang="0">
                  <a:pos x="434" y="334"/>
                </a:cxn>
                <a:cxn ang="0">
                  <a:pos x="466" y="314"/>
                </a:cxn>
                <a:cxn ang="0">
                  <a:pos x="496" y="258"/>
                </a:cxn>
                <a:cxn ang="0">
                  <a:pos x="536" y="254"/>
                </a:cxn>
                <a:cxn ang="0">
                  <a:pos x="528" y="284"/>
                </a:cxn>
                <a:cxn ang="0">
                  <a:pos x="558" y="304"/>
                </a:cxn>
                <a:cxn ang="0">
                  <a:pos x="602" y="296"/>
                </a:cxn>
                <a:cxn ang="0">
                  <a:pos x="626" y="282"/>
                </a:cxn>
                <a:cxn ang="0">
                  <a:pos x="634" y="254"/>
                </a:cxn>
                <a:cxn ang="0">
                  <a:pos x="588" y="236"/>
                </a:cxn>
                <a:cxn ang="0">
                  <a:pos x="558" y="242"/>
                </a:cxn>
                <a:cxn ang="0">
                  <a:pos x="530" y="212"/>
                </a:cxn>
              </a:cxnLst>
              <a:rect l="0" t="0" r="r" b="b"/>
              <a:pathLst>
                <a:path w="634" h="454">
                  <a:moveTo>
                    <a:pt x="568" y="204"/>
                  </a:moveTo>
                  <a:lnTo>
                    <a:pt x="564" y="188"/>
                  </a:lnTo>
                  <a:lnTo>
                    <a:pt x="512" y="202"/>
                  </a:lnTo>
                  <a:lnTo>
                    <a:pt x="470" y="226"/>
                  </a:lnTo>
                  <a:lnTo>
                    <a:pt x="470" y="240"/>
                  </a:lnTo>
                  <a:lnTo>
                    <a:pt x="460" y="246"/>
                  </a:lnTo>
                  <a:lnTo>
                    <a:pt x="442" y="232"/>
                  </a:lnTo>
                  <a:lnTo>
                    <a:pt x="392" y="230"/>
                  </a:lnTo>
                  <a:lnTo>
                    <a:pt x="388" y="206"/>
                  </a:lnTo>
                  <a:lnTo>
                    <a:pt x="368" y="200"/>
                  </a:lnTo>
                  <a:lnTo>
                    <a:pt x="368" y="182"/>
                  </a:lnTo>
                  <a:lnTo>
                    <a:pt x="378" y="176"/>
                  </a:lnTo>
                  <a:lnTo>
                    <a:pt x="374" y="148"/>
                  </a:lnTo>
                  <a:lnTo>
                    <a:pt x="356" y="148"/>
                  </a:lnTo>
                  <a:lnTo>
                    <a:pt x="324" y="84"/>
                  </a:lnTo>
                  <a:lnTo>
                    <a:pt x="312" y="96"/>
                  </a:lnTo>
                  <a:lnTo>
                    <a:pt x="242" y="96"/>
                  </a:lnTo>
                  <a:lnTo>
                    <a:pt x="222" y="108"/>
                  </a:lnTo>
                  <a:lnTo>
                    <a:pt x="210" y="92"/>
                  </a:lnTo>
                  <a:lnTo>
                    <a:pt x="198" y="58"/>
                  </a:lnTo>
                  <a:lnTo>
                    <a:pt x="94" y="0"/>
                  </a:lnTo>
                  <a:lnTo>
                    <a:pt x="0" y="24"/>
                  </a:lnTo>
                  <a:lnTo>
                    <a:pt x="0" y="232"/>
                  </a:lnTo>
                  <a:lnTo>
                    <a:pt x="36" y="234"/>
                  </a:lnTo>
                  <a:lnTo>
                    <a:pt x="48" y="226"/>
                  </a:lnTo>
                  <a:lnTo>
                    <a:pt x="36" y="214"/>
                  </a:lnTo>
                  <a:lnTo>
                    <a:pt x="40" y="192"/>
                  </a:lnTo>
                  <a:lnTo>
                    <a:pt x="74" y="176"/>
                  </a:lnTo>
                  <a:lnTo>
                    <a:pt x="94" y="180"/>
                  </a:lnTo>
                  <a:lnTo>
                    <a:pt x="84" y="168"/>
                  </a:lnTo>
                  <a:lnTo>
                    <a:pt x="92" y="160"/>
                  </a:lnTo>
                  <a:lnTo>
                    <a:pt x="148" y="202"/>
                  </a:lnTo>
                  <a:lnTo>
                    <a:pt x="152" y="212"/>
                  </a:lnTo>
                  <a:lnTo>
                    <a:pt x="148" y="230"/>
                  </a:lnTo>
                  <a:lnTo>
                    <a:pt x="172" y="242"/>
                  </a:lnTo>
                  <a:lnTo>
                    <a:pt x="206" y="242"/>
                  </a:lnTo>
                  <a:lnTo>
                    <a:pt x="232" y="268"/>
                  </a:lnTo>
                  <a:lnTo>
                    <a:pt x="234" y="284"/>
                  </a:lnTo>
                  <a:lnTo>
                    <a:pt x="322" y="374"/>
                  </a:lnTo>
                  <a:lnTo>
                    <a:pt x="338" y="374"/>
                  </a:lnTo>
                  <a:lnTo>
                    <a:pt x="362" y="388"/>
                  </a:lnTo>
                  <a:lnTo>
                    <a:pt x="356" y="404"/>
                  </a:lnTo>
                  <a:lnTo>
                    <a:pt x="358" y="432"/>
                  </a:lnTo>
                  <a:lnTo>
                    <a:pt x="426" y="454"/>
                  </a:lnTo>
                  <a:lnTo>
                    <a:pt x="438" y="400"/>
                  </a:lnTo>
                  <a:lnTo>
                    <a:pt x="454" y="382"/>
                  </a:lnTo>
                  <a:lnTo>
                    <a:pt x="446" y="346"/>
                  </a:lnTo>
                  <a:lnTo>
                    <a:pt x="434" y="334"/>
                  </a:lnTo>
                  <a:lnTo>
                    <a:pt x="440" y="318"/>
                  </a:lnTo>
                  <a:lnTo>
                    <a:pt x="466" y="314"/>
                  </a:lnTo>
                  <a:lnTo>
                    <a:pt x="494" y="280"/>
                  </a:lnTo>
                  <a:lnTo>
                    <a:pt x="496" y="258"/>
                  </a:lnTo>
                  <a:lnTo>
                    <a:pt x="516" y="264"/>
                  </a:lnTo>
                  <a:lnTo>
                    <a:pt x="536" y="254"/>
                  </a:lnTo>
                  <a:lnTo>
                    <a:pt x="546" y="264"/>
                  </a:lnTo>
                  <a:lnTo>
                    <a:pt x="528" y="284"/>
                  </a:lnTo>
                  <a:lnTo>
                    <a:pt x="544" y="294"/>
                  </a:lnTo>
                  <a:lnTo>
                    <a:pt x="558" y="304"/>
                  </a:lnTo>
                  <a:lnTo>
                    <a:pt x="586" y="286"/>
                  </a:lnTo>
                  <a:lnTo>
                    <a:pt x="602" y="296"/>
                  </a:lnTo>
                  <a:lnTo>
                    <a:pt x="612" y="280"/>
                  </a:lnTo>
                  <a:lnTo>
                    <a:pt x="626" y="282"/>
                  </a:lnTo>
                  <a:lnTo>
                    <a:pt x="634" y="276"/>
                  </a:lnTo>
                  <a:lnTo>
                    <a:pt x="634" y="254"/>
                  </a:lnTo>
                  <a:lnTo>
                    <a:pt x="610" y="252"/>
                  </a:lnTo>
                  <a:lnTo>
                    <a:pt x="588" y="236"/>
                  </a:lnTo>
                  <a:lnTo>
                    <a:pt x="580" y="218"/>
                  </a:lnTo>
                  <a:lnTo>
                    <a:pt x="558" y="242"/>
                  </a:lnTo>
                  <a:lnTo>
                    <a:pt x="532" y="224"/>
                  </a:lnTo>
                  <a:lnTo>
                    <a:pt x="530" y="212"/>
                  </a:lnTo>
                  <a:lnTo>
                    <a:pt x="568" y="204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408" name="Venezuela">
              <a:extLst>
                <a:ext uri="{FF2B5EF4-FFF2-40B4-BE49-F238E27FC236}">
                  <a16:creationId xmlns="" xmlns:a16="http://schemas.microsoft.com/office/drawing/2014/main" id="{D1403B8A-AAD2-4F4C-9846-5A3C889B8A06}"/>
                </a:ext>
              </a:extLst>
            </p:cNvPr>
            <p:cNvSpPr>
              <a:spLocks/>
            </p:cNvSpPr>
            <p:nvPr/>
          </p:nvSpPr>
          <p:spPr bwMode="gray">
            <a:xfrm>
              <a:off x="3444547" y="4234268"/>
              <a:ext cx="408031" cy="363814"/>
            </a:xfrm>
            <a:custGeom>
              <a:avLst/>
              <a:gdLst/>
              <a:ahLst/>
              <a:cxnLst>
                <a:cxn ang="0">
                  <a:pos x="222" y="409"/>
                </a:cxn>
                <a:cxn ang="0">
                  <a:pos x="226" y="385"/>
                </a:cxn>
                <a:cxn ang="0">
                  <a:pos x="194" y="365"/>
                </a:cxn>
                <a:cxn ang="0">
                  <a:pos x="216" y="345"/>
                </a:cxn>
                <a:cxn ang="0">
                  <a:pos x="204" y="275"/>
                </a:cxn>
                <a:cxn ang="0">
                  <a:pos x="206" y="235"/>
                </a:cxn>
                <a:cxn ang="0">
                  <a:pos x="106" y="205"/>
                </a:cxn>
                <a:cxn ang="0">
                  <a:pos x="28" y="193"/>
                </a:cxn>
                <a:cxn ang="0">
                  <a:pos x="12" y="124"/>
                </a:cxn>
                <a:cxn ang="0">
                  <a:pos x="2" y="76"/>
                </a:cxn>
                <a:cxn ang="0">
                  <a:pos x="38" y="24"/>
                </a:cxn>
                <a:cxn ang="0">
                  <a:pos x="82" y="8"/>
                </a:cxn>
                <a:cxn ang="0">
                  <a:pos x="54" y="26"/>
                </a:cxn>
                <a:cxn ang="0">
                  <a:pos x="58" y="84"/>
                </a:cxn>
                <a:cxn ang="0">
                  <a:pos x="58" y="116"/>
                </a:cxn>
                <a:cxn ang="0">
                  <a:pos x="82" y="122"/>
                </a:cxn>
                <a:cxn ang="0">
                  <a:pos x="70" y="74"/>
                </a:cxn>
                <a:cxn ang="0">
                  <a:pos x="84" y="54"/>
                </a:cxn>
                <a:cxn ang="0">
                  <a:pos x="118" y="38"/>
                </a:cxn>
                <a:cxn ang="0">
                  <a:pos x="122" y="12"/>
                </a:cxn>
                <a:cxn ang="0">
                  <a:pos x="162" y="38"/>
                </a:cxn>
                <a:cxn ang="0">
                  <a:pos x="184" y="70"/>
                </a:cxn>
                <a:cxn ang="0">
                  <a:pos x="244" y="68"/>
                </a:cxn>
                <a:cxn ang="0">
                  <a:pos x="282" y="86"/>
                </a:cxn>
                <a:cxn ang="0">
                  <a:pos x="336" y="68"/>
                </a:cxn>
                <a:cxn ang="0">
                  <a:pos x="426" y="64"/>
                </a:cxn>
                <a:cxn ang="0">
                  <a:pos x="396" y="72"/>
                </a:cxn>
                <a:cxn ang="0">
                  <a:pos x="450" y="106"/>
                </a:cxn>
                <a:cxn ang="0">
                  <a:pos x="476" y="145"/>
                </a:cxn>
                <a:cxn ang="0">
                  <a:pos x="504" y="149"/>
                </a:cxn>
                <a:cxn ang="0">
                  <a:pos x="482" y="201"/>
                </a:cxn>
                <a:cxn ang="0">
                  <a:pos x="454" y="235"/>
                </a:cxn>
                <a:cxn ang="0">
                  <a:pos x="476" y="275"/>
                </a:cxn>
                <a:cxn ang="0">
                  <a:pos x="442" y="303"/>
                </a:cxn>
                <a:cxn ang="0">
                  <a:pos x="406" y="309"/>
                </a:cxn>
                <a:cxn ang="0">
                  <a:pos x="364" y="323"/>
                </a:cxn>
                <a:cxn ang="0">
                  <a:pos x="312" y="307"/>
                </a:cxn>
                <a:cxn ang="0">
                  <a:pos x="336" y="333"/>
                </a:cxn>
                <a:cxn ang="0">
                  <a:pos x="346" y="381"/>
                </a:cxn>
                <a:cxn ang="0">
                  <a:pos x="374" y="387"/>
                </a:cxn>
                <a:cxn ang="0">
                  <a:pos x="326" y="409"/>
                </a:cxn>
                <a:cxn ang="0">
                  <a:pos x="234" y="419"/>
                </a:cxn>
              </a:cxnLst>
              <a:rect l="0" t="0" r="r" b="b"/>
              <a:pathLst>
                <a:path w="504" h="445">
                  <a:moveTo>
                    <a:pt x="226" y="425"/>
                  </a:moveTo>
                  <a:lnTo>
                    <a:pt x="222" y="409"/>
                  </a:lnTo>
                  <a:lnTo>
                    <a:pt x="230" y="405"/>
                  </a:lnTo>
                  <a:lnTo>
                    <a:pt x="226" y="385"/>
                  </a:lnTo>
                  <a:lnTo>
                    <a:pt x="212" y="365"/>
                  </a:lnTo>
                  <a:lnTo>
                    <a:pt x="194" y="365"/>
                  </a:lnTo>
                  <a:lnTo>
                    <a:pt x="198" y="353"/>
                  </a:lnTo>
                  <a:lnTo>
                    <a:pt x="216" y="345"/>
                  </a:lnTo>
                  <a:lnTo>
                    <a:pt x="206" y="317"/>
                  </a:lnTo>
                  <a:lnTo>
                    <a:pt x="204" y="275"/>
                  </a:lnTo>
                  <a:lnTo>
                    <a:pt x="218" y="245"/>
                  </a:lnTo>
                  <a:lnTo>
                    <a:pt x="206" y="235"/>
                  </a:lnTo>
                  <a:lnTo>
                    <a:pt x="144" y="239"/>
                  </a:lnTo>
                  <a:lnTo>
                    <a:pt x="106" y="205"/>
                  </a:lnTo>
                  <a:lnTo>
                    <a:pt x="56" y="205"/>
                  </a:lnTo>
                  <a:lnTo>
                    <a:pt x="28" y="193"/>
                  </a:lnTo>
                  <a:lnTo>
                    <a:pt x="16" y="163"/>
                  </a:lnTo>
                  <a:lnTo>
                    <a:pt x="12" y="124"/>
                  </a:lnTo>
                  <a:lnTo>
                    <a:pt x="0" y="108"/>
                  </a:lnTo>
                  <a:lnTo>
                    <a:pt x="2" y="76"/>
                  </a:lnTo>
                  <a:lnTo>
                    <a:pt x="32" y="44"/>
                  </a:lnTo>
                  <a:lnTo>
                    <a:pt x="38" y="24"/>
                  </a:lnTo>
                  <a:lnTo>
                    <a:pt x="64" y="0"/>
                  </a:lnTo>
                  <a:lnTo>
                    <a:pt x="82" y="8"/>
                  </a:lnTo>
                  <a:lnTo>
                    <a:pt x="74" y="24"/>
                  </a:lnTo>
                  <a:lnTo>
                    <a:pt x="54" y="26"/>
                  </a:lnTo>
                  <a:lnTo>
                    <a:pt x="62" y="52"/>
                  </a:lnTo>
                  <a:lnTo>
                    <a:pt x="58" y="84"/>
                  </a:lnTo>
                  <a:lnTo>
                    <a:pt x="48" y="106"/>
                  </a:lnTo>
                  <a:lnTo>
                    <a:pt x="58" y="116"/>
                  </a:lnTo>
                  <a:lnTo>
                    <a:pt x="62" y="126"/>
                  </a:lnTo>
                  <a:lnTo>
                    <a:pt x="82" y="122"/>
                  </a:lnTo>
                  <a:lnTo>
                    <a:pt x="86" y="104"/>
                  </a:lnTo>
                  <a:lnTo>
                    <a:pt x="70" y="74"/>
                  </a:lnTo>
                  <a:lnTo>
                    <a:pt x="70" y="54"/>
                  </a:lnTo>
                  <a:lnTo>
                    <a:pt x="84" y="54"/>
                  </a:lnTo>
                  <a:lnTo>
                    <a:pt x="98" y="46"/>
                  </a:lnTo>
                  <a:lnTo>
                    <a:pt x="118" y="38"/>
                  </a:lnTo>
                  <a:lnTo>
                    <a:pt x="108" y="26"/>
                  </a:lnTo>
                  <a:lnTo>
                    <a:pt x="122" y="12"/>
                  </a:lnTo>
                  <a:lnTo>
                    <a:pt x="138" y="36"/>
                  </a:lnTo>
                  <a:lnTo>
                    <a:pt x="162" y="38"/>
                  </a:lnTo>
                  <a:lnTo>
                    <a:pt x="186" y="54"/>
                  </a:lnTo>
                  <a:lnTo>
                    <a:pt x="184" y="70"/>
                  </a:lnTo>
                  <a:lnTo>
                    <a:pt x="200" y="76"/>
                  </a:lnTo>
                  <a:lnTo>
                    <a:pt x="244" y="68"/>
                  </a:lnTo>
                  <a:lnTo>
                    <a:pt x="268" y="68"/>
                  </a:lnTo>
                  <a:lnTo>
                    <a:pt x="282" y="86"/>
                  </a:lnTo>
                  <a:lnTo>
                    <a:pt x="324" y="86"/>
                  </a:lnTo>
                  <a:lnTo>
                    <a:pt x="336" y="68"/>
                  </a:lnTo>
                  <a:lnTo>
                    <a:pt x="390" y="62"/>
                  </a:lnTo>
                  <a:lnTo>
                    <a:pt x="426" y="64"/>
                  </a:lnTo>
                  <a:lnTo>
                    <a:pt x="426" y="70"/>
                  </a:lnTo>
                  <a:lnTo>
                    <a:pt x="396" y="72"/>
                  </a:lnTo>
                  <a:lnTo>
                    <a:pt x="410" y="92"/>
                  </a:lnTo>
                  <a:lnTo>
                    <a:pt x="450" y="106"/>
                  </a:lnTo>
                  <a:lnTo>
                    <a:pt x="472" y="114"/>
                  </a:lnTo>
                  <a:lnTo>
                    <a:pt x="476" y="145"/>
                  </a:lnTo>
                  <a:lnTo>
                    <a:pt x="496" y="140"/>
                  </a:lnTo>
                  <a:lnTo>
                    <a:pt x="504" y="149"/>
                  </a:lnTo>
                  <a:lnTo>
                    <a:pt x="484" y="173"/>
                  </a:lnTo>
                  <a:lnTo>
                    <a:pt x="482" y="201"/>
                  </a:lnTo>
                  <a:lnTo>
                    <a:pt x="456" y="209"/>
                  </a:lnTo>
                  <a:lnTo>
                    <a:pt x="454" y="235"/>
                  </a:lnTo>
                  <a:lnTo>
                    <a:pt x="448" y="251"/>
                  </a:lnTo>
                  <a:lnTo>
                    <a:pt x="476" y="275"/>
                  </a:lnTo>
                  <a:lnTo>
                    <a:pt x="458" y="303"/>
                  </a:lnTo>
                  <a:lnTo>
                    <a:pt x="442" y="303"/>
                  </a:lnTo>
                  <a:lnTo>
                    <a:pt x="418" y="317"/>
                  </a:lnTo>
                  <a:lnTo>
                    <a:pt x="406" y="309"/>
                  </a:lnTo>
                  <a:lnTo>
                    <a:pt x="390" y="329"/>
                  </a:lnTo>
                  <a:lnTo>
                    <a:pt x="364" y="323"/>
                  </a:lnTo>
                  <a:lnTo>
                    <a:pt x="348" y="323"/>
                  </a:lnTo>
                  <a:lnTo>
                    <a:pt x="312" y="307"/>
                  </a:lnTo>
                  <a:lnTo>
                    <a:pt x="312" y="325"/>
                  </a:lnTo>
                  <a:lnTo>
                    <a:pt x="336" y="333"/>
                  </a:lnTo>
                  <a:lnTo>
                    <a:pt x="332" y="365"/>
                  </a:lnTo>
                  <a:lnTo>
                    <a:pt x="346" y="381"/>
                  </a:lnTo>
                  <a:lnTo>
                    <a:pt x="372" y="375"/>
                  </a:lnTo>
                  <a:lnTo>
                    <a:pt x="374" y="387"/>
                  </a:lnTo>
                  <a:lnTo>
                    <a:pt x="336" y="419"/>
                  </a:lnTo>
                  <a:lnTo>
                    <a:pt x="326" y="409"/>
                  </a:lnTo>
                  <a:lnTo>
                    <a:pt x="266" y="445"/>
                  </a:lnTo>
                  <a:lnTo>
                    <a:pt x="234" y="419"/>
                  </a:lnTo>
                  <a:lnTo>
                    <a:pt x="226" y="425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409" name="Vietnam">
              <a:extLst>
                <a:ext uri="{FF2B5EF4-FFF2-40B4-BE49-F238E27FC236}">
                  <a16:creationId xmlns="" xmlns:a16="http://schemas.microsoft.com/office/drawing/2014/main" id="{CFA96512-AE9F-49E1-B766-4BAACBA58534}"/>
                </a:ext>
              </a:extLst>
            </p:cNvPr>
            <p:cNvSpPr>
              <a:spLocks/>
            </p:cNvSpPr>
            <p:nvPr/>
          </p:nvSpPr>
          <p:spPr bwMode="gray">
            <a:xfrm>
              <a:off x="8950045" y="3801626"/>
              <a:ext cx="230372" cy="475908"/>
            </a:xfrm>
            <a:custGeom>
              <a:avLst/>
              <a:gdLst/>
              <a:ahLst/>
              <a:cxnLst>
                <a:cxn ang="0">
                  <a:pos x="206" y="348"/>
                </a:cxn>
                <a:cxn ang="0">
                  <a:pos x="218" y="330"/>
                </a:cxn>
                <a:cxn ang="0">
                  <a:pos x="202" y="294"/>
                </a:cxn>
                <a:cxn ang="0">
                  <a:pos x="170" y="276"/>
                </a:cxn>
                <a:cxn ang="0">
                  <a:pos x="148" y="236"/>
                </a:cxn>
                <a:cxn ang="0">
                  <a:pos x="120" y="190"/>
                </a:cxn>
                <a:cxn ang="0">
                  <a:pos x="78" y="132"/>
                </a:cxn>
                <a:cxn ang="0">
                  <a:pos x="106" y="126"/>
                </a:cxn>
                <a:cxn ang="0">
                  <a:pos x="52" y="98"/>
                </a:cxn>
                <a:cxn ang="0">
                  <a:pos x="28" y="66"/>
                </a:cxn>
                <a:cxn ang="0">
                  <a:pos x="14" y="26"/>
                </a:cxn>
                <a:cxn ang="0">
                  <a:pos x="122" y="0"/>
                </a:cxn>
                <a:cxn ang="0">
                  <a:pos x="170" y="18"/>
                </a:cxn>
                <a:cxn ang="0">
                  <a:pos x="166" y="48"/>
                </a:cxn>
                <a:cxn ang="0">
                  <a:pos x="212" y="56"/>
                </a:cxn>
                <a:cxn ang="0">
                  <a:pos x="196" y="86"/>
                </a:cxn>
                <a:cxn ang="0">
                  <a:pos x="164" y="116"/>
                </a:cxn>
                <a:cxn ang="0">
                  <a:pos x="138" y="170"/>
                </a:cxn>
                <a:cxn ang="0">
                  <a:pos x="164" y="202"/>
                </a:cxn>
                <a:cxn ang="0">
                  <a:pos x="170" y="224"/>
                </a:cxn>
                <a:cxn ang="0">
                  <a:pos x="222" y="280"/>
                </a:cxn>
                <a:cxn ang="0">
                  <a:pos x="238" y="300"/>
                </a:cxn>
                <a:cxn ang="0">
                  <a:pos x="274" y="408"/>
                </a:cxn>
                <a:cxn ang="0">
                  <a:pos x="274" y="440"/>
                </a:cxn>
                <a:cxn ang="0">
                  <a:pos x="272" y="480"/>
                </a:cxn>
                <a:cxn ang="0">
                  <a:pos x="236" y="486"/>
                </a:cxn>
                <a:cxn ang="0">
                  <a:pos x="182" y="512"/>
                </a:cxn>
                <a:cxn ang="0">
                  <a:pos x="146" y="556"/>
                </a:cxn>
                <a:cxn ang="0">
                  <a:pos x="110" y="582"/>
                </a:cxn>
                <a:cxn ang="0">
                  <a:pos x="106" y="568"/>
                </a:cxn>
                <a:cxn ang="0">
                  <a:pos x="120" y="528"/>
                </a:cxn>
                <a:cxn ang="0">
                  <a:pos x="126" y="484"/>
                </a:cxn>
                <a:cxn ang="0">
                  <a:pos x="148" y="468"/>
                </a:cxn>
                <a:cxn ang="0">
                  <a:pos x="172" y="454"/>
                </a:cxn>
                <a:cxn ang="0">
                  <a:pos x="198" y="440"/>
                </a:cxn>
                <a:cxn ang="0">
                  <a:pos x="208" y="378"/>
                </a:cxn>
              </a:cxnLst>
              <a:rect l="0" t="0" r="r" b="b"/>
              <a:pathLst>
                <a:path w="284" h="582">
                  <a:moveTo>
                    <a:pt x="208" y="378"/>
                  </a:moveTo>
                  <a:lnTo>
                    <a:pt x="206" y="348"/>
                  </a:lnTo>
                  <a:lnTo>
                    <a:pt x="214" y="340"/>
                  </a:lnTo>
                  <a:lnTo>
                    <a:pt x="218" y="330"/>
                  </a:lnTo>
                  <a:lnTo>
                    <a:pt x="194" y="308"/>
                  </a:lnTo>
                  <a:lnTo>
                    <a:pt x="202" y="294"/>
                  </a:lnTo>
                  <a:lnTo>
                    <a:pt x="180" y="272"/>
                  </a:lnTo>
                  <a:lnTo>
                    <a:pt x="170" y="276"/>
                  </a:lnTo>
                  <a:lnTo>
                    <a:pt x="150" y="250"/>
                  </a:lnTo>
                  <a:lnTo>
                    <a:pt x="148" y="236"/>
                  </a:lnTo>
                  <a:lnTo>
                    <a:pt x="120" y="202"/>
                  </a:lnTo>
                  <a:lnTo>
                    <a:pt x="120" y="190"/>
                  </a:lnTo>
                  <a:lnTo>
                    <a:pt x="78" y="152"/>
                  </a:lnTo>
                  <a:lnTo>
                    <a:pt x="78" y="132"/>
                  </a:lnTo>
                  <a:lnTo>
                    <a:pt x="94" y="134"/>
                  </a:lnTo>
                  <a:lnTo>
                    <a:pt x="106" y="126"/>
                  </a:lnTo>
                  <a:lnTo>
                    <a:pt x="72" y="88"/>
                  </a:lnTo>
                  <a:lnTo>
                    <a:pt x="52" y="98"/>
                  </a:lnTo>
                  <a:lnTo>
                    <a:pt x="30" y="86"/>
                  </a:lnTo>
                  <a:lnTo>
                    <a:pt x="28" y="66"/>
                  </a:lnTo>
                  <a:lnTo>
                    <a:pt x="0" y="34"/>
                  </a:lnTo>
                  <a:lnTo>
                    <a:pt x="14" y="26"/>
                  </a:lnTo>
                  <a:lnTo>
                    <a:pt x="72" y="28"/>
                  </a:lnTo>
                  <a:lnTo>
                    <a:pt x="122" y="0"/>
                  </a:lnTo>
                  <a:lnTo>
                    <a:pt x="154" y="18"/>
                  </a:lnTo>
                  <a:lnTo>
                    <a:pt x="170" y="18"/>
                  </a:lnTo>
                  <a:lnTo>
                    <a:pt x="182" y="28"/>
                  </a:lnTo>
                  <a:lnTo>
                    <a:pt x="166" y="48"/>
                  </a:lnTo>
                  <a:lnTo>
                    <a:pt x="180" y="58"/>
                  </a:lnTo>
                  <a:lnTo>
                    <a:pt x="212" y="56"/>
                  </a:lnTo>
                  <a:lnTo>
                    <a:pt x="198" y="68"/>
                  </a:lnTo>
                  <a:lnTo>
                    <a:pt x="196" y="86"/>
                  </a:lnTo>
                  <a:lnTo>
                    <a:pt x="180" y="90"/>
                  </a:lnTo>
                  <a:lnTo>
                    <a:pt x="164" y="116"/>
                  </a:lnTo>
                  <a:lnTo>
                    <a:pt x="146" y="130"/>
                  </a:lnTo>
                  <a:lnTo>
                    <a:pt x="138" y="170"/>
                  </a:lnTo>
                  <a:lnTo>
                    <a:pt x="150" y="192"/>
                  </a:lnTo>
                  <a:lnTo>
                    <a:pt x="164" y="202"/>
                  </a:lnTo>
                  <a:lnTo>
                    <a:pt x="160" y="220"/>
                  </a:lnTo>
                  <a:lnTo>
                    <a:pt x="170" y="224"/>
                  </a:lnTo>
                  <a:lnTo>
                    <a:pt x="170" y="234"/>
                  </a:lnTo>
                  <a:lnTo>
                    <a:pt x="222" y="280"/>
                  </a:lnTo>
                  <a:lnTo>
                    <a:pt x="234" y="282"/>
                  </a:lnTo>
                  <a:lnTo>
                    <a:pt x="238" y="300"/>
                  </a:lnTo>
                  <a:lnTo>
                    <a:pt x="264" y="326"/>
                  </a:lnTo>
                  <a:lnTo>
                    <a:pt x="274" y="408"/>
                  </a:lnTo>
                  <a:lnTo>
                    <a:pt x="284" y="416"/>
                  </a:lnTo>
                  <a:lnTo>
                    <a:pt x="274" y="440"/>
                  </a:lnTo>
                  <a:lnTo>
                    <a:pt x="276" y="464"/>
                  </a:lnTo>
                  <a:lnTo>
                    <a:pt x="272" y="480"/>
                  </a:lnTo>
                  <a:lnTo>
                    <a:pt x="254" y="486"/>
                  </a:lnTo>
                  <a:lnTo>
                    <a:pt x="236" y="486"/>
                  </a:lnTo>
                  <a:lnTo>
                    <a:pt x="210" y="504"/>
                  </a:lnTo>
                  <a:lnTo>
                    <a:pt x="182" y="512"/>
                  </a:lnTo>
                  <a:lnTo>
                    <a:pt x="170" y="538"/>
                  </a:lnTo>
                  <a:lnTo>
                    <a:pt x="146" y="556"/>
                  </a:lnTo>
                  <a:lnTo>
                    <a:pt x="132" y="560"/>
                  </a:lnTo>
                  <a:lnTo>
                    <a:pt x="110" y="582"/>
                  </a:lnTo>
                  <a:lnTo>
                    <a:pt x="96" y="580"/>
                  </a:lnTo>
                  <a:lnTo>
                    <a:pt x="106" y="568"/>
                  </a:lnTo>
                  <a:lnTo>
                    <a:pt x="102" y="556"/>
                  </a:lnTo>
                  <a:lnTo>
                    <a:pt x="120" y="528"/>
                  </a:lnTo>
                  <a:lnTo>
                    <a:pt x="100" y="516"/>
                  </a:lnTo>
                  <a:lnTo>
                    <a:pt x="126" y="484"/>
                  </a:lnTo>
                  <a:lnTo>
                    <a:pt x="146" y="482"/>
                  </a:lnTo>
                  <a:lnTo>
                    <a:pt x="148" y="468"/>
                  </a:lnTo>
                  <a:lnTo>
                    <a:pt x="158" y="454"/>
                  </a:lnTo>
                  <a:lnTo>
                    <a:pt x="172" y="454"/>
                  </a:lnTo>
                  <a:lnTo>
                    <a:pt x="180" y="444"/>
                  </a:lnTo>
                  <a:lnTo>
                    <a:pt x="198" y="440"/>
                  </a:lnTo>
                  <a:lnTo>
                    <a:pt x="208" y="430"/>
                  </a:lnTo>
                  <a:lnTo>
                    <a:pt x="208" y="378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410" name="Western Sahara">
              <a:extLst>
                <a:ext uri="{FF2B5EF4-FFF2-40B4-BE49-F238E27FC236}">
                  <a16:creationId xmlns="" xmlns:a16="http://schemas.microsoft.com/office/drawing/2014/main" id="{C06820A5-C180-4F41-9A37-87C3460D4A02}"/>
                </a:ext>
              </a:extLst>
            </p:cNvPr>
            <p:cNvSpPr>
              <a:spLocks/>
            </p:cNvSpPr>
            <p:nvPr/>
          </p:nvSpPr>
          <p:spPr bwMode="gray">
            <a:xfrm>
              <a:off x="5279713" y="3642335"/>
              <a:ext cx="255751" cy="224188"/>
            </a:xfrm>
            <a:custGeom>
              <a:avLst/>
              <a:gdLst/>
              <a:ahLst/>
              <a:cxnLst>
                <a:cxn ang="0">
                  <a:pos x="126" y="46"/>
                </a:cxn>
                <a:cxn ang="0">
                  <a:pos x="150" y="2"/>
                </a:cxn>
                <a:cxn ang="0">
                  <a:pos x="319" y="0"/>
                </a:cxn>
                <a:cxn ang="0">
                  <a:pos x="319" y="26"/>
                </a:cxn>
                <a:cxn ang="0">
                  <a:pos x="319" y="76"/>
                </a:cxn>
                <a:cxn ang="0">
                  <a:pos x="185" y="78"/>
                </a:cxn>
                <a:cxn ang="0">
                  <a:pos x="185" y="194"/>
                </a:cxn>
                <a:cxn ang="0">
                  <a:pos x="156" y="190"/>
                </a:cxn>
                <a:cxn ang="0">
                  <a:pos x="144" y="208"/>
                </a:cxn>
                <a:cxn ang="0">
                  <a:pos x="142" y="276"/>
                </a:cxn>
                <a:cxn ang="0">
                  <a:pos x="0" y="274"/>
                </a:cxn>
                <a:cxn ang="0">
                  <a:pos x="4" y="244"/>
                </a:cxn>
                <a:cxn ang="0">
                  <a:pos x="30" y="214"/>
                </a:cxn>
                <a:cxn ang="0">
                  <a:pos x="38" y="164"/>
                </a:cxn>
                <a:cxn ang="0">
                  <a:pos x="70" y="136"/>
                </a:cxn>
                <a:cxn ang="0">
                  <a:pos x="92" y="100"/>
                </a:cxn>
                <a:cxn ang="0">
                  <a:pos x="98" y="70"/>
                </a:cxn>
                <a:cxn ang="0">
                  <a:pos x="108" y="66"/>
                </a:cxn>
                <a:cxn ang="0">
                  <a:pos x="126" y="46"/>
                </a:cxn>
              </a:cxnLst>
              <a:rect l="0" t="0" r="r" b="b"/>
              <a:pathLst>
                <a:path w="319" h="276">
                  <a:moveTo>
                    <a:pt x="126" y="46"/>
                  </a:moveTo>
                  <a:lnTo>
                    <a:pt x="150" y="2"/>
                  </a:lnTo>
                  <a:lnTo>
                    <a:pt x="319" y="0"/>
                  </a:lnTo>
                  <a:lnTo>
                    <a:pt x="319" y="26"/>
                  </a:lnTo>
                  <a:lnTo>
                    <a:pt x="319" y="76"/>
                  </a:lnTo>
                  <a:lnTo>
                    <a:pt x="185" y="78"/>
                  </a:lnTo>
                  <a:lnTo>
                    <a:pt x="185" y="194"/>
                  </a:lnTo>
                  <a:lnTo>
                    <a:pt x="156" y="190"/>
                  </a:lnTo>
                  <a:lnTo>
                    <a:pt x="144" y="208"/>
                  </a:lnTo>
                  <a:lnTo>
                    <a:pt x="142" y="276"/>
                  </a:lnTo>
                  <a:lnTo>
                    <a:pt x="0" y="274"/>
                  </a:lnTo>
                  <a:lnTo>
                    <a:pt x="4" y="244"/>
                  </a:lnTo>
                  <a:lnTo>
                    <a:pt x="30" y="214"/>
                  </a:lnTo>
                  <a:lnTo>
                    <a:pt x="38" y="164"/>
                  </a:lnTo>
                  <a:lnTo>
                    <a:pt x="70" y="136"/>
                  </a:lnTo>
                  <a:lnTo>
                    <a:pt x="92" y="100"/>
                  </a:lnTo>
                  <a:lnTo>
                    <a:pt x="98" y="70"/>
                  </a:lnTo>
                  <a:lnTo>
                    <a:pt x="108" y="66"/>
                  </a:lnTo>
                  <a:lnTo>
                    <a:pt x="126" y="46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411" name="Yemen">
              <a:extLst>
                <a:ext uri="{FF2B5EF4-FFF2-40B4-BE49-F238E27FC236}">
                  <a16:creationId xmlns="" xmlns:a16="http://schemas.microsoft.com/office/drawing/2014/main" id="{A1535D89-5606-4431-8947-F529F4449F19}"/>
                </a:ext>
              </a:extLst>
            </p:cNvPr>
            <p:cNvSpPr>
              <a:spLocks/>
            </p:cNvSpPr>
            <p:nvPr/>
          </p:nvSpPr>
          <p:spPr bwMode="gray">
            <a:xfrm>
              <a:off x="7126593" y="3951084"/>
              <a:ext cx="327987" cy="208456"/>
            </a:xfrm>
            <a:custGeom>
              <a:avLst/>
              <a:gdLst/>
              <a:ahLst/>
              <a:cxnLst>
                <a:cxn ang="0">
                  <a:pos x="406" y="88"/>
                </a:cxn>
                <a:cxn ang="0">
                  <a:pos x="372" y="0"/>
                </a:cxn>
                <a:cxn ang="0">
                  <a:pos x="246" y="44"/>
                </a:cxn>
                <a:cxn ang="0">
                  <a:pos x="122" y="120"/>
                </a:cxn>
                <a:cxn ang="0">
                  <a:pos x="108" y="96"/>
                </a:cxn>
                <a:cxn ang="0">
                  <a:pos x="64" y="72"/>
                </a:cxn>
                <a:cxn ang="0">
                  <a:pos x="48" y="74"/>
                </a:cxn>
                <a:cxn ang="0">
                  <a:pos x="26" y="62"/>
                </a:cxn>
                <a:cxn ang="0">
                  <a:pos x="16" y="66"/>
                </a:cxn>
                <a:cxn ang="0">
                  <a:pos x="12" y="90"/>
                </a:cxn>
                <a:cxn ang="0">
                  <a:pos x="2" y="100"/>
                </a:cxn>
                <a:cxn ang="0">
                  <a:pos x="8" y="116"/>
                </a:cxn>
                <a:cxn ang="0">
                  <a:pos x="8" y="136"/>
                </a:cxn>
                <a:cxn ang="0">
                  <a:pos x="0" y="142"/>
                </a:cxn>
                <a:cxn ang="0">
                  <a:pos x="12" y="174"/>
                </a:cxn>
                <a:cxn ang="0">
                  <a:pos x="12" y="190"/>
                </a:cxn>
                <a:cxn ang="0">
                  <a:pos x="26" y="200"/>
                </a:cxn>
                <a:cxn ang="0">
                  <a:pos x="28" y="220"/>
                </a:cxn>
                <a:cxn ang="0">
                  <a:pos x="36" y="238"/>
                </a:cxn>
                <a:cxn ang="0">
                  <a:pos x="40" y="256"/>
                </a:cxn>
                <a:cxn ang="0">
                  <a:pos x="82" y="256"/>
                </a:cxn>
                <a:cxn ang="0">
                  <a:pos x="132" y="220"/>
                </a:cxn>
                <a:cxn ang="0">
                  <a:pos x="174" y="214"/>
                </a:cxn>
                <a:cxn ang="0">
                  <a:pos x="206" y="196"/>
                </a:cxn>
                <a:cxn ang="0">
                  <a:pos x="232" y="192"/>
                </a:cxn>
                <a:cxn ang="0">
                  <a:pos x="250" y="176"/>
                </a:cxn>
                <a:cxn ang="0">
                  <a:pos x="284" y="168"/>
                </a:cxn>
                <a:cxn ang="0">
                  <a:pos x="302" y="154"/>
                </a:cxn>
                <a:cxn ang="0">
                  <a:pos x="350" y="146"/>
                </a:cxn>
                <a:cxn ang="0">
                  <a:pos x="356" y="136"/>
                </a:cxn>
                <a:cxn ang="0">
                  <a:pos x="370" y="132"/>
                </a:cxn>
                <a:cxn ang="0">
                  <a:pos x="368" y="118"/>
                </a:cxn>
                <a:cxn ang="0">
                  <a:pos x="382" y="100"/>
                </a:cxn>
                <a:cxn ang="0">
                  <a:pos x="406" y="88"/>
                </a:cxn>
              </a:cxnLst>
              <a:rect l="0" t="0" r="r" b="b"/>
              <a:pathLst>
                <a:path w="406" h="256">
                  <a:moveTo>
                    <a:pt x="406" y="88"/>
                  </a:moveTo>
                  <a:lnTo>
                    <a:pt x="372" y="0"/>
                  </a:lnTo>
                  <a:lnTo>
                    <a:pt x="246" y="44"/>
                  </a:lnTo>
                  <a:lnTo>
                    <a:pt x="122" y="120"/>
                  </a:lnTo>
                  <a:lnTo>
                    <a:pt x="108" y="96"/>
                  </a:lnTo>
                  <a:lnTo>
                    <a:pt x="64" y="72"/>
                  </a:lnTo>
                  <a:lnTo>
                    <a:pt x="48" y="74"/>
                  </a:lnTo>
                  <a:lnTo>
                    <a:pt x="26" y="62"/>
                  </a:lnTo>
                  <a:lnTo>
                    <a:pt x="16" y="66"/>
                  </a:lnTo>
                  <a:lnTo>
                    <a:pt x="12" y="90"/>
                  </a:lnTo>
                  <a:lnTo>
                    <a:pt x="2" y="100"/>
                  </a:lnTo>
                  <a:lnTo>
                    <a:pt x="8" y="116"/>
                  </a:lnTo>
                  <a:lnTo>
                    <a:pt x="8" y="136"/>
                  </a:lnTo>
                  <a:lnTo>
                    <a:pt x="0" y="142"/>
                  </a:lnTo>
                  <a:lnTo>
                    <a:pt x="12" y="174"/>
                  </a:lnTo>
                  <a:lnTo>
                    <a:pt x="12" y="190"/>
                  </a:lnTo>
                  <a:lnTo>
                    <a:pt x="26" y="200"/>
                  </a:lnTo>
                  <a:lnTo>
                    <a:pt x="28" y="220"/>
                  </a:lnTo>
                  <a:lnTo>
                    <a:pt x="36" y="238"/>
                  </a:lnTo>
                  <a:lnTo>
                    <a:pt x="40" y="256"/>
                  </a:lnTo>
                  <a:lnTo>
                    <a:pt x="82" y="256"/>
                  </a:lnTo>
                  <a:lnTo>
                    <a:pt x="132" y="220"/>
                  </a:lnTo>
                  <a:lnTo>
                    <a:pt x="174" y="214"/>
                  </a:lnTo>
                  <a:lnTo>
                    <a:pt x="206" y="196"/>
                  </a:lnTo>
                  <a:lnTo>
                    <a:pt x="232" y="192"/>
                  </a:lnTo>
                  <a:lnTo>
                    <a:pt x="250" y="176"/>
                  </a:lnTo>
                  <a:lnTo>
                    <a:pt x="284" y="168"/>
                  </a:lnTo>
                  <a:lnTo>
                    <a:pt x="302" y="154"/>
                  </a:lnTo>
                  <a:lnTo>
                    <a:pt x="350" y="146"/>
                  </a:lnTo>
                  <a:lnTo>
                    <a:pt x="356" y="136"/>
                  </a:lnTo>
                  <a:lnTo>
                    <a:pt x="370" y="132"/>
                  </a:lnTo>
                  <a:lnTo>
                    <a:pt x="368" y="118"/>
                  </a:lnTo>
                  <a:lnTo>
                    <a:pt x="382" y="100"/>
                  </a:lnTo>
                  <a:lnTo>
                    <a:pt x="406" y="88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412" name="Zambia">
              <a:extLst>
                <a:ext uri="{FF2B5EF4-FFF2-40B4-BE49-F238E27FC236}">
                  <a16:creationId xmlns="" xmlns:a16="http://schemas.microsoft.com/office/drawing/2014/main" id="{894AF6D7-C939-4076-9CBF-58E78C4B5860}"/>
                </a:ext>
              </a:extLst>
            </p:cNvPr>
            <p:cNvSpPr>
              <a:spLocks/>
            </p:cNvSpPr>
            <p:nvPr/>
          </p:nvSpPr>
          <p:spPr bwMode="gray">
            <a:xfrm>
              <a:off x="6494047" y="4832103"/>
              <a:ext cx="349462" cy="318583"/>
            </a:xfrm>
            <a:custGeom>
              <a:avLst/>
              <a:gdLst/>
              <a:ahLst/>
              <a:cxnLst>
                <a:cxn ang="0">
                  <a:pos x="76" y="357"/>
                </a:cxn>
                <a:cxn ang="0">
                  <a:pos x="42" y="363"/>
                </a:cxn>
                <a:cxn ang="0">
                  <a:pos x="22" y="333"/>
                </a:cxn>
                <a:cxn ang="0">
                  <a:pos x="0" y="311"/>
                </a:cxn>
                <a:cxn ang="0">
                  <a:pos x="0" y="195"/>
                </a:cxn>
                <a:cxn ang="0">
                  <a:pos x="74" y="195"/>
                </a:cxn>
                <a:cxn ang="0">
                  <a:pos x="74" y="178"/>
                </a:cxn>
                <a:cxn ang="0">
                  <a:pos x="78" y="164"/>
                </a:cxn>
                <a:cxn ang="0">
                  <a:pos x="74" y="96"/>
                </a:cxn>
                <a:cxn ang="0">
                  <a:pos x="92" y="94"/>
                </a:cxn>
                <a:cxn ang="0">
                  <a:pos x="92" y="114"/>
                </a:cxn>
                <a:cxn ang="0">
                  <a:pos x="118" y="116"/>
                </a:cxn>
                <a:cxn ang="0">
                  <a:pos x="134" y="132"/>
                </a:cxn>
                <a:cxn ang="0">
                  <a:pos x="176" y="136"/>
                </a:cxn>
                <a:cxn ang="0">
                  <a:pos x="184" y="120"/>
                </a:cxn>
                <a:cxn ang="0">
                  <a:pos x="198" y="150"/>
                </a:cxn>
                <a:cxn ang="0">
                  <a:pos x="218" y="146"/>
                </a:cxn>
                <a:cxn ang="0">
                  <a:pos x="250" y="184"/>
                </a:cxn>
                <a:cxn ang="0">
                  <a:pos x="272" y="180"/>
                </a:cxn>
                <a:cxn ang="0">
                  <a:pos x="288" y="191"/>
                </a:cxn>
                <a:cxn ang="0">
                  <a:pos x="288" y="136"/>
                </a:cxn>
                <a:cxn ang="0">
                  <a:pos x="272" y="154"/>
                </a:cxn>
                <a:cxn ang="0">
                  <a:pos x="260" y="154"/>
                </a:cxn>
                <a:cxn ang="0">
                  <a:pos x="238" y="118"/>
                </a:cxn>
                <a:cxn ang="0">
                  <a:pos x="240" y="96"/>
                </a:cxn>
                <a:cxn ang="0">
                  <a:pos x="244" y="86"/>
                </a:cxn>
                <a:cxn ang="0">
                  <a:pos x="242" y="52"/>
                </a:cxn>
                <a:cxn ang="0">
                  <a:pos x="232" y="44"/>
                </a:cxn>
                <a:cxn ang="0">
                  <a:pos x="252" y="10"/>
                </a:cxn>
                <a:cxn ang="0">
                  <a:pos x="330" y="0"/>
                </a:cxn>
                <a:cxn ang="0">
                  <a:pos x="368" y="24"/>
                </a:cxn>
                <a:cxn ang="0">
                  <a:pos x="384" y="24"/>
                </a:cxn>
                <a:cxn ang="0">
                  <a:pos x="408" y="44"/>
                </a:cxn>
                <a:cxn ang="0">
                  <a:pos x="426" y="58"/>
                </a:cxn>
                <a:cxn ang="0">
                  <a:pos x="432" y="92"/>
                </a:cxn>
                <a:cxn ang="0">
                  <a:pos x="418" y="110"/>
                </a:cxn>
                <a:cxn ang="0">
                  <a:pos x="422" y="136"/>
                </a:cxn>
                <a:cxn ang="0">
                  <a:pos x="414" y="162"/>
                </a:cxn>
                <a:cxn ang="0">
                  <a:pos x="400" y="182"/>
                </a:cxn>
                <a:cxn ang="0">
                  <a:pos x="394" y="213"/>
                </a:cxn>
                <a:cxn ang="0">
                  <a:pos x="404" y="227"/>
                </a:cxn>
                <a:cxn ang="0">
                  <a:pos x="350" y="251"/>
                </a:cxn>
                <a:cxn ang="0">
                  <a:pos x="318" y="257"/>
                </a:cxn>
                <a:cxn ang="0">
                  <a:pos x="304" y="273"/>
                </a:cxn>
                <a:cxn ang="0">
                  <a:pos x="308" y="293"/>
                </a:cxn>
                <a:cxn ang="0">
                  <a:pos x="262" y="305"/>
                </a:cxn>
                <a:cxn ang="0">
                  <a:pos x="256" y="321"/>
                </a:cxn>
                <a:cxn ang="0">
                  <a:pos x="222" y="337"/>
                </a:cxn>
                <a:cxn ang="0">
                  <a:pos x="190" y="379"/>
                </a:cxn>
                <a:cxn ang="0">
                  <a:pos x="176" y="389"/>
                </a:cxn>
                <a:cxn ang="0">
                  <a:pos x="144" y="381"/>
                </a:cxn>
                <a:cxn ang="0">
                  <a:pos x="106" y="373"/>
                </a:cxn>
                <a:cxn ang="0">
                  <a:pos x="76" y="357"/>
                </a:cxn>
              </a:cxnLst>
              <a:rect l="0" t="0" r="r" b="b"/>
              <a:pathLst>
                <a:path w="432" h="389">
                  <a:moveTo>
                    <a:pt x="76" y="357"/>
                  </a:moveTo>
                  <a:lnTo>
                    <a:pt x="42" y="363"/>
                  </a:lnTo>
                  <a:lnTo>
                    <a:pt x="22" y="333"/>
                  </a:lnTo>
                  <a:lnTo>
                    <a:pt x="0" y="311"/>
                  </a:lnTo>
                  <a:lnTo>
                    <a:pt x="0" y="195"/>
                  </a:lnTo>
                  <a:lnTo>
                    <a:pt x="74" y="195"/>
                  </a:lnTo>
                  <a:lnTo>
                    <a:pt x="74" y="178"/>
                  </a:lnTo>
                  <a:lnTo>
                    <a:pt x="78" y="164"/>
                  </a:lnTo>
                  <a:lnTo>
                    <a:pt x="74" y="96"/>
                  </a:lnTo>
                  <a:lnTo>
                    <a:pt x="92" y="94"/>
                  </a:lnTo>
                  <a:lnTo>
                    <a:pt x="92" y="114"/>
                  </a:lnTo>
                  <a:lnTo>
                    <a:pt x="118" y="116"/>
                  </a:lnTo>
                  <a:lnTo>
                    <a:pt x="134" y="132"/>
                  </a:lnTo>
                  <a:lnTo>
                    <a:pt x="176" y="136"/>
                  </a:lnTo>
                  <a:lnTo>
                    <a:pt x="184" y="120"/>
                  </a:lnTo>
                  <a:lnTo>
                    <a:pt x="198" y="150"/>
                  </a:lnTo>
                  <a:lnTo>
                    <a:pt x="218" y="146"/>
                  </a:lnTo>
                  <a:lnTo>
                    <a:pt x="250" y="184"/>
                  </a:lnTo>
                  <a:lnTo>
                    <a:pt x="272" y="180"/>
                  </a:lnTo>
                  <a:lnTo>
                    <a:pt x="288" y="191"/>
                  </a:lnTo>
                  <a:lnTo>
                    <a:pt x="288" y="136"/>
                  </a:lnTo>
                  <a:lnTo>
                    <a:pt x="272" y="154"/>
                  </a:lnTo>
                  <a:lnTo>
                    <a:pt x="260" y="154"/>
                  </a:lnTo>
                  <a:lnTo>
                    <a:pt x="238" y="118"/>
                  </a:lnTo>
                  <a:lnTo>
                    <a:pt x="240" y="96"/>
                  </a:lnTo>
                  <a:lnTo>
                    <a:pt x="244" y="86"/>
                  </a:lnTo>
                  <a:lnTo>
                    <a:pt x="242" y="52"/>
                  </a:lnTo>
                  <a:lnTo>
                    <a:pt x="232" y="44"/>
                  </a:lnTo>
                  <a:lnTo>
                    <a:pt x="252" y="10"/>
                  </a:lnTo>
                  <a:lnTo>
                    <a:pt x="330" y="0"/>
                  </a:lnTo>
                  <a:lnTo>
                    <a:pt x="368" y="24"/>
                  </a:lnTo>
                  <a:lnTo>
                    <a:pt x="384" y="24"/>
                  </a:lnTo>
                  <a:lnTo>
                    <a:pt x="408" y="44"/>
                  </a:lnTo>
                  <a:lnTo>
                    <a:pt x="426" y="58"/>
                  </a:lnTo>
                  <a:lnTo>
                    <a:pt x="432" y="92"/>
                  </a:lnTo>
                  <a:lnTo>
                    <a:pt x="418" y="110"/>
                  </a:lnTo>
                  <a:lnTo>
                    <a:pt x="422" y="136"/>
                  </a:lnTo>
                  <a:lnTo>
                    <a:pt x="414" y="162"/>
                  </a:lnTo>
                  <a:lnTo>
                    <a:pt x="400" y="182"/>
                  </a:lnTo>
                  <a:lnTo>
                    <a:pt x="394" y="213"/>
                  </a:lnTo>
                  <a:lnTo>
                    <a:pt x="404" y="227"/>
                  </a:lnTo>
                  <a:lnTo>
                    <a:pt x="350" y="251"/>
                  </a:lnTo>
                  <a:lnTo>
                    <a:pt x="318" y="257"/>
                  </a:lnTo>
                  <a:lnTo>
                    <a:pt x="304" y="273"/>
                  </a:lnTo>
                  <a:lnTo>
                    <a:pt x="308" y="293"/>
                  </a:lnTo>
                  <a:lnTo>
                    <a:pt x="262" y="305"/>
                  </a:lnTo>
                  <a:lnTo>
                    <a:pt x="256" y="321"/>
                  </a:lnTo>
                  <a:lnTo>
                    <a:pt x="222" y="337"/>
                  </a:lnTo>
                  <a:lnTo>
                    <a:pt x="190" y="379"/>
                  </a:lnTo>
                  <a:lnTo>
                    <a:pt x="176" y="389"/>
                  </a:lnTo>
                  <a:lnTo>
                    <a:pt x="144" y="381"/>
                  </a:lnTo>
                  <a:lnTo>
                    <a:pt x="106" y="373"/>
                  </a:lnTo>
                  <a:lnTo>
                    <a:pt x="76" y="357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413" name="Zimbabwe">
              <a:extLst>
                <a:ext uri="{FF2B5EF4-FFF2-40B4-BE49-F238E27FC236}">
                  <a16:creationId xmlns="" xmlns:a16="http://schemas.microsoft.com/office/drawing/2014/main" id="{C29EE2FF-86D4-4B79-A9DF-86B1D0FE4C5E}"/>
                </a:ext>
              </a:extLst>
            </p:cNvPr>
            <p:cNvSpPr>
              <a:spLocks/>
            </p:cNvSpPr>
            <p:nvPr/>
          </p:nvSpPr>
          <p:spPr bwMode="gray">
            <a:xfrm>
              <a:off x="6577995" y="5073990"/>
              <a:ext cx="249896" cy="226155"/>
            </a:xfrm>
            <a:custGeom>
              <a:avLst/>
              <a:gdLst/>
              <a:ahLst/>
              <a:cxnLst>
                <a:cxn ang="0">
                  <a:pos x="196" y="268"/>
                </a:cxn>
                <a:cxn ang="0">
                  <a:pos x="248" y="278"/>
                </a:cxn>
                <a:cxn ang="0">
                  <a:pos x="286" y="238"/>
                </a:cxn>
                <a:cxn ang="0">
                  <a:pos x="288" y="210"/>
                </a:cxn>
                <a:cxn ang="0">
                  <a:pos x="306" y="192"/>
                </a:cxn>
                <a:cxn ang="0">
                  <a:pos x="302" y="158"/>
                </a:cxn>
                <a:cxn ang="0">
                  <a:pos x="310" y="138"/>
                </a:cxn>
                <a:cxn ang="0">
                  <a:pos x="304" y="102"/>
                </a:cxn>
                <a:cxn ang="0">
                  <a:pos x="302" y="42"/>
                </a:cxn>
                <a:cxn ang="0">
                  <a:pos x="262" y="18"/>
                </a:cxn>
                <a:cxn ang="0">
                  <a:pos x="220" y="16"/>
                </a:cxn>
                <a:cxn ang="0">
                  <a:pos x="204" y="0"/>
                </a:cxn>
                <a:cxn ang="0">
                  <a:pos x="158" y="12"/>
                </a:cxn>
                <a:cxn ang="0">
                  <a:pos x="152" y="28"/>
                </a:cxn>
                <a:cxn ang="0">
                  <a:pos x="118" y="44"/>
                </a:cxn>
                <a:cxn ang="0">
                  <a:pos x="86" y="86"/>
                </a:cxn>
                <a:cxn ang="0">
                  <a:pos x="72" y="96"/>
                </a:cxn>
                <a:cxn ang="0">
                  <a:pos x="40" y="88"/>
                </a:cxn>
                <a:cxn ang="0">
                  <a:pos x="2" y="80"/>
                </a:cxn>
                <a:cxn ang="0">
                  <a:pos x="0" y="102"/>
                </a:cxn>
                <a:cxn ang="0">
                  <a:pos x="24" y="120"/>
                </a:cxn>
                <a:cxn ang="0">
                  <a:pos x="26" y="136"/>
                </a:cxn>
                <a:cxn ang="0">
                  <a:pos x="84" y="192"/>
                </a:cxn>
                <a:cxn ang="0">
                  <a:pos x="84" y="210"/>
                </a:cxn>
                <a:cxn ang="0">
                  <a:pos x="102" y="208"/>
                </a:cxn>
                <a:cxn ang="0">
                  <a:pos x="110" y="230"/>
                </a:cxn>
                <a:cxn ang="0">
                  <a:pos x="130" y="246"/>
                </a:cxn>
                <a:cxn ang="0">
                  <a:pos x="150" y="248"/>
                </a:cxn>
                <a:cxn ang="0">
                  <a:pos x="176" y="266"/>
                </a:cxn>
                <a:cxn ang="0">
                  <a:pos x="196" y="268"/>
                </a:cxn>
              </a:cxnLst>
              <a:rect l="0" t="0" r="r" b="b"/>
              <a:pathLst>
                <a:path w="310" h="278">
                  <a:moveTo>
                    <a:pt x="196" y="268"/>
                  </a:moveTo>
                  <a:lnTo>
                    <a:pt x="248" y="278"/>
                  </a:lnTo>
                  <a:lnTo>
                    <a:pt x="286" y="238"/>
                  </a:lnTo>
                  <a:lnTo>
                    <a:pt x="288" y="210"/>
                  </a:lnTo>
                  <a:lnTo>
                    <a:pt x="306" y="192"/>
                  </a:lnTo>
                  <a:lnTo>
                    <a:pt x="302" y="158"/>
                  </a:lnTo>
                  <a:lnTo>
                    <a:pt x="310" y="138"/>
                  </a:lnTo>
                  <a:lnTo>
                    <a:pt x="304" y="102"/>
                  </a:lnTo>
                  <a:lnTo>
                    <a:pt x="302" y="42"/>
                  </a:lnTo>
                  <a:lnTo>
                    <a:pt x="262" y="18"/>
                  </a:lnTo>
                  <a:lnTo>
                    <a:pt x="220" y="16"/>
                  </a:lnTo>
                  <a:lnTo>
                    <a:pt x="204" y="0"/>
                  </a:lnTo>
                  <a:lnTo>
                    <a:pt x="158" y="12"/>
                  </a:lnTo>
                  <a:lnTo>
                    <a:pt x="152" y="28"/>
                  </a:lnTo>
                  <a:lnTo>
                    <a:pt x="118" y="44"/>
                  </a:lnTo>
                  <a:lnTo>
                    <a:pt x="86" y="86"/>
                  </a:lnTo>
                  <a:lnTo>
                    <a:pt x="72" y="96"/>
                  </a:lnTo>
                  <a:lnTo>
                    <a:pt x="40" y="88"/>
                  </a:lnTo>
                  <a:lnTo>
                    <a:pt x="2" y="80"/>
                  </a:lnTo>
                  <a:lnTo>
                    <a:pt x="0" y="102"/>
                  </a:lnTo>
                  <a:lnTo>
                    <a:pt x="24" y="120"/>
                  </a:lnTo>
                  <a:lnTo>
                    <a:pt x="26" y="136"/>
                  </a:lnTo>
                  <a:lnTo>
                    <a:pt x="84" y="192"/>
                  </a:lnTo>
                  <a:lnTo>
                    <a:pt x="84" y="210"/>
                  </a:lnTo>
                  <a:lnTo>
                    <a:pt x="102" y="208"/>
                  </a:lnTo>
                  <a:lnTo>
                    <a:pt x="110" y="230"/>
                  </a:lnTo>
                  <a:lnTo>
                    <a:pt x="130" y="246"/>
                  </a:lnTo>
                  <a:lnTo>
                    <a:pt x="150" y="248"/>
                  </a:lnTo>
                  <a:lnTo>
                    <a:pt x="176" y="266"/>
                  </a:lnTo>
                  <a:lnTo>
                    <a:pt x="196" y="268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 dirty="0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</p:grpSp>
      <p:sp>
        <p:nvSpPr>
          <p:cNvPr id="414" name="CuadroTexto 413">
            <a:extLst>
              <a:ext uri="{FF2B5EF4-FFF2-40B4-BE49-F238E27FC236}">
                <a16:creationId xmlns="" xmlns:a16="http://schemas.microsoft.com/office/drawing/2014/main" id="{50375BB2-B718-48D6-B6E0-BEE1F4DFD52C}"/>
              </a:ext>
            </a:extLst>
          </p:cNvPr>
          <p:cNvSpPr txBox="1"/>
          <p:nvPr/>
        </p:nvSpPr>
        <p:spPr>
          <a:xfrm>
            <a:off x="452716" y="72891"/>
            <a:ext cx="11352498" cy="14496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s-PE" sz="4000" b="1" spc="-60" dirty="0">
                <a:solidFill>
                  <a:prstClr val="white"/>
                </a:solidFill>
                <a:latin typeface="Candara" panose="020E0502030303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erú, </a:t>
            </a:r>
            <a:r>
              <a:rPr lang="es-PE" sz="5400" b="1" spc="-60" dirty="0">
                <a:solidFill>
                  <a:prstClr val="white"/>
                </a:solidFill>
                <a:latin typeface="Candara" panose="020E0502030303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</a:t>
            </a:r>
            <a:r>
              <a:rPr lang="es-PE" sz="4000" b="1" spc="-60" dirty="0">
                <a:solidFill>
                  <a:prstClr val="white"/>
                </a:solidFill>
                <a:latin typeface="Candara" panose="020E0502030303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ro en crecimiento exportador más alto del mundo 2017</a:t>
            </a:r>
          </a:p>
        </p:txBody>
      </p:sp>
      <p:graphicFrame>
        <p:nvGraphicFramePr>
          <p:cNvPr id="415" name="Gráfico 414">
            <a:extLst>
              <a:ext uri="{FF2B5EF4-FFF2-40B4-BE49-F238E27FC236}">
                <a16:creationId xmlns="" xmlns:a16="http://schemas.microsoft.com/office/drawing/2014/main" id="{0A887611-E668-4405-91C9-16876E53702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31502178"/>
              </p:ext>
            </p:extLst>
          </p:nvPr>
        </p:nvGraphicFramePr>
        <p:xfrm>
          <a:off x="228470" y="1793446"/>
          <a:ext cx="11692237" cy="43205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19" name="Elipse 418">
            <a:extLst>
              <a:ext uri="{FF2B5EF4-FFF2-40B4-BE49-F238E27FC236}">
                <a16:creationId xmlns="" xmlns:a16="http://schemas.microsoft.com/office/drawing/2014/main" id="{4770BEF4-FDE9-4FB7-BBEB-6D2D4F313667}"/>
              </a:ext>
            </a:extLst>
          </p:cNvPr>
          <p:cNvSpPr/>
          <p:nvPr/>
        </p:nvSpPr>
        <p:spPr>
          <a:xfrm>
            <a:off x="642223" y="2356036"/>
            <a:ext cx="723386" cy="737335"/>
          </a:xfrm>
          <a:prstGeom prst="ellipse">
            <a:avLst/>
          </a:prstGeom>
          <a:solidFill>
            <a:schemeClr val="bg1">
              <a:alpha val="79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>
              <a:solidFill>
                <a:prstClr val="white"/>
              </a:solidFill>
            </a:endParaRPr>
          </a:p>
        </p:txBody>
      </p:sp>
      <p:sp>
        <p:nvSpPr>
          <p:cNvPr id="5" name="CuadroTexto 4">
            <a:extLst>
              <a:ext uri="{FF2B5EF4-FFF2-40B4-BE49-F238E27FC236}">
                <a16:creationId xmlns="" xmlns:a16="http://schemas.microsoft.com/office/drawing/2014/main" id="{321F2893-CC64-47F3-995E-A50995F160AF}"/>
              </a:ext>
            </a:extLst>
          </p:cNvPr>
          <p:cNvSpPr txBox="1"/>
          <p:nvPr/>
        </p:nvSpPr>
        <p:spPr>
          <a:xfrm>
            <a:off x="693793" y="2446715"/>
            <a:ext cx="70724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sz="2800" b="1" dirty="0">
                <a:solidFill>
                  <a:srgbClr val="C00000"/>
                </a:solidFill>
                <a:latin typeface="Candara" panose="020E0502030303020204" pitchFamily="34" charset="0"/>
              </a:rPr>
              <a:t>25%</a:t>
            </a:r>
          </a:p>
        </p:txBody>
      </p:sp>
      <p:sp>
        <p:nvSpPr>
          <p:cNvPr id="430" name="Elipse 429">
            <a:extLst>
              <a:ext uri="{FF2B5EF4-FFF2-40B4-BE49-F238E27FC236}">
                <a16:creationId xmlns="" xmlns:a16="http://schemas.microsoft.com/office/drawing/2014/main" id="{4978E0C4-8ED3-48EE-B869-073BBAA61151}"/>
              </a:ext>
            </a:extLst>
          </p:cNvPr>
          <p:cNvSpPr/>
          <p:nvPr/>
        </p:nvSpPr>
        <p:spPr>
          <a:xfrm>
            <a:off x="1671627" y="2481035"/>
            <a:ext cx="723386" cy="737335"/>
          </a:xfrm>
          <a:prstGeom prst="ellipse">
            <a:avLst/>
          </a:prstGeom>
          <a:solidFill>
            <a:schemeClr val="bg1">
              <a:alpha val="79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>
              <a:solidFill>
                <a:prstClr val="white"/>
              </a:solidFill>
            </a:endParaRPr>
          </a:p>
        </p:txBody>
      </p:sp>
      <p:sp>
        <p:nvSpPr>
          <p:cNvPr id="431" name="CuadroTexto 430">
            <a:extLst>
              <a:ext uri="{FF2B5EF4-FFF2-40B4-BE49-F238E27FC236}">
                <a16:creationId xmlns="" xmlns:a16="http://schemas.microsoft.com/office/drawing/2014/main" id="{092AF004-03E3-48E5-B806-F98173226440}"/>
              </a:ext>
            </a:extLst>
          </p:cNvPr>
          <p:cNvSpPr txBox="1"/>
          <p:nvPr/>
        </p:nvSpPr>
        <p:spPr>
          <a:xfrm>
            <a:off x="1734920" y="2571714"/>
            <a:ext cx="72968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sz="2800" b="1" dirty="0">
                <a:solidFill>
                  <a:srgbClr val="C00000"/>
                </a:solidFill>
                <a:latin typeface="Candara" panose="020E0502030303020204" pitchFamily="34" charset="0"/>
              </a:rPr>
              <a:t>24%</a:t>
            </a:r>
          </a:p>
        </p:txBody>
      </p:sp>
      <p:grpSp>
        <p:nvGrpSpPr>
          <p:cNvPr id="2" name="Grupo 1"/>
          <p:cNvGrpSpPr/>
          <p:nvPr/>
        </p:nvGrpSpPr>
        <p:grpSpPr>
          <a:xfrm>
            <a:off x="2720301" y="2641550"/>
            <a:ext cx="770538" cy="737335"/>
            <a:chOff x="2712491" y="2684656"/>
            <a:chExt cx="770538" cy="737335"/>
          </a:xfrm>
        </p:grpSpPr>
        <p:sp>
          <p:nvSpPr>
            <p:cNvPr id="432" name="Elipse 431">
              <a:extLst>
                <a:ext uri="{FF2B5EF4-FFF2-40B4-BE49-F238E27FC236}">
                  <a16:creationId xmlns="" xmlns:a16="http://schemas.microsoft.com/office/drawing/2014/main" id="{03872AD5-D8A1-467A-A40C-533F190654C8}"/>
                </a:ext>
              </a:extLst>
            </p:cNvPr>
            <p:cNvSpPr/>
            <p:nvPr/>
          </p:nvSpPr>
          <p:spPr>
            <a:xfrm>
              <a:off x="2712491" y="2684656"/>
              <a:ext cx="723386" cy="737335"/>
            </a:xfrm>
            <a:prstGeom prst="ellipse">
              <a:avLst/>
            </a:prstGeom>
            <a:solidFill>
              <a:schemeClr val="bg1">
                <a:alpha val="79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E" dirty="0">
                <a:solidFill>
                  <a:prstClr val="white"/>
                </a:solidFill>
              </a:endParaRPr>
            </a:p>
          </p:txBody>
        </p:sp>
        <p:sp>
          <p:nvSpPr>
            <p:cNvPr id="433" name="CuadroTexto 432">
              <a:extLst>
                <a:ext uri="{FF2B5EF4-FFF2-40B4-BE49-F238E27FC236}">
                  <a16:creationId xmlns="" xmlns:a16="http://schemas.microsoft.com/office/drawing/2014/main" id="{315931CE-2EF1-4589-AF9B-A69F56B15FC9}"/>
                </a:ext>
              </a:extLst>
            </p:cNvPr>
            <p:cNvSpPr txBox="1"/>
            <p:nvPr/>
          </p:nvSpPr>
          <p:spPr>
            <a:xfrm>
              <a:off x="2775784" y="2798781"/>
              <a:ext cx="707245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PE" sz="2800" b="1" dirty="0">
                  <a:solidFill>
                    <a:srgbClr val="C00000"/>
                  </a:solidFill>
                  <a:latin typeface="Candara" panose="020E0502030303020204" pitchFamily="34" charset="0"/>
                </a:rPr>
                <a:t>22%</a:t>
              </a:r>
            </a:p>
          </p:txBody>
        </p:sp>
      </p:grpSp>
      <p:sp>
        <p:nvSpPr>
          <p:cNvPr id="434" name="Elipse 433">
            <a:extLst>
              <a:ext uri="{FF2B5EF4-FFF2-40B4-BE49-F238E27FC236}">
                <a16:creationId xmlns="" xmlns:a16="http://schemas.microsoft.com/office/drawing/2014/main" id="{31F9DF13-A7C9-42CD-B7BF-DDF8D2CEBEBB}"/>
              </a:ext>
            </a:extLst>
          </p:cNvPr>
          <p:cNvSpPr/>
          <p:nvPr/>
        </p:nvSpPr>
        <p:spPr>
          <a:xfrm>
            <a:off x="3752951" y="2889747"/>
            <a:ext cx="723386" cy="737335"/>
          </a:xfrm>
          <a:prstGeom prst="ellipse">
            <a:avLst/>
          </a:prstGeom>
          <a:solidFill>
            <a:schemeClr val="bg1">
              <a:alpha val="79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>
              <a:solidFill>
                <a:prstClr val="white"/>
              </a:solidFill>
            </a:endParaRPr>
          </a:p>
        </p:txBody>
      </p:sp>
      <p:sp>
        <p:nvSpPr>
          <p:cNvPr id="435" name="CuadroTexto 434">
            <a:extLst>
              <a:ext uri="{FF2B5EF4-FFF2-40B4-BE49-F238E27FC236}">
                <a16:creationId xmlns="" xmlns:a16="http://schemas.microsoft.com/office/drawing/2014/main" id="{62E0E052-7576-4D94-9DD9-AC8668DE8367}"/>
              </a:ext>
            </a:extLst>
          </p:cNvPr>
          <p:cNvSpPr txBox="1"/>
          <p:nvPr/>
        </p:nvSpPr>
        <p:spPr>
          <a:xfrm>
            <a:off x="3854102" y="3021848"/>
            <a:ext cx="59022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sz="2400" b="1" dirty="0">
                <a:solidFill>
                  <a:srgbClr val="C00000"/>
                </a:solidFill>
                <a:latin typeface="Candara" panose="020E0502030303020204" pitchFamily="34" charset="0"/>
              </a:rPr>
              <a:t>21%</a:t>
            </a:r>
          </a:p>
        </p:txBody>
      </p:sp>
      <p:sp>
        <p:nvSpPr>
          <p:cNvPr id="436" name="Elipse 435">
            <a:extLst>
              <a:ext uri="{FF2B5EF4-FFF2-40B4-BE49-F238E27FC236}">
                <a16:creationId xmlns="" xmlns:a16="http://schemas.microsoft.com/office/drawing/2014/main" id="{43849190-45AF-453A-B31E-B4B773BF8667}"/>
              </a:ext>
            </a:extLst>
          </p:cNvPr>
          <p:cNvSpPr/>
          <p:nvPr/>
        </p:nvSpPr>
        <p:spPr>
          <a:xfrm>
            <a:off x="4807238" y="2978625"/>
            <a:ext cx="723386" cy="737335"/>
          </a:xfrm>
          <a:prstGeom prst="ellipse">
            <a:avLst/>
          </a:prstGeom>
          <a:solidFill>
            <a:schemeClr val="bg1">
              <a:alpha val="79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>
              <a:solidFill>
                <a:prstClr val="white"/>
              </a:solidFill>
            </a:endParaRPr>
          </a:p>
        </p:txBody>
      </p:sp>
      <p:sp>
        <p:nvSpPr>
          <p:cNvPr id="437" name="CuadroTexto 436">
            <a:extLst>
              <a:ext uri="{FF2B5EF4-FFF2-40B4-BE49-F238E27FC236}">
                <a16:creationId xmlns="" xmlns:a16="http://schemas.microsoft.com/office/drawing/2014/main" id="{247D25D8-4620-41B8-A55E-E46DAE4865F4}"/>
              </a:ext>
            </a:extLst>
          </p:cNvPr>
          <p:cNvSpPr txBox="1"/>
          <p:nvPr/>
        </p:nvSpPr>
        <p:spPr>
          <a:xfrm>
            <a:off x="4845327" y="3110426"/>
            <a:ext cx="65274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sz="2400" b="1" dirty="0">
                <a:solidFill>
                  <a:srgbClr val="C00000"/>
                </a:solidFill>
                <a:latin typeface="Candara" panose="020E0502030303020204" pitchFamily="34" charset="0"/>
              </a:rPr>
              <a:t>20%</a:t>
            </a:r>
          </a:p>
        </p:txBody>
      </p:sp>
      <p:sp>
        <p:nvSpPr>
          <p:cNvPr id="438" name="Elipse 437">
            <a:extLst>
              <a:ext uri="{FF2B5EF4-FFF2-40B4-BE49-F238E27FC236}">
                <a16:creationId xmlns="" xmlns:a16="http://schemas.microsoft.com/office/drawing/2014/main" id="{A1FE8A89-2380-404F-B735-212EFE8BA188}"/>
              </a:ext>
            </a:extLst>
          </p:cNvPr>
          <p:cNvSpPr/>
          <p:nvPr/>
        </p:nvSpPr>
        <p:spPr>
          <a:xfrm>
            <a:off x="5849601" y="3081129"/>
            <a:ext cx="723386" cy="737335"/>
          </a:xfrm>
          <a:prstGeom prst="ellipse">
            <a:avLst/>
          </a:prstGeom>
          <a:solidFill>
            <a:schemeClr val="bg1">
              <a:alpha val="79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>
              <a:solidFill>
                <a:prstClr val="white"/>
              </a:solidFill>
            </a:endParaRPr>
          </a:p>
        </p:txBody>
      </p:sp>
      <p:sp>
        <p:nvSpPr>
          <p:cNvPr id="439" name="CuadroTexto 438">
            <a:extLst>
              <a:ext uri="{FF2B5EF4-FFF2-40B4-BE49-F238E27FC236}">
                <a16:creationId xmlns="" xmlns:a16="http://schemas.microsoft.com/office/drawing/2014/main" id="{50DF6EC1-E434-4927-ADAA-2B5F41F97BD9}"/>
              </a:ext>
            </a:extLst>
          </p:cNvPr>
          <p:cNvSpPr txBox="1"/>
          <p:nvPr/>
        </p:nvSpPr>
        <p:spPr>
          <a:xfrm>
            <a:off x="5912672" y="3238861"/>
            <a:ext cx="65274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sz="2400" b="1" dirty="0">
                <a:solidFill>
                  <a:srgbClr val="C00000"/>
                </a:solidFill>
                <a:latin typeface="Candara" panose="020E0502030303020204" pitchFamily="34" charset="0"/>
              </a:rPr>
              <a:t>20%</a:t>
            </a:r>
          </a:p>
        </p:txBody>
      </p:sp>
      <p:sp>
        <p:nvSpPr>
          <p:cNvPr id="440" name="Elipse 439">
            <a:extLst>
              <a:ext uri="{FF2B5EF4-FFF2-40B4-BE49-F238E27FC236}">
                <a16:creationId xmlns="" xmlns:a16="http://schemas.microsoft.com/office/drawing/2014/main" id="{7B115756-B092-40A8-A744-05A98F4A452D}"/>
              </a:ext>
            </a:extLst>
          </p:cNvPr>
          <p:cNvSpPr/>
          <p:nvPr/>
        </p:nvSpPr>
        <p:spPr>
          <a:xfrm>
            <a:off x="6866234" y="3195454"/>
            <a:ext cx="723386" cy="737335"/>
          </a:xfrm>
          <a:prstGeom prst="ellipse">
            <a:avLst/>
          </a:prstGeom>
          <a:solidFill>
            <a:schemeClr val="bg1">
              <a:alpha val="79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>
              <a:solidFill>
                <a:prstClr val="white"/>
              </a:solidFill>
            </a:endParaRPr>
          </a:p>
        </p:txBody>
      </p:sp>
      <p:sp>
        <p:nvSpPr>
          <p:cNvPr id="441" name="CuadroTexto 440">
            <a:extLst>
              <a:ext uri="{FF2B5EF4-FFF2-40B4-BE49-F238E27FC236}">
                <a16:creationId xmlns="" xmlns:a16="http://schemas.microsoft.com/office/drawing/2014/main" id="{A8EBE1E7-1603-4CB3-B215-5629DCCD5C10}"/>
              </a:ext>
            </a:extLst>
          </p:cNvPr>
          <p:cNvSpPr txBox="1"/>
          <p:nvPr/>
        </p:nvSpPr>
        <p:spPr>
          <a:xfrm>
            <a:off x="6978243" y="3390951"/>
            <a:ext cx="53572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sz="2000" b="1" dirty="0">
                <a:solidFill>
                  <a:srgbClr val="C00000"/>
                </a:solidFill>
                <a:latin typeface="Candara" panose="020E0502030303020204" pitchFamily="34" charset="0"/>
              </a:rPr>
              <a:t>19%</a:t>
            </a:r>
          </a:p>
        </p:txBody>
      </p:sp>
      <p:sp>
        <p:nvSpPr>
          <p:cNvPr id="442" name="Elipse 441">
            <a:extLst>
              <a:ext uri="{FF2B5EF4-FFF2-40B4-BE49-F238E27FC236}">
                <a16:creationId xmlns="" xmlns:a16="http://schemas.microsoft.com/office/drawing/2014/main" id="{6FC8F6F4-D21B-474D-ABBB-0E0B13D731C0}"/>
              </a:ext>
            </a:extLst>
          </p:cNvPr>
          <p:cNvSpPr/>
          <p:nvPr/>
        </p:nvSpPr>
        <p:spPr>
          <a:xfrm>
            <a:off x="7907102" y="3258739"/>
            <a:ext cx="723386" cy="737335"/>
          </a:xfrm>
          <a:prstGeom prst="ellipse">
            <a:avLst/>
          </a:prstGeom>
          <a:solidFill>
            <a:schemeClr val="bg1">
              <a:alpha val="79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>
              <a:solidFill>
                <a:prstClr val="white"/>
              </a:solidFill>
            </a:endParaRPr>
          </a:p>
        </p:txBody>
      </p:sp>
      <p:sp>
        <p:nvSpPr>
          <p:cNvPr id="443" name="CuadroTexto 442">
            <a:extLst>
              <a:ext uri="{FF2B5EF4-FFF2-40B4-BE49-F238E27FC236}">
                <a16:creationId xmlns="" xmlns:a16="http://schemas.microsoft.com/office/drawing/2014/main" id="{9354DE1B-DF40-4DF3-B1CB-47194C082AB6}"/>
              </a:ext>
            </a:extLst>
          </p:cNvPr>
          <p:cNvSpPr txBox="1"/>
          <p:nvPr/>
        </p:nvSpPr>
        <p:spPr>
          <a:xfrm>
            <a:off x="8019111" y="3454236"/>
            <a:ext cx="53572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sz="2000" b="1" dirty="0">
                <a:solidFill>
                  <a:srgbClr val="C00000"/>
                </a:solidFill>
                <a:latin typeface="Candara" panose="020E0502030303020204" pitchFamily="34" charset="0"/>
              </a:rPr>
              <a:t>19%</a:t>
            </a:r>
          </a:p>
        </p:txBody>
      </p:sp>
      <p:sp>
        <p:nvSpPr>
          <p:cNvPr id="444" name="Elipse 443">
            <a:extLst>
              <a:ext uri="{FF2B5EF4-FFF2-40B4-BE49-F238E27FC236}">
                <a16:creationId xmlns="" xmlns:a16="http://schemas.microsoft.com/office/drawing/2014/main" id="{67C1796A-B748-4BFF-9E11-085CB0377685}"/>
              </a:ext>
            </a:extLst>
          </p:cNvPr>
          <p:cNvSpPr/>
          <p:nvPr/>
        </p:nvSpPr>
        <p:spPr>
          <a:xfrm>
            <a:off x="8948914" y="3321524"/>
            <a:ext cx="723386" cy="737335"/>
          </a:xfrm>
          <a:prstGeom prst="ellipse">
            <a:avLst/>
          </a:prstGeom>
          <a:solidFill>
            <a:schemeClr val="bg1">
              <a:alpha val="79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>
              <a:solidFill>
                <a:prstClr val="white"/>
              </a:solidFill>
            </a:endParaRPr>
          </a:p>
        </p:txBody>
      </p:sp>
      <p:sp>
        <p:nvSpPr>
          <p:cNvPr id="445" name="CuadroTexto 444">
            <a:extLst>
              <a:ext uri="{FF2B5EF4-FFF2-40B4-BE49-F238E27FC236}">
                <a16:creationId xmlns="" xmlns:a16="http://schemas.microsoft.com/office/drawing/2014/main" id="{33733AE2-05D8-443E-A939-409AEF264B28}"/>
              </a:ext>
            </a:extLst>
          </p:cNvPr>
          <p:cNvSpPr txBox="1"/>
          <p:nvPr/>
        </p:nvSpPr>
        <p:spPr>
          <a:xfrm>
            <a:off x="9060923" y="3517021"/>
            <a:ext cx="53572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sz="2000" b="1" dirty="0">
                <a:solidFill>
                  <a:srgbClr val="C00000"/>
                </a:solidFill>
                <a:latin typeface="Candara" panose="020E0502030303020204" pitchFamily="34" charset="0"/>
              </a:rPr>
              <a:t>18%</a:t>
            </a:r>
          </a:p>
        </p:txBody>
      </p:sp>
      <p:sp>
        <p:nvSpPr>
          <p:cNvPr id="446" name="Elipse 445">
            <a:extLst>
              <a:ext uri="{FF2B5EF4-FFF2-40B4-BE49-F238E27FC236}">
                <a16:creationId xmlns="" xmlns:a16="http://schemas.microsoft.com/office/drawing/2014/main" id="{CD8C5C0E-C0DC-4F4E-8ED9-F58DC6A61FC0}"/>
              </a:ext>
            </a:extLst>
          </p:cNvPr>
          <p:cNvSpPr/>
          <p:nvPr/>
        </p:nvSpPr>
        <p:spPr>
          <a:xfrm>
            <a:off x="9999802" y="3318325"/>
            <a:ext cx="723386" cy="737335"/>
          </a:xfrm>
          <a:prstGeom prst="ellipse">
            <a:avLst/>
          </a:prstGeom>
          <a:solidFill>
            <a:schemeClr val="bg1">
              <a:alpha val="79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>
              <a:solidFill>
                <a:prstClr val="white"/>
              </a:solidFill>
            </a:endParaRPr>
          </a:p>
        </p:txBody>
      </p:sp>
      <p:sp>
        <p:nvSpPr>
          <p:cNvPr id="447" name="CuadroTexto 446">
            <a:extLst>
              <a:ext uri="{FF2B5EF4-FFF2-40B4-BE49-F238E27FC236}">
                <a16:creationId xmlns="" xmlns:a16="http://schemas.microsoft.com/office/drawing/2014/main" id="{1D28E8CC-3703-4892-BE19-AFEF93631191}"/>
              </a:ext>
            </a:extLst>
          </p:cNvPr>
          <p:cNvSpPr txBox="1"/>
          <p:nvPr/>
        </p:nvSpPr>
        <p:spPr>
          <a:xfrm>
            <a:off x="10111811" y="3513822"/>
            <a:ext cx="53572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sz="2000" b="1" dirty="0">
                <a:solidFill>
                  <a:srgbClr val="C00000"/>
                </a:solidFill>
                <a:latin typeface="Candara" panose="020E0502030303020204" pitchFamily="34" charset="0"/>
              </a:rPr>
              <a:t>18%</a:t>
            </a:r>
          </a:p>
        </p:txBody>
      </p:sp>
      <p:sp>
        <p:nvSpPr>
          <p:cNvPr id="448" name="Elipse 447">
            <a:extLst>
              <a:ext uri="{FF2B5EF4-FFF2-40B4-BE49-F238E27FC236}">
                <a16:creationId xmlns="" xmlns:a16="http://schemas.microsoft.com/office/drawing/2014/main" id="{B64C3A8C-69C2-4F81-A179-D69B78BDDBCD}"/>
              </a:ext>
            </a:extLst>
          </p:cNvPr>
          <p:cNvSpPr/>
          <p:nvPr/>
        </p:nvSpPr>
        <p:spPr>
          <a:xfrm>
            <a:off x="11017548" y="3382718"/>
            <a:ext cx="723386" cy="737335"/>
          </a:xfrm>
          <a:prstGeom prst="ellipse">
            <a:avLst/>
          </a:prstGeom>
          <a:solidFill>
            <a:schemeClr val="bg1">
              <a:alpha val="79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>
              <a:solidFill>
                <a:prstClr val="white"/>
              </a:solidFill>
            </a:endParaRPr>
          </a:p>
        </p:txBody>
      </p:sp>
      <p:sp>
        <p:nvSpPr>
          <p:cNvPr id="449" name="CuadroTexto 448">
            <a:extLst>
              <a:ext uri="{FF2B5EF4-FFF2-40B4-BE49-F238E27FC236}">
                <a16:creationId xmlns="" xmlns:a16="http://schemas.microsoft.com/office/drawing/2014/main" id="{E0DBFF96-C848-4F8E-BB23-85E788392FA0}"/>
              </a:ext>
            </a:extLst>
          </p:cNvPr>
          <p:cNvSpPr txBox="1"/>
          <p:nvPr/>
        </p:nvSpPr>
        <p:spPr>
          <a:xfrm>
            <a:off x="11129557" y="3578215"/>
            <a:ext cx="53572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sz="2000" b="1" dirty="0">
                <a:solidFill>
                  <a:srgbClr val="C00000"/>
                </a:solidFill>
                <a:latin typeface="Candara" panose="020E0502030303020204" pitchFamily="34" charset="0"/>
              </a:rPr>
              <a:t>18%</a:t>
            </a:r>
          </a:p>
        </p:txBody>
      </p:sp>
      <p:sp>
        <p:nvSpPr>
          <p:cNvPr id="7" name="Rectángulo 6">
            <a:extLst>
              <a:ext uri="{FF2B5EF4-FFF2-40B4-BE49-F238E27FC236}">
                <a16:creationId xmlns="" xmlns:a16="http://schemas.microsoft.com/office/drawing/2014/main" id="{E8423623-C273-485C-BF4D-B46DA108245B}"/>
              </a:ext>
            </a:extLst>
          </p:cNvPr>
          <p:cNvSpPr/>
          <p:nvPr/>
        </p:nvSpPr>
        <p:spPr>
          <a:xfrm>
            <a:off x="2611048" y="2334795"/>
            <a:ext cx="941741" cy="384461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>
              <a:solidFill>
                <a:prstClr val="white"/>
              </a:solidFill>
            </a:endParaRPr>
          </a:p>
        </p:txBody>
      </p:sp>
      <p:sp>
        <p:nvSpPr>
          <p:cNvPr id="202" name="CuadroTexto 201"/>
          <p:cNvSpPr txBox="1"/>
          <p:nvPr/>
        </p:nvSpPr>
        <p:spPr>
          <a:xfrm>
            <a:off x="479626" y="6270152"/>
            <a:ext cx="21788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sz="1000" dirty="0">
                <a:solidFill>
                  <a:prstClr val="white"/>
                </a:solidFill>
              </a:rPr>
              <a:t>*/ Con fecha de corte al 28/02/2018,</a:t>
            </a:r>
          </a:p>
          <a:p>
            <a:r>
              <a:rPr lang="es-PE" sz="1000" dirty="0">
                <a:solidFill>
                  <a:prstClr val="white"/>
                </a:solidFill>
              </a:rPr>
              <a:t>Fuente: OMC, Elaboración: MINCETUR</a:t>
            </a:r>
          </a:p>
        </p:txBody>
      </p:sp>
      <p:pic>
        <p:nvPicPr>
          <p:cNvPr id="204" name="Imagen 203">
            <a:extLst>
              <a:ext uri="{FF2B5EF4-FFF2-40B4-BE49-F238E27FC236}">
                <a16:creationId xmlns="" xmlns:a16="http://schemas.microsoft.com/office/drawing/2014/main" id="{1A4E5BF9-7706-4A34-9605-00400BEAE03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16829" y="1655093"/>
            <a:ext cx="930507" cy="930504"/>
          </a:xfrm>
          <a:prstGeom prst="rect">
            <a:avLst/>
          </a:prstGeom>
        </p:spPr>
      </p:pic>
      <p:sp>
        <p:nvSpPr>
          <p:cNvPr id="205" name="CuadroTexto 204"/>
          <p:cNvSpPr txBox="1"/>
          <p:nvPr/>
        </p:nvSpPr>
        <p:spPr>
          <a:xfrm>
            <a:off x="7160" y="1681540"/>
            <a:ext cx="12192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sz="2000" b="1" dirty="0">
                <a:solidFill>
                  <a:prstClr val="white"/>
                </a:solidFill>
              </a:rPr>
              <a:t>Exportaciones Mundiales - FOB</a:t>
            </a:r>
          </a:p>
        </p:txBody>
      </p:sp>
    </p:spTree>
    <p:extLst>
      <p:ext uri="{BB962C8B-B14F-4D97-AF65-F5344CB8AC3E}">
        <p14:creationId xmlns:p14="http://schemas.microsoft.com/office/powerpoint/2010/main" val="4735664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ángulo 30">
            <a:extLst>
              <a:ext uri="{FF2B5EF4-FFF2-40B4-BE49-F238E27FC236}">
                <a16:creationId xmlns="" xmlns:a16="http://schemas.microsoft.com/office/drawing/2014/main" id="{4B48F480-ED0B-40E6-8D71-6BFF83A5B032}"/>
              </a:ext>
            </a:extLst>
          </p:cNvPr>
          <p:cNvSpPr/>
          <p:nvPr/>
        </p:nvSpPr>
        <p:spPr>
          <a:xfrm>
            <a:off x="152400" y="183555"/>
            <a:ext cx="11875862" cy="6438677"/>
          </a:xfrm>
          <a:prstGeom prst="rect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5">
                  <a:lumMod val="50000"/>
                </a:schemeClr>
              </a:gs>
              <a:gs pos="100000">
                <a:schemeClr val="accent5">
                  <a:lumMod val="75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>
              <a:solidFill>
                <a:prstClr val="white"/>
              </a:solidFill>
            </a:endParaRPr>
          </a:p>
        </p:txBody>
      </p:sp>
      <p:sp>
        <p:nvSpPr>
          <p:cNvPr id="227" name="CuadroTexto 226"/>
          <p:cNvSpPr txBox="1"/>
          <p:nvPr/>
        </p:nvSpPr>
        <p:spPr>
          <a:xfrm>
            <a:off x="5921671" y="6420805"/>
            <a:ext cx="59874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sz="900" i="1" dirty="0">
                <a:solidFill>
                  <a:prstClr val="white"/>
                </a:solidFill>
              </a:rPr>
              <a:t>*Estimaciones de las Tendencias Comerciales de América Latina y el Caribe 2018 – BID</a:t>
            </a:r>
          </a:p>
          <a:p>
            <a:pPr algn="r"/>
            <a:r>
              <a:rPr lang="es-ES" sz="900" i="1" dirty="0">
                <a:solidFill>
                  <a:prstClr val="white"/>
                </a:solidFill>
              </a:rPr>
              <a:t>**Excluyendo a Venezuela</a:t>
            </a:r>
          </a:p>
        </p:txBody>
      </p:sp>
      <p:grpSp>
        <p:nvGrpSpPr>
          <p:cNvPr id="2" name="Grupo 1">
            <a:extLst>
              <a:ext uri="{FF2B5EF4-FFF2-40B4-BE49-F238E27FC236}">
                <a16:creationId xmlns="" xmlns:a16="http://schemas.microsoft.com/office/drawing/2014/main" id="{B96A5E77-16D1-4ED9-A168-DA2CC1E36923}"/>
              </a:ext>
            </a:extLst>
          </p:cNvPr>
          <p:cNvGrpSpPr/>
          <p:nvPr/>
        </p:nvGrpSpPr>
        <p:grpSpPr>
          <a:xfrm>
            <a:off x="-304800" y="-32525"/>
            <a:ext cx="5756392" cy="6822662"/>
            <a:chOff x="305462" y="259095"/>
            <a:chExt cx="4605485" cy="5903612"/>
          </a:xfrm>
        </p:grpSpPr>
        <p:sp>
          <p:nvSpPr>
            <p:cNvPr id="28" name="Argentina">
              <a:extLst>
                <a:ext uri="{FF2B5EF4-FFF2-40B4-BE49-F238E27FC236}">
                  <a16:creationId xmlns="" xmlns:a16="http://schemas.microsoft.com/office/drawing/2014/main" id="{859910AB-D79E-4BB0-8C50-94B03232AFCC}"/>
                </a:ext>
              </a:extLst>
            </p:cNvPr>
            <p:cNvSpPr>
              <a:spLocks noChangeAspect="1" noEditPoints="1"/>
            </p:cNvSpPr>
            <p:nvPr/>
          </p:nvSpPr>
          <p:spPr bwMode="gray">
            <a:xfrm>
              <a:off x="3167540" y="4727119"/>
              <a:ext cx="620831" cy="1400191"/>
            </a:xfrm>
            <a:custGeom>
              <a:avLst/>
              <a:gdLst/>
              <a:ahLst/>
              <a:cxnLst>
                <a:cxn ang="0">
                  <a:pos x="296" y="16"/>
                </a:cxn>
                <a:cxn ang="0">
                  <a:pos x="407" y="28"/>
                </a:cxn>
                <a:cxn ang="0">
                  <a:pos x="501" y="42"/>
                </a:cxn>
                <a:cxn ang="0">
                  <a:pos x="600" y="128"/>
                </a:cxn>
                <a:cxn ang="0">
                  <a:pos x="730" y="172"/>
                </a:cxn>
                <a:cxn ang="0">
                  <a:pos x="735" y="286"/>
                </a:cxn>
                <a:cxn ang="0">
                  <a:pos x="851" y="234"/>
                </a:cxn>
                <a:cxn ang="0">
                  <a:pos x="903" y="234"/>
                </a:cxn>
                <a:cxn ang="0">
                  <a:pos x="818" y="342"/>
                </a:cxn>
                <a:cxn ang="0">
                  <a:pos x="735" y="432"/>
                </a:cxn>
                <a:cxn ang="0">
                  <a:pos x="699" y="595"/>
                </a:cxn>
                <a:cxn ang="0">
                  <a:pos x="756" y="716"/>
                </a:cxn>
                <a:cxn ang="0">
                  <a:pos x="773" y="782"/>
                </a:cxn>
                <a:cxn ang="0">
                  <a:pos x="725" y="895"/>
                </a:cxn>
                <a:cxn ang="0">
                  <a:pos x="553" y="935"/>
                </a:cxn>
                <a:cxn ang="0">
                  <a:pos x="532" y="968"/>
                </a:cxn>
                <a:cxn ang="0">
                  <a:pos x="529" y="1027"/>
                </a:cxn>
                <a:cxn ang="0">
                  <a:pos x="454" y="1068"/>
                </a:cxn>
                <a:cxn ang="0">
                  <a:pos x="397" y="1039"/>
                </a:cxn>
                <a:cxn ang="0">
                  <a:pos x="418" y="1138"/>
                </a:cxn>
                <a:cxn ang="0">
                  <a:pos x="433" y="1129"/>
                </a:cxn>
                <a:cxn ang="0">
                  <a:pos x="468" y="1131"/>
                </a:cxn>
                <a:cxn ang="0">
                  <a:pos x="437" y="1150"/>
                </a:cxn>
                <a:cxn ang="0">
                  <a:pos x="414" y="1174"/>
                </a:cxn>
                <a:cxn ang="0">
                  <a:pos x="395" y="1221"/>
                </a:cxn>
                <a:cxn ang="0">
                  <a:pos x="369" y="1308"/>
                </a:cxn>
                <a:cxn ang="0">
                  <a:pos x="312" y="1323"/>
                </a:cxn>
                <a:cxn ang="0">
                  <a:pos x="288" y="1410"/>
                </a:cxn>
                <a:cxn ang="0">
                  <a:pos x="355" y="1445"/>
                </a:cxn>
                <a:cxn ang="0">
                  <a:pos x="366" y="1500"/>
                </a:cxn>
                <a:cxn ang="0">
                  <a:pos x="274" y="1597"/>
                </a:cxn>
                <a:cxn ang="0">
                  <a:pos x="251" y="1644"/>
                </a:cxn>
                <a:cxn ang="0">
                  <a:pos x="246" y="1649"/>
                </a:cxn>
                <a:cxn ang="0">
                  <a:pos x="215" y="1741"/>
                </a:cxn>
                <a:cxn ang="0">
                  <a:pos x="227" y="1778"/>
                </a:cxn>
                <a:cxn ang="0">
                  <a:pos x="220" y="1795"/>
                </a:cxn>
                <a:cxn ang="0">
                  <a:pos x="55" y="1726"/>
                </a:cxn>
                <a:cxn ang="0">
                  <a:pos x="14" y="1682"/>
                </a:cxn>
                <a:cxn ang="0">
                  <a:pos x="38" y="1566"/>
                </a:cxn>
                <a:cxn ang="0">
                  <a:pos x="50" y="1478"/>
                </a:cxn>
                <a:cxn ang="0">
                  <a:pos x="92" y="1367"/>
                </a:cxn>
                <a:cxn ang="0">
                  <a:pos x="100" y="1306"/>
                </a:cxn>
                <a:cxn ang="0">
                  <a:pos x="116" y="1292"/>
                </a:cxn>
                <a:cxn ang="0">
                  <a:pos x="85" y="1181"/>
                </a:cxn>
                <a:cxn ang="0">
                  <a:pos x="90" y="1094"/>
                </a:cxn>
                <a:cxn ang="0">
                  <a:pos x="102" y="957"/>
                </a:cxn>
                <a:cxn ang="0">
                  <a:pos x="123" y="841"/>
                </a:cxn>
                <a:cxn ang="0">
                  <a:pos x="149" y="758"/>
                </a:cxn>
                <a:cxn ang="0">
                  <a:pos x="170" y="574"/>
                </a:cxn>
                <a:cxn ang="0">
                  <a:pos x="159" y="465"/>
                </a:cxn>
                <a:cxn ang="0">
                  <a:pos x="180" y="378"/>
                </a:cxn>
                <a:cxn ang="0">
                  <a:pos x="229" y="293"/>
                </a:cxn>
                <a:cxn ang="0">
                  <a:pos x="234" y="196"/>
                </a:cxn>
                <a:cxn ang="0">
                  <a:pos x="281" y="125"/>
                </a:cxn>
                <a:cxn ang="0">
                  <a:pos x="284" y="2008"/>
                </a:cxn>
                <a:cxn ang="0">
                  <a:pos x="362" y="2019"/>
                </a:cxn>
                <a:cxn ang="0">
                  <a:pos x="343" y="1982"/>
                </a:cxn>
                <a:cxn ang="0">
                  <a:pos x="258" y="1889"/>
                </a:cxn>
                <a:cxn ang="0">
                  <a:pos x="237" y="1845"/>
                </a:cxn>
              </a:cxnLst>
              <a:rect l="0" t="0" r="r" b="b"/>
              <a:pathLst>
                <a:path w="905" h="2022">
                  <a:moveTo>
                    <a:pt x="293" y="111"/>
                  </a:moveTo>
                  <a:lnTo>
                    <a:pt x="303" y="76"/>
                  </a:lnTo>
                  <a:lnTo>
                    <a:pt x="303" y="45"/>
                  </a:lnTo>
                  <a:lnTo>
                    <a:pt x="296" y="16"/>
                  </a:lnTo>
                  <a:lnTo>
                    <a:pt x="317" y="12"/>
                  </a:lnTo>
                  <a:lnTo>
                    <a:pt x="329" y="0"/>
                  </a:lnTo>
                  <a:lnTo>
                    <a:pt x="352" y="21"/>
                  </a:lnTo>
                  <a:lnTo>
                    <a:pt x="407" y="28"/>
                  </a:lnTo>
                  <a:lnTo>
                    <a:pt x="430" y="59"/>
                  </a:lnTo>
                  <a:lnTo>
                    <a:pt x="451" y="14"/>
                  </a:lnTo>
                  <a:lnTo>
                    <a:pt x="494" y="24"/>
                  </a:lnTo>
                  <a:lnTo>
                    <a:pt x="501" y="42"/>
                  </a:lnTo>
                  <a:lnTo>
                    <a:pt x="518" y="57"/>
                  </a:lnTo>
                  <a:lnTo>
                    <a:pt x="527" y="57"/>
                  </a:lnTo>
                  <a:lnTo>
                    <a:pt x="529" y="68"/>
                  </a:lnTo>
                  <a:lnTo>
                    <a:pt x="600" y="128"/>
                  </a:lnTo>
                  <a:lnTo>
                    <a:pt x="645" y="125"/>
                  </a:lnTo>
                  <a:lnTo>
                    <a:pt x="669" y="142"/>
                  </a:lnTo>
                  <a:lnTo>
                    <a:pt x="688" y="144"/>
                  </a:lnTo>
                  <a:lnTo>
                    <a:pt x="730" y="172"/>
                  </a:lnTo>
                  <a:lnTo>
                    <a:pt x="690" y="262"/>
                  </a:lnTo>
                  <a:lnTo>
                    <a:pt x="697" y="274"/>
                  </a:lnTo>
                  <a:lnTo>
                    <a:pt x="714" y="276"/>
                  </a:lnTo>
                  <a:lnTo>
                    <a:pt x="735" y="286"/>
                  </a:lnTo>
                  <a:lnTo>
                    <a:pt x="754" y="293"/>
                  </a:lnTo>
                  <a:lnTo>
                    <a:pt x="813" y="288"/>
                  </a:lnTo>
                  <a:lnTo>
                    <a:pt x="844" y="260"/>
                  </a:lnTo>
                  <a:lnTo>
                    <a:pt x="851" y="234"/>
                  </a:lnTo>
                  <a:lnTo>
                    <a:pt x="860" y="194"/>
                  </a:lnTo>
                  <a:lnTo>
                    <a:pt x="886" y="196"/>
                  </a:lnTo>
                  <a:lnTo>
                    <a:pt x="905" y="210"/>
                  </a:lnTo>
                  <a:lnTo>
                    <a:pt x="903" y="234"/>
                  </a:lnTo>
                  <a:lnTo>
                    <a:pt x="891" y="279"/>
                  </a:lnTo>
                  <a:lnTo>
                    <a:pt x="877" y="281"/>
                  </a:lnTo>
                  <a:lnTo>
                    <a:pt x="820" y="335"/>
                  </a:lnTo>
                  <a:lnTo>
                    <a:pt x="818" y="342"/>
                  </a:lnTo>
                  <a:lnTo>
                    <a:pt x="808" y="342"/>
                  </a:lnTo>
                  <a:lnTo>
                    <a:pt x="768" y="385"/>
                  </a:lnTo>
                  <a:lnTo>
                    <a:pt x="761" y="404"/>
                  </a:lnTo>
                  <a:lnTo>
                    <a:pt x="735" y="432"/>
                  </a:lnTo>
                  <a:lnTo>
                    <a:pt x="714" y="484"/>
                  </a:lnTo>
                  <a:lnTo>
                    <a:pt x="707" y="515"/>
                  </a:lnTo>
                  <a:lnTo>
                    <a:pt x="702" y="557"/>
                  </a:lnTo>
                  <a:lnTo>
                    <a:pt x="699" y="595"/>
                  </a:lnTo>
                  <a:lnTo>
                    <a:pt x="692" y="607"/>
                  </a:lnTo>
                  <a:lnTo>
                    <a:pt x="690" y="635"/>
                  </a:lnTo>
                  <a:lnTo>
                    <a:pt x="692" y="675"/>
                  </a:lnTo>
                  <a:lnTo>
                    <a:pt x="756" y="716"/>
                  </a:lnTo>
                  <a:lnTo>
                    <a:pt x="759" y="737"/>
                  </a:lnTo>
                  <a:lnTo>
                    <a:pt x="747" y="753"/>
                  </a:lnTo>
                  <a:lnTo>
                    <a:pt x="754" y="772"/>
                  </a:lnTo>
                  <a:lnTo>
                    <a:pt x="773" y="782"/>
                  </a:lnTo>
                  <a:lnTo>
                    <a:pt x="773" y="817"/>
                  </a:lnTo>
                  <a:lnTo>
                    <a:pt x="744" y="864"/>
                  </a:lnTo>
                  <a:lnTo>
                    <a:pt x="742" y="879"/>
                  </a:lnTo>
                  <a:lnTo>
                    <a:pt x="725" y="895"/>
                  </a:lnTo>
                  <a:lnTo>
                    <a:pt x="652" y="923"/>
                  </a:lnTo>
                  <a:lnTo>
                    <a:pt x="605" y="926"/>
                  </a:lnTo>
                  <a:lnTo>
                    <a:pt x="586" y="935"/>
                  </a:lnTo>
                  <a:lnTo>
                    <a:pt x="553" y="935"/>
                  </a:lnTo>
                  <a:lnTo>
                    <a:pt x="520" y="916"/>
                  </a:lnTo>
                  <a:lnTo>
                    <a:pt x="515" y="919"/>
                  </a:lnTo>
                  <a:lnTo>
                    <a:pt x="515" y="935"/>
                  </a:lnTo>
                  <a:lnTo>
                    <a:pt x="532" y="968"/>
                  </a:lnTo>
                  <a:lnTo>
                    <a:pt x="529" y="990"/>
                  </a:lnTo>
                  <a:lnTo>
                    <a:pt x="515" y="1023"/>
                  </a:lnTo>
                  <a:lnTo>
                    <a:pt x="518" y="1032"/>
                  </a:lnTo>
                  <a:lnTo>
                    <a:pt x="529" y="1027"/>
                  </a:lnTo>
                  <a:lnTo>
                    <a:pt x="529" y="1034"/>
                  </a:lnTo>
                  <a:lnTo>
                    <a:pt x="503" y="1060"/>
                  </a:lnTo>
                  <a:lnTo>
                    <a:pt x="487" y="1070"/>
                  </a:lnTo>
                  <a:lnTo>
                    <a:pt x="454" y="1068"/>
                  </a:lnTo>
                  <a:lnTo>
                    <a:pt x="423" y="1051"/>
                  </a:lnTo>
                  <a:lnTo>
                    <a:pt x="409" y="1046"/>
                  </a:lnTo>
                  <a:lnTo>
                    <a:pt x="407" y="1032"/>
                  </a:lnTo>
                  <a:lnTo>
                    <a:pt x="397" y="1039"/>
                  </a:lnTo>
                  <a:lnTo>
                    <a:pt x="402" y="1089"/>
                  </a:lnTo>
                  <a:lnTo>
                    <a:pt x="397" y="1117"/>
                  </a:lnTo>
                  <a:lnTo>
                    <a:pt x="418" y="1124"/>
                  </a:lnTo>
                  <a:lnTo>
                    <a:pt x="418" y="1138"/>
                  </a:lnTo>
                  <a:lnTo>
                    <a:pt x="433" y="1141"/>
                  </a:lnTo>
                  <a:lnTo>
                    <a:pt x="444" y="1138"/>
                  </a:lnTo>
                  <a:lnTo>
                    <a:pt x="447" y="1131"/>
                  </a:lnTo>
                  <a:lnTo>
                    <a:pt x="433" y="1129"/>
                  </a:lnTo>
                  <a:lnTo>
                    <a:pt x="433" y="1122"/>
                  </a:lnTo>
                  <a:lnTo>
                    <a:pt x="454" y="1115"/>
                  </a:lnTo>
                  <a:lnTo>
                    <a:pt x="463" y="1127"/>
                  </a:lnTo>
                  <a:lnTo>
                    <a:pt x="468" y="1131"/>
                  </a:lnTo>
                  <a:lnTo>
                    <a:pt x="470" y="1164"/>
                  </a:lnTo>
                  <a:lnTo>
                    <a:pt x="459" y="1171"/>
                  </a:lnTo>
                  <a:lnTo>
                    <a:pt x="442" y="1171"/>
                  </a:lnTo>
                  <a:lnTo>
                    <a:pt x="437" y="1150"/>
                  </a:lnTo>
                  <a:lnTo>
                    <a:pt x="418" y="1145"/>
                  </a:lnTo>
                  <a:lnTo>
                    <a:pt x="409" y="1153"/>
                  </a:lnTo>
                  <a:lnTo>
                    <a:pt x="404" y="1162"/>
                  </a:lnTo>
                  <a:lnTo>
                    <a:pt x="414" y="1174"/>
                  </a:lnTo>
                  <a:lnTo>
                    <a:pt x="430" y="1176"/>
                  </a:lnTo>
                  <a:lnTo>
                    <a:pt x="418" y="1183"/>
                  </a:lnTo>
                  <a:lnTo>
                    <a:pt x="397" y="1205"/>
                  </a:lnTo>
                  <a:lnTo>
                    <a:pt x="395" y="1221"/>
                  </a:lnTo>
                  <a:lnTo>
                    <a:pt x="388" y="1261"/>
                  </a:lnTo>
                  <a:lnTo>
                    <a:pt x="390" y="1271"/>
                  </a:lnTo>
                  <a:lnTo>
                    <a:pt x="366" y="1294"/>
                  </a:lnTo>
                  <a:lnTo>
                    <a:pt x="369" y="1308"/>
                  </a:lnTo>
                  <a:lnTo>
                    <a:pt x="352" y="1311"/>
                  </a:lnTo>
                  <a:lnTo>
                    <a:pt x="340" y="1306"/>
                  </a:lnTo>
                  <a:lnTo>
                    <a:pt x="329" y="1323"/>
                  </a:lnTo>
                  <a:lnTo>
                    <a:pt x="312" y="1323"/>
                  </a:lnTo>
                  <a:lnTo>
                    <a:pt x="296" y="1346"/>
                  </a:lnTo>
                  <a:lnTo>
                    <a:pt x="281" y="1372"/>
                  </a:lnTo>
                  <a:lnTo>
                    <a:pt x="281" y="1398"/>
                  </a:lnTo>
                  <a:lnTo>
                    <a:pt x="288" y="1410"/>
                  </a:lnTo>
                  <a:lnTo>
                    <a:pt x="310" y="1424"/>
                  </a:lnTo>
                  <a:lnTo>
                    <a:pt x="312" y="1434"/>
                  </a:lnTo>
                  <a:lnTo>
                    <a:pt x="331" y="1443"/>
                  </a:lnTo>
                  <a:lnTo>
                    <a:pt x="355" y="1445"/>
                  </a:lnTo>
                  <a:lnTo>
                    <a:pt x="366" y="1445"/>
                  </a:lnTo>
                  <a:lnTo>
                    <a:pt x="371" y="1462"/>
                  </a:lnTo>
                  <a:lnTo>
                    <a:pt x="359" y="1481"/>
                  </a:lnTo>
                  <a:lnTo>
                    <a:pt x="366" y="1500"/>
                  </a:lnTo>
                  <a:lnTo>
                    <a:pt x="355" y="1519"/>
                  </a:lnTo>
                  <a:lnTo>
                    <a:pt x="322" y="1538"/>
                  </a:lnTo>
                  <a:lnTo>
                    <a:pt x="286" y="1573"/>
                  </a:lnTo>
                  <a:lnTo>
                    <a:pt x="274" y="1597"/>
                  </a:lnTo>
                  <a:lnTo>
                    <a:pt x="284" y="1599"/>
                  </a:lnTo>
                  <a:lnTo>
                    <a:pt x="281" y="1625"/>
                  </a:lnTo>
                  <a:lnTo>
                    <a:pt x="258" y="1646"/>
                  </a:lnTo>
                  <a:lnTo>
                    <a:pt x="251" y="1644"/>
                  </a:lnTo>
                  <a:lnTo>
                    <a:pt x="237" y="1630"/>
                  </a:lnTo>
                  <a:lnTo>
                    <a:pt x="229" y="1634"/>
                  </a:lnTo>
                  <a:lnTo>
                    <a:pt x="227" y="1641"/>
                  </a:lnTo>
                  <a:lnTo>
                    <a:pt x="246" y="1649"/>
                  </a:lnTo>
                  <a:lnTo>
                    <a:pt x="241" y="1660"/>
                  </a:lnTo>
                  <a:lnTo>
                    <a:pt x="220" y="1670"/>
                  </a:lnTo>
                  <a:lnTo>
                    <a:pt x="211" y="1705"/>
                  </a:lnTo>
                  <a:lnTo>
                    <a:pt x="215" y="1741"/>
                  </a:lnTo>
                  <a:lnTo>
                    <a:pt x="218" y="1755"/>
                  </a:lnTo>
                  <a:lnTo>
                    <a:pt x="203" y="1762"/>
                  </a:lnTo>
                  <a:lnTo>
                    <a:pt x="220" y="1762"/>
                  </a:lnTo>
                  <a:lnTo>
                    <a:pt x="227" y="1778"/>
                  </a:lnTo>
                  <a:lnTo>
                    <a:pt x="253" y="1812"/>
                  </a:lnTo>
                  <a:lnTo>
                    <a:pt x="248" y="1814"/>
                  </a:lnTo>
                  <a:lnTo>
                    <a:pt x="234" y="1814"/>
                  </a:lnTo>
                  <a:lnTo>
                    <a:pt x="220" y="1795"/>
                  </a:lnTo>
                  <a:lnTo>
                    <a:pt x="78" y="1795"/>
                  </a:lnTo>
                  <a:lnTo>
                    <a:pt x="57" y="1760"/>
                  </a:lnTo>
                  <a:lnTo>
                    <a:pt x="59" y="1743"/>
                  </a:lnTo>
                  <a:lnTo>
                    <a:pt x="55" y="1726"/>
                  </a:lnTo>
                  <a:lnTo>
                    <a:pt x="55" y="1691"/>
                  </a:lnTo>
                  <a:lnTo>
                    <a:pt x="38" y="1691"/>
                  </a:lnTo>
                  <a:lnTo>
                    <a:pt x="22" y="1703"/>
                  </a:lnTo>
                  <a:lnTo>
                    <a:pt x="14" y="1682"/>
                  </a:lnTo>
                  <a:lnTo>
                    <a:pt x="3" y="1665"/>
                  </a:lnTo>
                  <a:lnTo>
                    <a:pt x="0" y="1649"/>
                  </a:lnTo>
                  <a:lnTo>
                    <a:pt x="10" y="1611"/>
                  </a:lnTo>
                  <a:lnTo>
                    <a:pt x="38" y="1566"/>
                  </a:lnTo>
                  <a:lnTo>
                    <a:pt x="48" y="1545"/>
                  </a:lnTo>
                  <a:lnTo>
                    <a:pt x="57" y="1519"/>
                  </a:lnTo>
                  <a:lnTo>
                    <a:pt x="50" y="1493"/>
                  </a:lnTo>
                  <a:lnTo>
                    <a:pt x="50" y="1478"/>
                  </a:lnTo>
                  <a:lnTo>
                    <a:pt x="83" y="1445"/>
                  </a:lnTo>
                  <a:lnTo>
                    <a:pt x="85" y="1415"/>
                  </a:lnTo>
                  <a:lnTo>
                    <a:pt x="92" y="1408"/>
                  </a:lnTo>
                  <a:lnTo>
                    <a:pt x="92" y="1367"/>
                  </a:lnTo>
                  <a:lnTo>
                    <a:pt x="97" y="1356"/>
                  </a:lnTo>
                  <a:lnTo>
                    <a:pt x="92" y="1344"/>
                  </a:lnTo>
                  <a:lnTo>
                    <a:pt x="111" y="1320"/>
                  </a:lnTo>
                  <a:lnTo>
                    <a:pt x="100" y="1306"/>
                  </a:lnTo>
                  <a:lnTo>
                    <a:pt x="83" y="1301"/>
                  </a:lnTo>
                  <a:lnTo>
                    <a:pt x="81" y="1299"/>
                  </a:lnTo>
                  <a:lnTo>
                    <a:pt x="88" y="1290"/>
                  </a:lnTo>
                  <a:lnTo>
                    <a:pt x="116" y="1292"/>
                  </a:lnTo>
                  <a:lnTo>
                    <a:pt x="116" y="1278"/>
                  </a:lnTo>
                  <a:lnTo>
                    <a:pt x="88" y="1264"/>
                  </a:lnTo>
                  <a:lnTo>
                    <a:pt x="90" y="1216"/>
                  </a:lnTo>
                  <a:lnTo>
                    <a:pt x="85" y="1181"/>
                  </a:lnTo>
                  <a:lnTo>
                    <a:pt x="69" y="1157"/>
                  </a:lnTo>
                  <a:lnTo>
                    <a:pt x="71" y="1145"/>
                  </a:lnTo>
                  <a:lnTo>
                    <a:pt x="97" y="1134"/>
                  </a:lnTo>
                  <a:lnTo>
                    <a:pt x="90" y="1094"/>
                  </a:lnTo>
                  <a:lnTo>
                    <a:pt x="85" y="1039"/>
                  </a:lnTo>
                  <a:lnTo>
                    <a:pt x="95" y="1018"/>
                  </a:lnTo>
                  <a:lnTo>
                    <a:pt x="90" y="1001"/>
                  </a:lnTo>
                  <a:lnTo>
                    <a:pt x="102" y="957"/>
                  </a:lnTo>
                  <a:lnTo>
                    <a:pt x="116" y="928"/>
                  </a:lnTo>
                  <a:lnTo>
                    <a:pt x="128" y="928"/>
                  </a:lnTo>
                  <a:lnTo>
                    <a:pt x="130" y="897"/>
                  </a:lnTo>
                  <a:lnTo>
                    <a:pt x="123" y="841"/>
                  </a:lnTo>
                  <a:lnTo>
                    <a:pt x="123" y="796"/>
                  </a:lnTo>
                  <a:lnTo>
                    <a:pt x="135" y="786"/>
                  </a:lnTo>
                  <a:lnTo>
                    <a:pt x="137" y="770"/>
                  </a:lnTo>
                  <a:lnTo>
                    <a:pt x="149" y="758"/>
                  </a:lnTo>
                  <a:lnTo>
                    <a:pt x="161" y="706"/>
                  </a:lnTo>
                  <a:lnTo>
                    <a:pt x="175" y="657"/>
                  </a:lnTo>
                  <a:lnTo>
                    <a:pt x="177" y="612"/>
                  </a:lnTo>
                  <a:lnTo>
                    <a:pt x="170" y="574"/>
                  </a:lnTo>
                  <a:lnTo>
                    <a:pt x="151" y="527"/>
                  </a:lnTo>
                  <a:lnTo>
                    <a:pt x="149" y="498"/>
                  </a:lnTo>
                  <a:lnTo>
                    <a:pt x="161" y="491"/>
                  </a:lnTo>
                  <a:lnTo>
                    <a:pt x="159" y="465"/>
                  </a:lnTo>
                  <a:lnTo>
                    <a:pt x="170" y="463"/>
                  </a:lnTo>
                  <a:lnTo>
                    <a:pt x="180" y="449"/>
                  </a:lnTo>
                  <a:lnTo>
                    <a:pt x="177" y="401"/>
                  </a:lnTo>
                  <a:lnTo>
                    <a:pt x="180" y="378"/>
                  </a:lnTo>
                  <a:lnTo>
                    <a:pt x="196" y="345"/>
                  </a:lnTo>
                  <a:lnTo>
                    <a:pt x="213" y="331"/>
                  </a:lnTo>
                  <a:lnTo>
                    <a:pt x="218" y="312"/>
                  </a:lnTo>
                  <a:lnTo>
                    <a:pt x="229" y="293"/>
                  </a:lnTo>
                  <a:lnTo>
                    <a:pt x="248" y="276"/>
                  </a:lnTo>
                  <a:lnTo>
                    <a:pt x="239" y="257"/>
                  </a:lnTo>
                  <a:lnTo>
                    <a:pt x="239" y="217"/>
                  </a:lnTo>
                  <a:lnTo>
                    <a:pt x="234" y="196"/>
                  </a:lnTo>
                  <a:lnTo>
                    <a:pt x="246" y="170"/>
                  </a:lnTo>
                  <a:lnTo>
                    <a:pt x="246" y="151"/>
                  </a:lnTo>
                  <a:lnTo>
                    <a:pt x="253" y="144"/>
                  </a:lnTo>
                  <a:lnTo>
                    <a:pt x="281" y="125"/>
                  </a:lnTo>
                  <a:lnTo>
                    <a:pt x="293" y="111"/>
                  </a:lnTo>
                  <a:close/>
                  <a:moveTo>
                    <a:pt x="234" y="1937"/>
                  </a:moveTo>
                  <a:lnTo>
                    <a:pt x="234" y="2005"/>
                  </a:lnTo>
                  <a:lnTo>
                    <a:pt x="284" y="2008"/>
                  </a:lnTo>
                  <a:lnTo>
                    <a:pt x="303" y="2012"/>
                  </a:lnTo>
                  <a:lnTo>
                    <a:pt x="314" y="2012"/>
                  </a:lnTo>
                  <a:lnTo>
                    <a:pt x="333" y="2022"/>
                  </a:lnTo>
                  <a:lnTo>
                    <a:pt x="362" y="2019"/>
                  </a:lnTo>
                  <a:lnTo>
                    <a:pt x="364" y="2012"/>
                  </a:lnTo>
                  <a:lnTo>
                    <a:pt x="378" y="2015"/>
                  </a:lnTo>
                  <a:lnTo>
                    <a:pt x="395" y="1996"/>
                  </a:lnTo>
                  <a:lnTo>
                    <a:pt x="343" y="1982"/>
                  </a:lnTo>
                  <a:lnTo>
                    <a:pt x="303" y="1944"/>
                  </a:lnTo>
                  <a:lnTo>
                    <a:pt x="286" y="1934"/>
                  </a:lnTo>
                  <a:lnTo>
                    <a:pt x="258" y="1918"/>
                  </a:lnTo>
                  <a:lnTo>
                    <a:pt x="258" y="1889"/>
                  </a:lnTo>
                  <a:lnTo>
                    <a:pt x="241" y="1882"/>
                  </a:lnTo>
                  <a:lnTo>
                    <a:pt x="241" y="1875"/>
                  </a:lnTo>
                  <a:lnTo>
                    <a:pt x="255" y="1868"/>
                  </a:lnTo>
                  <a:lnTo>
                    <a:pt x="237" y="1845"/>
                  </a:lnTo>
                  <a:lnTo>
                    <a:pt x="234" y="1937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8001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29" name="Bolivia">
              <a:extLst>
                <a:ext uri="{FF2B5EF4-FFF2-40B4-BE49-F238E27FC236}">
                  <a16:creationId xmlns="" xmlns:a16="http://schemas.microsoft.com/office/drawing/2014/main" id="{7998BA74-2BF1-4414-961F-091C5F720451}"/>
                </a:ext>
              </a:extLst>
            </p:cNvPr>
            <p:cNvSpPr>
              <a:spLocks/>
            </p:cNvSpPr>
            <p:nvPr/>
          </p:nvSpPr>
          <p:spPr bwMode="gray">
            <a:xfrm>
              <a:off x="3292488" y="4333807"/>
              <a:ext cx="376794" cy="446410"/>
            </a:xfrm>
            <a:custGeom>
              <a:avLst/>
              <a:gdLst/>
              <a:ahLst/>
              <a:cxnLst>
                <a:cxn ang="0">
                  <a:pos x="6" y="315"/>
                </a:cxn>
                <a:cxn ang="0">
                  <a:pos x="0" y="295"/>
                </a:cxn>
                <a:cxn ang="0">
                  <a:pos x="24" y="279"/>
                </a:cxn>
                <a:cxn ang="0">
                  <a:pos x="36" y="265"/>
                </a:cxn>
                <a:cxn ang="0">
                  <a:pos x="14" y="243"/>
                </a:cxn>
                <a:cxn ang="0">
                  <a:pos x="22" y="217"/>
                </a:cxn>
                <a:cxn ang="0">
                  <a:pos x="12" y="201"/>
                </a:cxn>
                <a:cxn ang="0">
                  <a:pos x="42" y="110"/>
                </a:cxn>
                <a:cxn ang="0">
                  <a:pos x="6" y="52"/>
                </a:cxn>
                <a:cxn ang="0">
                  <a:pos x="44" y="50"/>
                </a:cxn>
                <a:cxn ang="0">
                  <a:pos x="70" y="30"/>
                </a:cxn>
                <a:cxn ang="0">
                  <a:pos x="92" y="24"/>
                </a:cxn>
                <a:cxn ang="0">
                  <a:pos x="114" y="8"/>
                </a:cxn>
                <a:cxn ang="0">
                  <a:pos x="158" y="0"/>
                </a:cxn>
                <a:cxn ang="0">
                  <a:pos x="166" y="20"/>
                </a:cxn>
                <a:cxn ang="0">
                  <a:pos x="160" y="42"/>
                </a:cxn>
                <a:cxn ang="0">
                  <a:pos x="172" y="90"/>
                </a:cxn>
                <a:cxn ang="0">
                  <a:pos x="202" y="106"/>
                </a:cxn>
                <a:cxn ang="0">
                  <a:pos x="228" y="112"/>
                </a:cxn>
                <a:cxn ang="0">
                  <a:pos x="298" y="147"/>
                </a:cxn>
                <a:cxn ang="0">
                  <a:pos x="350" y="161"/>
                </a:cxn>
                <a:cxn ang="0">
                  <a:pos x="356" y="201"/>
                </a:cxn>
                <a:cxn ang="0">
                  <a:pos x="348" y="225"/>
                </a:cxn>
                <a:cxn ang="0">
                  <a:pos x="372" y="261"/>
                </a:cxn>
                <a:cxn ang="0">
                  <a:pos x="430" y="263"/>
                </a:cxn>
                <a:cxn ang="0">
                  <a:pos x="434" y="297"/>
                </a:cxn>
                <a:cxn ang="0">
                  <a:pos x="454" y="307"/>
                </a:cxn>
                <a:cxn ang="0">
                  <a:pos x="464" y="323"/>
                </a:cxn>
                <a:cxn ang="0">
                  <a:pos x="456" y="355"/>
                </a:cxn>
                <a:cxn ang="0">
                  <a:pos x="456" y="375"/>
                </a:cxn>
                <a:cxn ang="0">
                  <a:pos x="438" y="407"/>
                </a:cxn>
                <a:cxn ang="0">
                  <a:pos x="408" y="389"/>
                </a:cxn>
                <a:cxn ang="0">
                  <a:pos x="362" y="395"/>
                </a:cxn>
                <a:cxn ang="0">
                  <a:pos x="330" y="397"/>
                </a:cxn>
                <a:cxn ang="0">
                  <a:pos x="296" y="395"/>
                </a:cxn>
                <a:cxn ang="0">
                  <a:pos x="278" y="429"/>
                </a:cxn>
                <a:cxn ang="0">
                  <a:pos x="278" y="449"/>
                </a:cxn>
                <a:cxn ang="0">
                  <a:pos x="264" y="501"/>
                </a:cxn>
                <a:cxn ang="0">
                  <a:pos x="228" y="493"/>
                </a:cxn>
                <a:cxn ang="0">
                  <a:pos x="210" y="531"/>
                </a:cxn>
                <a:cxn ang="0">
                  <a:pos x="190" y="505"/>
                </a:cxn>
                <a:cxn ang="0">
                  <a:pos x="144" y="499"/>
                </a:cxn>
                <a:cxn ang="0">
                  <a:pos x="124" y="481"/>
                </a:cxn>
                <a:cxn ang="0">
                  <a:pos x="114" y="491"/>
                </a:cxn>
                <a:cxn ang="0">
                  <a:pos x="96" y="495"/>
                </a:cxn>
                <a:cxn ang="0">
                  <a:pos x="102" y="519"/>
                </a:cxn>
                <a:cxn ang="0">
                  <a:pos x="102" y="545"/>
                </a:cxn>
                <a:cxn ang="0">
                  <a:pos x="60" y="527"/>
                </a:cxn>
                <a:cxn ang="0">
                  <a:pos x="54" y="475"/>
                </a:cxn>
                <a:cxn ang="0">
                  <a:pos x="48" y="463"/>
                </a:cxn>
                <a:cxn ang="0">
                  <a:pos x="38" y="457"/>
                </a:cxn>
                <a:cxn ang="0">
                  <a:pos x="38" y="417"/>
                </a:cxn>
                <a:cxn ang="0">
                  <a:pos x="32" y="407"/>
                </a:cxn>
                <a:cxn ang="0">
                  <a:pos x="32" y="391"/>
                </a:cxn>
                <a:cxn ang="0">
                  <a:pos x="6" y="315"/>
                </a:cxn>
              </a:cxnLst>
              <a:rect l="0" t="0" r="r" b="b"/>
              <a:pathLst>
                <a:path w="464" h="545">
                  <a:moveTo>
                    <a:pt x="6" y="315"/>
                  </a:moveTo>
                  <a:lnTo>
                    <a:pt x="0" y="295"/>
                  </a:lnTo>
                  <a:lnTo>
                    <a:pt x="24" y="279"/>
                  </a:lnTo>
                  <a:lnTo>
                    <a:pt x="36" y="265"/>
                  </a:lnTo>
                  <a:lnTo>
                    <a:pt x="14" y="243"/>
                  </a:lnTo>
                  <a:lnTo>
                    <a:pt x="22" y="217"/>
                  </a:lnTo>
                  <a:lnTo>
                    <a:pt x="12" y="201"/>
                  </a:lnTo>
                  <a:lnTo>
                    <a:pt x="42" y="110"/>
                  </a:lnTo>
                  <a:lnTo>
                    <a:pt x="6" y="52"/>
                  </a:lnTo>
                  <a:lnTo>
                    <a:pt x="44" y="50"/>
                  </a:lnTo>
                  <a:lnTo>
                    <a:pt x="70" y="30"/>
                  </a:lnTo>
                  <a:lnTo>
                    <a:pt x="92" y="24"/>
                  </a:lnTo>
                  <a:lnTo>
                    <a:pt x="114" y="8"/>
                  </a:lnTo>
                  <a:lnTo>
                    <a:pt x="158" y="0"/>
                  </a:lnTo>
                  <a:lnTo>
                    <a:pt x="166" y="20"/>
                  </a:lnTo>
                  <a:lnTo>
                    <a:pt x="160" y="42"/>
                  </a:lnTo>
                  <a:lnTo>
                    <a:pt x="172" y="90"/>
                  </a:lnTo>
                  <a:lnTo>
                    <a:pt x="202" y="106"/>
                  </a:lnTo>
                  <a:lnTo>
                    <a:pt x="228" y="112"/>
                  </a:lnTo>
                  <a:lnTo>
                    <a:pt x="298" y="147"/>
                  </a:lnTo>
                  <a:lnTo>
                    <a:pt x="350" y="161"/>
                  </a:lnTo>
                  <a:lnTo>
                    <a:pt x="356" y="201"/>
                  </a:lnTo>
                  <a:lnTo>
                    <a:pt x="348" y="225"/>
                  </a:lnTo>
                  <a:lnTo>
                    <a:pt x="372" y="261"/>
                  </a:lnTo>
                  <a:lnTo>
                    <a:pt x="430" y="263"/>
                  </a:lnTo>
                  <a:lnTo>
                    <a:pt x="434" y="297"/>
                  </a:lnTo>
                  <a:lnTo>
                    <a:pt x="454" y="307"/>
                  </a:lnTo>
                  <a:lnTo>
                    <a:pt x="464" y="323"/>
                  </a:lnTo>
                  <a:lnTo>
                    <a:pt x="456" y="355"/>
                  </a:lnTo>
                  <a:lnTo>
                    <a:pt x="456" y="375"/>
                  </a:lnTo>
                  <a:lnTo>
                    <a:pt x="438" y="407"/>
                  </a:lnTo>
                  <a:lnTo>
                    <a:pt x="408" y="389"/>
                  </a:lnTo>
                  <a:lnTo>
                    <a:pt x="362" y="395"/>
                  </a:lnTo>
                  <a:lnTo>
                    <a:pt x="330" y="397"/>
                  </a:lnTo>
                  <a:lnTo>
                    <a:pt x="296" y="395"/>
                  </a:lnTo>
                  <a:lnTo>
                    <a:pt x="278" y="429"/>
                  </a:lnTo>
                  <a:lnTo>
                    <a:pt x="278" y="449"/>
                  </a:lnTo>
                  <a:lnTo>
                    <a:pt x="264" y="501"/>
                  </a:lnTo>
                  <a:lnTo>
                    <a:pt x="228" y="493"/>
                  </a:lnTo>
                  <a:lnTo>
                    <a:pt x="210" y="531"/>
                  </a:lnTo>
                  <a:lnTo>
                    <a:pt x="190" y="505"/>
                  </a:lnTo>
                  <a:lnTo>
                    <a:pt x="144" y="499"/>
                  </a:lnTo>
                  <a:lnTo>
                    <a:pt x="124" y="481"/>
                  </a:lnTo>
                  <a:lnTo>
                    <a:pt x="114" y="491"/>
                  </a:lnTo>
                  <a:lnTo>
                    <a:pt x="96" y="495"/>
                  </a:lnTo>
                  <a:lnTo>
                    <a:pt x="102" y="519"/>
                  </a:lnTo>
                  <a:lnTo>
                    <a:pt x="102" y="545"/>
                  </a:lnTo>
                  <a:lnTo>
                    <a:pt x="60" y="527"/>
                  </a:lnTo>
                  <a:lnTo>
                    <a:pt x="54" y="475"/>
                  </a:lnTo>
                  <a:lnTo>
                    <a:pt x="48" y="463"/>
                  </a:lnTo>
                  <a:lnTo>
                    <a:pt x="38" y="457"/>
                  </a:lnTo>
                  <a:lnTo>
                    <a:pt x="38" y="417"/>
                  </a:lnTo>
                  <a:lnTo>
                    <a:pt x="32" y="407"/>
                  </a:lnTo>
                  <a:lnTo>
                    <a:pt x="32" y="391"/>
                  </a:lnTo>
                  <a:lnTo>
                    <a:pt x="6" y="315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0" name="Brazil">
              <a:extLst>
                <a:ext uri="{FF2B5EF4-FFF2-40B4-BE49-F238E27FC236}">
                  <a16:creationId xmlns="" xmlns:a16="http://schemas.microsoft.com/office/drawing/2014/main" id="{2AC5A9F3-3991-4C77-A367-5C7C8D5536FF}"/>
                </a:ext>
              </a:extLst>
            </p:cNvPr>
            <p:cNvSpPr>
              <a:spLocks/>
            </p:cNvSpPr>
            <p:nvPr/>
          </p:nvSpPr>
          <p:spPr bwMode="gray">
            <a:xfrm>
              <a:off x="3161682" y="3855933"/>
              <a:ext cx="1214334" cy="1307761"/>
            </a:xfrm>
            <a:custGeom>
              <a:avLst/>
              <a:gdLst/>
              <a:ahLst/>
              <a:cxnLst>
                <a:cxn ang="0">
                  <a:pos x="28" y="440"/>
                </a:cxn>
                <a:cxn ang="0">
                  <a:pos x="130" y="368"/>
                </a:cxn>
                <a:cxn ang="0">
                  <a:pos x="168" y="202"/>
                </a:cxn>
                <a:cxn ang="0">
                  <a:pos x="148" y="154"/>
                </a:cxn>
                <a:cxn ang="0">
                  <a:pos x="242" y="120"/>
                </a:cxn>
                <a:cxn ang="0">
                  <a:pos x="356" y="136"/>
                </a:cxn>
                <a:cxn ang="0">
                  <a:pos x="362" y="92"/>
                </a:cxn>
                <a:cxn ang="0">
                  <a:pos x="394" y="50"/>
                </a:cxn>
                <a:cxn ang="0">
                  <a:pos x="488" y="30"/>
                </a:cxn>
                <a:cxn ang="0">
                  <a:pos x="552" y="42"/>
                </a:cxn>
                <a:cxn ang="0">
                  <a:pos x="536" y="126"/>
                </a:cxn>
                <a:cxn ang="0">
                  <a:pos x="648" y="122"/>
                </a:cxn>
                <a:cxn ang="0">
                  <a:pos x="722" y="94"/>
                </a:cxn>
                <a:cxn ang="0">
                  <a:pos x="796" y="122"/>
                </a:cxn>
                <a:cxn ang="0">
                  <a:pos x="854" y="28"/>
                </a:cxn>
                <a:cxn ang="0">
                  <a:pos x="890" y="98"/>
                </a:cxn>
                <a:cxn ang="0">
                  <a:pos x="904" y="174"/>
                </a:cxn>
                <a:cxn ang="0">
                  <a:pos x="828" y="256"/>
                </a:cxn>
                <a:cxn ang="0">
                  <a:pos x="888" y="222"/>
                </a:cxn>
                <a:cxn ang="0">
                  <a:pos x="972" y="230"/>
                </a:cxn>
                <a:cxn ang="0">
                  <a:pos x="948" y="274"/>
                </a:cxn>
                <a:cxn ang="0">
                  <a:pos x="1020" y="222"/>
                </a:cxn>
                <a:cxn ang="0">
                  <a:pos x="1096" y="248"/>
                </a:cxn>
                <a:cxn ang="0">
                  <a:pos x="1122" y="282"/>
                </a:cxn>
                <a:cxn ang="0">
                  <a:pos x="1189" y="284"/>
                </a:cxn>
                <a:cxn ang="0">
                  <a:pos x="1329" y="326"/>
                </a:cxn>
                <a:cxn ang="0">
                  <a:pos x="1451" y="392"/>
                </a:cxn>
                <a:cxn ang="0">
                  <a:pos x="1497" y="510"/>
                </a:cxn>
                <a:cxn ang="0">
                  <a:pos x="1411" y="624"/>
                </a:cxn>
                <a:cxn ang="0">
                  <a:pos x="1345" y="700"/>
                </a:cxn>
                <a:cxn ang="0">
                  <a:pos x="1333" y="853"/>
                </a:cxn>
                <a:cxn ang="0">
                  <a:pos x="1275" y="1029"/>
                </a:cxn>
                <a:cxn ang="0">
                  <a:pos x="1219" y="1101"/>
                </a:cxn>
                <a:cxn ang="0">
                  <a:pos x="1161" y="1111"/>
                </a:cxn>
                <a:cxn ang="0">
                  <a:pos x="1084" y="1155"/>
                </a:cxn>
                <a:cxn ang="0">
                  <a:pos x="992" y="1213"/>
                </a:cxn>
                <a:cxn ang="0">
                  <a:pos x="968" y="1279"/>
                </a:cxn>
                <a:cxn ang="0">
                  <a:pos x="954" y="1371"/>
                </a:cxn>
                <a:cxn ang="0">
                  <a:pos x="840" y="1515"/>
                </a:cxn>
                <a:cxn ang="0">
                  <a:pos x="812" y="1541"/>
                </a:cxn>
                <a:cxn ang="0">
                  <a:pos x="796" y="1592"/>
                </a:cxn>
                <a:cxn ang="0">
                  <a:pos x="788" y="1537"/>
                </a:cxn>
                <a:cxn ang="0">
                  <a:pos x="698" y="1461"/>
                </a:cxn>
                <a:cxn ang="0">
                  <a:pos x="692" y="1357"/>
                </a:cxn>
                <a:cxn ang="0">
                  <a:pos x="772" y="1265"/>
                </a:cxn>
                <a:cxn ang="0">
                  <a:pos x="740" y="1159"/>
                </a:cxn>
                <a:cxn ang="0">
                  <a:pos x="680" y="1089"/>
                </a:cxn>
                <a:cxn ang="0">
                  <a:pos x="600" y="993"/>
                </a:cxn>
                <a:cxn ang="0">
                  <a:pos x="596" y="883"/>
                </a:cxn>
                <a:cxn ang="0">
                  <a:pos x="512" y="747"/>
                </a:cxn>
                <a:cxn ang="0">
                  <a:pos x="322" y="628"/>
                </a:cxn>
                <a:cxn ang="0">
                  <a:pos x="232" y="616"/>
                </a:cxn>
                <a:cxn ang="0">
                  <a:pos x="120" y="564"/>
                </a:cxn>
                <a:cxn ang="0">
                  <a:pos x="12" y="540"/>
                </a:cxn>
              </a:cxnLst>
              <a:rect l="0" t="0" r="r" b="b"/>
              <a:pathLst>
                <a:path w="1497" h="1600">
                  <a:moveTo>
                    <a:pt x="0" y="496"/>
                  </a:moveTo>
                  <a:lnTo>
                    <a:pt x="2" y="480"/>
                  </a:lnTo>
                  <a:lnTo>
                    <a:pt x="14" y="462"/>
                  </a:lnTo>
                  <a:lnTo>
                    <a:pt x="28" y="458"/>
                  </a:lnTo>
                  <a:lnTo>
                    <a:pt x="28" y="440"/>
                  </a:lnTo>
                  <a:lnTo>
                    <a:pt x="42" y="402"/>
                  </a:lnTo>
                  <a:lnTo>
                    <a:pt x="58" y="390"/>
                  </a:lnTo>
                  <a:lnTo>
                    <a:pt x="72" y="378"/>
                  </a:lnTo>
                  <a:lnTo>
                    <a:pt x="90" y="376"/>
                  </a:lnTo>
                  <a:lnTo>
                    <a:pt x="130" y="368"/>
                  </a:lnTo>
                  <a:lnTo>
                    <a:pt x="146" y="376"/>
                  </a:lnTo>
                  <a:lnTo>
                    <a:pt x="150" y="364"/>
                  </a:lnTo>
                  <a:lnTo>
                    <a:pt x="170" y="250"/>
                  </a:lnTo>
                  <a:lnTo>
                    <a:pt x="166" y="224"/>
                  </a:lnTo>
                  <a:lnTo>
                    <a:pt x="168" y="202"/>
                  </a:lnTo>
                  <a:lnTo>
                    <a:pt x="142" y="194"/>
                  </a:lnTo>
                  <a:lnTo>
                    <a:pt x="146" y="172"/>
                  </a:lnTo>
                  <a:lnTo>
                    <a:pt x="174" y="172"/>
                  </a:lnTo>
                  <a:lnTo>
                    <a:pt x="174" y="160"/>
                  </a:lnTo>
                  <a:lnTo>
                    <a:pt x="148" y="154"/>
                  </a:lnTo>
                  <a:lnTo>
                    <a:pt x="148" y="130"/>
                  </a:lnTo>
                  <a:lnTo>
                    <a:pt x="196" y="130"/>
                  </a:lnTo>
                  <a:lnTo>
                    <a:pt x="208" y="122"/>
                  </a:lnTo>
                  <a:lnTo>
                    <a:pt x="224" y="126"/>
                  </a:lnTo>
                  <a:lnTo>
                    <a:pt x="242" y="120"/>
                  </a:lnTo>
                  <a:lnTo>
                    <a:pt x="252" y="136"/>
                  </a:lnTo>
                  <a:lnTo>
                    <a:pt x="256" y="152"/>
                  </a:lnTo>
                  <a:lnTo>
                    <a:pt x="264" y="146"/>
                  </a:lnTo>
                  <a:lnTo>
                    <a:pt x="296" y="172"/>
                  </a:lnTo>
                  <a:lnTo>
                    <a:pt x="356" y="136"/>
                  </a:lnTo>
                  <a:lnTo>
                    <a:pt x="366" y="146"/>
                  </a:lnTo>
                  <a:lnTo>
                    <a:pt x="404" y="114"/>
                  </a:lnTo>
                  <a:lnTo>
                    <a:pt x="402" y="102"/>
                  </a:lnTo>
                  <a:lnTo>
                    <a:pt x="376" y="108"/>
                  </a:lnTo>
                  <a:lnTo>
                    <a:pt x="362" y="92"/>
                  </a:lnTo>
                  <a:lnTo>
                    <a:pt x="366" y="60"/>
                  </a:lnTo>
                  <a:lnTo>
                    <a:pt x="342" y="52"/>
                  </a:lnTo>
                  <a:lnTo>
                    <a:pt x="342" y="34"/>
                  </a:lnTo>
                  <a:lnTo>
                    <a:pt x="378" y="50"/>
                  </a:lnTo>
                  <a:lnTo>
                    <a:pt x="394" y="50"/>
                  </a:lnTo>
                  <a:lnTo>
                    <a:pt x="420" y="56"/>
                  </a:lnTo>
                  <a:lnTo>
                    <a:pt x="436" y="36"/>
                  </a:lnTo>
                  <a:lnTo>
                    <a:pt x="448" y="44"/>
                  </a:lnTo>
                  <a:lnTo>
                    <a:pt x="472" y="30"/>
                  </a:lnTo>
                  <a:lnTo>
                    <a:pt x="488" y="30"/>
                  </a:lnTo>
                  <a:lnTo>
                    <a:pt x="506" y="2"/>
                  </a:lnTo>
                  <a:lnTo>
                    <a:pt x="534" y="0"/>
                  </a:lnTo>
                  <a:lnTo>
                    <a:pt x="526" y="18"/>
                  </a:lnTo>
                  <a:lnTo>
                    <a:pt x="536" y="30"/>
                  </a:lnTo>
                  <a:lnTo>
                    <a:pt x="552" y="42"/>
                  </a:lnTo>
                  <a:lnTo>
                    <a:pt x="540" y="62"/>
                  </a:lnTo>
                  <a:lnTo>
                    <a:pt x="540" y="76"/>
                  </a:lnTo>
                  <a:lnTo>
                    <a:pt x="532" y="100"/>
                  </a:lnTo>
                  <a:lnTo>
                    <a:pt x="546" y="114"/>
                  </a:lnTo>
                  <a:lnTo>
                    <a:pt x="536" y="126"/>
                  </a:lnTo>
                  <a:lnTo>
                    <a:pt x="568" y="152"/>
                  </a:lnTo>
                  <a:lnTo>
                    <a:pt x="586" y="138"/>
                  </a:lnTo>
                  <a:lnTo>
                    <a:pt x="600" y="140"/>
                  </a:lnTo>
                  <a:lnTo>
                    <a:pt x="626" y="126"/>
                  </a:lnTo>
                  <a:lnTo>
                    <a:pt x="648" y="122"/>
                  </a:lnTo>
                  <a:lnTo>
                    <a:pt x="688" y="124"/>
                  </a:lnTo>
                  <a:lnTo>
                    <a:pt x="680" y="110"/>
                  </a:lnTo>
                  <a:lnTo>
                    <a:pt x="686" y="102"/>
                  </a:lnTo>
                  <a:lnTo>
                    <a:pt x="704" y="110"/>
                  </a:lnTo>
                  <a:lnTo>
                    <a:pt x="722" y="94"/>
                  </a:lnTo>
                  <a:lnTo>
                    <a:pt x="742" y="112"/>
                  </a:lnTo>
                  <a:lnTo>
                    <a:pt x="758" y="116"/>
                  </a:lnTo>
                  <a:lnTo>
                    <a:pt x="774" y="104"/>
                  </a:lnTo>
                  <a:lnTo>
                    <a:pt x="790" y="110"/>
                  </a:lnTo>
                  <a:lnTo>
                    <a:pt x="796" y="122"/>
                  </a:lnTo>
                  <a:lnTo>
                    <a:pt x="814" y="108"/>
                  </a:lnTo>
                  <a:lnTo>
                    <a:pt x="822" y="76"/>
                  </a:lnTo>
                  <a:lnTo>
                    <a:pt x="838" y="52"/>
                  </a:lnTo>
                  <a:lnTo>
                    <a:pt x="846" y="26"/>
                  </a:lnTo>
                  <a:lnTo>
                    <a:pt x="854" y="28"/>
                  </a:lnTo>
                  <a:lnTo>
                    <a:pt x="858" y="40"/>
                  </a:lnTo>
                  <a:lnTo>
                    <a:pt x="864" y="36"/>
                  </a:lnTo>
                  <a:lnTo>
                    <a:pt x="880" y="66"/>
                  </a:lnTo>
                  <a:lnTo>
                    <a:pt x="876" y="76"/>
                  </a:lnTo>
                  <a:lnTo>
                    <a:pt x="890" y="98"/>
                  </a:lnTo>
                  <a:lnTo>
                    <a:pt x="896" y="132"/>
                  </a:lnTo>
                  <a:lnTo>
                    <a:pt x="914" y="132"/>
                  </a:lnTo>
                  <a:lnTo>
                    <a:pt x="916" y="148"/>
                  </a:lnTo>
                  <a:lnTo>
                    <a:pt x="916" y="164"/>
                  </a:lnTo>
                  <a:lnTo>
                    <a:pt x="904" y="174"/>
                  </a:lnTo>
                  <a:lnTo>
                    <a:pt x="884" y="196"/>
                  </a:lnTo>
                  <a:lnTo>
                    <a:pt x="860" y="206"/>
                  </a:lnTo>
                  <a:lnTo>
                    <a:pt x="844" y="228"/>
                  </a:lnTo>
                  <a:lnTo>
                    <a:pt x="838" y="244"/>
                  </a:lnTo>
                  <a:lnTo>
                    <a:pt x="828" y="256"/>
                  </a:lnTo>
                  <a:lnTo>
                    <a:pt x="828" y="270"/>
                  </a:lnTo>
                  <a:lnTo>
                    <a:pt x="848" y="252"/>
                  </a:lnTo>
                  <a:lnTo>
                    <a:pt x="864" y="246"/>
                  </a:lnTo>
                  <a:lnTo>
                    <a:pt x="880" y="222"/>
                  </a:lnTo>
                  <a:lnTo>
                    <a:pt x="888" y="222"/>
                  </a:lnTo>
                  <a:lnTo>
                    <a:pt x="902" y="210"/>
                  </a:lnTo>
                  <a:lnTo>
                    <a:pt x="930" y="212"/>
                  </a:lnTo>
                  <a:lnTo>
                    <a:pt x="954" y="206"/>
                  </a:lnTo>
                  <a:lnTo>
                    <a:pt x="970" y="208"/>
                  </a:lnTo>
                  <a:lnTo>
                    <a:pt x="972" y="230"/>
                  </a:lnTo>
                  <a:lnTo>
                    <a:pt x="962" y="246"/>
                  </a:lnTo>
                  <a:lnTo>
                    <a:pt x="956" y="260"/>
                  </a:lnTo>
                  <a:lnTo>
                    <a:pt x="942" y="264"/>
                  </a:lnTo>
                  <a:lnTo>
                    <a:pt x="940" y="298"/>
                  </a:lnTo>
                  <a:lnTo>
                    <a:pt x="948" y="274"/>
                  </a:lnTo>
                  <a:lnTo>
                    <a:pt x="974" y="256"/>
                  </a:lnTo>
                  <a:lnTo>
                    <a:pt x="978" y="244"/>
                  </a:lnTo>
                  <a:lnTo>
                    <a:pt x="986" y="226"/>
                  </a:lnTo>
                  <a:lnTo>
                    <a:pt x="1006" y="220"/>
                  </a:lnTo>
                  <a:lnTo>
                    <a:pt x="1020" y="222"/>
                  </a:lnTo>
                  <a:lnTo>
                    <a:pt x="1030" y="230"/>
                  </a:lnTo>
                  <a:lnTo>
                    <a:pt x="1046" y="226"/>
                  </a:lnTo>
                  <a:lnTo>
                    <a:pt x="1058" y="240"/>
                  </a:lnTo>
                  <a:lnTo>
                    <a:pt x="1074" y="238"/>
                  </a:lnTo>
                  <a:lnTo>
                    <a:pt x="1096" y="248"/>
                  </a:lnTo>
                  <a:lnTo>
                    <a:pt x="1094" y="264"/>
                  </a:lnTo>
                  <a:lnTo>
                    <a:pt x="1106" y="254"/>
                  </a:lnTo>
                  <a:lnTo>
                    <a:pt x="1118" y="254"/>
                  </a:lnTo>
                  <a:lnTo>
                    <a:pt x="1126" y="262"/>
                  </a:lnTo>
                  <a:lnTo>
                    <a:pt x="1122" y="282"/>
                  </a:lnTo>
                  <a:lnTo>
                    <a:pt x="1128" y="286"/>
                  </a:lnTo>
                  <a:lnTo>
                    <a:pt x="1128" y="300"/>
                  </a:lnTo>
                  <a:lnTo>
                    <a:pt x="1140" y="298"/>
                  </a:lnTo>
                  <a:lnTo>
                    <a:pt x="1161" y="286"/>
                  </a:lnTo>
                  <a:lnTo>
                    <a:pt x="1189" y="284"/>
                  </a:lnTo>
                  <a:lnTo>
                    <a:pt x="1231" y="312"/>
                  </a:lnTo>
                  <a:lnTo>
                    <a:pt x="1251" y="304"/>
                  </a:lnTo>
                  <a:lnTo>
                    <a:pt x="1279" y="302"/>
                  </a:lnTo>
                  <a:lnTo>
                    <a:pt x="1299" y="302"/>
                  </a:lnTo>
                  <a:lnTo>
                    <a:pt x="1329" y="326"/>
                  </a:lnTo>
                  <a:lnTo>
                    <a:pt x="1353" y="338"/>
                  </a:lnTo>
                  <a:lnTo>
                    <a:pt x="1381" y="370"/>
                  </a:lnTo>
                  <a:lnTo>
                    <a:pt x="1393" y="372"/>
                  </a:lnTo>
                  <a:lnTo>
                    <a:pt x="1421" y="392"/>
                  </a:lnTo>
                  <a:lnTo>
                    <a:pt x="1451" y="392"/>
                  </a:lnTo>
                  <a:lnTo>
                    <a:pt x="1461" y="392"/>
                  </a:lnTo>
                  <a:lnTo>
                    <a:pt x="1485" y="412"/>
                  </a:lnTo>
                  <a:lnTo>
                    <a:pt x="1487" y="438"/>
                  </a:lnTo>
                  <a:lnTo>
                    <a:pt x="1497" y="452"/>
                  </a:lnTo>
                  <a:lnTo>
                    <a:pt x="1497" y="510"/>
                  </a:lnTo>
                  <a:lnTo>
                    <a:pt x="1493" y="530"/>
                  </a:lnTo>
                  <a:lnTo>
                    <a:pt x="1473" y="568"/>
                  </a:lnTo>
                  <a:lnTo>
                    <a:pt x="1453" y="590"/>
                  </a:lnTo>
                  <a:lnTo>
                    <a:pt x="1433" y="606"/>
                  </a:lnTo>
                  <a:lnTo>
                    <a:pt x="1411" y="624"/>
                  </a:lnTo>
                  <a:lnTo>
                    <a:pt x="1405" y="644"/>
                  </a:lnTo>
                  <a:lnTo>
                    <a:pt x="1379" y="682"/>
                  </a:lnTo>
                  <a:lnTo>
                    <a:pt x="1367" y="688"/>
                  </a:lnTo>
                  <a:lnTo>
                    <a:pt x="1335" y="688"/>
                  </a:lnTo>
                  <a:lnTo>
                    <a:pt x="1345" y="700"/>
                  </a:lnTo>
                  <a:lnTo>
                    <a:pt x="1333" y="728"/>
                  </a:lnTo>
                  <a:lnTo>
                    <a:pt x="1339" y="753"/>
                  </a:lnTo>
                  <a:lnTo>
                    <a:pt x="1339" y="789"/>
                  </a:lnTo>
                  <a:lnTo>
                    <a:pt x="1343" y="819"/>
                  </a:lnTo>
                  <a:lnTo>
                    <a:pt x="1333" y="853"/>
                  </a:lnTo>
                  <a:lnTo>
                    <a:pt x="1331" y="903"/>
                  </a:lnTo>
                  <a:lnTo>
                    <a:pt x="1309" y="921"/>
                  </a:lnTo>
                  <a:lnTo>
                    <a:pt x="1307" y="977"/>
                  </a:lnTo>
                  <a:lnTo>
                    <a:pt x="1289" y="1007"/>
                  </a:lnTo>
                  <a:lnTo>
                    <a:pt x="1275" y="1029"/>
                  </a:lnTo>
                  <a:lnTo>
                    <a:pt x="1257" y="1051"/>
                  </a:lnTo>
                  <a:lnTo>
                    <a:pt x="1255" y="1061"/>
                  </a:lnTo>
                  <a:lnTo>
                    <a:pt x="1263" y="1061"/>
                  </a:lnTo>
                  <a:lnTo>
                    <a:pt x="1259" y="1079"/>
                  </a:lnTo>
                  <a:lnTo>
                    <a:pt x="1219" y="1101"/>
                  </a:lnTo>
                  <a:lnTo>
                    <a:pt x="1219" y="1109"/>
                  </a:lnTo>
                  <a:lnTo>
                    <a:pt x="1223" y="1119"/>
                  </a:lnTo>
                  <a:lnTo>
                    <a:pt x="1213" y="1121"/>
                  </a:lnTo>
                  <a:lnTo>
                    <a:pt x="1171" y="1119"/>
                  </a:lnTo>
                  <a:lnTo>
                    <a:pt x="1161" y="1111"/>
                  </a:lnTo>
                  <a:lnTo>
                    <a:pt x="1136" y="1123"/>
                  </a:lnTo>
                  <a:lnTo>
                    <a:pt x="1116" y="1125"/>
                  </a:lnTo>
                  <a:lnTo>
                    <a:pt x="1118" y="1135"/>
                  </a:lnTo>
                  <a:lnTo>
                    <a:pt x="1086" y="1149"/>
                  </a:lnTo>
                  <a:lnTo>
                    <a:pt x="1084" y="1155"/>
                  </a:lnTo>
                  <a:lnTo>
                    <a:pt x="1064" y="1157"/>
                  </a:lnTo>
                  <a:lnTo>
                    <a:pt x="1042" y="1167"/>
                  </a:lnTo>
                  <a:lnTo>
                    <a:pt x="1030" y="1179"/>
                  </a:lnTo>
                  <a:lnTo>
                    <a:pt x="1002" y="1205"/>
                  </a:lnTo>
                  <a:lnTo>
                    <a:pt x="992" y="1213"/>
                  </a:lnTo>
                  <a:lnTo>
                    <a:pt x="990" y="1225"/>
                  </a:lnTo>
                  <a:lnTo>
                    <a:pt x="964" y="1227"/>
                  </a:lnTo>
                  <a:lnTo>
                    <a:pt x="976" y="1239"/>
                  </a:lnTo>
                  <a:lnTo>
                    <a:pt x="968" y="1249"/>
                  </a:lnTo>
                  <a:lnTo>
                    <a:pt x="968" y="1279"/>
                  </a:lnTo>
                  <a:lnTo>
                    <a:pt x="968" y="1301"/>
                  </a:lnTo>
                  <a:lnTo>
                    <a:pt x="970" y="1331"/>
                  </a:lnTo>
                  <a:lnTo>
                    <a:pt x="964" y="1351"/>
                  </a:lnTo>
                  <a:lnTo>
                    <a:pt x="956" y="1357"/>
                  </a:lnTo>
                  <a:lnTo>
                    <a:pt x="954" y="1371"/>
                  </a:lnTo>
                  <a:lnTo>
                    <a:pt x="930" y="1393"/>
                  </a:lnTo>
                  <a:lnTo>
                    <a:pt x="916" y="1425"/>
                  </a:lnTo>
                  <a:lnTo>
                    <a:pt x="908" y="1441"/>
                  </a:lnTo>
                  <a:lnTo>
                    <a:pt x="882" y="1479"/>
                  </a:lnTo>
                  <a:lnTo>
                    <a:pt x="840" y="1515"/>
                  </a:lnTo>
                  <a:lnTo>
                    <a:pt x="828" y="1527"/>
                  </a:lnTo>
                  <a:lnTo>
                    <a:pt x="824" y="1543"/>
                  </a:lnTo>
                  <a:lnTo>
                    <a:pt x="816" y="1559"/>
                  </a:lnTo>
                  <a:lnTo>
                    <a:pt x="812" y="1557"/>
                  </a:lnTo>
                  <a:lnTo>
                    <a:pt x="812" y="1541"/>
                  </a:lnTo>
                  <a:lnTo>
                    <a:pt x="808" y="1541"/>
                  </a:lnTo>
                  <a:lnTo>
                    <a:pt x="800" y="1553"/>
                  </a:lnTo>
                  <a:lnTo>
                    <a:pt x="802" y="1569"/>
                  </a:lnTo>
                  <a:lnTo>
                    <a:pt x="800" y="1583"/>
                  </a:lnTo>
                  <a:lnTo>
                    <a:pt x="796" y="1592"/>
                  </a:lnTo>
                  <a:lnTo>
                    <a:pt x="788" y="1600"/>
                  </a:lnTo>
                  <a:lnTo>
                    <a:pt x="778" y="1590"/>
                  </a:lnTo>
                  <a:lnTo>
                    <a:pt x="778" y="1577"/>
                  </a:lnTo>
                  <a:lnTo>
                    <a:pt x="780" y="1557"/>
                  </a:lnTo>
                  <a:lnTo>
                    <a:pt x="788" y="1537"/>
                  </a:lnTo>
                  <a:lnTo>
                    <a:pt x="774" y="1533"/>
                  </a:lnTo>
                  <a:lnTo>
                    <a:pt x="760" y="1509"/>
                  </a:lnTo>
                  <a:lnTo>
                    <a:pt x="744" y="1491"/>
                  </a:lnTo>
                  <a:lnTo>
                    <a:pt x="720" y="1479"/>
                  </a:lnTo>
                  <a:lnTo>
                    <a:pt x="698" y="1461"/>
                  </a:lnTo>
                  <a:lnTo>
                    <a:pt x="684" y="1469"/>
                  </a:lnTo>
                  <a:lnTo>
                    <a:pt x="670" y="1449"/>
                  </a:lnTo>
                  <a:lnTo>
                    <a:pt x="652" y="1409"/>
                  </a:lnTo>
                  <a:lnTo>
                    <a:pt x="658" y="1393"/>
                  </a:lnTo>
                  <a:lnTo>
                    <a:pt x="692" y="1357"/>
                  </a:lnTo>
                  <a:lnTo>
                    <a:pt x="700" y="1357"/>
                  </a:lnTo>
                  <a:lnTo>
                    <a:pt x="702" y="1351"/>
                  </a:lnTo>
                  <a:lnTo>
                    <a:pt x="750" y="1305"/>
                  </a:lnTo>
                  <a:lnTo>
                    <a:pt x="762" y="1303"/>
                  </a:lnTo>
                  <a:lnTo>
                    <a:pt x="772" y="1265"/>
                  </a:lnTo>
                  <a:lnTo>
                    <a:pt x="774" y="1245"/>
                  </a:lnTo>
                  <a:lnTo>
                    <a:pt x="758" y="1233"/>
                  </a:lnTo>
                  <a:lnTo>
                    <a:pt x="736" y="1231"/>
                  </a:lnTo>
                  <a:lnTo>
                    <a:pt x="752" y="1173"/>
                  </a:lnTo>
                  <a:lnTo>
                    <a:pt x="740" y="1159"/>
                  </a:lnTo>
                  <a:lnTo>
                    <a:pt x="718" y="1159"/>
                  </a:lnTo>
                  <a:lnTo>
                    <a:pt x="704" y="1153"/>
                  </a:lnTo>
                  <a:lnTo>
                    <a:pt x="702" y="1119"/>
                  </a:lnTo>
                  <a:lnTo>
                    <a:pt x="692" y="1095"/>
                  </a:lnTo>
                  <a:lnTo>
                    <a:pt x="680" y="1089"/>
                  </a:lnTo>
                  <a:lnTo>
                    <a:pt x="656" y="1091"/>
                  </a:lnTo>
                  <a:lnTo>
                    <a:pt x="620" y="1085"/>
                  </a:lnTo>
                  <a:lnTo>
                    <a:pt x="606" y="1073"/>
                  </a:lnTo>
                  <a:lnTo>
                    <a:pt x="614" y="1019"/>
                  </a:lnTo>
                  <a:lnTo>
                    <a:pt x="600" y="993"/>
                  </a:lnTo>
                  <a:lnTo>
                    <a:pt x="618" y="961"/>
                  </a:lnTo>
                  <a:lnTo>
                    <a:pt x="618" y="941"/>
                  </a:lnTo>
                  <a:lnTo>
                    <a:pt x="626" y="909"/>
                  </a:lnTo>
                  <a:lnTo>
                    <a:pt x="616" y="893"/>
                  </a:lnTo>
                  <a:lnTo>
                    <a:pt x="596" y="883"/>
                  </a:lnTo>
                  <a:lnTo>
                    <a:pt x="592" y="849"/>
                  </a:lnTo>
                  <a:lnTo>
                    <a:pt x="534" y="847"/>
                  </a:lnTo>
                  <a:lnTo>
                    <a:pt x="510" y="811"/>
                  </a:lnTo>
                  <a:lnTo>
                    <a:pt x="518" y="787"/>
                  </a:lnTo>
                  <a:lnTo>
                    <a:pt x="512" y="747"/>
                  </a:lnTo>
                  <a:lnTo>
                    <a:pt x="460" y="733"/>
                  </a:lnTo>
                  <a:lnTo>
                    <a:pt x="390" y="698"/>
                  </a:lnTo>
                  <a:lnTo>
                    <a:pt x="364" y="692"/>
                  </a:lnTo>
                  <a:lnTo>
                    <a:pt x="334" y="676"/>
                  </a:lnTo>
                  <a:lnTo>
                    <a:pt x="322" y="628"/>
                  </a:lnTo>
                  <a:lnTo>
                    <a:pt x="328" y="606"/>
                  </a:lnTo>
                  <a:lnTo>
                    <a:pt x="320" y="586"/>
                  </a:lnTo>
                  <a:lnTo>
                    <a:pt x="276" y="594"/>
                  </a:lnTo>
                  <a:lnTo>
                    <a:pt x="254" y="610"/>
                  </a:lnTo>
                  <a:lnTo>
                    <a:pt x="232" y="616"/>
                  </a:lnTo>
                  <a:lnTo>
                    <a:pt x="206" y="636"/>
                  </a:lnTo>
                  <a:lnTo>
                    <a:pt x="168" y="638"/>
                  </a:lnTo>
                  <a:lnTo>
                    <a:pt x="130" y="636"/>
                  </a:lnTo>
                  <a:lnTo>
                    <a:pt x="126" y="568"/>
                  </a:lnTo>
                  <a:lnTo>
                    <a:pt x="120" y="564"/>
                  </a:lnTo>
                  <a:lnTo>
                    <a:pt x="80" y="594"/>
                  </a:lnTo>
                  <a:lnTo>
                    <a:pt x="52" y="568"/>
                  </a:lnTo>
                  <a:lnTo>
                    <a:pt x="28" y="562"/>
                  </a:lnTo>
                  <a:lnTo>
                    <a:pt x="38" y="544"/>
                  </a:lnTo>
                  <a:lnTo>
                    <a:pt x="12" y="540"/>
                  </a:lnTo>
                  <a:lnTo>
                    <a:pt x="6" y="526"/>
                  </a:lnTo>
                  <a:lnTo>
                    <a:pt x="10" y="506"/>
                  </a:lnTo>
                  <a:lnTo>
                    <a:pt x="0" y="496"/>
                  </a:lnTo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8001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2" name="Canada">
              <a:extLst>
                <a:ext uri="{FF2B5EF4-FFF2-40B4-BE49-F238E27FC236}">
                  <a16:creationId xmlns="" xmlns:a16="http://schemas.microsoft.com/office/drawing/2014/main" id="{42C6305F-48B1-4F4C-BA3C-2CC1BABEEE1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143000" y="367257"/>
              <a:ext cx="2746892" cy="2153382"/>
            </a:xfrm>
            <a:custGeom>
              <a:avLst/>
              <a:gdLst/>
              <a:ahLst/>
              <a:cxnLst>
                <a:cxn ang="0">
                  <a:pos x="310" y="1083"/>
                </a:cxn>
                <a:cxn ang="0">
                  <a:pos x="376" y="195"/>
                </a:cxn>
                <a:cxn ang="0">
                  <a:pos x="461" y="213"/>
                </a:cxn>
                <a:cxn ang="0">
                  <a:pos x="539" y="298"/>
                </a:cxn>
                <a:cxn ang="0">
                  <a:pos x="552" y="406"/>
                </a:cxn>
                <a:cxn ang="0">
                  <a:pos x="757" y="378"/>
                </a:cxn>
                <a:cxn ang="0">
                  <a:pos x="637" y="253"/>
                </a:cxn>
                <a:cxn ang="0">
                  <a:pos x="712" y="133"/>
                </a:cxn>
                <a:cxn ang="0">
                  <a:pos x="752" y="251"/>
                </a:cxn>
                <a:cxn ang="0">
                  <a:pos x="760" y="160"/>
                </a:cxn>
                <a:cxn ang="0">
                  <a:pos x="795" y="361"/>
                </a:cxn>
                <a:cxn ang="0">
                  <a:pos x="1023" y="213"/>
                </a:cxn>
                <a:cxn ang="0">
                  <a:pos x="1101" y="351"/>
                </a:cxn>
                <a:cxn ang="0">
                  <a:pos x="1294" y="436"/>
                </a:cxn>
                <a:cxn ang="0">
                  <a:pos x="1279" y="541"/>
                </a:cxn>
                <a:cxn ang="0">
                  <a:pos x="1369" y="597"/>
                </a:cxn>
                <a:cxn ang="0">
                  <a:pos x="1487" y="544"/>
                </a:cxn>
                <a:cxn ang="0">
                  <a:pos x="1362" y="316"/>
                </a:cxn>
                <a:cxn ang="0">
                  <a:pos x="1254" y="220"/>
                </a:cxn>
                <a:cxn ang="0">
                  <a:pos x="1098" y="281"/>
                </a:cxn>
                <a:cxn ang="0">
                  <a:pos x="1201" y="439"/>
                </a:cxn>
                <a:cxn ang="0">
                  <a:pos x="1035" y="636"/>
                </a:cxn>
                <a:cxn ang="0">
                  <a:pos x="1077" y="568"/>
                </a:cxn>
                <a:cxn ang="0">
                  <a:pos x="955" y="243"/>
                </a:cxn>
                <a:cxn ang="0">
                  <a:pos x="1241" y="150"/>
                </a:cxn>
                <a:cxn ang="0">
                  <a:pos x="1331" y="12"/>
                </a:cxn>
                <a:cxn ang="0">
                  <a:pos x="1006" y="98"/>
                </a:cxn>
                <a:cxn ang="0">
                  <a:pos x="1606" y="1017"/>
                </a:cxn>
                <a:cxn ang="0">
                  <a:pos x="1638" y="1070"/>
                </a:cxn>
                <a:cxn ang="0">
                  <a:pos x="1668" y="1109"/>
                </a:cxn>
                <a:cxn ang="0">
                  <a:pos x="1516" y="1048"/>
                </a:cxn>
                <a:cxn ang="0">
                  <a:pos x="1434" y="1152"/>
                </a:cxn>
                <a:cxn ang="0">
                  <a:pos x="1357" y="1177"/>
                </a:cxn>
                <a:cxn ang="0">
                  <a:pos x="1214" y="1259"/>
                </a:cxn>
                <a:cxn ang="0">
                  <a:pos x="1145" y="1280"/>
                </a:cxn>
                <a:cxn ang="0">
                  <a:pos x="1116" y="1219"/>
                </a:cxn>
                <a:cxn ang="0">
                  <a:pos x="1062" y="1231"/>
                </a:cxn>
                <a:cxn ang="0">
                  <a:pos x="1031" y="1278"/>
                </a:cxn>
                <a:cxn ang="0">
                  <a:pos x="1034" y="1221"/>
                </a:cxn>
                <a:cxn ang="0">
                  <a:pos x="1101" y="1187"/>
                </a:cxn>
                <a:cxn ang="0">
                  <a:pos x="1017" y="1166"/>
                </a:cxn>
                <a:cxn ang="0">
                  <a:pos x="951" y="1171"/>
                </a:cxn>
                <a:cxn ang="0">
                  <a:pos x="914" y="1130"/>
                </a:cxn>
                <a:cxn ang="0">
                  <a:pos x="363" y="1113"/>
                </a:cxn>
                <a:cxn ang="0">
                  <a:pos x="208" y="890"/>
                </a:cxn>
                <a:cxn ang="0">
                  <a:pos x="181" y="346"/>
                </a:cxn>
                <a:cxn ang="0">
                  <a:pos x="411" y="371"/>
                </a:cxn>
                <a:cxn ang="0">
                  <a:pos x="632" y="511"/>
                </a:cxn>
                <a:cxn ang="0">
                  <a:pos x="720" y="444"/>
                </a:cxn>
                <a:cxn ang="0">
                  <a:pos x="889" y="459"/>
                </a:cxn>
                <a:cxn ang="0">
                  <a:pos x="883" y="225"/>
                </a:cxn>
                <a:cxn ang="0">
                  <a:pos x="1036" y="476"/>
                </a:cxn>
                <a:cxn ang="0">
                  <a:pos x="1048" y="526"/>
                </a:cxn>
                <a:cxn ang="0">
                  <a:pos x="976" y="854"/>
                </a:cxn>
                <a:cxn ang="0">
                  <a:pos x="1221" y="946"/>
                </a:cxn>
                <a:cxn ang="0">
                  <a:pos x="1314" y="659"/>
                </a:cxn>
                <a:cxn ang="0">
                  <a:pos x="1492" y="782"/>
                </a:cxn>
                <a:cxn ang="0">
                  <a:pos x="1616" y="923"/>
                </a:cxn>
                <a:cxn ang="0">
                  <a:pos x="1364" y="1119"/>
                </a:cxn>
                <a:cxn ang="0">
                  <a:pos x="1475" y="1102"/>
                </a:cxn>
                <a:cxn ang="0">
                  <a:pos x="1484" y="1183"/>
                </a:cxn>
              </a:cxnLst>
              <a:rect l="0" t="0" r="r" b="b"/>
              <a:pathLst>
                <a:path w="1692" h="1317">
                  <a:moveTo>
                    <a:pt x="168" y="968"/>
                  </a:moveTo>
                  <a:cubicBezTo>
                    <a:pt x="171" y="978"/>
                    <a:pt x="171" y="978"/>
                    <a:pt x="171" y="978"/>
                  </a:cubicBezTo>
                  <a:cubicBezTo>
                    <a:pt x="176" y="988"/>
                    <a:pt x="176" y="988"/>
                    <a:pt x="176" y="988"/>
                  </a:cubicBezTo>
                  <a:cubicBezTo>
                    <a:pt x="193" y="1008"/>
                    <a:pt x="193" y="1008"/>
                    <a:pt x="193" y="1008"/>
                  </a:cubicBezTo>
                  <a:cubicBezTo>
                    <a:pt x="198" y="1008"/>
                    <a:pt x="198" y="1008"/>
                    <a:pt x="198" y="1008"/>
                  </a:cubicBezTo>
                  <a:cubicBezTo>
                    <a:pt x="198" y="1003"/>
                    <a:pt x="198" y="1003"/>
                    <a:pt x="198" y="1003"/>
                  </a:cubicBezTo>
                  <a:cubicBezTo>
                    <a:pt x="192" y="999"/>
                    <a:pt x="192" y="999"/>
                    <a:pt x="192" y="999"/>
                  </a:cubicBezTo>
                  <a:cubicBezTo>
                    <a:pt x="183" y="983"/>
                    <a:pt x="183" y="983"/>
                    <a:pt x="183" y="983"/>
                  </a:cubicBezTo>
                  <a:cubicBezTo>
                    <a:pt x="186" y="980"/>
                    <a:pt x="186" y="980"/>
                    <a:pt x="186" y="980"/>
                  </a:cubicBezTo>
                  <a:cubicBezTo>
                    <a:pt x="186" y="973"/>
                    <a:pt x="186" y="973"/>
                    <a:pt x="186" y="973"/>
                  </a:cubicBezTo>
                  <a:cubicBezTo>
                    <a:pt x="183" y="973"/>
                    <a:pt x="183" y="973"/>
                    <a:pt x="183" y="973"/>
                  </a:cubicBezTo>
                  <a:cubicBezTo>
                    <a:pt x="181" y="968"/>
                    <a:pt x="181" y="968"/>
                    <a:pt x="181" y="968"/>
                  </a:cubicBezTo>
                  <a:cubicBezTo>
                    <a:pt x="183" y="963"/>
                    <a:pt x="183" y="963"/>
                    <a:pt x="183" y="963"/>
                  </a:cubicBezTo>
                  <a:cubicBezTo>
                    <a:pt x="188" y="945"/>
                    <a:pt x="188" y="945"/>
                    <a:pt x="188" y="945"/>
                  </a:cubicBezTo>
                  <a:cubicBezTo>
                    <a:pt x="181" y="950"/>
                    <a:pt x="181" y="950"/>
                    <a:pt x="181" y="950"/>
                  </a:cubicBezTo>
                  <a:cubicBezTo>
                    <a:pt x="163" y="945"/>
                    <a:pt x="163" y="945"/>
                    <a:pt x="163" y="945"/>
                  </a:cubicBezTo>
                  <a:cubicBezTo>
                    <a:pt x="168" y="968"/>
                    <a:pt x="168" y="968"/>
                    <a:pt x="168" y="968"/>
                  </a:cubicBezTo>
                  <a:moveTo>
                    <a:pt x="325" y="1095"/>
                  </a:moveTo>
                  <a:cubicBezTo>
                    <a:pt x="318" y="1088"/>
                    <a:pt x="318" y="1088"/>
                    <a:pt x="318" y="1088"/>
                  </a:cubicBezTo>
                  <a:cubicBezTo>
                    <a:pt x="310" y="1083"/>
                    <a:pt x="310" y="1083"/>
                    <a:pt x="310" y="1083"/>
                  </a:cubicBezTo>
                  <a:cubicBezTo>
                    <a:pt x="307" y="1074"/>
                    <a:pt x="307" y="1074"/>
                    <a:pt x="307" y="1074"/>
                  </a:cubicBezTo>
                  <a:cubicBezTo>
                    <a:pt x="263" y="1055"/>
                    <a:pt x="263" y="1055"/>
                    <a:pt x="263" y="1055"/>
                  </a:cubicBezTo>
                  <a:cubicBezTo>
                    <a:pt x="251" y="1061"/>
                    <a:pt x="251" y="1061"/>
                    <a:pt x="251" y="1061"/>
                  </a:cubicBezTo>
                  <a:cubicBezTo>
                    <a:pt x="267" y="1068"/>
                    <a:pt x="267" y="1068"/>
                    <a:pt x="267" y="1068"/>
                  </a:cubicBezTo>
                  <a:cubicBezTo>
                    <a:pt x="264" y="1073"/>
                    <a:pt x="264" y="1073"/>
                    <a:pt x="264" y="1073"/>
                  </a:cubicBezTo>
                  <a:cubicBezTo>
                    <a:pt x="270" y="1080"/>
                    <a:pt x="270" y="1080"/>
                    <a:pt x="270" y="1080"/>
                  </a:cubicBezTo>
                  <a:cubicBezTo>
                    <a:pt x="281" y="1087"/>
                    <a:pt x="281" y="1087"/>
                    <a:pt x="281" y="1087"/>
                  </a:cubicBezTo>
                  <a:cubicBezTo>
                    <a:pt x="290" y="1088"/>
                    <a:pt x="290" y="1088"/>
                    <a:pt x="290" y="1088"/>
                  </a:cubicBezTo>
                  <a:cubicBezTo>
                    <a:pt x="295" y="1093"/>
                    <a:pt x="295" y="1093"/>
                    <a:pt x="295" y="1093"/>
                  </a:cubicBezTo>
                  <a:cubicBezTo>
                    <a:pt x="297" y="1101"/>
                    <a:pt x="297" y="1101"/>
                    <a:pt x="297" y="1101"/>
                  </a:cubicBezTo>
                  <a:cubicBezTo>
                    <a:pt x="307" y="1102"/>
                    <a:pt x="307" y="1102"/>
                    <a:pt x="307" y="1102"/>
                  </a:cubicBezTo>
                  <a:cubicBezTo>
                    <a:pt x="310" y="1108"/>
                    <a:pt x="310" y="1108"/>
                    <a:pt x="310" y="1108"/>
                  </a:cubicBezTo>
                  <a:cubicBezTo>
                    <a:pt x="317" y="1109"/>
                    <a:pt x="317" y="1109"/>
                    <a:pt x="317" y="1109"/>
                  </a:cubicBezTo>
                  <a:cubicBezTo>
                    <a:pt x="318" y="1116"/>
                    <a:pt x="318" y="1116"/>
                    <a:pt x="318" y="1116"/>
                  </a:cubicBezTo>
                  <a:cubicBezTo>
                    <a:pt x="345" y="1125"/>
                    <a:pt x="345" y="1125"/>
                    <a:pt x="345" y="1125"/>
                  </a:cubicBezTo>
                  <a:cubicBezTo>
                    <a:pt x="350" y="1123"/>
                    <a:pt x="350" y="1123"/>
                    <a:pt x="350" y="1123"/>
                  </a:cubicBezTo>
                  <a:cubicBezTo>
                    <a:pt x="335" y="1100"/>
                    <a:pt x="335" y="1100"/>
                    <a:pt x="335" y="1100"/>
                  </a:cubicBezTo>
                  <a:lnTo>
                    <a:pt x="325" y="1095"/>
                  </a:lnTo>
                  <a:close/>
                  <a:moveTo>
                    <a:pt x="386" y="163"/>
                  </a:moveTo>
                  <a:cubicBezTo>
                    <a:pt x="376" y="195"/>
                    <a:pt x="376" y="195"/>
                    <a:pt x="376" y="195"/>
                  </a:cubicBezTo>
                  <a:cubicBezTo>
                    <a:pt x="371" y="235"/>
                    <a:pt x="371" y="235"/>
                    <a:pt x="371" y="235"/>
                  </a:cubicBezTo>
                  <a:cubicBezTo>
                    <a:pt x="384" y="251"/>
                    <a:pt x="384" y="251"/>
                    <a:pt x="384" y="251"/>
                  </a:cubicBezTo>
                  <a:cubicBezTo>
                    <a:pt x="389" y="281"/>
                    <a:pt x="389" y="281"/>
                    <a:pt x="389" y="281"/>
                  </a:cubicBezTo>
                  <a:cubicBezTo>
                    <a:pt x="396" y="276"/>
                    <a:pt x="396" y="276"/>
                    <a:pt x="396" y="276"/>
                  </a:cubicBezTo>
                  <a:cubicBezTo>
                    <a:pt x="404" y="261"/>
                    <a:pt x="404" y="261"/>
                    <a:pt x="404" y="261"/>
                  </a:cubicBezTo>
                  <a:cubicBezTo>
                    <a:pt x="409" y="266"/>
                    <a:pt x="409" y="266"/>
                    <a:pt x="409" y="266"/>
                  </a:cubicBezTo>
                  <a:cubicBezTo>
                    <a:pt x="416" y="251"/>
                    <a:pt x="416" y="251"/>
                    <a:pt x="416" y="251"/>
                  </a:cubicBezTo>
                  <a:cubicBezTo>
                    <a:pt x="421" y="223"/>
                    <a:pt x="421" y="223"/>
                    <a:pt x="421" y="223"/>
                  </a:cubicBezTo>
                  <a:cubicBezTo>
                    <a:pt x="424" y="193"/>
                    <a:pt x="424" y="193"/>
                    <a:pt x="424" y="193"/>
                  </a:cubicBezTo>
                  <a:cubicBezTo>
                    <a:pt x="446" y="173"/>
                    <a:pt x="446" y="173"/>
                    <a:pt x="446" y="173"/>
                  </a:cubicBezTo>
                  <a:cubicBezTo>
                    <a:pt x="469" y="163"/>
                    <a:pt x="469" y="163"/>
                    <a:pt x="469" y="163"/>
                  </a:cubicBezTo>
                  <a:cubicBezTo>
                    <a:pt x="474" y="133"/>
                    <a:pt x="474" y="133"/>
                    <a:pt x="474" y="133"/>
                  </a:cubicBezTo>
                  <a:cubicBezTo>
                    <a:pt x="446" y="130"/>
                    <a:pt x="446" y="130"/>
                    <a:pt x="446" y="130"/>
                  </a:cubicBezTo>
                  <a:cubicBezTo>
                    <a:pt x="426" y="138"/>
                    <a:pt x="426" y="138"/>
                    <a:pt x="426" y="138"/>
                  </a:cubicBezTo>
                  <a:cubicBezTo>
                    <a:pt x="404" y="145"/>
                    <a:pt x="404" y="145"/>
                    <a:pt x="404" y="145"/>
                  </a:cubicBezTo>
                  <a:cubicBezTo>
                    <a:pt x="403" y="165"/>
                    <a:pt x="403" y="165"/>
                    <a:pt x="403" y="165"/>
                  </a:cubicBezTo>
                  <a:lnTo>
                    <a:pt x="386" y="163"/>
                  </a:lnTo>
                  <a:close/>
                  <a:moveTo>
                    <a:pt x="444" y="205"/>
                  </a:moveTo>
                  <a:cubicBezTo>
                    <a:pt x="446" y="213"/>
                    <a:pt x="446" y="213"/>
                    <a:pt x="446" y="213"/>
                  </a:cubicBezTo>
                  <a:cubicBezTo>
                    <a:pt x="461" y="213"/>
                    <a:pt x="461" y="213"/>
                    <a:pt x="461" y="213"/>
                  </a:cubicBezTo>
                  <a:cubicBezTo>
                    <a:pt x="454" y="223"/>
                    <a:pt x="454" y="223"/>
                    <a:pt x="454" y="223"/>
                  </a:cubicBezTo>
                  <a:cubicBezTo>
                    <a:pt x="444" y="223"/>
                    <a:pt x="444" y="223"/>
                    <a:pt x="444" y="223"/>
                  </a:cubicBezTo>
                  <a:cubicBezTo>
                    <a:pt x="434" y="248"/>
                    <a:pt x="434" y="248"/>
                    <a:pt x="434" y="248"/>
                  </a:cubicBezTo>
                  <a:cubicBezTo>
                    <a:pt x="449" y="248"/>
                    <a:pt x="449" y="248"/>
                    <a:pt x="449" y="248"/>
                  </a:cubicBezTo>
                  <a:cubicBezTo>
                    <a:pt x="451" y="253"/>
                    <a:pt x="451" y="253"/>
                    <a:pt x="451" y="253"/>
                  </a:cubicBezTo>
                  <a:cubicBezTo>
                    <a:pt x="444" y="261"/>
                    <a:pt x="444" y="261"/>
                    <a:pt x="444" y="261"/>
                  </a:cubicBezTo>
                  <a:cubicBezTo>
                    <a:pt x="454" y="266"/>
                    <a:pt x="454" y="266"/>
                    <a:pt x="454" y="266"/>
                  </a:cubicBezTo>
                  <a:cubicBezTo>
                    <a:pt x="461" y="258"/>
                    <a:pt x="461" y="258"/>
                    <a:pt x="461" y="258"/>
                  </a:cubicBezTo>
                  <a:cubicBezTo>
                    <a:pt x="474" y="258"/>
                    <a:pt x="474" y="258"/>
                    <a:pt x="474" y="258"/>
                  </a:cubicBezTo>
                  <a:cubicBezTo>
                    <a:pt x="499" y="253"/>
                    <a:pt x="499" y="253"/>
                    <a:pt x="499" y="253"/>
                  </a:cubicBezTo>
                  <a:cubicBezTo>
                    <a:pt x="507" y="256"/>
                    <a:pt x="507" y="256"/>
                    <a:pt x="507" y="256"/>
                  </a:cubicBezTo>
                  <a:cubicBezTo>
                    <a:pt x="504" y="261"/>
                    <a:pt x="504" y="261"/>
                    <a:pt x="504" y="261"/>
                  </a:cubicBezTo>
                  <a:cubicBezTo>
                    <a:pt x="484" y="266"/>
                    <a:pt x="484" y="266"/>
                    <a:pt x="484" y="266"/>
                  </a:cubicBezTo>
                  <a:cubicBezTo>
                    <a:pt x="459" y="278"/>
                    <a:pt x="459" y="278"/>
                    <a:pt x="459" y="278"/>
                  </a:cubicBezTo>
                  <a:cubicBezTo>
                    <a:pt x="454" y="288"/>
                    <a:pt x="454" y="288"/>
                    <a:pt x="454" y="288"/>
                  </a:cubicBezTo>
                  <a:cubicBezTo>
                    <a:pt x="466" y="298"/>
                    <a:pt x="466" y="298"/>
                    <a:pt x="466" y="298"/>
                  </a:cubicBezTo>
                  <a:cubicBezTo>
                    <a:pt x="484" y="301"/>
                    <a:pt x="484" y="301"/>
                    <a:pt x="484" y="301"/>
                  </a:cubicBezTo>
                  <a:cubicBezTo>
                    <a:pt x="509" y="303"/>
                    <a:pt x="509" y="303"/>
                    <a:pt x="509" y="303"/>
                  </a:cubicBezTo>
                  <a:cubicBezTo>
                    <a:pt x="524" y="301"/>
                    <a:pt x="524" y="301"/>
                    <a:pt x="524" y="301"/>
                  </a:cubicBezTo>
                  <a:cubicBezTo>
                    <a:pt x="539" y="298"/>
                    <a:pt x="539" y="298"/>
                    <a:pt x="539" y="298"/>
                  </a:cubicBezTo>
                  <a:cubicBezTo>
                    <a:pt x="567" y="303"/>
                    <a:pt x="567" y="303"/>
                    <a:pt x="567" y="303"/>
                  </a:cubicBezTo>
                  <a:cubicBezTo>
                    <a:pt x="584" y="306"/>
                    <a:pt x="584" y="306"/>
                    <a:pt x="584" y="306"/>
                  </a:cubicBezTo>
                  <a:cubicBezTo>
                    <a:pt x="594" y="313"/>
                    <a:pt x="594" y="313"/>
                    <a:pt x="594" y="313"/>
                  </a:cubicBezTo>
                  <a:cubicBezTo>
                    <a:pt x="574" y="316"/>
                    <a:pt x="574" y="316"/>
                    <a:pt x="574" y="316"/>
                  </a:cubicBezTo>
                  <a:cubicBezTo>
                    <a:pt x="567" y="323"/>
                    <a:pt x="567" y="323"/>
                    <a:pt x="567" y="323"/>
                  </a:cubicBezTo>
                  <a:cubicBezTo>
                    <a:pt x="532" y="321"/>
                    <a:pt x="532" y="321"/>
                    <a:pt x="532" y="321"/>
                  </a:cubicBezTo>
                  <a:cubicBezTo>
                    <a:pt x="517" y="323"/>
                    <a:pt x="517" y="323"/>
                    <a:pt x="517" y="323"/>
                  </a:cubicBezTo>
                  <a:cubicBezTo>
                    <a:pt x="517" y="326"/>
                    <a:pt x="517" y="326"/>
                    <a:pt x="517" y="326"/>
                  </a:cubicBezTo>
                  <a:cubicBezTo>
                    <a:pt x="499" y="328"/>
                    <a:pt x="499" y="328"/>
                    <a:pt x="499" y="328"/>
                  </a:cubicBezTo>
                  <a:cubicBezTo>
                    <a:pt x="494" y="326"/>
                    <a:pt x="494" y="326"/>
                    <a:pt x="494" y="326"/>
                  </a:cubicBezTo>
                  <a:cubicBezTo>
                    <a:pt x="484" y="333"/>
                    <a:pt x="484" y="333"/>
                    <a:pt x="484" y="333"/>
                  </a:cubicBezTo>
                  <a:cubicBezTo>
                    <a:pt x="469" y="336"/>
                    <a:pt x="469" y="336"/>
                    <a:pt x="469" y="336"/>
                  </a:cubicBezTo>
                  <a:cubicBezTo>
                    <a:pt x="474" y="341"/>
                    <a:pt x="474" y="341"/>
                    <a:pt x="474" y="341"/>
                  </a:cubicBezTo>
                  <a:cubicBezTo>
                    <a:pt x="482" y="358"/>
                    <a:pt x="482" y="358"/>
                    <a:pt x="482" y="358"/>
                  </a:cubicBezTo>
                  <a:cubicBezTo>
                    <a:pt x="499" y="363"/>
                    <a:pt x="499" y="363"/>
                    <a:pt x="499" y="363"/>
                  </a:cubicBezTo>
                  <a:cubicBezTo>
                    <a:pt x="544" y="363"/>
                    <a:pt x="544" y="363"/>
                    <a:pt x="544" y="363"/>
                  </a:cubicBezTo>
                  <a:cubicBezTo>
                    <a:pt x="547" y="381"/>
                    <a:pt x="547" y="381"/>
                    <a:pt x="547" y="381"/>
                  </a:cubicBezTo>
                  <a:cubicBezTo>
                    <a:pt x="539" y="383"/>
                    <a:pt x="539" y="383"/>
                    <a:pt x="539" y="383"/>
                  </a:cubicBezTo>
                  <a:cubicBezTo>
                    <a:pt x="542" y="396"/>
                    <a:pt x="542" y="396"/>
                    <a:pt x="542" y="396"/>
                  </a:cubicBezTo>
                  <a:cubicBezTo>
                    <a:pt x="552" y="406"/>
                    <a:pt x="552" y="406"/>
                    <a:pt x="552" y="406"/>
                  </a:cubicBezTo>
                  <a:cubicBezTo>
                    <a:pt x="552" y="413"/>
                    <a:pt x="552" y="413"/>
                    <a:pt x="552" y="413"/>
                  </a:cubicBezTo>
                  <a:cubicBezTo>
                    <a:pt x="557" y="408"/>
                    <a:pt x="557" y="408"/>
                    <a:pt x="557" y="408"/>
                  </a:cubicBezTo>
                  <a:cubicBezTo>
                    <a:pt x="582" y="411"/>
                    <a:pt x="582" y="411"/>
                    <a:pt x="582" y="411"/>
                  </a:cubicBezTo>
                  <a:cubicBezTo>
                    <a:pt x="604" y="406"/>
                    <a:pt x="604" y="406"/>
                    <a:pt x="604" y="406"/>
                  </a:cubicBezTo>
                  <a:cubicBezTo>
                    <a:pt x="629" y="391"/>
                    <a:pt x="629" y="391"/>
                    <a:pt x="629" y="391"/>
                  </a:cubicBezTo>
                  <a:cubicBezTo>
                    <a:pt x="632" y="388"/>
                    <a:pt x="632" y="388"/>
                    <a:pt x="632" y="388"/>
                  </a:cubicBezTo>
                  <a:cubicBezTo>
                    <a:pt x="639" y="386"/>
                    <a:pt x="639" y="386"/>
                    <a:pt x="639" y="386"/>
                  </a:cubicBezTo>
                  <a:cubicBezTo>
                    <a:pt x="657" y="376"/>
                    <a:pt x="657" y="376"/>
                    <a:pt x="657" y="376"/>
                  </a:cubicBezTo>
                  <a:cubicBezTo>
                    <a:pt x="660" y="366"/>
                    <a:pt x="660" y="366"/>
                    <a:pt x="660" y="366"/>
                  </a:cubicBezTo>
                  <a:cubicBezTo>
                    <a:pt x="670" y="363"/>
                    <a:pt x="670" y="363"/>
                    <a:pt x="670" y="363"/>
                  </a:cubicBezTo>
                  <a:cubicBezTo>
                    <a:pt x="672" y="363"/>
                    <a:pt x="672" y="363"/>
                    <a:pt x="672" y="363"/>
                  </a:cubicBezTo>
                  <a:cubicBezTo>
                    <a:pt x="670" y="376"/>
                    <a:pt x="670" y="376"/>
                    <a:pt x="670" y="376"/>
                  </a:cubicBezTo>
                  <a:cubicBezTo>
                    <a:pt x="682" y="376"/>
                    <a:pt x="682" y="376"/>
                    <a:pt x="682" y="376"/>
                  </a:cubicBezTo>
                  <a:cubicBezTo>
                    <a:pt x="702" y="376"/>
                    <a:pt x="702" y="376"/>
                    <a:pt x="702" y="376"/>
                  </a:cubicBezTo>
                  <a:cubicBezTo>
                    <a:pt x="697" y="383"/>
                    <a:pt x="697" y="383"/>
                    <a:pt x="697" y="383"/>
                  </a:cubicBezTo>
                  <a:cubicBezTo>
                    <a:pt x="697" y="388"/>
                    <a:pt x="697" y="388"/>
                    <a:pt x="697" y="388"/>
                  </a:cubicBezTo>
                  <a:cubicBezTo>
                    <a:pt x="715" y="388"/>
                    <a:pt x="715" y="388"/>
                    <a:pt x="715" y="388"/>
                  </a:cubicBezTo>
                  <a:cubicBezTo>
                    <a:pt x="737" y="388"/>
                    <a:pt x="737" y="388"/>
                    <a:pt x="737" y="388"/>
                  </a:cubicBezTo>
                  <a:cubicBezTo>
                    <a:pt x="747" y="383"/>
                    <a:pt x="747" y="383"/>
                    <a:pt x="747" y="383"/>
                  </a:cubicBezTo>
                  <a:cubicBezTo>
                    <a:pt x="757" y="378"/>
                    <a:pt x="757" y="378"/>
                    <a:pt x="757" y="378"/>
                  </a:cubicBezTo>
                  <a:cubicBezTo>
                    <a:pt x="750" y="366"/>
                    <a:pt x="750" y="366"/>
                    <a:pt x="750" y="366"/>
                  </a:cubicBezTo>
                  <a:cubicBezTo>
                    <a:pt x="747" y="361"/>
                    <a:pt x="747" y="361"/>
                    <a:pt x="747" y="361"/>
                  </a:cubicBezTo>
                  <a:cubicBezTo>
                    <a:pt x="732" y="363"/>
                    <a:pt x="732" y="363"/>
                    <a:pt x="732" y="363"/>
                  </a:cubicBezTo>
                  <a:cubicBezTo>
                    <a:pt x="732" y="356"/>
                    <a:pt x="732" y="356"/>
                    <a:pt x="732" y="356"/>
                  </a:cubicBezTo>
                  <a:cubicBezTo>
                    <a:pt x="745" y="348"/>
                    <a:pt x="745" y="348"/>
                    <a:pt x="745" y="348"/>
                  </a:cubicBezTo>
                  <a:cubicBezTo>
                    <a:pt x="760" y="348"/>
                    <a:pt x="760" y="348"/>
                    <a:pt x="760" y="348"/>
                  </a:cubicBezTo>
                  <a:cubicBezTo>
                    <a:pt x="767" y="351"/>
                    <a:pt x="767" y="351"/>
                    <a:pt x="767" y="351"/>
                  </a:cubicBezTo>
                  <a:cubicBezTo>
                    <a:pt x="770" y="331"/>
                    <a:pt x="770" y="331"/>
                    <a:pt x="770" y="331"/>
                  </a:cubicBezTo>
                  <a:cubicBezTo>
                    <a:pt x="745" y="318"/>
                    <a:pt x="745" y="318"/>
                    <a:pt x="745" y="318"/>
                  </a:cubicBezTo>
                  <a:cubicBezTo>
                    <a:pt x="740" y="311"/>
                    <a:pt x="740" y="311"/>
                    <a:pt x="740" y="311"/>
                  </a:cubicBezTo>
                  <a:cubicBezTo>
                    <a:pt x="732" y="318"/>
                    <a:pt x="732" y="318"/>
                    <a:pt x="732" y="318"/>
                  </a:cubicBezTo>
                  <a:cubicBezTo>
                    <a:pt x="707" y="298"/>
                    <a:pt x="707" y="298"/>
                    <a:pt x="707" y="298"/>
                  </a:cubicBezTo>
                  <a:cubicBezTo>
                    <a:pt x="707" y="276"/>
                    <a:pt x="707" y="276"/>
                    <a:pt x="707" y="276"/>
                  </a:cubicBezTo>
                  <a:cubicBezTo>
                    <a:pt x="697" y="243"/>
                    <a:pt x="697" y="243"/>
                    <a:pt x="697" y="243"/>
                  </a:cubicBezTo>
                  <a:cubicBezTo>
                    <a:pt x="682" y="180"/>
                    <a:pt x="682" y="180"/>
                    <a:pt x="682" y="180"/>
                  </a:cubicBezTo>
                  <a:cubicBezTo>
                    <a:pt x="667" y="170"/>
                    <a:pt x="667" y="170"/>
                    <a:pt x="667" y="170"/>
                  </a:cubicBezTo>
                  <a:cubicBezTo>
                    <a:pt x="639" y="165"/>
                    <a:pt x="639" y="165"/>
                    <a:pt x="639" y="165"/>
                  </a:cubicBezTo>
                  <a:cubicBezTo>
                    <a:pt x="652" y="248"/>
                    <a:pt x="652" y="248"/>
                    <a:pt x="652" y="248"/>
                  </a:cubicBezTo>
                  <a:cubicBezTo>
                    <a:pt x="650" y="258"/>
                    <a:pt x="650" y="258"/>
                    <a:pt x="650" y="258"/>
                  </a:cubicBezTo>
                  <a:cubicBezTo>
                    <a:pt x="637" y="253"/>
                    <a:pt x="637" y="253"/>
                    <a:pt x="637" y="253"/>
                  </a:cubicBezTo>
                  <a:cubicBezTo>
                    <a:pt x="637" y="230"/>
                    <a:pt x="637" y="230"/>
                    <a:pt x="637" y="230"/>
                  </a:cubicBezTo>
                  <a:cubicBezTo>
                    <a:pt x="629" y="205"/>
                    <a:pt x="629" y="205"/>
                    <a:pt x="629" y="205"/>
                  </a:cubicBezTo>
                  <a:cubicBezTo>
                    <a:pt x="614" y="188"/>
                    <a:pt x="614" y="188"/>
                    <a:pt x="614" y="188"/>
                  </a:cubicBezTo>
                  <a:cubicBezTo>
                    <a:pt x="594" y="183"/>
                    <a:pt x="594" y="183"/>
                    <a:pt x="594" y="183"/>
                  </a:cubicBezTo>
                  <a:cubicBezTo>
                    <a:pt x="609" y="223"/>
                    <a:pt x="609" y="223"/>
                    <a:pt x="609" y="223"/>
                  </a:cubicBezTo>
                  <a:cubicBezTo>
                    <a:pt x="572" y="228"/>
                    <a:pt x="572" y="228"/>
                    <a:pt x="572" y="228"/>
                  </a:cubicBezTo>
                  <a:cubicBezTo>
                    <a:pt x="589" y="200"/>
                    <a:pt x="589" y="200"/>
                    <a:pt x="589" y="200"/>
                  </a:cubicBezTo>
                  <a:cubicBezTo>
                    <a:pt x="552" y="183"/>
                    <a:pt x="552" y="183"/>
                    <a:pt x="552" y="183"/>
                  </a:cubicBezTo>
                  <a:cubicBezTo>
                    <a:pt x="539" y="193"/>
                    <a:pt x="539" y="193"/>
                    <a:pt x="539" y="193"/>
                  </a:cubicBezTo>
                  <a:cubicBezTo>
                    <a:pt x="539" y="208"/>
                    <a:pt x="539" y="208"/>
                    <a:pt x="539" y="208"/>
                  </a:cubicBezTo>
                  <a:cubicBezTo>
                    <a:pt x="522" y="210"/>
                    <a:pt x="522" y="210"/>
                    <a:pt x="522" y="210"/>
                  </a:cubicBezTo>
                  <a:cubicBezTo>
                    <a:pt x="527" y="158"/>
                    <a:pt x="527" y="158"/>
                    <a:pt x="527" y="158"/>
                  </a:cubicBezTo>
                  <a:cubicBezTo>
                    <a:pt x="517" y="158"/>
                    <a:pt x="517" y="158"/>
                    <a:pt x="517" y="158"/>
                  </a:cubicBezTo>
                  <a:cubicBezTo>
                    <a:pt x="444" y="198"/>
                    <a:pt x="444" y="198"/>
                    <a:pt x="444" y="198"/>
                  </a:cubicBezTo>
                  <a:cubicBezTo>
                    <a:pt x="444" y="205"/>
                    <a:pt x="444" y="205"/>
                    <a:pt x="444" y="205"/>
                  </a:cubicBezTo>
                  <a:close/>
                  <a:moveTo>
                    <a:pt x="680" y="145"/>
                  </a:moveTo>
                  <a:cubicBezTo>
                    <a:pt x="682" y="145"/>
                    <a:pt x="682" y="145"/>
                    <a:pt x="682" y="145"/>
                  </a:cubicBezTo>
                  <a:cubicBezTo>
                    <a:pt x="705" y="173"/>
                    <a:pt x="705" y="173"/>
                    <a:pt x="705" y="173"/>
                  </a:cubicBezTo>
                  <a:cubicBezTo>
                    <a:pt x="722" y="143"/>
                    <a:pt x="722" y="143"/>
                    <a:pt x="722" y="143"/>
                  </a:cubicBezTo>
                  <a:cubicBezTo>
                    <a:pt x="712" y="133"/>
                    <a:pt x="712" y="133"/>
                    <a:pt x="712" y="133"/>
                  </a:cubicBezTo>
                  <a:cubicBezTo>
                    <a:pt x="710" y="130"/>
                    <a:pt x="710" y="130"/>
                    <a:pt x="710" y="130"/>
                  </a:cubicBezTo>
                  <a:cubicBezTo>
                    <a:pt x="682" y="130"/>
                    <a:pt x="682" y="130"/>
                    <a:pt x="682" y="130"/>
                  </a:cubicBezTo>
                  <a:cubicBezTo>
                    <a:pt x="672" y="143"/>
                    <a:pt x="672" y="143"/>
                    <a:pt x="672" y="143"/>
                  </a:cubicBezTo>
                  <a:cubicBezTo>
                    <a:pt x="680" y="145"/>
                    <a:pt x="680" y="145"/>
                    <a:pt x="680" y="145"/>
                  </a:cubicBezTo>
                  <a:close/>
                  <a:moveTo>
                    <a:pt x="752" y="165"/>
                  </a:moveTo>
                  <a:cubicBezTo>
                    <a:pt x="745" y="165"/>
                    <a:pt x="745" y="165"/>
                    <a:pt x="745" y="165"/>
                  </a:cubicBezTo>
                  <a:cubicBezTo>
                    <a:pt x="740" y="178"/>
                    <a:pt x="740" y="178"/>
                    <a:pt x="740" y="178"/>
                  </a:cubicBezTo>
                  <a:cubicBezTo>
                    <a:pt x="745" y="188"/>
                    <a:pt x="745" y="188"/>
                    <a:pt x="745" y="188"/>
                  </a:cubicBezTo>
                  <a:cubicBezTo>
                    <a:pt x="737" y="193"/>
                    <a:pt x="737" y="193"/>
                    <a:pt x="737" y="193"/>
                  </a:cubicBezTo>
                  <a:cubicBezTo>
                    <a:pt x="760" y="200"/>
                    <a:pt x="760" y="200"/>
                    <a:pt x="760" y="200"/>
                  </a:cubicBezTo>
                  <a:cubicBezTo>
                    <a:pt x="757" y="208"/>
                    <a:pt x="757" y="208"/>
                    <a:pt x="757" y="208"/>
                  </a:cubicBezTo>
                  <a:cubicBezTo>
                    <a:pt x="760" y="228"/>
                    <a:pt x="760" y="228"/>
                    <a:pt x="760" y="228"/>
                  </a:cubicBezTo>
                  <a:cubicBezTo>
                    <a:pt x="752" y="223"/>
                    <a:pt x="752" y="223"/>
                    <a:pt x="752" y="223"/>
                  </a:cubicBezTo>
                  <a:cubicBezTo>
                    <a:pt x="745" y="220"/>
                    <a:pt x="745" y="220"/>
                    <a:pt x="745" y="220"/>
                  </a:cubicBezTo>
                  <a:cubicBezTo>
                    <a:pt x="740" y="208"/>
                    <a:pt x="740" y="208"/>
                    <a:pt x="740" y="208"/>
                  </a:cubicBezTo>
                  <a:cubicBezTo>
                    <a:pt x="727" y="203"/>
                    <a:pt x="727" y="203"/>
                    <a:pt x="727" y="203"/>
                  </a:cubicBezTo>
                  <a:cubicBezTo>
                    <a:pt x="717" y="215"/>
                    <a:pt x="717" y="215"/>
                    <a:pt x="717" y="215"/>
                  </a:cubicBezTo>
                  <a:cubicBezTo>
                    <a:pt x="720" y="228"/>
                    <a:pt x="720" y="228"/>
                    <a:pt x="720" y="228"/>
                  </a:cubicBezTo>
                  <a:cubicBezTo>
                    <a:pt x="732" y="253"/>
                    <a:pt x="732" y="253"/>
                    <a:pt x="732" y="253"/>
                  </a:cubicBezTo>
                  <a:cubicBezTo>
                    <a:pt x="752" y="251"/>
                    <a:pt x="752" y="251"/>
                    <a:pt x="752" y="251"/>
                  </a:cubicBezTo>
                  <a:cubicBezTo>
                    <a:pt x="772" y="271"/>
                    <a:pt x="772" y="271"/>
                    <a:pt x="772" y="271"/>
                  </a:cubicBezTo>
                  <a:cubicBezTo>
                    <a:pt x="790" y="313"/>
                    <a:pt x="790" y="313"/>
                    <a:pt x="790" y="313"/>
                  </a:cubicBezTo>
                  <a:cubicBezTo>
                    <a:pt x="795" y="313"/>
                    <a:pt x="795" y="313"/>
                    <a:pt x="795" y="313"/>
                  </a:cubicBezTo>
                  <a:cubicBezTo>
                    <a:pt x="812" y="296"/>
                    <a:pt x="812" y="296"/>
                    <a:pt x="812" y="296"/>
                  </a:cubicBezTo>
                  <a:cubicBezTo>
                    <a:pt x="802" y="283"/>
                    <a:pt x="802" y="283"/>
                    <a:pt x="802" y="283"/>
                  </a:cubicBezTo>
                  <a:cubicBezTo>
                    <a:pt x="815" y="283"/>
                    <a:pt x="815" y="283"/>
                    <a:pt x="815" y="283"/>
                  </a:cubicBezTo>
                  <a:cubicBezTo>
                    <a:pt x="835" y="271"/>
                    <a:pt x="835" y="271"/>
                    <a:pt x="835" y="271"/>
                  </a:cubicBezTo>
                  <a:cubicBezTo>
                    <a:pt x="830" y="261"/>
                    <a:pt x="830" y="261"/>
                    <a:pt x="830" y="261"/>
                  </a:cubicBezTo>
                  <a:cubicBezTo>
                    <a:pt x="830" y="248"/>
                    <a:pt x="830" y="248"/>
                    <a:pt x="830" y="248"/>
                  </a:cubicBezTo>
                  <a:cubicBezTo>
                    <a:pt x="823" y="248"/>
                    <a:pt x="823" y="248"/>
                    <a:pt x="823" y="248"/>
                  </a:cubicBezTo>
                  <a:cubicBezTo>
                    <a:pt x="830" y="218"/>
                    <a:pt x="830" y="218"/>
                    <a:pt x="830" y="218"/>
                  </a:cubicBezTo>
                  <a:cubicBezTo>
                    <a:pt x="800" y="215"/>
                    <a:pt x="800" y="215"/>
                    <a:pt x="800" y="215"/>
                  </a:cubicBezTo>
                  <a:cubicBezTo>
                    <a:pt x="797" y="200"/>
                    <a:pt x="797" y="200"/>
                    <a:pt x="797" y="200"/>
                  </a:cubicBezTo>
                  <a:cubicBezTo>
                    <a:pt x="820" y="190"/>
                    <a:pt x="820" y="190"/>
                    <a:pt x="820" y="190"/>
                  </a:cubicBezTo>
                  <a:cubicBezTo>
                    <a:pt x="812" y="180"/>
                    <a:pt x="812" y="180"/>
                    <a:pt x="812" y="180"/>
                  </a:cubicBezTo>
                  <a:cubicBezTo>
                    <a:pt x="823" y="175"/>
                    <a:pt x="823" y="175"/>
                    <a:pt x="823" y="175"/>
                  </a:cubicBezTo>
                  <a:cubicBezTo>
                    <a:pt x="820" y="163"/>
                    <a:pt x="820" y="163"/>
                    <a:pt x="820" y="163"/>
                  </a:cubicBezTo>
                  <a:cubicBezTo>
                    <a:pt x="795" y="173"/>
                    <a:pt x="795" y="173"/>
                    <a:pt x="795" y="173"/>
                  </a:cubicBezTo>
                  <a:cubicBezTo>
                    <a:pt x="775" y="175"/>
                    <a:pt x="775" y="175"/>
                    <a:pt x="775" y="175"/>
                  </a:cubicBezTo>
                  <a:cubicBezTo>
                    <a:pt x="760" y="160"/>
                    <a:pt x="760" y="160"/>
                    <a:pt x="760" y="160"/>
                  </a:cubicBezTo>
                  <a:cubicBezTo>
                    <a:pt x="752" y="165"/>
                    <a:pt x="752" y="165"/>
                    <a:pt x="752" y="165"/>
                  </a:cubicBezTo>
                  <a:close/>
                  <a:moveTo>
                    <a:pt x="865" y="158"/>
                  </a:moveTo>
                  <a:cubicBezTo>
                    <a:pt x="858" y="160"/>
                    <a:pt x="858" y="160"/>
                    <a:pt x="858" y="160"/>
                  </a:cubicBezTo>
                  <a:cubicBezTo>
                    <a:pt x="850" y="158"/>
                    <a:pt x="850" y="158"/>
                    <a:pt x="850" y="158"/>
                  </a:cubicBezTo>
                  <a:cubicBezTo>
                    <a:pt x="845" y="168"/>
                    <a:pt x="845" y="168"/>
                    <a:pt x="845" y="168"/>
                  </a:cubicBezTo>
                  <a:cubicBezTo>
                    <a:pt x="845" y="183"/>
                    <a:pt x="845" y="183"/>
                    <a:pt x="845" y="183"/>
                  </a:cubicBezTo>
                  <a:cubicBezTo>
                    <a:pt x="845" y="208"/>
                    <a:pt x="845" y="208"/>
                    <a:pt x="845" y="208"/>
                  </a:cubicBezTo>
                  <a:cubicBezTo>
                    <a:pt x="870" y="210"/>
                    <a:pt x="870" y="210"/>
                    <a:pt x="870" y="210"/>
                  </a:cubicBezTo>
                  <a:cubicBezTo>
                    <a:pt x="883" y="200"/>
                    <a:pt x="883" y="200"/>
                    <a:pt x="883" y="200"/>
                  </a:cubicBezTo>
                  <a:cubicBezTo>
                    <a:pt x="895" y="198"/>
                    <a:pt x="895" y="198"/>
                    <a:pt x="895" y="198"/>
                  </a:cubicBezTo>
                  <a:cubicBezTo>
                    <a:pt x="905" y="198"/>
                    <a:pt x="905" y="198"/>
                    <a:pt x="905" y="198"/>
                  </a:cubicBezTo>
                  <a:cubicBezTo>
                    <a:pt x="930" y="198"/>
                    <a:pt x="930" y="198"/>
                    <a:pt x="930" y="198"/>
                  </a:cubicBezTo>
                  <a:cubicBezTo>
                    <a:pt x="948" y="180"/>
                    <a:pt x="948" y="180"/>
                    <a:pt x="948" y="180"/>
                  </a:cubicBezTo>
                  <a:cubicBezTo>
                    <a:pt x="955" y="158"/>
                    <a:pt x="955" y="158"/>
                    <a:pt x="955" y="158"/>
                  </a:cubicBezTo>
                  <a:cubicBezTo>
                    <a:pt x="940" y="155"/>
                    <a:pt x="940" y="155"/>
                    <a:pt x="940" y="155"/>
                  </a:cubicBezTo>
                  <a:cubicBezTo>
                    <a:pt x="920" y="145"/>
                    <a:pt x="920" y="145"/>
                    <a:pt x="920" y="145"/>
                  </a:cubicBezTo>
                  <a:cubicBezTo>
                    <a:pt x="888" y="145"/>
                    <a:pt x="888" y="145"/>
                    <a:pt x="888" y="145"/>
                  </a:cubicBezTo>
                  <a:cubicBezTo>
                    <a:pt x="853" y="148"/>
                    <a:pt x="853" y="148"/>
                    <a:pt x="853" y="148"/>
                  </a:cubicBezTo>
                  <a:cubicBezTo>
                    <a:pt x="865" y="158"/>
                    <a:pt x="865" y="158"/>
                    <a:pt x="865" y="158"/>
                  </a:cubicBezTo>
                  <a:close/>
                  <a:moveTo>
                    <a:pt x="795" y="361"/>
                  </a:moveTo>
                  <a:cubicBezTo>
                    <a:pt x="792" y="371"/>
                    <a:pt x="792" y="371"/>
                    <a:pt x="792" y="371"/>
                  </a:cubicBezTo>
                  <a:cubicBezTo>
                    <a:pt x="805" y="376"/>
                    <a:pt x="805" y="376"/>
                    <a:pt x="805" y="376"/>
                  </a:cubicBezTo>
                  <a:cubicBezTo>
                    <a:pt x="815" y="376"/>
                    <a:pt x="815" y="376"/>
                    <a:pt x="815" y="376"/>
                  </a:cubicBezTo>
                  <a:cubicBezTo>
                    <a:pt x="820" y="378"/>
                    <a:pt x="820" y="378"/>
                    <a:pt x="820" y="378"/>
                  </a:cubicBezTo>
                  <a:cubicBezTo>
                    <a:pt x="855" y="388"/>
                    <a:pt x="855" y="388"/>
                    <a:pt x="855" y="388"/>
                  </a:cubicBezTo>
                  <a:cubicBezTo>
                    <a:pt x="865" y="376"/>
                    <a:pt x="865" y="376"/>
                    <a:pt x="865" y="376"/>
                  </a:cubicBezTo>
                  <a:cubicBezTo>
                    <a:pt x="873" y="376"/>
                    <a:pt x="873" y="376"/>
                    <a:pt x="873" y="376"/>
                  </a:cubicBezTo>
                  <a:cubicBezTo>
                    <a:pt x="875" y="366"/>
                    <a:pt x="875" y="366"/>
                    <a:pt x="875" y="366"/>
                  </a:cubicBezTo>
                  <a:cubicBezTo>
                    <a:pt x="865" y="363"/>
                    <a:pt x="865" y="363"/>
                    <a:pt x="865" y="363"/>
                  </a:cubicBezTo>
                  <a:cubicBezTo>
                    <a:pt x="858" y="358"/>
                    <a:pt x="858" y="358"/>
                    <a:pt x="858" y="358"/>
                  </a:cubicBezTo>
                  <a:cubicBezTo>
                    <a:pt x="853" y="343"/>
                    <a:pt x="853" y="343"/>
                    <a:pt x="853" y="343"/>
                  </a:cubicBezTo>
                  <a:cubicBezTo>
                    <a:pt x="838" y="338"/>
                    <a:pt x="838" y="338"/>
                    <a:pt x="838" y="338"/>
                  </a:cubicBezTo>
                  <a:cubicBezTo>
                    <a:pt x="830" y="326"/>
                    <a:pt x="830" y="326"/>
                    <a:pt x="830" y="326"/>
                  </a:cubicBezTo>
                  <a:cubicBezTo>
                    <a:pt x="812" y="338"/>
                    <a:pt x="812" y="338"/>
                    <a:pt x="812" y="338"/>
                  </a:cubicBezTo>
                  <a:cubicBezTo>
                    <a:pt x="815" y="356"/>
                    <a:pt x="815" y="356"/>
                    <a:pt x="815" y="356"/>
                  </a:cubicBezTo>
                  <a:cubicBezTo>
                    <a:pt x="807" y="361"/>
                    <a:pt x="807" y="361"/>
                    <a:pt x="807" y="361"/>
                  </a:cubicBezTo>
                  <a:cubicBezTo>
                    <a:pt x="795" y="361"/>
                    <a:pt x="795" y="361"/>
                    <a:pt x="795" y="361"/>
                  </a:cubicBezTo>
                  <a:close/>
                  <a:moveTo>
                    <a:pt x="1036" y="193"/>
                  </a:moveTo>
                  <a:cubicBezTo>
                    <a:pt x="1023" y="205"/>
                    <a:pt x="1023" y="205"/>
                    <a:pt x="1023" y="205"/>
                  </a:cubicBezTo>
                  <a:cubicBezTo>
                    <a:pt x="1023" y="213"/>
                    <a:pt x="1023" y="213"/>
                    <a:pt x="1023" y="213"/>
                  </a:cubicBezTo>
                  <a:cubicBezTo>
                    <a:pt x="1021" y="225"/>
                    <a:pt x="1021" y="225"/>
                    <a:pt x="1021" y="225"/>
                  </a:cubicBezTo>
                  <a:cubicBezTo>
                    <a:pt x="1008" y="240"/>
                    <a:pt x="1008" y="240"/>
                    <a:pt x="1008" y="240"/>
                  </a:cubicBezTo>
                  <a:cubicBezTo>
                    <a:pt x="1011" y="248"/>
                    <a:pt x="1011" y="248"/>
                    <a:pt x="1011" y="248"/>
                  </a:cubicBezTo>
                  <a:cubicBezTo>
                    <a:pt x="1001" y="261"/>
                    <a:pt x="1001" y="261"/>
                    <a:pt x="1001" y="261"/>
                  </a:cubicBezTo>
                  <a:cubicBezTo>
                    <a:pt x="1001" y="273"/>
                    <a:pt x="1001" y="273"/>
                    <a:pt x="1001" y="273"/>
                  </a:cubicBezTo>
                  <a:cubicBezTo>
                    <a:pt x="1023" y="288"/>
                    <a:pt x="1023" y="288"/>
                    <a:pt x="1023" y="288"/>
                  </a:cubicBezTo>
                  <a:cubicBezTo>
                    <a:pt x="1046" y="291"/>
                    <a:pt x="1046" y="291"/>
                    <a:pt x="1046" y="291"/>
                  </a:cubicBezTo>
                  <a:cubicBezTo>
                    <a:pt x="1061" y="303"/>
                    <a:pt x="1061" y="303"/>
                    <a:pt x="1061" y="303"/>
                  </a:cubicBezTo>
                  <a:cubicBezTo>
                    <a:pt x="1053" y="308"/>
                    <a:pt x="1053" y="308"/>
                    <a:pt x="1053" y="308"/>
                  </a:cubicBezTo>
                  <a:cubicBezTo>
                    <a:pt x="1048" y="306"/>
                    <a:pt x="1048" y="306"/>
                    <a:pt x="1048" y="306"/>
                  </a:cubicBezTo>
                  <a:cubicBezTo>
                    <a:pt x="1033" y="298"/>
                    <a:pt x="1033" y="298"/>
                    <a:pt x="1033" y="298"/>
                  </a:cubicBezTo>
                  <a:cubicBezTo>
                    <a:pt x="1016" y="296"/>
                    <a:pt x="1016" y="296"/>
                    <a:pt x="1016" y="296"/>
                  </a:cubicBezTo>
                  <a:cubicBezTo>
                    <a:pt x="1016" y="308"/>
                    <a:pt x="1016" y="308"/>
                    <a:pt x="1016" y="308"/>
                  </a:cubicBezTo>
                  <a:cubicBezTo>
                    <a:pt x="1038" y="336"/>
                    <a:pt x="1038" y="336"/>
                    <a:pt x="1038" y="336"/>
                  </a:cubicBezTo>
                  <a:cubicBezTo>
                    <a:pt x="1053" y="338"/>
                    <a:pt x="1053" y="338"/>
                    <a:pt x="1053" y="338"/>
                  </a:cubicBezTo>
                  <a:cubicBezTo>
                    <a:pt x="1058" y="333"/>
                    <a:pt x="1058" y="333"/>
                    <a:pt x="1058" y="333"/>
                  </a:cubicBezTo>
                  <a:cubicBezTo>
                    <a:pt x="1073" y="338"/>
                    <a:pt x="1073" y="338"/>
                    <a:pt x="1073" y="338"/>
                  </a:cubicBezTo>
                  <a:cubicBezTo>
                    <a:pt x="1088" y="351"/>
                    <a:pt x="1088" y="351"/>
                    <a:pt x="1088" y="351"/>
                  </a:cubicBezTo>
                  <a:cubicBezTo>
                    <a:pt x="1101" y="341"/>
                    <a:pt x="1101" y="341"/>
                    <a:pt x="1101" y="341"/>
                  </a:cubicBezTo>
                  <a:cubicBezTo>
                    <a:pt x="1101" y="351"/>
                    <a:pt x="1101" y="351"/>
                    <a:pt x="1101" y="351"/>
                  </a:cubicBezTo>
                  <a:cubicBezTo>
                    <a:pt x="1128" y="353"/>
                    <a:pt x="1128" y="353"/>
                    <a:pt x="1128" y="353"/>
                  </a:cubicBezTo>
                  <a:cubicBezTo>
                    <a:pt x="1143" y="361"/>
                    <a:pt x="1143" y="361"/>
                    <a:pt x="1143" y="361"/>
                  </a:cubicBezTo>
                  <a:cubicBezTo>
                    <a:pt x="1153" y="356"/>
                    <a:pt x="1153" y="356"/>
                    <a:pt x="1153" y="356"/>
                  </a:cubicBezTo>
                  <a:cubicBezTo>
                    <a:pt x="1158" y="353"/>
                    <a:pt x="1158" y="353"/>
                    <a:pt x="1158" y="353"/>
                  </a:cubicBezTo>
                  <a:cubicBezTo>
                    <a:pt x="1186" y="358"/>
                    <a:pt x="1186" y="358"/>
                    <a:pt x="1186" y="358"/>
                  </a:cubicBezTo>
                  <a:cubicBezTo>
                    <a:pt x="1211" y="363"/>
                    <a:pt x="1211" y="363"/>
                    <a:pt x="1211" y="363"/>
                  </a:cubicBezTo>
                  <a:cubicBezTo>
                    <a:pt x="1209" y="343"/>
                    <a:pt x="1209" y="343"/>
                    <a:pt x="1209" y="343"/>
                  </a:cubicBezTo>
                  <a:cubicBezTo>
                    <a:pt x="1189" y="336"/>
                    <a:pt x="1189" y="336"/>
                    <a:pt x="1189" y="336"/>
                  </a:cubicBezTo>
                  <a:cubicBezTo>
                    <a:pt x="1166" y="316"/>
                    <a:pt x="1166" y="316"/>
                    <a:pt x="1166" y="316"/>
                  </a:cubicBezTo>
                  <a:cubicBezTo>
                    <a:pt x="1206" y="323"/>
                    <a:pt x="1206" y="323"/>
                    <a:pt x="1206" y="323"/>
                  </a:cubicBezTo>
                  <a:cubicBezTo>
                    <a:pt x="1226" y="346"/>
                    <a:pt x="1226" y="346"/>
                    <a:pt x="1226" y="346"/>
                  </a:cubicBezTo>
                  <a:cubicBezTo>
                    <a:pt x="1231" y="371"/>
                    <a:pt x="1231" y="371"/>
                    <a:pt x="1231" y="371"/>
                  </a:cubicBezTo>
                  <a:cubicBezTo>
                    <a:pt x="1241" y="371"/>
                    <a:pt x="1241" y="371"/>
                    <a:pt x="1241" y="371"/>
                  </a:cubicBezTo>
                  <a:cubicBezTo>
                    <a:pt x="1256" y="391"/>
                    <a:pt x="1256" y="391"/>
                    <a:pt x="1256" y="391"/>
                  </a:cubicBezTo>
                  <a:cubicBezTo>
                    <a:pt x="1241" y="401"/>
                    <a:pt x="1241" y="401"/>
                    <a:pt x="1241" y="401"/>
                  </a:cubicBezTo>
                  <a:cubicBezTo>
                    <a:pt x="1239" y="411"/>
                    <a:pt x="1239" y="411"/>
                    <a:pt x="1239" y="411"/>
                  </a:cubicBezTo>
                  <a:cubicBezTo>
                    <a:pt x="1256" y="408"/>
                    <a:pt x="1256" y="408"/>
                    <a:pt x="1256" y="408"/>
                  </a:cubicBezTo>
                  <a:cubicBezTo>
                    <a:pt x="1271" y="396"/>
                    <a:pt x="1271" y="396"/>
                    <a:pt x="1271" y="396"/>
                  </a:cubicBezTo>
                  <a:cubicBezTo>
                    <a:pt x="1281" y="416"/>
                    <a:pt x="1281" y="416"/>
                    <a:pt x="1281" y="416"/>
                  </a:cubicBezTo>
                  <a:cubicBezTo>
                    <a:pt x="1294" y="436"/>
                    <a:pt x="1294" y="436"/>
                    <a:pt x="1294" y="436"/>
                  </a:cubicBezTo>
                  <a:cubicBezTo>
                    <a:pt x="1306" y="436"/>
                    <a:pt x="1306" y="436"/>
                    <a:pt x="1306" y="436"/>
                  </a:cubicBezTo>
                  <a:cubicBezTo>
                    <a:pt x="1311" y="449"/>
                    <a:pt x="1311" y="449"/>
                    <a:pt x="1311" y="449"/>
                  </a:cubicBezTo>
                  <a:cubicBezTo>
                    <a:pt x="1314" y="464"/>
                    <a:pt x="1314" y="464"/>
                    <a:pt x="1314" y="464"/>
                  </a:cubicBezTo>
                  <a:cubicBezTo>
                    <a:pt x="1324" y="466"/>
                    <a:pt x="1324" y="466"/>
                    <a:pt x="1324" y="466"/>
                  </a:cubicBezTo>
                  <a:cubicBezTo>
                    <a:pt x="1316" y="471"/>
                    <a:pt x="1316" y="471"/>
                    <a:pt x="1316" y="471"/>
                  </a:cubicBezTo>
                  <a:cubicBezTo>
                    <a:pt x="1319" y="479"/>
                    <a:pt x="1319" y="479"/>
                    <a:pt x="1319" y="479"/>
                  </a:cubicBezTo>
                  <a:cubicBezTo>
                    <a:pt x="1310" y="490"/>
                    <a:pt x="1310" y="490"/>
                    <a:pt x="1310" y="490"/>
                  </a:cubicBezTo>
                  <a:cubicBezTo>
                    <a:pt x="1334" y="496"/>
                    <a:pt x="1334" y="496"/>
                    <a:pt x="1334" y="496"/>
                  </a:cubicBezTo>
                  <a:cubicBezTo>
                    <a:pt x="1341" y="481"/>
                    <a:pt x="1341" y="481"/>
                    <a:pt x="1341" y="481"/>
                  </a:cubicBezTo>
                  <a:cubicBezTo>
                    <a:pt x="1349" y="499"/>
                    <a:pt x="1349" y="499"/>
                    <a:pt x="1349" y="499"/>
                  </a:cubicBezTo>
                  <a:cubicBezTo>
                    <a:pt x="1354" y="499"/>
                    <a:pt x="1354" y="499"/>
                    <a:pt x="1354" y="499"/>
                  </a:cubicBezTo>
                  <a:cubicBezTo>
                    <a:pt x="1369" y="511"/>
                    <a:pt x="1369" y="511"/>
                    <a:pt x="1369" y="511"/>
                  </a:cubicBezTo>
                  <a:cubicBezTo>
                    <a:pt x="1357" y="519"/>
                    <a:pt x="1357" y="519"/>
                    <a:pt x="1357" y="519"/>
                  </a:cubicBezTo>
                  <a:cubicBezTo>
                    <a:pt x="1347" y="519"/>
                    <a:pt x="1347" y="519"/>
                    <a:pt x="1347" y="519"/>
                  </a:cubicBezTo>
                  <a:cubicBezTo>
                    <a:pt x="1331" y="521"/>
                    <a:pt x="1331" y="521"/>
                    <a:pt x="1331" y="521"/>
                  </a:cubicBezTo>
                  <a:cubicBezTo>
                    <a:pt x="1329" y="506"/>
                    <a:pt x="1329" y="506"/>
                    <a:pt x="1329" y="506"/>
                  </a:cubicBezTo>
                  <a:cubicBezTo>
                    <a:pt x="1304" y="494"/>
                    <a:pt x="1304" y="494"/>
                    <a:pt x="1304" y="494"/>
                  </a:cubicBezTo>
                  <a:cubicBezTo>
                    <a:pt x="1276" y="516"/>
                    <a:pt x="1276" y="516"/>
                    <a:pt x="1276" y="516"/>
                  </a:cubicBezTo>
                  <a:cubicBezTo>
                    <a:pt x="1294" y="544"/>
                    <a:pt x="1294" y="544"/>
                    <a:pt x="1294" y="544"/>
                  </a:cubicBezTo>
                  <a:cubicBezTo>
                    <a:pt x="1279" y="541"/>
                    <a:pt x="1279" y="541"/>
                    <a:pt x="1279" y="541"/>
                  </a:cubicBezTo>
                  <a:cubicBezTo>
                    <a:pt x="1244" y="544"/>
                    <a:pt x="1244" y="544"/>
                    <a:pt x="1244" y="544"/>
                  </a:cubicBezTo>
                  <a:cubicBezTo>
                    <a:pt x="1241" y="544"/>
                    <a:pt x="1214" y="534"/>
                    <a:pt x="1214" y="534"/>
                  </a:cubicBezTo>
                  <a:cubicBezTo>
                    <a:pt x="1211" y="546"/>
                    <a:pt x="1211" y="546"/>
                    <a:pt x="1211" y="546"/>
                  </a:cubicBezTo>
                  <a:cubicBezTo>
                    <a:pt x="1204" y="551"/>
                    <a:pt x="1204" y="551"/>
                    <a:pt x="1204" y="551"/>
                  </a:cubicBezTo>
                  <a:cubicBezTo>
                    <a:pt x="1201" y="564"/>
                    <a:pt x="1201" y="564"/>
                    <a:pt x="1201" y="564"/>
                  </a:cubicBezTo>
                  <a:cubicBezTo>
                    <a:pt x="1206" y="571"/>
                    <a:pt x="1206" y="571"/>
                    <a:pt x="1206" y="571"/>
                  </a:cubicBezTo>
                  <a:cubicBezTo>
                    <a:pt x="1229" y="574"/>
                    <a:pt x="1229" y="574"/>
                    <a:pt x="1229" y="574"/>
                  </a:cubicBezTo>
                  <a:cubicBezTo>
                    <a:pt x="1244" y="569"/>
                    <a:pt x="1244" y="569"/>
                    <a:pt x="1244" y="569"/>
                  </a:cubicBezTo>
                  <a:cubicBezTo>
                    <a:pt x="1271" y="576"/>
                    <a:pt x="1271" y="576"/>
                    <a:pt x="1271" y="576"/>
                  </a:cubicBezTo>
                  <a:cubicBezTo>
                    <a:pt x="1284" y="574"/>
                    <a:pt x="1284" y="574"/>
                    <a:pt x="1284" y="574"/>
                  </a:cubicBezTo>
                  <a:cubicBezTo>
                    <a:pt x="1319" y="604"/>
                    <a:pt x="1319" y="604"/>
                    <a:pt x="1319" y="604"/>
                  </a:cubicBezTo>
                  <a:cubicBezTo>
                    <a:pt x="1306" y="609"/>
                    <a:pt x="1306" y="609"/>
                    <a:pt x="1306" y="609"/>
                  </a:cubicBezTo>
                  <a:cubicBezTo>
                    <a:pt x="1319" y="624"/>
                    <a:pt x="1319" y="624"/>
                    <a:pt x="1319" y="624"/>
                  </a:cubicBezTo>
                  <a:cubicBezTo>
                    <a:pt x="1329" y="624"/>
                    <a:pt x="1329" y="624"/>
                    <a:pt x="1329" y="624"/>
                  </a:cubicBezTo>
                  <a:cubicBezTo>
                    <a:pt x="1352" y="637"/>
                    <a:pt x="1352" y="637"/>
                    <a:pt x="1352" y="637"/>
                  </a:cubicBezTo>
                  <a:cubicBezTo>
                    <a:pt x="1397" y="654"/>
                    <a:pt x="1397" y="654"/>
                    <a:pt x="1397" y="654"/>
                  </a:cubicBezTo>
                  <a:cubicBezTo>
                    <a:pt x="1419" y="667"/>
                    <a:pt x="1419" y="667"/>
                    <a:pt x="1419" y="667"/>
                  </a:cubicBezTo>
                  <a:cubicBezTo>
                    <a:pt x="1414" y="652"/>
                    <a:pt x="1414" y="652"/>
                    <a:pt x="1414" y="652"/>
                  </a:cubicBezTo>
                  <a:cubicBezTo>
                    <a:pt x="1374" y="612"/>
                    <a:pt x="1374" y="612"/>
                    <a:pt x="1374" y="612"/>
                  </a:cubicBezTo>
                  <a:cubicBezTo>
                    <a:pt x="1369" y="597"/>
                    <a:pt x="1369" y="597"/>
                    <a:pt x="1369" y="597"/>
                  </a:cubicBezTo>
                  <a:cubicBezTo>
                    <a:pt x="1394" y="607"/>
                    <a:pt x="1394" y="607"/>
                    <a:pt x="1394" y="607"/>
                  </a:cubicBezTo>
                  <a:cubicBezTo>
                    <a:pt x="1412" y="622"/>
                    <a:pt x="1412" y="622"/>
                    <a:pt x="1412" y="622"/>
                  </a:cubicBezTo>
                  <a:cubicBezTo>
                    <a:pt x="1442" y="634"/>
                    <a:pt x="1442" y="634"/>
                    <a:pt x="1442" y="634"/>
                  </a:cubicBezTo>
                  <a:cubicBezTo>
                    <a:pt x="1442" y="612"/>
                    <a:pt x="1442" y="612"/>
                    <a:pt x="1442" y="612"/>
                  </a:cubicBezTo>
                  <a:cubicBezTo>
                    <a:pt x="1434" y="584"/>
                    <a:pt x="1434" y="584"/>
                    <a:pt x="1434" y="584"/>
                  </a:cubicBezTo>
                  <a:cubicBezTo>
                    <a:pt x="1414" y="571"/>
                    <a:pt x="1414" y="571"/>
                    <a:pt x="1414" y="571"/>
                  </a:cubicBezTo>
                  <a:cubicBezTo>
                    <a:pt x="1399" y="546"/>
                    <a:pt x="1399" y="546"/>
                    <a:pt x="1399" y="546"/>
                  </a:cubicBezTo>
                  <a:cubicBezTo>
                    <a:pt x="1377" y="526"/>
                    <a:pt x="1377" y="526"/>
                    <a:pt x="1377" y="526"/>
                  </a:cubicBezTo>
                  <a:cubicBezTo>
                    <a:pt x="1384" y="521"/>
                    <a:pt x="1384" y="521"/>
                    <a:pt x="1384" y="521"/>
                  </a:cubicBezTo>
                  <a:cubicBezTo>
                    <a:pt x="1392" y="531"/>
                    <a:pt x="1392" y="531"/>
                    <a:pt x="1392" y="531"/>
                  </a:cubicBezTo>
                  <a:cubicBezTo>
                    <a:pt x="1407" y="531"/>
                    <a:pt x="1407" y="531"/>
                    <a:pt x="1407" y="531"/>
                  </a:cubicBezTo>
                  <a:cubicBezTo>
                    <a:pt x="1404" y="519"/>
                    <a:pt x="1404" y="519"/>
                    <a:pt x="1404" y="519"/>
                  </a:cubicBezTo>
                  <a:cubicBezTo>
                    <a:pt x="1407" y="506"/>
                    <a:pt x="1407" y="506"/>
                    <a:pt x="1407" y="506"/>
                  </a:cubicBezTo>
                  <a:cubicBezTo>
                    <a:pt x="1434" y="531"/>
                    <a:pt x="1434" y="531"/>
                    <a:pt x="1434" y="531"/>
                  </a:cubicBezTo>
                  <a:cubicBezTo>
                    <a:pt x="1449" y="529"/>
                    <a:pt x="1449" y="529"/>
                    <a:pt x="1449" y="529"/>
                  </a:cubicBezTo>
                  <a:cubicBezTo>
                    <a:pt x="1439" y="539"/>
                    <a:pt x="1439" y="539"/>
                    <a:pt x="1439" y="539"/>
                  </a:cubicBezTo>
                  <a:cubicBezTo>
                    <a:pt x="1444" y="556"/>
                    <a:pt x="1444" y="556"/>
                    <a:pt x="1444" y="556"/>
                  </a:cubicBezTo>
                  <a:cubicBezTo>
                    <a:pt x="1469" y="569"/>
                    <a:pt x="1469" y="569"/>
                    <a:pt x="1469" y="569"/>
                  </a:cubicBezTo>
                  <a:cubicBezTo>
                    <a:pt x="1472" y="544"/>
                    <a:pt x="1472" y="544"/>
                    <a:pt x="1472" y="544"/>
                  </a:cubicBezTo>
                  <a:cubicBezTo>
                    <a:pt x="1487" y="544"/>
                    <a:pt x="1487" y="544"/>
                    <a:pt x="1487" y="544"/>
                  </a:cubicBezTo>
                  <a:cubicBezTo>
                    <a:pt x="1514" y="516"/>
                    <a:pt x="1514" y="516"/>
                    <a:pt x="1514" y="516"/>
                  </a:cubicBezTo>
                  <a:cubicBezTo>
                    <a:pt x="1499" y="499"/>
                    <a:pt x="1499" y="499"/>
                    <a:pt x="1499" y="499"/>
                  </a:cubicBezTo>
                  <a:cubicBezTo>
                    <a:pt x="1469" y="491"/>
                    <a:pt x="1469" y="491"/>
                    <a:pt x="1469" y="491"/>
                  </a:cubicBezTo>
                  <a:cubicBezTo>
                    <a:pt x="1467" y="471"/>
                    <a:pt x="1467" y="471"/>
                    <a:pt x="1467" y="471"/>
                  </a:cubicBezTo>
                  <a:cubicBezTo>
                    <a:pt x="1464" y="469"/>
                    <a:pt x="1459" y="469"/>
                    <a:pt x="1454" y="466"/>
                  </a:cubicBezTo>
                  <a:cubicBezTo>
                    <a:pt x="1449" y="461"/>
                    <a:pt x="1444" y="459"/>
                    <a:pt x="1437" y="454"/>
                  </a:cubicBezTo>
                  <a:cubicBezTo>
                    <a:pt x="1409" y="431"/>
                    <a:pt x="1409" y="431"/>
                    <a:pt x="1409" y="431"/>
                  </a:cubicBezTo>
                  <a:cubicBezTo>
                    <a:pt x="1392" y="419"/>
                    <a:pt x="1392" y="419"/>
                    <a:pt x="1392" y="419"/>
                  </a:cubicBezTo>
                  <a:cubicBezTo>
                    <a:pt x="1409" y="408"/>
                    <a:pt x="1409" y="408"/>
                    <a:pt x="1409" y="408"/>
                  </a:cubicBezTo>
                  <a:cubicBezTo>
                    <a:pt x="1424" y="408"/>
                    <a:pt x="1424" y="408"/>
                    <a:pt x="1424" y="408"/>
                  </a:cubicBezTo>
                  <a:cubicBezTo>
                    <a:pt x="1419" y="396"/>
                    <a:pt x="1419" y="396"/>
                    <a:pt x="1419" y="396"/>
                  </a:cubicBezTo>
                  <a:cubicBezTo>
                    <a:pt x="1387" y="386"/>
                    <a:pt x="1387" y="386"/>
                    <a:pt x="1387" y="386"/>
                  </a:cubicBezTo>
                  <a:cubicBezTo>
                    <a:pt x="1409" y="381"/>
                    <a:pt x="1409" y="381"/>
                    <a:pt x="1409" y="381"/>
                  </a:cubicBezTo>
                  <a:cubicBezTo>
                    <a:pt x="1424" y="386"/>
                    <a:pt x="1424" y="386"/>
                    <a:pt x="1424" y="386"/>
                  </a:cubicBezTo>
                  <a:cubicBezTo>
                    <a:pt x="1419" y="371"/>
                    <a:pt x="1419" y="371"/>
                    <a:pt x="1419" y="371"/>
                  </a:cubicBezTo>
                  <a:cubicBezTo>
                    <a:pt x="1407" y="358"/>
                    <a:pt x="1407" y="358"/>
                    <a:pt x="1407" y="358"/>
                  </a:cubicBezTo>
                  <a:cubicBezTo>
                    <a:pt x="1394" y="346"/>
                    <a:pt x="1394" y="346"/>
                    <a:pt x="1394" y="346"/>
                  </a:cubicBezTo>
                  <a:cubicBezTo>
                    <a:pt x="1377" y="328"/>
                    <a:pt x="1377" y="328"/>
                    <a:pt x="1377" y="328"/>
                  </a:cubicBezTo>
                  <a:cubicBezTo>
                    <a:pt x="1362" y="323"/>
                    <a:pt x="1362" y="323"/>
                    <a:pt x="1362" y="323"/>
                  </a:cubicBezTo>
                  <a:cubicBezTo>
                    <a:pt x="1362" y="316"/>
                    <a:pt x="1362" y="316"/>
                    <a:pt x="1362" y="316"/>
                  </a:cubicBezTo>
                  <a:cubicBezTo>
                    <a:pt x="1352" y="316"/>
                    <a:pt x="1352" y="316"/>
                    <a:pt x="1352" y="316"/>
                  </a:cubicBezTo>
                  <a:cubicBezTo>
                    <a:pt x="1339" y="326"/>
                    <a:pt x="1339" y="326"/>
                    <a:pt x="1339" y="326"/>
                  </a:cubicBezTo>
                  <a:cubicBezTo>
                    <a:pt x="1341" y="313"/>
                    <a:pt x="1341" y="313"/>
                    <a:pt x="1341" y="313"/>
                  </a:cubicBezTo>
                  <a:cubicBezTo>
                    <a:pt x="1354" y="298"/>
                    <a:pt x="1354" y="298"/>
                    <a:pt x="1354" y="298"/>
                  </a:cubicBezTo>
                  <a:cubicBezTo>
                    <a:pt x="1347" y="296"/>
                    <a:pt x="1347" y="296"/>
                    <a:pt x="1347" y="296"/>
                  </a:cubicBezTo>
                  <a:cubicBezTo>
                    <a:pt x="1341" y="288"/>
                    <a:pt x="1341" y="288"/>
                    <a:pt x="1341" y="288"/>
                  </a:cubicBezTo>
                  <a:cubicBezTo>
                    <a:pt x="1329" y="286"/>
                    <a:pt x="1329" y="286"/>
                    <a:pt x="1329" y="286"/>
                  </a:cubicBezTo>
                  <a:cubicBezTo>
                    <a:pt x="1324" y="281"/>
                    <a:pt x="1324" y="281"/>
                    <a:pt x="1324" y="281"/>
                  </a:cubicBezTo>
                  <a:cubicBezTo>
                    <a:pt x="1311" y="288"/>
                    <a:pt x="1311" y="288"/>
                    <a:pt x="1311" y="288"/>
                  </a:cubicBezTo>
                  <a:cubicBezTo>
                    <a:pt x="1301" y="291"/>
                    <a:pt x="1301" y="291"/>
                    <a:pt x="1301" y="291"/>
                  </a:cubicBezTo>
                  <a:cubicBezTo>
                    <a:pt x="1304" y="276"/>
                    <a:pt x="1304" y="276"/>
                    <a:pt x="1304" y="276"/>
                  </a:cubicBezTo>
                  <a:cubicBezTo>
                    <a:pt x="1279" y="278"/>
                    <a:pt x="1279" y="278"/>
                    <a:pt x="1279" y="278"/>
                  </a:cubicBezTo>
                  <a:cubicBezTo>
                    <a:pt x="1299" y="268"/>
                    <a:pt x="1299" y="268"/>
                    <a:pt x="1299" y="268"/>
                  </a:cubicBezTo>
                  <a:cubicBezTo>
                    <a:pt x="1301" y="256"/>
                    <a:pt x="1301" y="256"/>
                    <a:pt x="1301" y="256"/>
                  </a:cubicBezTo>
                  <a:cubicBezTo>
                    <a:pt x="1271" y="251"/>
                    <a:pt x="1271" y="251"/>
                    <a:pt x="1271" y="251"/>
                  </a:cubicBezTo>
                  <a:cubicBezTo>
                    <a:pt x="1289" y="243"/>
                    <a:pt x="1289" y="243"/>
                    <a:pt x="1289" y="243"/>
                  </a:cubicBezTo>
                  <a:cubicBezTo>
                    <a:pt x="1291" y="233"/>
                    <a:pt x="1291" y="233"/>
                    <a:pt x="1291" y="233"/>
                  </a:cubicBezTo>
                  <a:cubicBezTo>
                    <a:pt x="1281" y="225"/>
                    <a:pt x="1281" y="225"/>
                    <a:pt x="1281" y="225"/>
                  </a:cubicBezTo>
                  <a:cubicBezTo>
                    <a:pt x="1269" y="225"/>
                    <a:pt x="1269" y="225"/>
                    <a:pt x="1269" y="225"/>
                  </a:cubicBezTo>
                  <a:cubicBezTo>
                    <a:pt x="1254" y="220"/>
                    <a:pt x="1254" y="220"/>
                    <a:pt x="1254" y="220"/>
                  </a:cubicBezTo>
                  <a:cubicBezTo>
                    <a:pt x="1231" y="225"/>
                    <a:pt x="1231" y="225"/>
                    <a:pt x="1231" y="225"/>
                  </a:cubicBezTo>
                  <a:cubicBezTo>
                    <a:pt x="1229" y="238"/>
                    <a:pt x="1229" y="238"/>
                    <a:pt x="1229" y="238"/>
                  </a:cubicBezTo>
                  <a:cubicBezTo>
                    <a:pt x="1211" y="243"/>
                    <a:pt x="1211" y="243"/>
                    <a:pt x="1211" y="243"/>
                  </a:cubicBezTo>
                  <a:cubicBezTo>
                    <a:pt x="1181" y="238"/>
                    <a:pt x="1181" y="238"/>
                    <a:pt x="1181" y="238"/>
                  </a:cubicBezTo>
                  <a:cubicBezTo>
                    <a:pt x="1181" y="215"/>
                    <a:pt x="1181" y="215"/>
                    <a:pt x="1181" y="215"/>
                  </a:cubicBezTo>
                  <a:cubicBezTo>
                    <a:pt x="1171" y="200"/>
                    <a:pt x="1171" y="200"/>
                    <a:pt x="1171" y="200"/>
                  </a:cubicBezTo>
                  <a:cubicBezTo>
                    <a:pt x="1176" y="195"/>
                    <a:pt x="1176" y="195"/>
                    <a:pt x="1176" y="195"/>
                  </a:cubicBezTo>
                  <a:cubicBezTo>
                    <a:pt x="1169" y="168"/>
                    <a:pt x="1169" y="168"/>
                    <a:pt x="1169" y="168"/>
                  </a:cubicBezTo>
                  <a:cubicBezTo>
                    <a:pt x="1146" y="165"/>
                    <a:pt x="1146" y="165"/>
                    <a:pt x="1146" y="165"/>
                  </a:cubicBezTo>
                  <a:cubicBezTo>
                    <a:pt x="1123" y="175"/>
                    <a:pt x="1123" y="175"/>
                    <a:pt x="1123" y="175"/>
                  </a:cubicBezTo>
                  <a:cubicBezTo>
                    <a:pt x="1108" y="188"/>
                    <a:pt x="1108" y="188"/>
                    <a:pt x="1108" y="188"/>
                  </a:cubicBezTo>
                  <a:cubicBezTo>
                    <a:pt x="1101" y="205"/>
                    <a:pt x="1101" y="205"/>
                    <a:pt x="1101" y="205"/>
                  </a:cubicBezTo>
                  <a:cubicBezTo>
                    <a:pt x="1101" y="238"/>
                    <a:pt x="1101" y="238"/>
                    <a:pt x="1101" y="238"/>
                  </a:cubicBezTo>
                  <a:cubicBezTo>
                    <a:pt x="1091" y="256"/>
                    <a:pt x="1091" y="256"/>
                    <a:pt x="1091" y="256"/>
                  </a:cubicBezTo>
                  <a:cubicBezTo>
                    <a:pt x="1106" y="266"/>
                    <a:pt x="1106" y="266"/>
                    <a:pt x="1106" y="266"/>
                  </a:cubicBezTo>
                  <a:cubicBezTo>
                    <a:pt x="1106" y="281"/>
                    <a:pt x="1106" y="281"/>
                    <a:pt x="1106" y="281"/>
                  </a:cubicBezTo>
                  <a:cubicBezTo>
                    <a:pt x="1093" y="293"/>
                    <a:pt x="1093" y="293"/>
                    <a:pt x="1093" y="293"/>
                  </a:cubicBezTo>
                  <a:cubicBezTo>
                    <a:pt x="1071" y="301"/>
                    <a:pt x="1071" y="301"/>
                    <a:pt x="1071" y="301"/>
                  </a:cubicBezTo>
                  <a:cubicBezTo>
                    <a:pt x="1078" y="291"/>
                    <a:pt x="1078" y="291"/>
                    <a:pt x="1078" y="291"/>
                  </a:cubicBezTo>
                  <a:cubicBezTo>
                    <a:pt x="1098" y="281"/>
                    <a:pt x="1098" y="281"/>
                    <a:pt x="1098" y="281"/>
                  </a:cubicBezTo>
                  <a:cubicBezTo>
                    <a:pt x="1083" y="258"/>
                    <a:pt x="1083" y="258"/>
                    <a:pt x="1083" y="258"/>
                  </a:cubicBezTo>
                  <a:cubicBezTo>
                    <a:pt x="1081" y="230"/>
                    <a:pt x="1081" y="230"/>
                    <a:pt x="1081" y="230"/>
                  </a:cubicBezTo>
                  <a:cubicBezTo>
                    <a:pt x="1083" y="213"/>
                    <a:pt x="1083" y="213"/>
                    <a:pt x="1083" y="213"/>
                  </a:cubicBezTo>
                  <a:cubicBezTo>
                    <a:pt x="1098" y="183"/>
                    <a:pt x="1098" y="183"/>
                    <a:pt x="1098" y="183"/>
                  </a:cubicBezTo>
                  <a:cubicBezTo>
                    <a:pt x="1098" y="168"/>
                    <a:pt x="1098" y="168"/>
                    <a:pt x="1098" y="168"/>
                  </a:cubicBezTo>
                  <a:cubicBezTo>
                    <a:pt x="1063" y="175"/>
                    <a:pt x="1063" y="175"/>
                    <a:pt x="1063" y="175"/>
                  </a:cubicBezTo>
                  <a:cubicBezTo>
                    <a:pt x="1043" y="173"/>
                    <a:pt x="1043" y="173"/>
                    <a:pt x="1043" y="173"/>
                  </a:cubicBezTo>
                  <a:lnTo>
                    <a:pt x="1036" y="193"/>
                  </a:lnTo>
                  <a:close/>
                  <a:moveTo>
                    <a:pt x="1186" y="193"/>
                  </a:moveTo>
                  <a:cubicBezTo>
                    <a:pt x="1196" y="193"/>
                    <a:pt x="1196" y="193"/>
                    <a:pt x="1196" y="193"/>
                  </a:cubicBezTo>
                  <a:cubicBezTo>
                    <a:pt x="1196" y="213"/>
                    <a:pt x="1196" y="213"/>
                    <a:pt x="1196" y="213"/>
                  </a:cubicBezTo>
                  <a:cubicBezTo>
                    <a:pt x="1209" y="215"/>
                    <a:pt x="1209" y="215"/>
                    <a:pt x="1209" y="215"/>
                  </a:cubicBezTo>
                  <a:cubicBezTo>
                    <a:pt x="1229" y="215"/>
                    <a:pt x="1229" y="215"/>
                    <a:pt x="1229" y="215"/>
                  </a:cubicBezTo>
                  <a:cubicBezTo>
                    <a:pt x="1236" y="208"/>
                    <a:pt x="1236" y="208"/>
                    <a:pt x="1236" y="208"/>
                  </a:cubicBezTo>
                  <a:cubicBezTo>
                    <a:pt x="1271" y="208"/>
                    <a:pt x="1271" y="208"/>
                    <a:pt x="1271" y="208"/>
                  </a:cubicBezTo>
                  <a:cubicBezTo>
                    <a:pt x="1249" y="178"/>
                    <a:pt x="1249" y="178"/>
                    <a:pt x="1249" y="178"/>
                  </a:cubicBezTo>
                  <a:cubicBezTo>
                    <a:pt x="1201" y="173"/>
                    <a:pt x="1201" y="173"/>
                    <a:pt x="1201" y="173"/>
                  </a:cubicBezTo>
                  <a:cubicBezTo>
                    <a:pt x="1181" y="178"/>
                    <a:pt x="1181" y="178"/>
                    <a:pt x="1181" y="178"/>
                  </a:cubicBezTo>
                  <a:cubicBezTo>
                    <a:pt x="1186" y="193"/>
                    <a:pt x="1186" y="193"/>
                    <a:pt x="1186" y="193"/>
                  </a:cubicBezTo>
                  <a:close/>
                  <a:moveTo>
                    <a:pt x="1201" y="439"/>
                  </a:moveTo>
                  <a:cubicBezTo>
                    <a:pt x="1204" y="446"/>
                    <a:pt x="1204" y="446"/>
                    <a:pt x="1204" y="446"/>
                  </a:cubicBezTo>
                  <a:cubicBezTo>
                    <a:pt x="1206" y="459"/>
                    <a:pt x="1206" y="459"/>
                    <a:pt x="1206" y="459"/>
                  </a:cubicBezTo>
                  <a:cubicBezTo>
                    <a:pt x="1229" y="456"/>
                    <a:pt x="1229" y="456"/>
                    <a:pt x="1229" y="456"/>
                  </a:cubicBezTo>
                  <a:cubicBezTo>
                    <a:pt x="1236" y="446"/>
                    <a:pt x="1236" y="446"/>
                    <a:pt x="1236" y="446"/>
                  </a:cubicBezTo>
                  <a:cubicBezTo>
                    <a:pt x="1231" y="431"/>
                    <a:pt x="1231" y="431"/>
                    <a:pt x="1231" y="431"/>
                  </a:cubicBezTo>
                  <a:cubicBezTo>
                    <a:pt x="1236" y="419"/>
                    <a:pt x="1236" y="419"/>
                    <a:pt x="1236" y="419"/>
                  </a:cubicBezTo>
                  <a:cubicBezTo>
                    <a:pt x="1216" y="416"/>
                    <a:pt x="1216" y="416"/>
                    <a:pt x="1216" y="416"/>
                  </a:cubicBezTo>
                  <a:lnTo>
                    <a:pt x="1201" y="439"/>
                  </a:lnTo>
                  <a:close/>
                  <a:moveTo>
                    <a:pt x="1246" y="439"/>
                  </a:moveTo>
                  <a:cubicBezTo>
                    <a:pt x="1269" y="444"/>
                    <a:pt x="1269" y="444"/>
                    <a:pt x="1269" y="444"/>
                  </a:cubicBezTo>
                  <a:cubicBezTo>
                    <a:pt x="1274" y="431"/>
                    <a:pt x="1274" y="431"/>
                    <a:pt x="1274" y="431"/>
                  </a:cubicBezTo>
                  <a:cubicBezTo>
                    <a:pt x="1256" y="424"/>
                    <a:pt x="1256" y="424"/>
                    <a:pt x="1256" y="424"/>
                  </a:cubicBezTo>
                  <a:cubicBezTo>
                    <a:pt x="1246" y="429"/>
                    <a:pt x="1246" y="429"/>
                    <a:pt x="1246" y="429"/>
                  </a:cubicBezTo>
                  <a:lnTo>
                    <a:pt x="1246" y="439"/>
                  </a:lnTo>
                  <a:close/>
                  <a:moveTo>
                    <a:pt x="1065" y="555"/>
                  </a:moveTo>
                  <a:cubicBezTo>
                    <a:pt x="1052" y="575"/>
                    <a:pt x="1052" y="575"/>
                    <a:pt x="1052" y="575"/>
                  </a:cubicBezTo>
                  <a:cubicBezTo>
                    <a:pt x="1050" y="616"/>
                    <a:pt x="1050" y="616"/>
                    <a:pt x="1050" y="616"/>
                  </a:cubicBezTo>
                  <a:cubicBezTo>
                    <a:pt x="1050" y="623"/>
                    <a:pt x="1050" y="623"/>
                    <a:pt x="1050" y="623"/>
                  </a:cubicBezTo>
                  <a:cubicBezTo>
                    <a:pt x="1035" y="628"/>
                    <a:pt x="1035" y="628"/>
                    <a:pt x="1035" y="628"/>
                  </a:cubicBezTo>
                  <a:cubicBezTo>
                    <a:pt x="1035" y="636"/>
                    <a:pt x="1035" y="636"/>
                    <a:pt x="1035" y="636"/>
                  </a:cubicBezTo>
                  <a:cubicBezTo>
                    <a:pt x="1067" y="633"/>
                    <a:pt x="1067" y="633"/>
                    <a:pt x="1067" y="633"/>
                  </a:cubicBezTo>
                  <a:cubicBezTo>
                    <a:pt x="1070" y="656"/>
                    <a:pt x="1070" y="656"/>
                    <a:pt x="1070" y="656"/>
                  </a:cubicBezTo>
                  <a:cubicBezTo>
                    <a:pt x="1075" y="661"/>
                    <a:pt x="1075" y="661"/>
                    <a:pt x="1075" y="661"/>
                  </a:cubicBezTo>
                  <a:cubicBezTo>
                    <a:pt x="1087" y="648"/>
                    <a:pt x="1087" y="648"/>
                    <a:pt x="1087" y="648"/>
                  </a:cubicBezTo>
                  <a:cubicBezTo>
                    <a:pt x="1090" y="638"/>
                    <a:pt x="1090" y="638"/>
                    <a:pt x="1090" y="638"/>
                  </a:cubicBezTo>
                  <a:cubicBezTo>
                    <a:pt x="1105" y="621"/>
                    <a:pt x="1105" y="621"/>
                    <a:pt x="1105" y="621"/>
                  </a:cubicBezTo>
                  <a:cubicBezTo>
                    <a:pt x="1111" y="621"/>
                    <a:pt x="1111" y="621"/>
                    <a:pt x="1111" y="621"/>
                  </a:cubicBezTo>
                  <a:cubicBezTo>
                    <a:pt x="1114" y="623"/>
                    <a:pt x="1114" y="623"/>
                    <a:pt x="1114" y="623"/>
                  </a:cubicBezTo>
                  <a:cubicBezTo>
                    <a:pt x="1130" y="626"/>
                    <a:pt x="1130" y="626"/>
                    <a:pt x="1130" y="626"/>
                  </a:cubicBezTo>
                  <a:cubicBezTo>
                    <a:pt x="1127" y="633"/>
                    <a:pt x="1127" y="633"/>
                    <a:pt x="1127" y="633"/>
                  </a:cubicBezTo>
                  <a:cubicBezTo>
                    <a:pt x="1155" y="638"/>
                    <a:pt x="1155" y="638"/>
                    <a:pt x="1155" y="638"/>
                  </a:cubicBezTo>
                  <a:cubicBezTo>
                    <a:pt x="1172" y="626"/>
                    <a:pt x="1172" y="626"/>
                    <a:pt x="1172" y="626"/>
                  </a:cubicBezTo>
                  <a:cubicBezTo>
                    <a:pt x="1137" y="621"/>
                    <a:pt x="1137" y="621"/>
                    <a:pt x="1137" y="621"/>
                  </a:cubicBezTo>
                  <a:cubicBezTo>
                    <a:pt x="1135" y="608"/>
                    <a:pt x="1135" y="608"/>
                    <a:pt x="1135" y="608"/>
                  </a:cubicBezTo>
                  <a:cubicBezTo>
                    <a:pt x="1107" y="595"/>
                    <a:pt x="1107" y="595"/>
                    <a:pt x="1107" y="595"/>
                  </a:cubicBezTo>
                  <a:cubicBezTo>
                    <a:pt x="1095" y="580"/>
                    <a:pt x="1095" y="580"/>
                    <a:pt x="1095" y="580"/>
                  </a:cubicBezTo>
                  <a:cubicBezTo>
                    <a:pt x="1085" y="575"/>
                    <a:pt x="1085" y="575"/>
                    <a:pt x="1085" y="575"/>
                  </a:cubicBezTo>
                  <a:cubicBezTo>
                    <a:pt x="1080" y="583"/>
                    <a:pt x="1080" y="583"/>
                    <a:pt x="1080" y="583"/>
                  </a:cubicBezTo>
                  <a:cubicBezTo>
                    <a:pt x="1072" y="570"/>
                    <a:pt x="1072" y="570"/>
                    <a:pt x="1072" y="570"/>
                  </a:cubicBezTo>
                  <a:cubicBezTo>
                    <a:pt x="1077" y="568"/>
                    <a:pt x="1077" y="568"/>
                    <a:pt x="1077" y="568"/>
                  </a:cubicBezTo>
                  <a:cubicBezTo>
                    <a:pt x="1065" y="555"/>
                    <a:pt x="1065" y="555"/>
                    <a:pt x="1065" y="555"/>
                  </a:cubicBezTo>
                  <a:close/>
                  <a:moveTo>
                    <a:pt x="1116" y="674"/>
                  </a:moveTo>
                  <a:cubicBezTo>
                    <a:pt x="1108" y="679"/>
                    <a:pt x="1108" y="679"/>
                    <a:pt x="1108" y="679"/>
                  </a:cubicBezTo>
                  <a:cubicBezTo>
                    <a:pt x="1111" y="689"/>
                    <a:pt x="1111" y="689"/>
                    <a:pt x="1111" y="689"/>
                  </a:cubicBezTo>
                  <a:cubicBezTo>
                    <a:pt x="1118" y="682"/>
                    <a:pt x="1118" y="682"/>
                    <a:pt x="1118" y="682"/>
                  </a:cubicBezTo>
                  <a:cubicBezTo>
                    <a:pt x="1126" y="687"/>
                    <a:pt x="1126" y="687"/>
                    <a:pt x="1126" y="687"/>
                  </a:cubicBezTo>
                  <a:cubicBezTo>
                    <a:pt x="1146" y="667"/>
                    <a:pt x="1146" y="667"/>
                    <a:pt x="1146" y="667"/>
                  </a:cubicBezTo>
                  <a:cubicBezTo>
                    <a:pt x="1148" y="657"/>
                    <a:pt x="1148" y="657"/>
                    <a:pt x="1148" y="657"/>
                  </a:cubicBezTo>
                  <a:cubicBezTo>
                    <a:pt x="1116" y="662"/>
                    <a:pt x="1116" y="662"/>
                    <a:pt x="1116" y="662"/>
                  </a:cubicBezTo>
                  <a:cubicBezTo>
                    <a:pt x="1116" y="674"/>
                    <a:pt x="1116" y="674"/>
                    <a:pt x="1116" y="674"/>
                  </a:cubicBezTo>
                  <a:close/>
                  <a:moveTo>
                    <a:pt x="1158" y="714"/>
                  </a:moveTo>
                  <a:cubicBezTo>
                    <a:pt x="1174" y="722"/>
                    <a:pt x="1174" y="722"/>
                    <a:pt x="1174" y="722"/>
                  </a:cubicBezTo>
                  <a:cubicBezTo>
                    <a:pt x="1179" y="699"/>
                    <a:pt x="1179" y="699"/>
                    <a:pt x="1179" y="699"/>
                  </a:cubicBezTo>
                  <a:cubicBezTo>
                    <a:pt x="1169" y="692"/>
                    <a:pt x="1169" y="692"/>
                    <a:pt x="1169" y="692"/>
                  </a:cubicBezTo>
                  <a:cubicBezTo>
                    <a:pt x="1158" y="692"/>
                    <a:pt x="1158" y="692"/>
                    <a:pt x="1158" y="692"/>
                  </a:cubicBezTo>
                  <a:cubicBezTo>
                    <a:pt x="1158" y="714"/>
                    <a:pt x="1158" y="714"/>
                    <a:pt x="1158" y="714"/>
                  </a:cubicBezTo>
                  <a:close/>
                  <a:moveTo>
                    <a:pt x="975" y="183"/>
                  </a:moveTo>
                  <a:cubicBezTo>
                    <a:pt x="973" y="205"/>
                    <a:pt x="973" y="205"/>
                    <a:pt x="973" y="205"/>
                  </a:cubicBezTo>
                  <a:cubicBezTo>
                    <a:pt x="963" y="220"/>
                    <a:pt x="963" y="220"/>
                    <a:pt x="963" y="220"/>
                  </a:cubicBezTo>
                  <a:cubicBezTo>
                    <a:pt x="955" y="243"/>
                    <a:pt x="955" y="243"/>
                    <a:pt x="955" y="243"/>
                  </a:cubicBezTo>
                  <a:cubicBezTo>
                    <a:pt x="965" y="253"/>
                    <a:pt x="965" y="253"/>
                    <a:pt x="965" y="253"/>
                  </a:cubicBezTo>
                  <a:cubicBezTo>
                    <a:pt x="993" y="235"/>
                    <a:pt x="993" y="235"/>
                    <a:pt x="993" y="235"/>
                  </a:cubicBezTo>
                  <a:cubicBezTo>
                    <a:pt x="1006" y="210"/>
                    <a:pt x="1006" y="210"/>
                    <a:pt x="1006" y="210"/>
                  </a:cubicBezTo>
                  <a:cubicBezTo>
                    <a:pt x="1016" y="183"/>
                    <a:pt x="1016" y="183"/>
                    <a:pt x="1016" y="183"/>
                  </a:cubicBezTo>
                  <a:cubicBezTo>
                    <a:pt x="1016" y="160"/>
                    <a:pt x="1016" y="160"/>
                    <a:pt x="1016" y="160"/>
                  </a:cubicBezTo>
                  <a:cubicBezTo>
                    <a:pt x="1038" y="160"/>
                    <a:pt x="1038" y="160"/>
                    <a:pt x="1038" y="160"/>
                  </a:cubicBezTo>
                  <a:cubicBezTo>
                    <a:pt x="1061" y="160"/>
                    <a:pt x="1061" y="160"/>
                    <a:pt x="1061" y="160"/>
                  </a:cubicBezTo>
                  <a:cubicBezTo>
                    <a:pt x="1063" y="143"/>
                    <a:pt x="1063" y="143"/>
                    <a:pt x="1063" y="143"/>
                  </a:cubicBezTo>
                  <a:cubicBezTo>
                    <a:pt x="1088" y="133"/>
                    <a:pt x="1088" y="133"/>
                    <a:pt x="1088" y="133"/>
                  </a:cubicBezTo>
                  <a:cubicBezTo>
                    <a:pt x="1091" y="153"/>
                    <a:pt x="1091" y="153"/>
                    <a:pt x="1091" y="153"/>
                  </a:cubicBezTo>
                  <a:cubicBezTo>
                    <a:pt x="1106" y="153"/>
                    <a:pt x="1106" y="153"/>
                    <a:pt x="1106" y="153"/>
                  </a:cubicBezTo>
                  <a:cubicBezTo>
                    <a:pt x="1123" y="155"/>
                    <a:pt x="1123" y="155"/>
                    <a:pt x="1123" y="155"/>
                  </a:cubicBezTo>
                  <a:cubicBezTo>
                    <a:pt x="1143" y="148"/>
                    <a:pt x="1143" y="148"/>
                    <a:pt x="1143" y="148"/>
                  </a:cubicBezTo>
                  <a:cubicBezTo>
                    <a:pt x="1158" y="140"/>
                    <a:pt x="1158" y="140"/>
                    <a:pt x="1158" y="140"/>
                  </a:cubicBezTo>
                  <a:cubicBezTo>
                    <a:pt x="1171" y="148"/>
                    <a:pt x="1171" y="148"/>
                    <a:pt x="1171" y="148"/>
                  </a:cubicBezTo>
                  <a:cubicBezTo>
                    <a:pt x="1176" y="163"/>
                    <a:pt x="1176" y="163"/>
                    <a:pt x="1176" y="163"/>
                  </a:cubicBezTo>
                  <a:cubicBezTo>
                    <a:pt x="1194" y="158"/>
                    <a:pt x="1194" y="158"/>
                    <a:pt x="1194" y="158"/>
                  </a:cubicBezTo>
                  <a:cubicBezTo>
                    <a:pt x="1221" y="153"/>
                    <a:pt x="1221" y="153"/>
                    <a:pt x="1221" y="153"/>
                  </a:cubicBezTo>
                  <a:cubicBezTo>
                    <a:pt x="1229" y="133"/>
                    <a:pt x="1229" y="133"/>
                    <a:pt x="1229" y="133"/>
                  </a:cubicBezTo>
                  <a:cubicBezTo>
                    <a:pt x="1241" y="150"/>
                    <a:pt x="1241" y="150"/>
                    <a:pt x="1241" y="150"/>
                  </a:cubicBezTo>
                  <a:cubicBezTo>
                    <a:pt x="1261" y="145"/>
                    <a:pt x="1261" y="145"/>
                    <a:pt x="1261" y="145"/>
                  </a:cubicBezTo>
                  <a:cubicBezTo>
                    <a:pt x="1284" y="133"/>
                    <a:pt x="1284" y="133"/>
                    <a:pt x="1284" y="133"/>
                  </a:cubicBezTo>
                  <a:cubicBezTo>
                    <a:pt x="1316" y="145"/>
                    <a:pt x="1316" y="145"/>
                    <a:pt x="1316" y="145"/>
                  </a:cubicBezTo>
                  <a:cubicBezTo>
                    <a:pt x="1329" y="115"/>
                    <a:pt x="1329" y="115"/>
                    <a:pt x="1329" y="115"/>
                  </a:cubicBezTo>
                  <a:cubicBezTo>
                    <a:pt x="1354" y="115"/>
                    <a:pt x="1354" y="115"/>
                    <a:pt x="1354" y="115"/>
                  </a:cubicBezTo>
                  <a:cubicBezTo>
                    <a:pt x="1357" y="95"/>
                    <a:pt x="1357" y="95"/>
                    <a:pt x="1357" y="95"/>
                  </a:cubicBezTo>
                  <a:cubicBezTo>
                    <a:pt x="1369" y="110"/>
                    <a:pt x="1369" y="110"/>
                    <a:pt x="1369" y="110"/>
                  </a:cubicBezTo>
                  <a:cubicBezTo>
                    <a:pt x="1389" y="90"/>
                    <a:pt x="1389" y="90"/>
                    <a:pt x="1389" y="90"/>
                  </a:cubicBezTo>
                  <a:cubicBezTo>
                    <a:pt x="1422" y="88"/>
                    <a:pt x="1422" y="88"/>
                    <a:pt x="1422" y="88"/>
                  </a:cubicBezTo>
                  <a:cubicBezTo>
                    <a:pt x="1429" y="70"/>
                    <a:pt x="1429" y="70"/>
                    <a:pt x="1429" y="70"/>
                  </a:cubicBezTo>
                  <a:cubicBezTo>
                    <a:pt x="1454" y="67"/>
                    <a:pt x="1454" y="67"/>
                    <a:pt x="1454" y="67"/>
                  </a:cubicBezTo>
                  <a:cubicBezTo>
                    <a:pt x="1464" y="42"/>
                    <a:pt x="1464" y="42"/>
                    <a:pt x="1464" y="42"/>
                  </a:cubicBezTo>
                  <a:cubicBezTo>
                    <a:pt x="1495" y="28"/>
                    <a:pt x="1495" y="28"/>
                    <a:pt x="1495" y="28"/>
                  </a:cubicBezTo>
                  <a:cubicBezTo>
                    <a:pt x="1467" y="22"/>
                    <a:pt x="1467" y="22"/>
                    <a:pt x="1467" y="22"/>
                  </a:cubicBezTo>
                  <a:cubicBezTo>
                    <a:pt x="1444" y="17"/>
                    <a:pt x="1444" y="17"/>
                    <a:pt x="1444" y="17"/>
                  </a:cubicBezTo>
                  <a:cubicBezTo>
                    <a:pt x="1414" y="27"/>
                    <a:pt x="1414" y="27"/>
                    <a:pt x="1414" y="27"/>
                  </a:cubicBezTo>
                  <a:cubicBezTo>
                    <a:pt x="1384" y="35"/>
                    <a:pt x="1384" y="35"/>
                    <a:pt x="1384" y="35"/>
                  </a:cubicBezTo>
                  <a:cubicBezTo>
                    <a:pt x="1417" y="12"/>
                    <a:pt x="1417" y="12"/>
                    <a:pt x="1417" y="12"/>
                  </a:cubicBezTo>
                  <a:cubicBezTo>
                    <a:pt x="1369" y="0"/>
                    <a:pt x="1369" y="0"/>
                    <a:pt x="1369" y="0"/>
                  </a:cubicBezTo>
                  <a:cubicBezTo>
                    <a:pt x="1331" y="12"/>
                    <a:pt x="1331" y="12"/>
                    <a:pt x="1331" y="12"/>
                  </a:cubicBezTo>
                  <a:cubicBezTo>
                    <a:pt x="1319" y="0"/>
                    <a:pt x="1319" y="0"/>
                    <a:pt x="1319" y="0"/>
                  </a:cubicBezTo>
                  <a:cubicBezTo>
                    <a:pt x="1309" y="12"/>
                    <a:pt x="1309" y="12"/>
                    <a:pt x="1309" y="12"/>
                  </a:cubicBezTo>
                  <a:cubicBezTo>
                    <a:pt x="1301" y="27"/>
                    <a:pt x="1301" y="27"/>
                    <a:pt x="1301" y="27"/>
                  </a:cubicBezTo>
                  <a:cubicBezTo>
                    <a:pt x="1286" y="27"/>
                    <a:pt x="1286" y="27"/>
                    <a:pt x="1286" y="27"/>
                  </a:cubicBezTo>
                  <a:cubicBezTo>
                    <a:pt x="1264" y="20"/>
                    <a:pt x="1264" y="20"/>
                    <a:pt x="1264" y="20"/>
                  </a:cubicBezTo>
                  <a:cubicBezTo>
                    <a:pt x="1234" y="20"/>
                    <a:pt x="1234" y="20"/>
                    <a:pt x="1234" y="20"/>
                  </a:cubicBezTo>
                  <a:cubicBezTo>
                    <a:pt x="1236" y="50"/>
                    <a:pt x="1236" y="50"/>
                    <a:pt x="1236" y="50"/>
                  </a:cubicBezTo>
                  <a:cubicBezTo>
                    <a:pt x="1226" y="35"/>
                    <a:pt x="1226" y="35"/>
                    <a:pt x="1226" y="35"/>
                  </a:cubicBezTo>
                  <a:cubicBezTo>
                    <a:pt x="1209" y="27"/>
                    <a:pt x="1209" y="27"/>
                    <a:pt x="1209" y="27"/>
                  </a:cubicBezTo>
                  <a:cubicBezTo>
                    <a:pt x="1199" y="40"/>
                    <a:pt x="1199" y="40"/>
                    <a:pt x="1199" y="40"/>
                  </a:cubicBezTo>
                  <a:cubicBezTo>
                    <a:pt x="1169" y="42"/>
                    <a:pt x="1169" y="42"/>
                    <a:pt x="1169" y="42"/>
                  </a:cubicBezTo>
                  <a:cubicBezTo>
                    <a:pt x="1156" y="30"/>
                    <a:pt x="1156" y="30"/>
                    <a:pt x="1156" y="30"/>
                  </a:cubicBezTo>
                  <a:cubicBezTo>
                    <a:pt x="1108" y="35"/>
                    <a:pt x="1108" y="35"/>
                    <a:pt x="1108" y="35"/>
                  </a:cubicBezTo>
                  <a:cubicBezTo>
                    <a:pt x="1086" y="22"/>
                    <a:pt x="1086" y="22"/>
                    <a:pt x="1086" y="22"/>
                  </a:cubicBezTo>
                  <a:cubicBezTo>
                    <a:pt x="1076" y="37"/>
                    <a:pt x="1076" y="37"/>
                    <a:pt x="1076" y="37"/>
                  </a:cubicBezTo>
                  <a:cubicBezTo>
                    <a:pt x="1058" y="50"/>
                    <a:pt x="1058" y="50"/>
                    <a:pt x="1058" y="50"/>
                  </a:cubicBezTo>
                  <a:cubicBezTo>
                    <a:pt x="1001" y="55"/>
                    <a:pt x="1001" y="55"/>
                    <a:pt x="1001" y="55"/>
                  </a:cubicBezTo>
                  <a:cubicBezTo>
                    <a:pt x="1023" y="75"/>
                    <a:pt x="1023" y="75"/>
                    <a:pt x="1023" y="75"/>
                  </a:cubicBezTo>
                  <a:cubicBezTo>
                    <a:pt x="1046" y="98"/>
                    <a:pt x="1046" y="98"/>
                    <a:pt x="1046" y="98"/>
                  </a:cubicBezTo>
                  <a:cubicBezTo>
                    <a:pt x="1006" y="98"/>
                    <a:pt x="1006" y="98"/>
                    <a:pt x="1006" y="98"/>
                  </a:cubicBezTo>
                  <a:cubicBezTo>
                    <a:pt x="983" y="88"/>
                    <a:pt x="983" y="88"/>
                    <a:pt x="983" y="88"/>
                  </a:cubicBezTo>
                  <a:cubicBezTo>
                    <a:pt x="970" y="65"/>
                    <a:pt x="970" y="65"/>
                    <a:pt x="970" y="65"/>
                  </a:cubicBezTo>
                  <a:cubicBezTo>
                    <a:pt x="925" y="65"/>
                    <a:pt x="925" y="65"/>
                    <a:pt x="925" y="65"/>
                  </a:cubicBezTo>
                  <a:cubicBezTo>
                    <a:pt x="925" y="80"/>
                    <a:pt x="925" y="80"/>
                    <a:pt x="925" y="80"/>
                  </a:cubicBezTo>
                  <a:cubicBezTo>
                    <a:pt x="953" y="95"/>
                    <a:pt x="953" y="95"/>
                    <a:pt x="953" y="95"/>
                  </a:cubicBezTo>
                  <a:cubicBezTo>
                    <a:pt x="943" y="110"/>
                    <a:pt x="943" y="110"/>
                    <a:pt x="943" y="110"/>
                  </a:cubicBezTo>
                  <a:cubicBezTo>
                    <a:pt x="938" y="125"/>
                    <a:pt x="938" y="125"/>
                    <a:pt x="938" y="125"/>
                  </a:cubicBezTo>
                  <a:cubicBezTo>
                    <a:pt x="958" y="138"/>
                    <a:pt x="958" y="138"/>
                    <a:pt x="958" y="138"/>
                  </a:cubicBezTo>
                  <a:cubicBezTo>
                    <a:pt x="980" y="153"/>
                    <a:pt x="980" y="153"/>
                    <a:pt x="980" y="153"/>
                  </a:cubicBezTo>
                  <a:cubicBezTo>
                    <a:pt x="975" y="183"/>
                    <a:pt x="975" y="183"/>
                    <a:pt x="975" y="183"/>
                  </a:cubicBezTo>
                  <a:close/>
                  <a:moveTo>
                    <a:pt x="1573" y="1110"/>
                  </a:moveTo>
                  <a:cubicBezTo>
                    <a:pt x="1569" y="1107"/>
                    <a:pt x="1569" y="1107"/>
                    <a:pt x="1569" y="1107"/>
                  </a:cubicBezTo>
                  <a:cubicBezTo>
                    <a:pt x="1568" y="1099"/>
                    <a:pt x="1568" y="1099"/>
                    <a:pt x="1568" y="1099"/>
                  </a:cubicBezTo>
                  <a:cubicBezTo>
                    <a:pt x="1585" y="1085"/>
                    <a:pt x="1585" y="1085"/>
                    <a:pt x="1585" y="1085"/>
                  </a:cubicBezTo>
                  <a:cubicBezTo>
                    <a:pt x="1573" y="1082"/>
                    <a:pt x="1573" y="1082"/>
                    <a:pt x="1573" y="1082"/>
                  </a:cubicBezTo>
                  <a:cubicBezTo>
                    <a:pt x="1585" y="1068"/>
                    <a:pt x="1585" y="1068"/>
                    <a:pt x="1585" y="1068"/>
                  </a:cubicBezTo>
                  <a:cubicBezTo>
                    <a:pt x="1591" y="1069"/>
                    <a:pt x="1591" y="1069"/>
                    <a:pt x="1591" y="1069"/>
                  </a:cubicBezTo>
                  <a:cubicBezTo>
                    <a:pt x="1588" y="1059"/>
                    <a:pt x="1588" y="1059"/>
                    <a:pt x="1588" y="1059"/>
                  </a:cubicBezTo>
                  <a:cubicBezTo>
                    <a:pt x="1602" y="1031"/>
                    <a:pt x="1602" y="1031"/>
                    <a:pt x="1602" y="1031"/>
                  </a:cubicBezTo>
                  <a:cubicBezTo>
                    <a:pt x="1606" y="1017"/>
                    <a:pt x="1606" y="1017"/>
                    <a:pt x="1606" y="1017"/>
                  </a:cubicBezTo>
                  <a:cubicBezTo>
                    <a:pt x="1621" y="997"/>
                    <a:pt x="1621" y="997"/>
                    <a:pt x="1621" y="997"/>
                  </a:cubicBezTo>
                  <a:cubicBezTo>
                    <a:pt x="1631" y="992"/>
                    <a:pt x="1631" y="992"/>
                    <a:pt x="1631" y="992"/>
                  </a:cubicBezTo>
                  <a:cubicBezTo>
                    <a:pt x="1638" y="991"/>
                    <a:pt x="1638" y="991"/>
                    <a:pt x="1638" y="991"/>
                  </a:cubicBezTo>
                  <a:cubicBezTo>
                    <a:pt x="1637" y="1000"/>
                    <a:pt x="1637" y="1000"/>
                    <a:pt x="1637" y="1000"/>
                  </a:cubicBezTo>
                  <a:cubicBezTo>
                    <a:pt x="1631" y="1001"/>
                    <a:pt x="1631" y="1001"/>
                    <a:pt x="1631" y="1001"/>
                  </a:cubicBezTo>
                  <a:cubicBezTo>
                    <a:pt x="1633" y="1007"/>
                    <a:pt x="1633" y="1007"/>
                    <a:pt x="1633" y="1007"/>
                  </a:cubicBezTo>
                  <a:cubicBezTo>
                    <a:pt x="1631" y="1015"/>
                    <a:pt x="1631" y="1015"/>
                    <a:pt x="1631" y="1015"/>
                  </a:cubicBezTo>
                  <a:cubicBezTo>
                    <a:pt x="1626" y="1018"/>
                    <a:pt x="1626" y="1018"/>
                    <a:pt x="1626" y="1018"/>
                  </a:cubicBezTo>
                  <a:cubicBezTo>
                    <a:pt x="1622" y="1031"/>
                    <a:pt x="1622" y="1031"/>
                    <a:pt x="1622" y="1031"/>
                  </a:cubicBezTo>
                  <a:cubicBezTo>
                    <a:pt x="1615" y="1039"/>
                    <a:pt x="1615" y="1039"/>
                    <a:pt x="1615" y="1039"/>
                  </a:cubicBezTo>
                  <a:cubicBezTo>
                    <a:pt x="1611" y="1047"/>
                    <a:pt x="1611" y="1047"/>
                    <a:pt x="1611" y="1047"/>
                  </a:cubicBezTo>
                  <a:cubicBezTo>
                    <a:pt x="1612" y="1054"/>
                    <a:pt x="1612" y="1054"/>
                    <a:pt x="1612" y="1054"/>
                  </a:cubicBezTo>
                  <a:cubicBezTo>
                    <a:pt x="1618" y="1052"/>
                    <a:pt x="1618" y="1052"/>
                    <a:pt x="1618" y="1052"/>
                  </a:cubicBezTo>
                  <a:cubicBezTo>
                    <a:pt x="1626" y="1035"/>
                    <a:pt x="1626" y="1035"/>
                    <a:pt x="1626" y="1035"/>
                  </a:cubicBezTo>
                  <a:cubicBezTo>
                    <a:pt x="1630" y="1044"/>
                    <a:pt x="1630" y="1044"/>
                    <a:pt x="1630" y="1044"/>
                  </a:cubicBezTo>
                  <a:cubicBezTo>
                    <a:pt x="1639" y="1042"/>
                    <a:pt x="1639" y="1042"/>
                    <a:pt x="1639" y="1042"/>
                  </a:cubicBezTo>
                  <a:cubicBezTo>
                    <a:pt x="1629" y="1054"/>
                    <a:pt x="1629" y="1054"/>
                    <a:pt x="1629" y="1054"/>
                  </a:cubicBezTo>
                  <a:cubicBezTo>
                    <a:pt x="1636" y="1056"/>
                    <a:pt x="1636" y="1056"/>
                    <a:pt x="1636" y="1056"/>
                  </a:cubicBezTo>
                  <a:cubicBezTo>
                    <a:pt x="1643" y="1056"/>
                    <a:pt x="1643" y="1056"/>
                    <a:pt x="1643" y="1056"/>
                  </a:cubicBezTo>
                  <a:cubicBezTo>
                    <a:pt x="1638" y="1070"/>
                    <a:pt x="1638" y="1070"/>
                    <a:pt x="1638" y="1070"/>
                  </a:cubicBezTo>
                  <a:cubicBezTo>
                    <a:pt x="1656" y="1054"/>
                    <a:pt x="1656" y="1054"/>
                    <a:pt x="1656" y="1054"/>
                  </a:cubicBezTo>
                  <a:cubicBezTo>
                    <a:pt x="1667" y="1057"/>
                    <a:pt x="1667" y="1057"/>
                    <a:pt x="1667" y="1057"/>
                  </a:cubicBezTo>
                  <a:cubicBezTo>
                    <a:pt x="1677" y="1059"/>
                    <a:pt x="1677" y="1059"/>
                    <a:pt x="1677" y="1059"/>
                  </a:cubicBezTo>
                  <a:cubicBezTo>
                    <a:pt x="1669" y="1072"/>
                    <a:pt x="1669" y="1072"/>
                    <a:pt x="1669" y="1072"/>
                  </a:cubicBezTo>
                  <a:cubicBezTo>
                    <a:pt x="1668" y="1079"/>
                    <a:pt x="1668" y="1079"/>
                    <a:pt x="1668" y="1079"/>
                  </a:cubicBezTo>
                  <a:cubicBezTo>
                    <a:pt x="1685" y="1079"/>
                    <a:pt x="1685" y="1079"/>
                    <a:pt x="1685" y="1079"/>
                  </a:cubicBezTo>
                  <a:cubicBezTo>
                    <a:pt x="1677" y="1087"/>
                    <a:pt x="1677" y="1087"/>
                    <a:pt x="1677" y="1087"/>
                  </a:cubicBezTo>
                  <a:cubicBezTo>
                    <a:pt x="1670" y="1090"/>
                    <a:pt x="1670" y="1090"/>
                    <a:pt x="1670" y="1090"/>
                  </a:cubicBezTo>
                  <a:cubicBezTo>
                    <a:pt x="1674" y="1097"/>
                    <a:pt x="1674" y="1097"/>
                    <a:pt x="1674" y="1097"/>
                  </a:cubicBezTo>
                  <a:cubicBezTo>
                    <a:pt x="1674" y="1107"/>
                    <a:pt x="1674" y="1107"/>
                    <a:pt x="1674" y="1107"/>
                  </a:cubicBezTo>
                  <a:cubicBezTo>
                    <a:pt x="1681" y="1098"/>
                    <a:pt x="1681" y="1098"/>
                    <a:pt x="1681" y="1098"/>
                  </a:cubicBezTo>
                  <a:cubicBezTo>
                    <a:pt x="1688" y="1095"/>
                    <a:pt x="1688" y="1095"/>
                    <a:pt x="1688" y="1095"/>
                  </a:cubicBezTo>
                  <a:cubicBezTo>
                    <a:pt x="1686" y="1119"/>
                    <a:pt x="1686" y="1119"/>
                    <a:pt x="1686" y="1119"/>
                  </a:cubicBezTo>
                  <a:cubicBezTo>
                    <a:pt x="1692" y="1135"/>
                    <a:pt x="1692" y="1135"/>
                    <a:pt x="1692" y="1135"/>
                  </a:cubicBezTo>
                  <a:cubicBezTo>
                    <a:pt x="1679" y="1132"/>
                    <a:pt x="1679" y="1132"/>
                    <a:pt x="1679" y="1132"/>
                  </a:cubicBezTo>
                  <a:cubicBezTo>
                    <a:pt x="1676" y="1124"/>
                    <a:pt x="1676" y="1124"/>
                    <a:pt x="1676" y="1124"/>
                  </a:cubicBezTo>
                  <a:cubicBezTo>
                    <a:pt x="1673" y="1129"/>
                    <a:pt x="1673" y="1129"/>
                    <a:pt x="1673" y="1129"/>
                  </a:cubicBezTo>
                  <a:cubicBezTo>
                    <a:pt x="1665" y="1129"/>
                    <a:pt x="1665" y="1129"/>
                    <a:pt x="1665" y="1129"/>
                  </a:cubicBezTo>
                  <a:cubicBezTo>
                    <a:pt x="1669" y="1118"/>
                    <a:pt x="1669" y="1118"/>
                    <a:pt x="1669" y="1118"/>
                  </a:cubicBezTo>
                  <a:cubicBezTo>
                    <a:pt x="1668" y="1109"/>
                    <a:pt x="1668" y="1109"/>
                    <a:pt x="1668" y="1109"/>
                  </a:cubicBezTo>
                  <a:cubicBezTo>
                    <a:pt x="1666" y="1099"/>
                    <a:pt x="1666" y="1099"/>
                    <a:pt x="1666" y="1099"/>
                  </a:cubicBezTo>
                  <a:cubicBezTo>
                    <a:pt x="1659" y="1112"/>
                    <a:pt x="1659" y="1112"/>
                    <a:pt x="1659" y="1112"/>
                  </a:cubicBezTo>
                  <a:cubicBezTo>
                    <a:pt x="1652" y="1119"/>
                    <a:pt x="1652" y="1119"/>
                    <a:pt x="1652" y="1119"/>
                  </a:cubicBezTo>
                  <a:cubicBezTo>
                    <a:pt x="1644" y="1126"/>
                    <a:pt x="1644" y="1126"/>
                    <a:pt x="1644" y="1126"/>
                  </a:cubicBezTo>
                  <a:cubicBezTo>
                    <a:pt x="1639" y="1130"/>
                    <a:pt x="1639" y="1130"/>
                    <a:pt x="1639" y="1130"/>
                  </a:cubicBezTo>
                  <a:cubicBezTo>
                    <a:pt x="1631" y="1127"/>
                    <a:pt x="1631" y="1127"/>
                    <a:pt x="1631" y="1127"/>
                  </a:cubicBezTo>
                  <a:cubicBezTo>
                    <a:pt x="1639" y="1121"/>
                    <a:pt x="1639" y="1121"/>
                    <a:pt x="1639" y="1121"/>
                  </a:cubicBezTo>
                  <a:cubicBezTo>
                    <a:pt x="1651" y="1108"/>
                    <a:pt x="1651" y="1108"/>
                    <a:pt x="1651" y="1108"/>
                  </a:cubicBezTo>
                  <a:cubicBezTo>
                    <a:pt x="1644" y="1108"/>
                    <a:pt x="1644" y="1108"/>
                    <a:pt x="1644" y="1108"/>
                  </a:cubicBezTo>
                  <a:cubicBezTo>
                    <a:pt x="1638" y="1114"/>
                    <a:pt x="1638" y="1114"/>
                    <a:pt x="1638" y="1114"/>
                  </a:cubicBezTo>
                  <a:cubicBezTo>
                    <a:pt x="1632" y="1112"/>
                    <a:pt x="1632" y="1112"/>
                    <a:pt x="1632" y="1112"/>
                  </a:cubicBezTo>
                  <a:cubicBezTo>
                    <a:pt x="1634" y="1102"/>
                    <a:pt x="1634" y="1102"/>
                    <a:pt x="1634" y="1102"/>
                  </a:cubicBezTo>
                  <a:cubicBezTo>
                    <a:pt x="1625" y="1107"/>
                    <a:pt x="1625" y="1107"/>
                    <a:pt x="1625" y="1107"/>
                  </a:cubicBezTo>
                  <a:cubicBezTo>
                    <a:pt x="1623" y="1102"/>
                    <a:pt x="1623" y="1102"/>
                    <a:pt x="1623" y="1102"/>
                  </a:cubicBezTo>
                  <a:cubicBezTo>
                    <a:pt x="1616" y="1109"/>
                    <a:pt x="1616" y="1109"/>
                    <a:pt x="1616" y="1109"/>
                  </a:cubicBezTo>
                  <a:cubicBezTo>
                    <a:pt x="1603" y="1107"/>
                    <a:pt x="1603" y="1107"/>
                    <a:pt x="1603" y="1107"/>
                  </a:cubicBezTo>
                  <a:lnTo>
                    <a:pt x="1573" y="1110"/>
                  </a:lnTo>
                  <a:close/>
                  <a:moveTo>
                    <a:pt x="1497" y="1044"/>
                  </a:moveTo>
                  <a:cubicBezTo>
                    <a:pt x="1506" y="1049"/>
                    <a:pt x="1506" y="1049"/>
                    <a:pt x="1506" y="1049"/>
                  </a:cubicBezTo>
                  <a:cubicBezTo>
                    <a:pt x="1516" y="1048"/>
                    <a:pt x="1516" y="1048"/>
                    <a:pt x="1516" y="1048"/>
                  </a:cubicBezTo>
                  <a:cubicBezTo>
                    <a:pt x="1521" y="1054"/>
                    <a:pt x="1521" y="1054"/>
                    <a:pt x="1521" y="1054"/>
                  </a:cubicBezTo>
                  <a:cubicBezTo>
                    <a:pt x="1532" y="1057"/>
                    <a:pt x="1532" y="1057"/>
                    <a:pt x="1532" y="1057"/>
                  </a:cubicBezTo>
                  <a:cubicBezTo>
                    <a:pt x="1537" y="1060"/>
                    <a:pt x="1537" y="1060"/>
                    <a:pt x="1537" y="1060"/>
                  </a:cubicBezTo>
                  <a:cubicBezTo>
                    <a:pt x="1535" y="1066"/>
                    <a:pt x="1535" y="1066"/>
                    <a:pt x="1535" y="1066"/>
                  </a:cubicBezTo>
                  <a:cubicBezTo>
                    <a:pt x="1520" y="1066"/>
                    <a:pt x="1520" y="1066"/>
                    <a:pt x="1520" y="1066"/>
                  </a:cubicBezTo>
                  <a:cubicBezTo>
                    <a:pt x="1502" y="1061"/>
                    <a:pt x="1502" y="1061"/>
                    <a:pt x="1502" y="1061"/>
                  </a:cubicBezTo>
                  <a:cubicBezTo>
                    <a:pt x="1501" y="1055"/>
                    <a:pt x="1501" y="1055"/>
                    <a:pt x="1501" y="1055"/>
                  </a:cubicBezTo>
                  <a:cubicBezTo>
                    <a:pt x="1485" y="1048"/>
                    <a:pt x="1485" y="1048"/>
                    <a:pt x="1485" y="1048"/>
                  </a:cubicBezTo>
                  <a:cubicBezTo>
                    <a:pt x="1486" y="1042"/>
                    <a:pt x="1486" y="1042"/>
                    <a:pt x="1486" y="1042"/>
                  </a:cubicBezTo>
                  <a:lnTo>
                    <a:pt x="1497" y="1044"/>
                  </a:lnTo>
                  <a:close/>
                  <a:moveTo>
                    <a:pt x="1477" y="1149"/>
                  </a:moveTo>
                  <a:cubicBezTo>
                    <a:pt x="1474" y="1151"/>
                    <a:pt x="1474" y="1151"/>
                    <a:pt x="1474" y="1151"/>
                  </a:cubicBezTo>
                  <a:cubicBezTo>
                    <a:pt x="1467" y="1154"/>
                    <a:pt x="1467" y="1154"/>
                    <a:pt x="1467" y="1154"/>
                  </a:cubicBezTo>
                  <a:cubicBezTo>
                    <a:pt x="1458" y="1159"/>
                    <a:pt x="1458" y="1159"/>
                    <a:pt x="1458" y="1159"/>
                  </a:cubicBezTo>
                  <a:cubicBezTo>
                    <a:pt x="1453" y="1158"/>
                    <a:pt x="1453" y="1158"/>
                    <a:pt x="1453" y="1158"/>
                  </a:cubicBezTo>
                  <a:cubicBezTo>
                    <a:pt x="1447" y="1159"/>
                    <a:pt x="1447" y="1159"/>
                    <a:pt x="1447" y="1159"/>
                  </a:cubicBezTo>
                  <a:cubicBezTo>
                    <a:pt x="1444" y="1161"/>
                    <a:pt x="1444" y="1161"/>
                    <a:pt x="1444" y="1161"/>
                  </a:cubicBezTo>
                  <a:cubicBezTo>
                    <a:pt x="1439" y="1163"/>
                    <a:pt x="1439" y="1163"/>
                    <a:pt x="1439" y="1163"/>
                  </a:cubicBezTo>
                  <a:cubicBezTo>
                    <a:pt x="1436" y="1160"/>
                    <a:pt x="1436" y="1160"/>
                    <a:pt x="1436" y="1160"/>
                  </a:cubicBezTo>
                  <a:cubicBezTo>
                    <a:pt x="1434" y="1152"/>
                    <a:pt x="1434" y="1152"/>
                    <a:pt x="1434" y="1152"/>
                  </a:cubicBezTo>
                  <a:cubicBezTo>
                    <a:pt x="1427" y="1151"/>
                    <a:pt x="1427" y="1151"/>
                    <a:pt x="1427" y="1151"/>
                  </a:cubicBezTo>
                  <a:cubicBezTo>
                    <a:pt x="1417" y="1114"/>
                    <a:pt x="1417" y="1114"/>
                    <a:pt x="1417" y="1114"/>
                  </a:cubicBezTo>
                  <a:cubicBezTo>
                    <a:pt x="1408" y="1106"/>
                    <a:pt x="1408" y="1106"/>
                    <a:pt x="1408" y="1106"/>
                  </a:cubicBezTo>
                  <a:cubicBezTo>
                    <a:pt x="1403" y="1107"/>
                    <a:pt x="1403" y="1107"/>
                    <a:pt x="1403" y="1107"/>
                  </a:cubicBezTo>
                  <a:cubicBezTo>
                    <a:pt x="1402" y="1110"/>
                    <a:pt x="1402" y="1110"/>
                    <a:pt x="1402" y="1110"/>
                  </a:cubicBezTo>
                  <a:cubicBezTo>
                    <a:pt x="1392" y="1114"/>
                    <a:pt x="1392" y="1114"/>
                    <a:pt x="1392" y="1114"/>
                  </a:cubicBezTo>
                  <a:cubicBezTo>
                    <a:pt x="1391" y="1108"/>
                    <a:pt x="1391" y="1108"/>
                    <a:pt x="1391" y="1108"/>
                  </a:cubicBezTo>
                  <a:cubicBezTo>
                    <a:pt x="1384" y="1108"/>
                    <a:pt x="1384" y="1108"/>
                    <a:pt x="1384" y="1108"/>
                  </a:cubicBezTo>
                  <a:cubicBezTo>
                    <a:pt x="1375" y="1135"/>
                    <a:pt x="1375" y="1135"/>
                    <a:pt x="1375" y="1135"/>
                  </a:cubicBezTo>
                  <a:cubicBezTo>
                    <a:pt x="1377" y="1137"/>
                    <a:pt x="1377" y="1137"/>
                    <a:pt x="1377" y="1137"/>
                  </a:cubicBezTo>
                  <a:cubicBezTo>
                    <a:pt x="1377" y="1141"/>
                    <a:pt x="1377" y="1141"/>
                    <a:pt x="1377" y="1141"/>
                  </a:cubicBezTo>
                  <a:cubicBezTo>
                    <a:pt x="1374" y="1143"/>
                    <a:pt x="1374" y="1143"/>
                    <a:pt x="1374" y="1143"/>
                  </a:cubicBezTo>
                  <a:cubicBezTo>
                    <a:pt x="1377" y="1155"/>
                    <a:pt x="1377" y="1155"/>
                    <a:pt x="1377" y="1155"/>
                  </a:cubicBezTo>
                  <a:cubicBezTo>
                    <a:pt x="1375" y="1157"/>
                    <a:pt x="1375" y="1157"/>
                    <a:pt x="1375" y="1157"/>
                  </a:cubicBezTo>
                  <a:cubicBezTo>
                    <a:pt x="1374" y="1160"/>
                    <a:pt x="1374" y="1160"/>
                    <a:pt x="1374" y="1160"/>
                  </a:cubicBezTo>
                  <a:cubicBezTo>
                    <a:pt x="1370" y="1166"/>
                    <a:pt x="1370" y="1166"/>
                    <a:pt x="1370" y="1166"/>
                  </a:cubicBezTo>
                  <a:cubicBezTo>
                    <a:pt x="1371" y="1169"/>
                    <a:pt x="1371" y="1169"/>
                    <a:pt x="1371" y="1169"/>
                  </a:cubicBezTo>
                  <a:cubicBezTo>
                    <a:pt x="1369" y="1173"/>
                    <a:pt x="1369" y="1173"/>
                    <a:pt x="1369" y="1173"/>
                  </a:cubicBezTo>
                  <a:cubicBezTo>
                    <a:pt x="1364" y="1174"/>
                    <a:pt x="1364" y="1174"/>
                    <a:pt x="1364" y="1174"/>
                  </a:cubicBezTo>
                  <a:cubicBezTo>
                    <a:pt x="1357" y="1177"/>
                    <a:pt x="1357" y="1177"/>
                    <a:pt x="1357" y="1177"/>
                  </a:cubicBezTo>
                  <a:cubicBezTo>
                    <a:pt x="1358" y="1181"/>
                    <a:pt x="1358" y="1181"/>
                    <a:pt x="1358" y="1181"/>
                  </a:cubicBezTo>
                  <a:cubicBezTo>
                    <a:pt x="1356" y="1185"/>
                    <a:pt x="1356" y="1185"/>
                    <a:pt x="1356" y="1185"/>
                  </a:cubicBezTo>
                  <a:cubicBezTo>
                    <a:pt x="1320" y="1192"/>
                    <a:pt x="1320" y="1192"/>
                    <a:pt x="1320" y="1192"/>
                  </a:cubicBezTo>
                  <a:cubicBezTo>
                    <a:pt x="1291" y="1197"/>
                    <a:pt x="1291" y="1197"/>
                    <a:pt x="1291" y="1197"/>
                  </a:cubicBezTo>
                  <a:cubicBezTo>
                    <a:pt x="1274" y="1213"/>
                    <a:pt x="1274" y="1213"/>
                    <a:pt x="1274" y="1213"/>
                  </a:cubicBezTo>
                  <a:cubicBezTo>
                    <a:pt x="1274" y="1217"/>
                    <a:pt x="1274" y="1217"/>
                    <a:pt x="1274" y="1217"/>
                  </a:cubicBezTo>
                  <a:cubicBezTo>
                    <a:pt x="1264" y="1226"/>
                    <a:pt x="1264" y="1226"/>
                    <a:pt x="1264" y="1226"/>
                  </a:cubicBezTo>
                  <a:cubicBezTo>
                    <a:pt x="1265" y="1229"/>
                    <a:pt x="1265" y="1229"/>
                    <a:pt x="1265" y="1229"/>
                  </a:cubicBezTo>
                  <a:cubicBezTo>
                    <a:pt x="1268" y="1231"/>
                    <a:pt x="1268" y="1231"/>
                    <a:pt x="1268" y="1231"/>
                  </a:cubicBezTo>
                  <a:cubicBezTo>
                    <a:pt x="1268" y="1234"/>
                    <a:pt x="1268" y="1234"/>
                    <a:pt x="1268" y="1234"/>
                  </a:cubicBezTo>
                  <a:cubicBezTo>
                    <a:pt x="1270" y="1237"/>
                    <a:pt x="1270" y="1237"/>
                    <a:pt x="1270" y="1237"/>
                  </a:cubicBezTo>
                  <a:cubicBezTo>
                    <a:pt x="1268" y="1242"/>
                    <a:pt x="1268" y="1242"/>
                    <a:pt x="1268" y="1242"/>
                  </a:cubicBezTo>
                  <a:cubicBezTo>
                    <a:pt x="1265" y="1244"/>
                    <a:pt x="1265" y="1244"/>
                    <a:pt x="1265" y="1244"/>
                  </a:cubicBezTo>
                  <a:cubicBezTo>
                    <a:pt x="1260" y="1248"/>
                    <a:pt x="1260" y="1248"/>
                    <a:pt x="1260" y="1248"/>
                  </a:cubicBezTo>
                  <a:cubicBezTo>
                    <a:pt x="1255" y="1250"/>
                    <a:pt x="1255" y="1250"/>
                    <a:pt x="1255" y="1250"/>
                  </a:cubicBezTo>
                  <a:cubicBezTo>
                    <a:pt x="1245" y="1253"/>
                    <a:pt x="1245" y="1253"/>
                    <a:pt x="1245" y="1253"/>
                  </a:cubicBezTo>
                  <a:cubicBezTo>
                    <a:pt x="1239" y="1252"/>
                    <a:pt x="1239" y="1252"/>
                    <a:pt x="1239" y="1252"/>
                  </a:cubicBezTo>
                  <a:cubicBezTo>
                    <a:pt x="1227" y="1252"/>
                    <a:pt x="1227" y="1252"/>
                    <a:pt x="1227" y="1252"/>
                  </a:cubicBezTo>
                  <a:cubicBezTo>
                    <a:pt x="1219" y="1254"/>
                    <a:pt x="1219" y="1254"/>
                    <a:pt x="1219" y="1254"/>
                  </a:cubicBezTo>
                  <a:cubicBezTo>
                    <a:pt x="1214" y="1259"/>
                    <a:pt x="1214" y="1259"/>
                    <a:pt x="1214" y="1259"/>
                  </a:cubicBezTo>
                  <a:cubicBezTo>
                    <a:pt x="1215" y="1262"/>
                    <a:pt x="1215" y="1262"/>
                    <a:pt x="1215" y="1262"/>
                  </a:cubicBezTo>
                  <a:cubicBezTo>
                    <a:pt x="1218" y="1266"/>
                    <a:pt x="1218" y="1266"/>
                    <a:pt x="1218" y="1266"/>
                  </a:cubicBezTo>
                  <a:cubicBezTo>
                    <a:pt x="1218" y="1272"/>
                    <a:pt x="1218" y="1272"/>
                    <a:pt x="1218" y="1272"/>
                  </a:cubicBezTo>
                  <a:cubicBezTo>
                    <a:pt x="1202" y="1287"/>
                    <a:pt x="1202" y="1287"/>
                    <a:pt x="1202" y="1287"/>
                  </a:cubicBezTo>
                  <a:cubicBezTo>
                    <a:pt x="1195" y="1292"/>
                    <a:pt x="1195" y="1292"/>
                    <a:pt x="1195" y="1292"/>
                  </a:cubicBezTo>
                  <a:cubicBezTo>
                    <a:pt x="1188" y="1297"/>
                    <a:pt x="1188" y="1297"/>
                    <a:pt x="1188" y="1297"/>
                  </a:cubicBezTo>
                  <a:cubicBezTo>
                    <a:pt x="1171" y="1305"/>
                    <a:pt x="1171" y="1305"/>
                    <a:pt x="1171" y="1305"/>
                  </a:cubicBezTo>
                  <a:cubicBezTo>
                    <a:pt x="1164" y="1312"/>
                    <a:pt x="1164" y="1312"/>
                    <a:pt x="1164" y="1312"/>
                  </a:cubicBezTo>
                  <a:cubicBezTo>
                    <a:pt x="1156" y="1311"/>
                    <a:pt x="1156" y="1311"/>
                    <a:pt x="1156" y="1311"/>
                  </a:cubicBezTo>
                  <a:cubicBezTo>
                    <a:pt x="1149" y="1317"/>
                    <a:pt x="1149" y="1317"/>
                    <a:pt x="1149" y="1317"/>
                  </a:cubicBezTo>
                  <a:cubicBezTo>
                    <a:pt x="1141" y="1313"/>
                    <a:pt x="1141" y="1313"/>
                    <a:pt x="1141" y="1313"/>
                  </a:cubicBezTo>
                  <a:cubicBezTo>
                    <a:pt x="1127" y="1310"/>
                    <a:pt x="1127" y="1310"/>
                    <a:pt x="1127" y="1310"/>
                  </a:cubicBezTo>
                  <a:cubicBezTo>
                    <a:pt x="1133" y="1299"/>
                    <a:pt x="1133" y="1299"/>
                    <a:pt x="1133" y="1299"/>
                  </a:cubicBezTo>
                  <a:cubicBezTo>
                    <a:pt x="1131" y="1296"/>
                    <a:pt x="1131" y="1296"/>
                    <a:pt x="1131" y="1296"/>
                  </a:cubicBezTo>
                  <a:cubicBezTo>
                    <a:pt x="1133" y="1292"/>
                    <a:pt x="1133" y="1292"/>
                    <a:pt x="1133" y="1292"/>
                  </a:cubicBezTo>
                  <a:cubicBezTo>
                    <a:pt x="1137" y="1290"/>
                    <a:pt x="1137" y="1290"/>
                    <a:pt x="1137" y="1290"/>
                  </a:cubicBezTo>
                  <a:cubicBezTo>
                    <a:pt x="1137" y="1284"/>
                    <a:pt x="1137" y="1284"/>
                    <a:pt x="1137" y="1284"/>
                  </a:cubicBezTo>
                  <a:cubicBezTo>
                    <a:pt x="1139" y="1281"/>
                    <a:pt x="1139" y="1281"/>
                    <a:pt x="1139" y="1281"/>
                  </a:cubicBezTo>
                  <a:cubicBezTo>
                    <a:pt x="1142" y="1282"/>
                    <a:pt x="1142" y="1282"/>
                    <a:pt x="1142" y="1282"/>
                  </a:cubicBezTo>
                  <a:cubicBezTo>
                    <a:pt x="1145" y="1280"/>
                    <a:pt x="1145" y="1280"/>
                    <a:pt x="1145" y="1280"/>
                  </a:cubicBezTo>
                  <a:cubicBezTo>
                    <a:pt x="1144" y="1278"/>
                    <a:pt x="1144" y="1278"/>
                    <a:pt x="1144" y="1278"/>
                  </a:cubicBezTo>
                  <a:cubicBezTo>
                    <a:pt x="1143" y="1266"/>
                    <a:pt x="1143" y="1266"/>
                    <a:pt x="1143" y="1266"/>
                  </a:cubicBezTo>
                  <a:cubicBezTo>
                    <a:pt x="1141" y="1258"/>
                    <a:pt x="1141" y="1258"/>
                    <a:pt x="1141" y="1258"/>
                  </a:cubicBezTo>
                  <a:cubicBezTo>
                    <a:pt x="1137" y="1250"/>
                    <a:pt x="1137" y="1250"/>
                    <a:pt x="1137" y="1250"/>
                  </a:cubicBezTo>
                  <a:cubicBezTo>
                    <a:pt x="1136" y="1245"/>
                    <a:pt x="1136" y="1245"/>
                    <a:pt x="1136" y="1245"/>
                  </a:cubicBezTo>
                  <a:cubicBezTo>
                    <a:pt x="1130" y="1243"/>
                    <a:pt x="1130" y="1243"/>
                    <a:pt x="1130" y="1243"/>
                  </a:cubicBezTo>
                  <a:cubicBezTo>
                    <a:pt x="1126" y="1246"/>
                    <a:pt x="1126" y="1246"/>
                    <a:pt x="1126" y="1246"/>
                  </a:cubicBezTo>
                  <a:cubicBezTo>
                    <a:pt x="1121" y="1252"/>
                    <a:pt x="1121" y="1252"/>
                    <a:pt x="1121" y="1252"/>
                  </a:cubicBezTo>
                  <a:cubicBezTo>
                    <a:pt x="1116" y="1258"/>
                    <a:pt x="1116" y="1258"/>
                    <a:pt x="1116" y="1258"/>
                  </a:cubicBezTo>
                  <a:cubicBezTo>
                    <a:pt x="1114" y="1257"/>
                    <a:pt x="1114" y="1257"/>
                    <a:pt x="1114" y="1257"/>
                  </a:cubicBezTo>
                  <a:cubicBezTo>
                    <a:pt x="1111" y="1255"/>
                    <a:pt x="1111" y="1255"/>
                    <a:pt x="1111" y="1255"/>
                  </a:cubicBezTo>
                  <a:cubicBezTo>
                    <a:pt x="1111" y="1251"/>
                    <a:pt x="1111" y="1251"/>
                    <a:pt x="1111" y="1251"/>
                  </a:cubicBezTo>
                  <a:cubicBezTo>
                    <a:pt x="1113" y="1247"/>
                    <a:pt x="1113" y="1247"/>
                    <a:pt x="1113" y="1247"/>
                  </a:cubicBezTo>
                  <a:cubicBezTo>
                    <a:pt x="1117" y="1244"/>
                    <a:pt x="1117" y="1244"/>
                    <a:pt x="1117" y="1244"/>
                  </a:cubicBezTo>
                  <a:cubicBezTo>
                    <a:pt x="1118" y="1241"/>
                    <a:pt x="1118" y="1241"/>
                    <a:pt x="1118" y="1241"/>
                  </a:cubicBezTo>
                  <a:cubicBezTo>
                    <a:pt x="1119" y="1238"/>
                    <a:pt x="1119" y="1238"/>
                    <a:pt x="1119" y="1238"/>
                  </a:cubicBezTo>
                  <a:cubicBezTo>
                    <a:pt x="1122" y="1235"/>
                    <a:pt x="1122" y="1235"/>
                    <a:pt x="1122" y="1235"/>
                  </a:cubicBezTo>
                  <a:cubicBezTo>
                    <a:pt x="1122" y="1227"/>
                    <a:pt x="1122" y="1227"/>
                    <a:pt x="1122" y="1227"/>
                  </a:cubicBezTo>
                  <a:cubicBezTo>
                    <a:pt x="1120" y="1223"/>
                    <a:pt x="1120" y="1223"/>
                    <a:pt x="1120" y="1223"/>
                  </a:cubicBezTo>
                  <a:cubicBezTo>
                    <a:pt x="1116" y="1219"/>
                    <a:pt x="1116" y="1219"/>
                    <a:pt x="1116" y="1219"/>
                  </a:cubicBezTo>
                  <a:cubicBezTo>
                    <a:pt x="1117" y="1217"/>
                    <a:pt x="1117" y="1217"/>
                    <a:pt x="1117" y="1217"/>
                  </a:cubicBezTo>
                  <a:cubicBezTo>
                    <a:pt x="1120" y="1215"/>
                    <a:pt x="1120" y="1215"/>
                    <a:pt x="1120" y="1215"/>
                  </a:cubicBezTo>
                  <a:cubicBezTo>
                    <a:pt x="1118" y="1210"/>
                    <a:pt x="1118" y="1210"/>
                    <a:pt x="1118" y="1210"/>
                  </a:cubicBezTo>
                  <a:cubicBezTo>
                    <a:pt x="1109" y="1206"/>
                    <a:pt x="1109" y="1206"/>
                    <a:pt x="1109" y="1206"/>
                  </a:cubicBezTo>
                  <a:cubicBezTo>
                    <a:pt x="1102" y="1204"/>
                    <a:pt x="1102" y="1204"/>
                    <a:pt x="1102" y="1204"/>
                  </a:cubicBezTo>
                  <a:cubicBezTo>
                    <a:pt x="1100" y="1202"/>
                    <a:pt x="1100" y="1202"/>
                    <a:pt x="1100" y="1202"/>
                  </a:cubicBezTo>
                  <a:cubicBezTo>
                    <a:pt x="1094" y="1201"/>
                    <a:pt x="1094" y="1201"/>
                    <a:pt x="1094" y="1201"/>
                  </a:cubicBezTo>
                  <a:cubicBezTo>
                    <a:pt x="1090" y="1199"/>
                    <a:pt x="1090" y="1199"/>
                    <a:pt x="1090" y="1199"/>
                  </a:cubicBezTo>
                  <a:cubicBezTo>
                    <a:pt x="1084" y="1201"/>
                    <a:pt x="1084" y="1201"/>
                    <a:pt x="1084" y="1201"/>
                  </a:cubicBezTo>
                  <a:cubicBezTo>
                    <a:pt x="1083" y="1207"/>
                    <a:pt x="1083" y="1207"/>
                    <a:pt x="1083" y="1207"/>
                  </a:cubicBezTo>
                  <a:cubicBezTo>
                    <a:pt x="1084" y="1210"/>
                    <a:pt x="1084" y="1210"/>
                    <a:pt x="1084" y="1210"/>
                  </a:cubicBezTo>
                  <a:cubicBezTo>
                    <a:pt x="1078" y="1215"/>
                    <a:pt x="1078" y="1215"/>
                    <a:pt x="1078" y="1215"/>
                  </a:cubicBezTo>
                  <a:cubicBezTo>
                    <a:pt x="1078" y="1221"/>
                    <a:pt x="1078" y="1221"/>
                    <a:pt x="1078" y="1221"/>
                  </a:cubicBezTo>
                  <a:cubicBezTo>
                    <a:pt x="1076" y="1225"/>
                    <a:pt x="1076" y="1225"/>
                    <a:pt x="1076" y="1225"/>
                  </a:cubicBezTo>
                  <a:cubicBezTo>
                    <a:pt x="1074" y="1226"/>
                    <a:pt x="1074" y="1226"/>
                    <a:pt x="1074" y="1226"/>
                  </a:cubicBezTo>
                  <a:cubicBezTo>
                    <a:pt x="1074" y="1220"/>
                    <a:pt x="1074" y="1220"/>
                    <a:pt x="1074" y="1220"/>
                  </a:cubicBezTo>
                  <a:cubicBezTo>
                    <a:pt x="1073" y="1216"/>
                    <a:pt x="1073" y="1216"/>
                    <a:pt x="1073" y="1216"/>
                  </a:cubicBezTo>
                  <a:cubicBezTo>
                    <a:pt x="1070" y="1222"/>
                    <a:pt x="1070" y="1222"/>
                    <a:pt x="1070" y="1222"/>
                  </a:cubicBezTo>
                  <a:cubicBezTo>
                    <a:pt x="1067" y="1223"/>
                    <a:pt x="1067" y="1223"/>
                    <a:pt x="1067" y="1223"/>
                  </a:cubicBezTo>
                  <a:cubicBezTo>
                    <a:pt x="1062" y="1231"/>
                    <a:pt x="1062" y="1231"/>
                    <a:pt x="1062" y="1231"/>
                  </a:cubicBezTo>
                  <a:cubicBezTo>
                    <a:pt x="1061" y="1243"/>
                    <a:pt x="1061" y="1243"/>
                    <a:pt x="1061" y="1243"/>
                  </a:cubicBezTo>
                  <a:cubicBezTo>
                    <a:pt x="1057" y="1250"/>
                    <a:pt x="1057" y="1250"/>
                    <a:pt x="1057" y="1250"/>
                  </a:cubicBezTo>
                  <a:cubicBezTo>
                    <a:pt x="1059" y="1256"/>
                    <a:pt x="1059" y="1256"/>
                    <a:pt x="1059" y="1256"/>
                  </a:cubicBezTo>
                  <a:cubicBezTo>
                    <a:pt x="1059" y="1262"/>
                    <a:pt x="1059" y="1262"/>
                    <a:pt x="1059" y="1262"/>
                  </a:cubicBezTo>
                  <a:cubicBezTo>
                    <a:pt x="1063" y="1271"/>
                    <a:pt x="1063" y="1271"/>
                    <a:pt x="1063" y="1271"/>
                  </a:cubicBezTo>
                  <a:cubicBezTo>
                    <a:pt x="1067" y="1280"/>
                    <a:pt x="1067" y="1280"/>
                    <a:pt x="1067" y="1280"/>
                  </a:cubicBezTo>
                  <a:cubicBezTo>
                    <a:pt x="1067" y="1288"/>
                    <a:pt x="1067" y="1288"/>
                    <a:pt x="1067" y="1288"/>
                  </a:cubicBezTo>
                  <a:cubicBezTo>
                    <a:pt x="1065" y="1300"/>
                    <a:pt x="1065" y="1300"/>
                    <a:pt x="1065" y="1300"/>
                  </a:cubicBezTo>
                  <a:cubicBezTo>
                    <a:pt x="1060" y="1309"/>
                    <a:pt x="1060" y="1309"/>
                    <a:pt x="1060" y="1309"/>
                  </a:cubicBezTo>
                  <a:cubicBezTo>
                    <a:pt x="1057" y="1314"/>
                    <a:pt x="1057" y="1314"/>
                    <a:pt x="1057" y="1314"/>
                  </a:cubicBezTo>
                  <a:cubicBezTo>
                    <a:pt x="1053" y="1316"/>
                    <a:pt x="1053" y="1316"/>
                    <a:pt x="1053" y="1316"/>
                  </a:cubicBezTo>
                  <a:cubicBezTo>
                    <a:pt x="1046" y="1317"/>
                    <a:pt x="1046" y="1317"/>
                    <a:pt x="1046" y="1317"/>
                  </a:cubicBezTo>
                  <a:cubicBezTo>
                    <a:pt x="1042" y="1315"/>
                    <a:pt x="1042" y="1315"/>
                    <a:pt x="1042" y="1315"/>
                  </a:cubicBezTo>
                  <a:cubicBezTo>
                    <a:pt x="1040" y="1314"/>
                    <a:pt x="1040" y="1314"/>
                    <a:pt x="1040" y="1314"/>
                  </a:cubicBezTo>
                  <a:cubicBezTo>
                    <a:pt x="1039" y="1307"/>
                    <a:pt x="1039" y="1307"/>
                    <a:pt x="1039" y="1307"/>
                  </a:cubicBezTo>
                  <a:cubicBezTo>
                    <a:pt x="1037" y="1304"/>
                    <a:pt x="1037" y="1304"/>
                    <a:pt x="1037" y="1304"/>
                  </a:cubicBezTo>
                  <a:cubicBezTo>
                    <a:pt x="1034" y="1301"/>
                    <a:pt x="1034" y="1301"/>
                    <a:pt x="1034" y="1301"/>
                  </a:cubicBezTo>
                  <a:cubicBezTo>
                    <a:pt x="1033" y="1294"/>
                    <a:pt x="1033" y="1294"/>
                    <a:pt x="1033" y="1294"/>
                  </a:cubicBezTo>
                  <a:cubicBezTo>
                    <a:pt x="1033" y="1286"/>
                    <a:pt x="1033" y="1286"/>
                    <a:pt x="1033" y="1286"/>
                  </a:cubicBezTo>
                  <a:cubicBezTo>
                    <a:pt x="1031" y="1278"/>
                    <a:pt x="1031" y="1278"/>
                    <a:pt x="1031" y="1278"/>
                  </a:cubicBezTo>
                  <a:cubicBezTo>
                    <a:pt x="1030" y="1270"/>
                    <a:pt x="1030" y="1270"/>
                    <a:pt x="1030" y="1270"/>
                  </a:cubicBezTo>
                  <a:cubicBezTo>
                    <a:pt x="1033" y="1262"/>
                    <a:pt x="1033" y="1262"/>
                    <a:pt x="1033" y="1262"/>
                  </a:cubicBezTo>
                  <a:cubicBezTo>
                    <a:pt x="1033" y="1250"/>
                    <a:pt x="1033" y="1250"/>
                    <a:pt x="1033" y="1250"/>
                  </a:cubicBezTo>
                  <a:cubicBezTo>
                    <a:pt x="1037" y="1247"/>
                    <a:pt x="1037" y="1247"/>
                    <a:pt x="1037" y="1247"/>
                  </a:cubicBezTo>
                  <a:cubicBezTo>
                    <a:pt x="1036" y="1238"/>
                    <a:pt x="1036" y="1238"/>
                    <a:pt x="1036" y="1238"/>
                  </a:cubicBezTo>
                  <a:cubicBezTo>
                    <a:pt x="1039" y="1234"/>
                    <a:pt x="1039" y="1234"/>
                    <a:pt x="1039" y="1234"/>
                  </a:cubicBezTo>
                  <a:cubicBezTo>
                    <a:pt x="1039" y="1230"/>
                    <a:pt x="1039" y="1230"/>
                    <a:pt x="1039" y="1230"/>
                  </a:cubicBezTo>
                  <a:cubicBezTo>
                    <a:pt x="1044" y="1221"/>
                    <a:pt x="1044" y="1221"/>
                    <a:pt x="1044" y="1221"/>
                  </a:cubicBezTo>
                  <a:cubicBezTo>
                    <a:pt x="1045" y="1217"/>
                    <a:pt x="1045" y="1217"/>
                    <a:pt x="1045" y="1217"/>
                  </a:cubicBezTo>
                  <a:cubicBezTo>
                    <a:pt x="1044" y="1214"/>
                    <a:pt x="1044" y="1214"/>
                    <a:pt x="1044" y="1214"/>
                  </a:cubicBezTo>
                  <a:cubicBezTo>
                    <a:pt x="1040" y="1219"/>
                    <a:pt x="1040" y="1219"/>
                    <a:pt x="1040" y="1219"/>
                  </a:cubicBezTo>
                  <a:cubicBezTo>
                    <a:pt x="1039" y="1223"/>
                    <a:pt x="1039" y="1223"/>
                    <a:pt x="1039" y="1223"/>
                  </a:cubicBezTo>
                  <a:cubicBezTo>
                    <a:pt x="1037" y="1227"/>
                    <a:pt x="1037" y="1227"/>
                    <a:pt x="1037" y="1227"/>
                  </a:cubicBezTo>
                  <a:cubicBezTo>
                    <a:pt x="1032" y="1230"/>
                    <a:pt x="1032" y="1230"/>
                    <a:pt x="1032" y="1230"/>
                  </a:cubicBezTo>
                  <a:cubicBezTo>
                    <a:pt x="1028" y="1237"/>
                    <a:pt x="1028" y="1237"/>
                    <a:pt x="1028" y="1237"/>
                  </a:cubicBezTo>
                  <a:cubicBezTo>
                    <a:pt x="1025" y="1236"/>
                    <a:pt x="1025" y="1236"/>
                    <a:pt x="1025" y="1236"/>
                  </a:cubicBezTo>
                  <a:cubicBezTo>
                    <a:pt x="1026" y="1231"/>
                    <a:pt x="1026" y="1231"/>
                    <a:pt x="1026" y="1231"/>
                  </a:cubicBezTo>
                  <a:cubicBezTo>
                    <a:pt x="1029" y="1225"/>
                    <a:pt x="1029" y="1225"/>
                    <a:pt x="1029" y="1225"/>
                  </a:cubicBezTo>
                  <a:cubicBezTo>
                    <a:pt x="1031" y="1221"/>
                    <a:pt x="1031" y="1221"/>
                    <a:pt x="1031" y="1221"/>
                  </a:cubicBezTo>
                  <a:cubicBezTo>
                    <a:pt x="1034" y="1221"/>
                    <a:pt x="1034" y="1221"/>
                    <a:pt x="1034" y="1221"/>
                  </a:cubicBezTo>
                  <a:cubicBezTo>
                    <a:pt x="1034" y="1217"/>
                    <a:pt x="1034" y="1217"/>
                    <a:pt x="1034" y="1217"/>
                  </a:cubicBezTo>
                  <a:cubicBezTo>
                    <a:pt x="1039" y="1209"/>
                    <a:pt x="1039" y="1209"/>
                    <a:pt x="1039" y="1209"/>
                  </a:cubicBezTo>
                  <a:cubicBezTo>
                    <a:pt x="1043" y="1202"/>
                    <a:pt x="1043" y="1202"/>
                    <a:pt x="1043" y="1202"/>
                  </a:cubicBezTo>
                  <a:cubicBezTo>
                    <a:pt x="1046" y="1203"/>
                    <a:pt x="1046" y="1203"/>
                    <a:pt x="1046" y="1203"/>
                  </a:cubicBezTo>
                  <a:cubicBezTo>
                    <a:pt x="1048" y="1199"/>
                    <a:pt x="1048" y="1199"/>
                    <a:pt x="1048" y="1199"/>
                  </a:cubicBezTo>
                  <a:cubicBezTo>
                    <a:pt x="1052" y="1200"/>
                    <a:pt x="1052" y="1200"/>
                    <a:pt x="1052" y="1200"/>
                  </a:cubicBezTo>
                  <a:cubicBezTo>
                    <a:pt x="1049" y="1204"/>
                    <a:pt x="1049" y="1204"/>
                    <a:pt x="1049" y="1204"/>
                  </a:cubicBezTo>
                  <a:cubicBezTo>
                    <a:pt x="1051" y="1206"/>
                    <a:pt x="1051" y="1206"/>
                    <a:pt x="1051" y="1206"/>
                  </a:cubicBezTo>
                  <a:cubicBezTo>
                    <a:pt x="1058" y="1199"/>
                    <a:pt x="1058" y="1199"/>
                    <a:pt x="1058" y="1199"/>
                  </a:cubicBezTo>
                  <a:cubicBezTo>
                    <a:pt x="1058" y="1197"/>
                    <a:pt x="1058" y="1197"/>
                    <a:pt x="1058" y="1197"/>
                  </a:cubicBezTo>
                  <a:cubicBezTo>
                    <a:pt x="1064" y="1197"/>
                    <a:pt x="1064" y="1197"/>
                    <a:pt x="1064" y="1197"/>
                  </a:cubicBezTo>
                  <a:cubicBezTo>
                    <a:pt x="1075" y="1191"/>
                    <a:pt x="1075" y="1191"/>
                    <a:pt x="1075" y="1191"/>
                  </a:cubicBezTo>
                  <a:cubicBezTo>
                    <a:pt x="1084" y="1193"/>
                    <a:pt x="1084" y="1193"/>
                    <a:pt x="1084" y="1193"/>
                  </a:cubicBezTo>
                  <a:cubicBezTo>
                    <a:pt x="1088" y="1195"/>
                    <a:pt x="1088" y="1195"/>
                    <a:pt x="1088" y="1195"/>
                  </a:cubicBezTo>
                  <a:cubicBezTo>
                    <a:pt x="1091" y="1192"/>
                    <a:pt x="1091" y="1192"/>
                    <a:pt x="1091" y="1192"/>
                  </a:cubicBezTo>
                  <a:cubicBezTo>
                    <a:pt x="1111" y="1192"/>
                    <a:pt x="1111" y="1192"/>
                    <a:pt x="1111" y="1192"/>
                  </a:cubicBezTo>
                  <a:cubicBezTo>
                    <a:pt x="1113" y="1190"/>
                    <a:pt x="1113" y="1190"/>
                    <a:pt x="1113" y="1190"/>
                  </a:cubicBezTo>
                  <a:cubicBezTo>
                    <a:pt x="1111" y="1188"/>
                    <a:pt x="1111" y="1188"/>
                    <a:pt x="1111" y="1188"/>
                  </a:cubicBezTo>
                  <a:cubicBezTo>
                    <a:pt x="1104" y="1188"/>
                    <a:pt x="1104" y="1188"/>
                    <a:pt x="1104" y="1188"/>
                  </a:cubicBezTo>
                  <a:cubicBezTo>
                    <a:pt x="1101" y="1187"/>
                    <a:pt x="1101" y="1187"/>
                    <a:pt x="1101" y="1187"/>
                  </a:cubicBezTo>
                  <a:cubicBezTo>
                    <a:pt x="1097" y="1180"/>
                    <a:pt x="1097" y="1180"/>
                    <a:pt x="1097" y="1180"/>
                  </a:cubicBezTo>
                  <a:cubicBezTo>
                    <a:pt x="1093" y="1179"/>
                    <a:pt x="1093" y="1179"/>
                    <a:pt x="1093" y="1179"/>
                  </a:cubicBezTo>
                  <a:cubicBezTo>
                    <a:pt x="1083" y="1180"/>
                    <a:pt x="1083" y="1180"/>
                    <a:pt x="1083" y="1180"/>
                  </a:cubicBezTo>
                  <a:cubicBezTo>
                    <a:pt x="1080" y="1175"/>
                    <a:pt x="1080" y="1175"/>
                    <a:pt x="1080" y="1175"/>
                  </a:cubicBezTo>
                  <a:cubicBezTo>
                    <a:pt x="1082" y="1172"/>
                    <a:pt x="1082" y="1172"/>
                    <a:pt x="1082" y="1172"/>
                  </a:cubicBezTo>
                  <a:cubicBezTo>
                    <a:pt x="1078" y="1171"/>
                    <a:pt x="1078" y="1171"/>
                    <a:pt x="1078" y="1171"/>
                  </a:cubicBezTo>
                  <a:cubicBezTo>
                    <a:pt x="1073" y="1174"/>
                    <a:pt x="1073" y="1174"/>
                    <a:pt x="1073" y="1174"/>
                  </a:cubicBezTo>
                  <a:cubicBezTo>
                    <a:pt x="1057" y="1176"/>
                    <a:pt x="1057" y="1176"/>
                    <a:pt x="1057" y="1176"/>
                  </a:cubicBezTo>
                  <a:cubicBezTo>
                    <a:pt x="1052" y="1179"/>
                    <a:pt x="1052" y="1179"/>
                    <a:pt x="1052" y="1179"/>
                  </a:cubicBezTo>
                  <a:cubicBezTo>
                    <a:pt x="1048" y="1183"/>
                    <a:pt x="1048" y="1183"/>
                    <a:pt x="1048" y="1183"/>
                  </a:cubicBezTo>
                  <a:cubicBezTo>
                    <a:pt x="1040" y="1180"/>
                    <a:pt x="1040" y="1180"/>
                    <a:pt x="1040" y="1180"/>
                  </a:cubicBezTo>
                  <a:cubicBezTo>
                    <a:pt x="1038" y="1181"/>
                    <a:pt x="1038" y="1181"/>
                    <a:pt x="1038" y="1181"/>
                  </a:cubicBezTo>
                  <a:cubicBezTo>
                    <a:pt x="1033" y="1181"/>
                    <a:pt x="1033" y="1181"/>
                    <a:pt x="1033" y="1181"/>
                  </a:cubicBezTo>
                  <a:cubicBezTo>
                    <a:pt x="1031" y="1176"/>
                    <a:pt x="1031" y="1176"/>
                    <a:pt x="1031" y="1176"/>
                  </a:cubicBezTo>
                  <a:cubicBezTo>
                    <a:pt x="1027" y="1174"/>
                    <a:pt x="1027" y="1174"/>
                    <a:pt x="1027" y="1174"/>
                  </a:cubicBezTo>
                  <a:cubicBezTo>
                    <a:pt x="1021" y="1171"/>
                    <a:pt x="1021" y="1171"/>
                    <a:pt x="1021" y="1171"/>
                  </a:cubicBezTo>
                  <a:cubicBezTo>
                    <a:pt x="1016" y="1172"/>
                    <a:pt x="1016" y="1172"/>
                    <a:pt x="1016" y="1172"/>
                  </a:cubicBezTo>
                  <a:cubicBezTo>
                    <a:pt x="1012" y="1175"/>
                    <a:pt x="1012" y="1175"/>
                    <a:pt x="1012" y="1175"/>
                  </a:cubicBezTo>
                  <a:cubicBezTo>
                    <a:pt x="1013" y="1168"/>
                    <a:pt x="1013" y="1168"/>
                    <a:pt x="1013" y="1168"/>
                  </a:cubicBezTo>
                  <a:cubicBezTo>
                    <a:pt x="1017" y="1166"/>
                    <a:pt x="1017" y="1166"/>
                    <a:pt x="1017" y="1166"/>
                  </a:cubicBezTo>
                  <a:cubicBezTo>
                    <a:pt x="1021" y="1159"/>
                    <a:pt x="1021" y="1159"/>
                    <a:pt x="1021" y="1159"/>
                  </a:cubicBezTo>
                  <a:cubicBezTo>
                    <a:pt x="1025" y="1156"/>
                    <a:pt x="1025" y="1156"/>
                    <a:pt x="1025" y="1156"/>
                  </a:cubicBezTo>
                  <a:cubicBezTo>
                    <a:pt x="1023" y="1155"/>
                    <a:pt x="1023" y="1155"/>
                    <a:pt x="1023" y="1155"/>
                  </a:cubicBezTo>
                  <a:cubicBezTo>
                    <a:pt x="1015" y="1157"/>
                    <a:pt x="1015" y="1157"/>
                    <a:pt x="1015" y="1157"/>
                  </a:cubicBezTo>
                  <a:cubicBezTo>
                    <a:pt x="1009" y="1163"/>
                    <a:pt x="1009" y="1163"/>
                    <a:pt x="1009" y="1163"/>
                  </a:cubicBezTo>
                  <a:cubicBezTo>
                    <a:pt x="1007" y="1163"/>
                    <a:pt x="1007" y="1163"/>
                    <a:pt x="1007" y="1163"/>
                  </a:cubicBezTo>
                  <a:cubicBezTo>
                    <a:pt x="1000" y="1171"/>
                    <a:pt x="1000" y="1171"/>
                    <a:pt x="1000" y="1171"/>
                  </a:cubicBezTo>
                  <a:cubicBezTo>
                    <a:pt x="990" y="1175"/>
                    <a:pt x="990" y="1175"/>
                    <a:pt x="990" y="1175"/>
                  </a:cubicBezTo>
                  <a:cubicBezTo>
                    <a:pt x="987" y="1176"/>
                    <a:pt x="987" y="1176"/>
                    <a:pt x="987" y="1176"/>
                  </a:cubicBezTo>
                  <a:cubicBezTo>
                    <a:pt x="983" y="1179"/>
                    <a:pt x="983" y="1179"/>
                    <a:pt x="983" y="1179"/>
                  </a:cubicBezTo>
                  <a:cubicBezTo>
                    <a:pt x="975" y="1183"/>
                    <a:pt x="975" y="1183"/>
                    <a:pt x="975" y="1183"/>
                  </a:cubicBezTo>
                  <a:cubicBezTo>
                    <a:pt x="972" y="1183"/>
                    <a:pt x="972" y="1183"/>
                    <a:pt x="972" y="1183"/>
                  </a:cubicBezTo>
                  <a:cubicBezTo>
                    <a:pt x="969" y="1181"/>
                    <a:pt x="969" y="1181"/>
                    <a:pt x="969" y="1181"/>
                  </a:cubicBezTo>
                  <a:cubicBezTo>
                    <a:pt x="964" y="1182"/>
                    <a:pt x="964" y="1182"/>
                    <a:pt x="964" y="1182"/>
                  </a:cubicBezTo>
                  <a:cubicBezTo>
                    <a:pt x="966" y="1175"/>
                    <a:pt x="966" y="1175"/>
                    <a:pt x="966" y="1175"/>
                  </a:cubicBezTo>
                  <a:cubicBezTo>
                    <a:pt x="963" y="1173"/>
                    <a:pt x="963" y="1173"/>
                    <a:pt x="963" y="1173"/>
                  </a:cubicBezTo>
                  <a:cubicBezTo>
                    <a:pt x="953" y="1179"/>
                    <a:pt x="953" y="1179"/>
                    <a:pt x="953" y="1179"/>
                  </a:cubicBezTo>
                  <a:cubicBezTo>
                    <a:pt x="948" y="1182"/>
                    <a:pt x="948" y="1182"/>
                    <a:pt x="948" y="1182"/>
                  </a:cubicBezTo>
                  <a:cubicBezTo>
                    <a:pt x="940" y="1181"/>
                    <a:pt x="940" y="1181"/>
                    <a:pt x="940" y="1181"/>
                  </a:cubicBezTo>
                  <a:cubicBezTo>
                    <a:pt x="951" y="1171"/>
                    <a:pt x="951" y="1171"/>
                    <a:pt x="951" y="1171"/>
                  </a:cubicBezTo>
                  <a:cubicBezTo>
                    <a:pt x="964" y="1157"/>
                    <a:pt x="964" y="1157"/>
                    <a:pt x="964" y="1157"/>
                  </a:cubicBezTo>
                  <a:cubicBezTo>
                    <a:pt x="970" y="1155"/>
                    <a:pt x="970" y="1155"/>
                    <a:pt x="970" y="1155"/>
                  </a:cubicBezTo>
                  <a:cubicBezTo>
                    <a:pt x="976" y="1150"/>
                    <a:pt x="976" y="1150"/>
                    <a:pt x="976" y="1150"/>
                  </a:cubicBezTo>
                  <a:cubicBezTo>
                    <a:pt x="980" y="1150"/>
                    <a:pt x="980" y="1150"/>
                    <a:pt x="980" y="1150"/>
                  </a:cubicBezTo>
                  <a:cubicBezTo>
                    <a:pt x="989" y="1143"/>
                    <a:pt x="989" y="1143"/>
                    <a:pt x="989" y="1143"/>
                  </a:cubicBezTo>
                  <a:cubicBezTo>
                    <a:pt x="983" y="1143"/>
                    <a:pt x="983" y="1143"/>
                    <a:pt x="983" y="1143"/>
                  </a:cubicBezTo>
                  <a:cubicBezTo>
                    <a:pt x="979" y="1140"/>
                    <a:pt x="979" y="1140"/>
                    <a:pt x="979" y="1140"/>
                  </a:cubicBezTo>
                  <a:cubicBezTo>
                    <a:pt x="966" y="1141"/>
                    <a:pt x="966" y="1141"/>
                    <a:pt x="966" y="1141"/>
                  </a:cubicBezTo>
                  <a:cubicBezTo>
                    <a:pt x="962" y="1138"/>
                    <a:pt x="962" y="1138"/>
                    <a:pt x="962" y="1138"/>
                  </a:cubicBezTo>
                  <a:cubicBezTo>
                    <a:pt x="953" y="1143"/>
                    <a:pt x="953" y="1143"/>
                    <a:pt x="953" y="1143"/>
                  </a:cubicBezTo>
                  <a:cubicBezTo>
                    <a:pt x="949" y="1143"/>
                    <a:pt x="949" y="1143"/>
                    <a:pt x="949" y="1143"/>
                  </a:cubicBezTo>
                  <a:cubicBezTo>
                    <a:pt x="944" y="1139"/>
                    <a:pt x="944" y="1139"/>
                    <a:pt x="944" y="1139"/>
                  </a:cubicBezTo>
                  <a:cubicBezTo>
                    <a:pt x="942" y="1138"/>
                    <a:pt x="942" y="1138"/>
                    <a:pt x="942" y="1138"/>
                  </a:cubicBezTo>
                  <a:cubicBezTo>
                    <a:pt x="938" y="1135"/>
                    <a:pt x="938" y="1135"/>
                    <a:pt x="938" y="1135"/>
                  </a:cubicBezTo>
                  <a:cubicBezTo>
                    <a:pt x="935" y="1138"/>
                    <a:pt x="935" y="1138"/>
                    <a:pt x="935" y="1138"/>
                  </a:cubicBezTo>
                  <a:cubicBezTo>
                    <a:pt x="932" y="1138"/>
                    <a:pt x="932" y="1138"/>
                    <a:pt x="932" y="1138"/>
                  </a:cubicBezTo>
                  <a:cubicBezTo>
                    <a:pt x="932" y="1135"/>
                    <a:pt x="932" y="1135"/>
                    <a:pt x="932" y="1135"/>
                  </a:cubicBezTo>
                  <a:cubicBezTo>
                    <a:pt x="929" y="1133"/>
                    <a:pt x="929" y="1133"/>
                    <a:pt x="929" y="1133"/>
                  </a:cubicBezTo>
                  <a:cubicBezTo>
                    <a:pt x="925" y="1130"/>
                    <a:pt x="925" y="1130"/>
                    <a:pt x="925" y="1130"/>
                  </a:cubicBezTo>
                  <a:cubicBezTo>
                    <a:pt x="914" y="1130"/>
                    <a:pt x="914" y="1130"/>
                    <a:pt x="914" y="1130"/>
                  </a:cubicBezTo>
                  <a:cubicBezTo>
                    <a:pt x="912" y="1131"/>
                    <a:pt x="912" y="1131"/>
                    <a:pt x="912" y="1131"/>
                  </a:cubicBezTo>
                  <a:cubicBezTo>
                    <a:pt x="907" y="1132"/>
                    <a:pt x="907" y="1132"/>
                    <a:pt x="907" y="1132"/>
                  </a:cubicBezTo>
                  <a:cubicBezTo>
                    <a:pt x="905" y="1130"/>
                    <a:pt x="905" y="1130"/>
                    <a:pt x="905" y="1130"/>
                  </a:cubicBezTo>
                  <a:cubicBezTo>
                    <a:pt x="898" y="1128"/>
                    <a:pt x="898" y="1128"/>
                    <a:pt x="898" y="1128"/>
                  </a:cubicBezTo>
                  <a:cubicBezTo>
                    <a:pt x="892" y="1127"/>
                    <a:pt x="892" y="1127"/>
                    <a:pt x="892" y="1127"/>
                  </a:cubicBezTo>
                  <a:cubicBezTo>
                    <a:pt x="889" y="1125"/>
                    <a:pt x="889" y="1125"/>
                    <a:pt x="889" y="1125"/>
                  </a:cubicBezTo>
                  <a:cubicBezTo>
                    <a:pt x="890" y="1122"/>
                    <a:pt x="890" y="1122"/>
                    <a:pt x="890" y="1122"/>
                  </a:cubicBezTo>
                  <a:cubicBezTo>
                    <a:pt x="888" y="1117"/>
                    <a:pt x="888" y="1117"/>
                    <a:pt x="888" y="1117"/>
                  </a:cubicBezTo>
                  <a:cubicBezTo>
                    <a:pt x="888" y="1112"/>
                    <a:pt x="888" y="1112"/>
                    <a:pt x="888" y="1112"/>
                  </a:cubicBezTo>
                  <a:cubicBezTo>
                    <a:pt x="882" y="1110"/>
                    <a:pt x="882" y="1110"/>
                    <a:pt x="882" y="1110"/>
                  </a:cubicBezTo>
                  <a:cubicBezTo>
                    <a:pt x="880" y="1119"/>
                    <a:pt x="880" y="1119"/>
                    <a:pt x="880" y="1119"/>
                  </a:cubicBezTo>
                  <a:cubicBezTo>
                    <a:pt x="842" y="1122"/>
                    <a:pt x="842" y="1122"/>
                    <a:pt x="842" y="1122"/>
                  </a:cubicBezTo>
                  <a:cubicBezTo>
                    <a:pt x="712" y="1122"/>
                    <a:pt x="712" y="1122"/>
                    <a:pt x="712" y="1122"/>
                  </a:cubicBezTo>
                  <a:cubicBezTo>
                    <a:pt x="597" y="1122"/>
                    <a:pt x="597" y="1122"/>
                    <a:pt x="597" y="1122"/>
                  </a:cubicBezTo>
                  <a:cubicBezTo>
                    <a:pt x="561" y="1120"/>
                    <a:pt x="561" y="1120"/>
                    <a:pt x="561" y="1120"/>
                  </a:cubicBezTo>
                  <a:cubicBezTo>
                    <a:pt x="489" y="1120"/>
                    <a:pt x="489" y="1120"/>
                    <a:pt x="489" y="1120"/>
                  </a:cubicBezTo>
                  <a:cubicBezTo>
                    <a:pt x="471" y="1120"/>
                    <a:pt x="471" y="1120"/>
                    <a:pt x="471" y="1120"/>
                  </a:cubicBezTo>
                  <a:cubicBezTo>
                    <a:pt x="417" y="1118"/>
                    <a:pt x="417" y="1118"/>
                    <a:pt x="417" y="1118"/>
                  </a:cubicBezTo>
                  <a:cubicBezTo>
                    <a:pt x="368" y="1117"/>
                    <a:pt x="368" y="1117"/>
                    <a:pt x="368" y="1117"/>
                  </a:cubicBezTo>
                  <a:cubicBezTo>
                    <a:pt x="363" y="1113"/>
                    <a:pt x="363" y="1113"/>
                    <a:pt x="363" y="1113"/>
                  </a:cubicBezTo>
                  <a:cubicBezTo>
                    <a:pt x="346" y="1103"/>
                    <a:pt x="346" y="1103"/>
                    <a:pt x="346" y="1103"/>
                  </a:cubicBezTo>
                  <a:cubicBezTo>
                    <a:pt x="341" y="1085"/>
                    <a:pt x="341" y="1085"/>
                    <a:pt x="341" y="1085"/>
                  </a:cubicBezTo>
                  <a:cubicBezTo>
                    <a:pt x="326" y="1083"/>
                    <a:pt x="326" y="1083"/>
                    <a:pt x="326" y="1083"/>
                  </a:cubicBezTo>
                  <a:cubicBezTo>
                    <a:pt x="316" y="1068"/>
                    <a:pt x="316" y="1068"/>
                    <a:pt x="316" y="1068"/>
                  </a:cubicBezTo>
                  <a:cubicBezTo>
                    <a:pt x="299" y="1058"/>
                    <a:pt x="299" y="1058"/>
                    <a:pt x="299" y="1058"/>
                  </a:cubicBezTo>
                  <a:cubicBezTo>
                    <a:pt x="268" y="1038"/>
                    <a:pt x="268" y="1038"/>
                    <a:pt x="268" y="1038"/>
                  </a:cubicBezTo>
                  <a:cubicBezTo>
                    <a:pt x="263" y="1015"/>
                    <a:pt x="263" y="1015"/>
                    <a:pt x="263" y="1015"/>
                  </a:cubicBezTo>
                  <a:cubicBezTo>
                    <a:pt x="243" y="1000"/>
                    <a:pt x="243" y="1000"/>
                    <a:pt x="243" y="1000"/>
                  </a:cubicBezTo>
                  <a:cubicBezTo>
                    <a:pt x="238" y="978"/>
                    <a:pt x="238" y="978"/>
                    <a:pt x="238" y="978"/>
                  </a:cubicBezTo>
                  <a:cubicBezTo>
                    <a:pt x="218" y="965"/>
                    <a:pt x="218" y="965"/>
                    <a:pt x="218" y="965"/>
                  </a:cubicBezTo>
                  <a:cubicBezTo>
                    <a:pt x="218" y="950"/>
                    <a:pt x="218" y="950"/>
                    <a:pt x="218" y="950"/>
                  </a:cubicBezTo>
                  <a:cubicBezTo>
                    <a:pt x="213" y="942"/>
                    <a:pt x="213" y="942"/>
                    <a:pt x="213" y="942"/>
                  </a:cubicBezTo>
                  <a:cubicBezTo>
                    <a:pt x="223" y="922"/>
                    <a:pt x="223" y="922"/>
                    <a:pt x="223" y="922"/>
                  </a:cubicBezTo>
                  <a:cubicBezTo>
                    <a:pt x="226" y="902"/>
                    <a:pt x="226" y="902"/>
                    <a:pt x="226" y="902"/>
                  </a:cubicBezTo>
                  <a:cubicBezTo>
                    <a:pt x="223" y="900"/>
                    <a:pt x="223" y="900"/>
                    <a:pt x="223" y="900"/>
                  </a:cubicBezTo>
                  <a:cubicBezTo>
                    <a:pt x="221" y="910"/>
                    <a:pt x="221" y="910"/>
                    <a:pt x="221" y="910"/>
                  </a:cubicBezTo>
                  <a:cubicBezTo>
                    <a:pt x="211" y="930"/>
                    <a:pt x="211" y="930"/>
                    <a:pt x="211" y="930"/>
                  </a:cubicBezTo>
                  <a:cubicBezTo>
                    <a:pt x="208" y="925"/>
                    <a:pt x="208" y="925"/>
                    <a:pt x="208" y="925"/>
                  </a:cubicBezTo>
                  <a:cubicBezTo>
                    <a:pt x="216" y="910"/>
                    <a:pt x="216" y="910"/>
                    <a:pt x="216" y="910"/>
                  </a:cubicBezTo>
                  <a:cubicBezTo>
                    <a:pt x="208" y="890"/>
                    <a:pt x="208" y="890"/>
                    <a:pt x="208" y="890"/>
                  </a:cubicBezTo>
                  <a:cubicBezTo>
                    <a:pt x="201" y="875"/>
                    <a:pt x="201" y="875"/>
                    <a:pt x="201" y="875"/>
                  </a:cubicBezTo>
                  <a:cubicBezTo>
                    <a:pt x="181" y="867"/>
                    <a:pt x="181" y="867"/>
                    <a:pt x="181" y="867"/>
                  </a:cubicBezTo>
                  <a:cubicBezTo>
                    <a:pt x="168" y="840"/>
                    <a:pt x="168" y="840"/>
                    <a:pt x="168" y="840"/>
                  </a:cubicBezTo>
                  <a:cubicBezTo>
                    <a:pt x="128" y="772"/>
                    <a:pt x="128" y="772"/>
                    <a:pt x="128" y="772"/>
                  </a:cubicBezTo>
                  <a:cubicBezTo>
                    <a:pt x="118" y="754"/>
                    <a:pt x="118" y="754"/>
                    <a:pt x="118" y="754"/>
                  </a:cubicBezTo>
                  <a:cubicBezTo>
                    <a:pt x="95" y="752"/>
                    <a:pt x="95" y="752"/>
                    <a:pt x="95" y="752"/>
                  </a:cubicBezTo>
                  <a:cubicBezTo>
                    <a:pt x="75" y="775"/>
                    <a:pt x="75" y="775"/>
                    <a:pt x="75" y="775"/>
                  </a:cubicBezTo>
                  <a:cubicBezTo>
                    <a:pt x="50" y="742"/>
                    <a:pt x="50" y="742"/>
                    <a:pt x="50" y="742"/>
                  </a:cubicBezTo>
                  <a:cubicBezTo>
                    <a:pt x="43" y="739"/>
                    <a:pt x="43" y="739"/>
                    <a:pt x="43" y="739"/>
                  </a:cubicBezTo>
                  <a:cubicBezTo>
                    <a:pt x="38" y="729"/>
                    <a:pt x="38" y="729"/>
                    <a:pt x="38" y="729"/>
                  </a:cubicBezTo>
                  <a:cubicBezTo>
                    <a:pt x="13" y="732"/>
                    <a:pt x="13" y="732"/>
                    <a:pt x="13" y="732"/>
                  </a:cubicBezTo>
                  <a:cubicBezTo>
                    <a:pt x="5" y="722"/>
                    <a:pt x="5" y="722"/>
                    <a:pt x="5" y="722"/>
                  </a:cubicBezTo>
                  <a:cubicBezTo>
                    <a:pt x="0" y="358"/>
                    <a:pt x="0" y="358"/>
                    <a:pt x="0" y="358"/>
                  </a:cubicBezTo>
                  <a:cubicBezTo>
                    <a:pt x="50" y="366"/>
                    <a:pt x="50" y="366"/>
                    <a:pt x="50" y="366"/>
                  </a:cubicBezTo>
                  <a:cubicBezTo>
                    <a:pt x="68" y="376"/>
                    <a:pt x="68" y="376"/>
                    <a:pt x="68" y="376"/>
                  </a:cubicBezTo>
                  <a:cubicBezTo>
                    <a:pt x="103" y="383"/>
                    <a:pt x="103" y="383"/>
                    <a:pt x="103" y="383"/>
                  </a:cubicBezTo>
                  <a:cubicBezTo>
                    <a:pt x="110" y="368"/>
                    <a:pt x="110" y="368"/>
                    <a:pt x="110" y="368"/>
                  </a:cubicBezTo>
                  <a:cubicBezTo>
                    <a:pt x="133" y="351"/>
                    <a:pt x="133" y="351"/>
                    <a:pt x="133" y="351"/>
                  </a:cubicBezTo>
                  <a:cubicBezTo>
                    <a:pt x="136" y="378"/>
                    <a:pt x="136" y="378"/>
                    <a:pt x="136" y="378"/>
                  </a:cubicBezTo>
                  <a:cubicBezTo>
                    <a:pt x="181" y="346"/>
                    <a:pt x="181" y="346"/>
                    <a:pt x="181" y="346"/>
                  </a:cubicBezTo>
                  <a:cubicBezTo>
                    <a:pt x="201" y="338"/>
                    <a:pt x="201" y="338"/>
                    <a:pt x="201" y="338"/>
                  </a:cubicBezTo>
                  <a:cubicBezTo>
                    <a:pt x="213" y="341"/>
                    <a:pt x="213" y="341"/>
                    <a:pt x="213" y="341"/>
                  </a:cubicBezTo>
                  <a:cubicBezTo>
                    <a:pt x="226" y="331"/>
                    <a:pt x="226" y="331"/>
                    <a:pt x="226" y="331"/>
                  </a:cubicBezTo>
                  <a:cubicBezTo>
                    <a:pt x="231" y="353"/>
                    <a:pt x="231" y="353"/>
                    <a:pt x="231" y="353"/>
                  </a:cubicBezTo>
                  <a:cubicBezTo>
                    <a:pt x="238" y="368"/>
                    <a:pt x="238" y="368"/>
                    <a:pt x="238" y="368"/>
                  </a:cubicBezTo>
                  <a:cubicBezTo>
                    <a:pt x="251" y="338"/>
                    <a:pt x="251" y="338"/>
                    <a:pt x="251" y="338"/>
                  </a:cubicBezTo>
                  <a:cubicBezTo>
                    <a:pt x="258" y="343"/>
                    <a:pt x="258" y="343"/>
                    <a:pt x="258" y="343"/>
                  </a:cubicBezTo>
                  <a:cubicBezTo>
                    <a:pt x="256" y="303"/>
                    <a:pt x="256" y="303"/>
                    <a:pt x="256" y="303"/>
                  </a:cubicBezTo>
                  <a:cubicBezTo>
                    <a:pt x="258" y="301"/>
                    <a:pt x="258" y="301"/>
                    <a:pt x="258" y="301"/>
                  </a:cubicBezTo>
                  <a:cubicBezTo>
                    <a:pt x="271" y="308"/>
                    <a:pt x="271" y="308"/>
                    <a:pt x="271" y="308"/>
                  </a:cubicBezTo>
                  <a:cubicBezTo>
                    <a:pt x="309" y="368"/>
                    <a:pt x="309" y="368"/>
                    <a:pt x="309" y="368"/>
                  </a:cubicBezTo>
                  <a:cubicBezTo>
                    <a:pt x="316" y="366"/>
                    <a:pt x="316" y="366"/>
                    <a:pt x="316" y="366"/>
                  </a:cubicBezTo>
                  <a:cubicBezTo>
                    <a:pt x="316" y="338"/>
                    <a:pt x="316" y="338"/>
                    <a:pt x="316" y="338"/>
                  </a:cubicBezTo>
                  <a:cubicBezTo>
                    <a:pt x="324" y="328"/>
                    <a:pt x="324" y="328"/>
                    <a:pt x="324" y="328"/>
                  </a:cubicBezTo>
                  <a:cubicBezTo>
                    <a:pt x="329" y="338"/>
                    <a:pt x="329" y="338"/>
                    <a:pt x="329" y="338"/>
                  </a:cubicBezTo>
                  <a:cubicBezTo>
                    <a:pt x="329" y="368"/>
                    <a:pt x="329" y="368"/>
                    <a:pt x="329" y="368"/>
                  </a:cubicBezTo>
                  <a:cubicBezTo>
                    <a:pt x="341" y="366"/>
                    <a:pt x="341" y="366"/>
                    <a:pt x="341" y="366"/>
                  </a:cubicBezTo>
                  <a:cubicBezTo>
                    <a:pt x="349" y="348"/>
                    <a:pt x="349" y="348"/>
                    <a:pt x="349" y="348"/>
                  </a:cubicBezTo>
                  <a:cubicBezTo>
                    <a:pt x="369" y="351"/>
                    <a:pt x="369" y="351"/>
                    <a:pt x="369" y="351"/>
                  </a:cubicBezTo>
                  <a:cubicBezTo>
                    <a:pt x="411" y="371"/>
                    <a:pt x="411" y="371"/>
                    <a:pt x="411" y="371"/>
                  </a:cubicBezTo>
                  <a:cubicBezTo>
                    <a:pt x="439" y="376"/>
                    <a:pt x="439" y="376"/>
                    <a:pt x="439" y="376"/>
                  </a:cubicBezTo>
                  <a:cubicBezTo>
                    <a:pt x="479" y="401"/>
                    <a:pt x="479" y="401"/>
                    <a:pt x="479" y="401"/>
                  </a:cubicBezTo>
                  <a:cubicBezTo>
                    <a:pt x="482" y="398"/>
                    <a:pt x="482" y="398"/>
                    <a:pt x="482" y="398"/>
                  </a:cubicBezTo>
                  <a:cubicBezTo>
                    <a:pt x="474" y="388"/>
                    <a:pt x="474" y="388"/>
                    <a:pt x="474" y="388"/>
                  </a:cubicBezTo>
                  <a:cubicBezTo>
                    <a:pt x="472" y="383"/>
                    <a:pt x="472" y="383"/>
                    <a:pt x="472" y="383"/>
                  </a:cubicBezTo>
                  <a:cubicBezTo>
                    <a:pt x="477" y="383"/>
                    <a:pt x="477" y="383"/>
                    <a:pt x="477" y="383"/>
                  </a:cubicBezTo>
                  <a:cubicBezTo>
                    <a:pt x="512" y="401"/>
                    <a:pt x="512" y="401"/>
                    <a:pt x="512" y="401"/>
                  </a:cubicBezTo>
                  <a:cubicBezTo>
                    <a:pt x="524" y="429"/>
                    <a:pt x="524" y="429"/>
                    <a:pt x="524" y="429"/>
                  </a:cubicBezTo>
                  <a:cubicBezTo>
                    <a:pt x="519" y="441"/>
                    <a:pt x="519" y="441"/>
                    <a:pt x="519" y="441"/>
                  </a:cubicBezTo>
                  <a:cubicBezTo>
                    <a:pt x="502" y="444"/>
                    <a:pt x="502" y="444"/>
                    <a:pt x="502" y="444"/>
                  </a:cubicBezTo>
                  <a:cubicBezTo>
                    <a:pt x="497" y="469"/>
                    <a:pt x="497" y="469"/>
                    <a:pt x="497" y="469"/>
                  </a:cubicBezTo>
                  <a:cubicBezTo>
                    <a:pt x="522" y="474"/>
                    <a:pt x="522" y="474"/>
                    <a:pt x="522" y="474"/>
                  </a:cubicBezTo>
                  <a:cubicBezTo>
                    <a:pt x="579" y="466"/>
                    <a:pt x="579" y="466"/>
                    <a:pt x="579" y="466"/>
                  </a:cubicBezTo>
                  <a:cubicBezTo>
                    <a:pt x="602" y="459"/>
                    <a:pt x="602" y="459"/>
                    <a:pt x="602" y="459"/>
                  </a:cubicBezTo>
                  <a:cubicBezTo>
                    <a:pt x="622" y="466"/>
                    <a:pt x="622" y="466"/>
                    <a:pt x="622" y="466"/>
                  </a:cubicBezTo>
                  <a:cubicBezTo>
                    <a:pt x="624" y="474"/>
                    <a:pt x="624" y="474"/>
                    <a:pt x="624" y="474"/>
                  </a:cubicBezTo>
                  <a:cubicBezTo>
                    <a:pt x="634" y="484"/>
                    <a:pt x="634" y="484"/>
                    <a:pt x="634" y="484"/>
                  </a:cubicBezTo>
                  <a:cubicBezTo>
                    <a:pt x="632" y="496"/>
                    <a:pt x="632" y="496"/>
                    <a:pt x="632" y="496"/>
                  </a:cubicBezTo>
                  <a:cubicBezTo>
                    <a:pt x="624" y="499"/>
                    <a:pt x="624" y="499"/>
                    <a:pt x="624" y="499"/>
                  </a:cubicBezTo>
                  <a:cubicBezTo>
                    <a:pt x="632" y="511"/>
                    <a:pt x="632" y="511"/>
                    <a:pt x="632" y="511"/>
                  </a:cubicBezTo>
                  <a:cubicBezTo>
                    <a:pt x="639" y="496"/>
                    <a:pt x="639" y="496"/>
                    <a:pt x="639" y="496"/>
                  </a:cubicBezTo>
                  <a:cubicBezTo>
                    <a:pt x="642" y="466"/>
                    <a:pt x="642" y="466"/>
                    <a:pt x="642" y="466"/>
                  </a:cubicBezTo>
                  <a:cubicBezTo>
                    <a:pt x="675" y="441"/>
                    <a:pt x="675" y="441"/>
                    <a:pt x="675" y="441"/>
                  </a:cubicBezTo>
                  <a:cubicBezTo>
                    <a:pt x="682" y="431"/>
                    <a:pt x="682" y="431"/>
                    <a:pt x="682" y="431"/>
                  </a:cubicBezTo>
                  <a:cubicBezTo>
                    <a:pt x="685" y="416"/>
                    <a:pt x="685" y="416"/>
                    <a:pt x="685" y="416"/>
                  </a:cubicBezTo>
                  <a:cubicBezTo>
                    <a:pt x="680" y="416"/>
                    <a:pt x="680" y="416"/>
                    <a:pt x="680" y="416"/>
                  </a:cubicBezTo>
                  <a:cubicBezTo>
                    <a:pt x="670" y="429"/>
                    <a:pt x="670" y="429"/>
                    <a:pt x="670" y="429"/>
                  </a:cubicBezTo>
                  <a:cubicBezTo>
                    <a:pt x="650" y="429"/>
                    <a:pt x="650" y="429"/>
                    <a:pt x="650" y="429"/>
                  </a:cubicBezTo>
                  <a:cubicBezTo>
                    <a:pt x="645" y="439"/>
                    <a:pt x="645" y="439"/>
                    <a:pt x="645" y="439"/>
                  </a:cubicBezTo>
                  <a:cubicBezTo>
                    <a:pt x="632" y="436"/>
                    <a:pt x="632" y="436"/>
                    <a:pt x="632" y="436"/>
                  </a:cubicBezTo>
                  <a:cubicBezTo>
                    <a:pt x="632" y="429"/>
                    <a:pt x="632" y="429"/>
                    <a:pt x="632" y="429"/>
                  </a:cubicBezTo>
                  <a:cubicBezTo>
                    <a:pt x="627" y="424"/>
                    <a:pt x="627" y="424"/>
                    <a:pt x="627" y="424"/>
                  </a:cubicBezTo>
                  <a:cubicBezTo>
                    <a:pt x="634" y="413"/>
                    <a:pt x="634" y="413"/>
                    <a:pt x="634" y="413"/>
                  </a:cubicBezTo>
                  <a:cubicBezTo>
                    <a:pt x="657" y="408"/>
                    <a:pt x="657" y="408"/>
                    <a:pt x="657" y="408"/>
                  </a:cubicBezTo>
                  <a:cubicBezTo>
                    <a:pt x="680" y="396"/>
                    <a:pt x="680" y="396"/>
                    <a:pt x="680" y="396"/>
                  </a:cubicBezTo>
                  <a:cubicBezTo>
                    <a:pt x="682" y="401"/>
                    <a:pt x="682" y="401"/>
                    <a:pt x="682" y="401"/>
                  </a:cubicBezTo>
                  <a:cubicBezTo>
                    <a:pt x="687" y="401"/>
                    <a:pt x="687" y="401"/>
                    <a:pt x="687" y="401"/>
                  </a:cubicBezTo>
                  <a:cubicBezTo>
                    <a:pt x="692" y="416"/>
                    <a:pt x="692" y="416"/>
                    <a:pt x="692" y="416"/>
                  </a:cubicBezTo>
                  <a:cubicBezTo>
                    <a:pt x="690" y="426"/>
                    <a:pt x="690" y="426"/>
                    <a:pt x="690" y="426"/>
                  </a:cubicBezTo>
                  <a:cubicBezTo>
                    <a:pt x="720" y="444"/>
                    <a:pt x="720" y="444"/>
                    <a:pt x="720" y="444"/>
                  </a:cubicBezTo>
                  <a:cubicBezTo>
                    <a:pt x="762" y="454"/>
                    <a:pt x="762" y="454"/>
                    <a:pt x="762" y="454"/>
                  </a:cubicBezTo>
                  <a:cubicBezTo>
                    <a:pt x="777" y="446"/>
                    <a:pt x="777" y="446"/>
                    <a:pt x="777" y="446"/>
                  </a:cubicBezTo>
                  <a:cubicBezTo>
                    <a:pt x="802" y="451"/>
                    <a:pt x="802" y="451"/>
                    <a:pt x="802" y="451"/>
                  </a:cubicBezTo>
                  <a:cubicBezTo>
                    <a:pt x="823" y="444"/>
                    <a:pt x="823" y="444"/>
                    <a:pt x="823" y="444"/>
                  </a:cubicBezTo>
                  <a:cubicBezTo>
                    <a:pt x="843" y="461"/>
                    <a:pt x="843" y="461"/>
                    <a:pt x="843" y="461"/>
                  </a:cubicBezTo>
                  <a:cubicBezTo>
                    <a:pt x="853" y="456"/>
                    <a:pt x="853" y="456"/>
                    <a:pt x="853" y="456"/>
                  </a:cubicBezTo>
                  <a:cubicBezTo>
                    <a:pt x="843" y="436"/>
                    <a:pt x="843" y="436"/>
                    <a:pt x="843" y="436"/>
                  </a:cubicBezTo>
                  <a:cubicBezTo>
                    <a:pt x="833" y="441"/>
                    <a:pt x="833" y="441"/>
                    <a:pt x="833" y="441"/>
                  </a:cubicBezTo>
                  <a:cubicBezTo>
                    <a:pt x="825" y="424"/>
                    <a:pt x="825" y="424"/>
                    <a:pt x="825" y="424"/>
                  </a:cubicBezTo>
                  <a:cubicBezTo>
                    <a:pt x="835" y="416"/>
                    <a:pt x="835" y="416"/>
                    <a:pt x="835" y="416"/>
                  </a:cubicBezTo>
                  <a:cubicBezTo>
                    <a:pt x="855" y="424"/>
                    <a:pt x="855" y="424"/>
                    <a:pt x="855" y="424"/>
                  </a:cubicBezTo>
                  <a:cubicBezTo>
                    <a:pt x="860" y="444"/>
                    <a:pt x="860" y="444"/>
                    <a:pt x="860" y="444"/>
                  </a:cubicBezTo>
                  <a:cubicBezTo>
                    <a:pt x="870" y="426"/>
                    <a:pt x="870" y="426"/>
                    <a:pt x="870" y="426"/>
                  </a:cubicBezTo>
                  <a:cubicBezTo>
                    <a:pt x="875" y="426"/>
                    <a:pt x="875" y="426"/>
                    <a:pt x="875" y="426"/>
                  </a:cubicBezTo>
                  <a:cubicBezTo>
                    <a:pt x="868" y="456"/>
                    <a:pt x="868" y="456"/>
                    <a:pt x="868" y="456"/>
                  </a:cubicBezTo>
                  <a:cubicBezTo>
                    <a:pt x="863" y="466"/>
                    <a:pt x="863" y="466"/>
                    <a:pt x="863" y="466"/>
                  </a:cubicBezTo>
                  <a:cubicBezTo>
                    <a:pt x="870" y="481"/>
                    <a:pt x="870" y="481"/>
                    <a:pt x="870" y="481"/>
                  </a:cubicBezTo>
                  <a:cubicBezTo>
                    <a:pt x="878" y="484"/>
                    <a:pt x="878" y="484"/>
                    <a:pt x="878" y="484"/>
                  </a:cubicBezTo>
                  <a:cubicBezTo>
                    <a:pt x="888" y="469"/>
                    <a:pt x="888" y="469"/>
                    <a:pt x="888" y="469"/>
                  </a:cubicBezTo>
                  <a:cubicBezTo>
                    <a:pt x="889" y="459"/>
                    <a:pt x="889" y="459"/>
                    <a:pt x="889" y="459"/>
                  </a:cubicBezTo>
                  <a:cubicBezTo>
                    <a:pt x="881" y="454"/>
                    <a:pt x="881" y="454"/>
                    <a:pt x="881" y="454"/>
                  </a:cubicBezTo>
                  <a:cubicBezTo>
                    <a:pt x="884" y="439"/>
                    <a:pt x="884" y="439"/>
                    <a:pt x="884" y="439"/>
                  </a:cubicBezTo>
                  <a:cubicBezTo>
                    <a:pt x="894" y="436"/>
                    <a:pt x="894" y="436"/>
                    <a:pt x="894" y="436"/>
                  </a:cubicBezTo>
                  <a:cubicBezTo>
                    <a:pt x="913" y="408"/>
                    <a:pt x="913" y="408"/>
                    <a:pt x="913" y="408"/>
                  </a:cubicBezTo>
                  <a:cubicBezTo>
                    <a:pt x="905" y="398"/>
                    <a:pt x="905" y="398"/>
                    <a:pt x="905" y="398"/>
                  </a:cubicBezTo>
                  <a:cubicBezTo>
                    <a:pt x="893" y="398"/>
                    <a:pt x="893" y="398"/>
                    <a:pt x="893" y="398"/>
                  </a:cubicBezTo>
                  <a:cubicBezTo>
                    <a:pt x="903" y="386"/>
                    <a:pt x="903" y="386"/>
                    <a:pt x="903" y="386"/>
                  </a:cubicBezTo>
                  <a:cubicBezTo>
                    <a:pt x="905" y="373"/>
                    <a:pt x="905" y="373"/>
                    <a:pt x="905" y="373"/>
                  </a:cubicBezTo>
                  <a:cubicBezTo>
                    <a:pt x="913" y="381"/>
                    <a:pt x="913" y="381"/>
                    <a:pt x="913" y="381"/>
                  </a:cubicBezTo>
                  <a:cubicBezTo>
                    <a:pt x="915" y="363"/>
                    <a:pt x="915" y="363"/>
                    <a:pt x="915" y="363"/>
                  </a:cubicBezTo>
                  <a:cubicBezTo>
                    <a:pt x="905" y="366"/>
                    <a:pt x="905" y="366"/>
                    <a:pt x="905" y="366"/>
                  </a:cubicBezTo>
                  <a:cubicBezTo>
                    <a:pt x="895" y="356"/>
                    <a:pt x="895" y="356"/>
                    <a:pt x="895" y="356"/>
                  </a:cubicBezTo>
                  <a:cubicBezTo>
                    <a:pt x="888" y="358"/>
                    <a:pt x="888" y="358"/>
                    <a:pt x="888" y="358"/>
                  </a:cubicBezTo>
                  <a:cubicBezTo>
                    <a:pt x="868" y="353"/>
                    <a:pt x="868" y="353"/>
                    <a:pt x="868" y="353"/>
                  </a:cubicBezTo>
                  <a:cubicBezTo>
                    <a:pt x="858" y="321"/>
                    <a:pt x="858" y="321"/>
                    <a:pt x="858" y="321"/>
                  </a:cubicBezTo>
                  <a:cubicBezTo>
                    <a:pt x="860" y="301"/>
                    <a:pt x="860" y="301"/>
                    <a:pt x="860" y="301"/>
                  </a:cubicBezTo>
                  <a:cubicBezTo>
                    <a:pt x="873" y="291"/>
                    <a:pt x="873" y="291"/>
                    <a:pt x="873" y="291"/>
                  </a:cubicBezTo>
                  <a:cubicBezTo>
                    <a:pt x="858" y="286"/>
                    <a:pt x="858" y="286"/>
                    <a:pt x="858" y="286"/>
                  </a:cubicBezTo>
                  <a:cubicBezTo>
                    <a:pt x="868" y="246"/>
                    <a:pt x="868" y="246"/>
                    <a:pt x="868" y="246"/>
                  </a:cubicBezTo>
                  <a:cubicBezTo>
                    <a:pt x="883" y="225"/>
                    <a:pt x="883" y="225"/>
                    <a:pt x="883" y="225"/>
                  </a:cubicBezTo>
                  <a:cubicBezTo>
                    <a:pt x="895" y="223"/>
                    <a:pt x="895" y="223"/>
                    <a:pt x="895" y="223"/>
                  </a:cubicBezTo>
                  <a:cubicBezTo>
                    <a:pt x="910" y="235"/>
                    <a:pt x="910" y="235"/>
                    <a:pt x="910" y="235"/>
                  </a:cubicBezTo>
                  <a:cubicBezTo>
                    <a:pt x="923" y="246"/>
                    <a:pt x="923" y="246"/>
                    <a:pt x="923" y="246"/>
                  </a:cubicBezTo>
                  <a:cubicBezTo>
                    <a:pt x="928" y="256"/>
                    <a:pt x="928" y="256"/>
                    <a:pt x="928" y="256"/>
                  </a:cubicBezTo>
                  <a:cubicBezTo>
                    <a:pt x="923" y="278"/>
                    <a:pt x="923" y="278"/>
                    <a:pt x="923" y="278"/>
                  </a:cubicBezTo>
                  <a:cubicBezTo>
                    <a:pt x="938" y="291"/>
                    <a:pt x="938" y="291"/>
                    <a:pt x="938" y="291"/>
                  </a:cubicBezTo>
                  <a:cubicBezTo>
                    <a:pt x="935" y="331"/>
                    <a:pt x="935" y="331"/>
                    <a:pt x="935" y="331"/>
                  </a:cubicBezTo>
                  <a:cubicBezTo>
                    <a:pt x="928" y="343"/>
                    <a:pt x="928" y="343"/>
                    <a:pt x="928" y="343"/>
                  </a:cubicBezTo>
                  <a:cubicBezTo>
                    <a:pt x="948" y="363"/>
                    <a:pt x="948" y="363"/>
                    <a:pt x="948" y="363"/>
                  </a:cubicBezTo>
                  <a:cubicBezTo>
                    <a:pt x="955" y="351"/>
                    <a:pt x="955" y="351"/>
                    <a:pt x="955" y="351"/>
                  </a:cubicBezTo>
                  <a:cubicBezTo>
                    <a:pt x="970" y="368"/>
                    <a:pt x="970" y="368"/>
                    <a:pt x="970" y="368"/>
                  </a:cubicBezTo>
                  <a:cubicBezTo>
                    <a:pt x="960" y="371"/>
                    <a:pt x="960" y="371"/>
                    <a:pt x="960" y="371"/>
                  </a:cubicBezTo>
                  <a:cubicBezTo>
                    <a:pt x="970" y="388"/>
                    <a:pt x="970" y="388"/>
                    <a:pt x="970" y="388"/>
                  </a:cubicBezTo>
                  <a:cubicBezTo>
                    <a:pt x="970" y="421"/>
                    <a:pt x="970" y="421"/>
                    <a:pt x="970" y="421"/>
                  </a:cubicBezTo>
                  <a:cubicBezTo>
                    <a:pt x="980" y="431"/>
                    <a:pt x="980" y="431"/>
                    <a:pt x="980" y="431"/>
                  </a:cubicBezTo>
                  <a:cubicBezTo>
                    <a:pt x="996" y="363"/>
                    <a:pt x="996" y="363"/>
                    <a:pt x="996" y="363"/>
                  </a:cubicBezTo>
                  <a:cubicBezTo>
                    <a:pt x="1016" y="386"/>
                    <a:pt x="1016" y="386"/>
                    <a:pt x="1016" y="386"/>
                  </a:cubicBezTo>
                  <a:cubicBezTo>
                    <a:pt x="1013" y="429"/>
                    <a:pt x="1013" y="429"/>
                    <a:pt x="1013" y="429"/>
                  </a:cubicBezTo>
                  <a:cubicBezTo>
                    <a:pt x="1028" y="476"/>
                    <a:pt x="1028" y="476"/>
                    <a:pt x="1028" y="476"/>
                  </a:cubicBezTo>
                  <a:cubicBezTo>
                    <a:pt x="1036" y="476"/>
                    <a:pt x="1036" y="476"/>
                    <a:pt x="1036" y="476"/>
                  </a:cubicBezTo>
                  <a:cubicBezTo>
                    <a:pt x="1058" y="444"/>
                    <a:pt x="1058" y="444"/>
                    <a:pt x="1058" y="444"/>
                  </a:cubicBezTo>
                  <a:cubicBezTo>
                    <a:pt x="1066" y="403"/>
                    <a:pt x="1066" y="403"/>
                    <a:pt x="1066" y="403"/>
                  </a:cubicBezTo>
                  <a:cubicBezTo>
                    <a:pt x="1078" y="401"/>
                    <a:pt x="1078" y="401"/>
                    <a:pt x="1078" y="401"/>
                  </a:cubicBezTo>
                  <a:cubicBezTo>
                    <a:pt x="1081" y="383"/>
                    <a:pt x="1081" y="383"/>
                    <a:pt x="1081" y="383"/>
                  </a:cubicBezTo>
                  <a:cubicBezTo>
                    <a:pt x="1076" y="378"/>
                    <a:pt x="1076" y="378"/>
                    <a:pt x="1076" y="378"/>
                  </a:cubicBezTo>
                  <a:cubicBezTo>
                    <a:pt x="1086" y="376"/>
                    <a:pt x="1103" y="373"/>
                    <a:pt x="1116" y="373"/>
                  </a:cubicBezTo>
                  <a:cubicBezTo>
                    <a:pt x="1133" y="378"/>
                    <a:pt x="1151" y="381"/>
                    <a:pt x="1151" y="381"/>
                  </a:cubicBezTo>
                  <a:cubicBezTo>
                    <a:pt x="1141" y="398"/>
                    <a:pt x="1141" y="398"/>
                    <a:pt x="1141" y="398"/>
                  </a:cubicBezTo>
                  <a:cubicBezTo>
                    <a:pt x="1153" y="403"/>
                    <a:pt x="1153" y="403"/>
                    <a:pt x="1153" y="403"/>
                  </a:cubicBezTo>
                  <a:cubicBezTo>
                    <a:pt x="1146" y="416"/>
                    <a:pt x="1146" y="416"/>
                    <a:pt x="1146" y="416"/>
                  </a:cubicBezTo>
                  <a:cubicBezTo>
                    <a:pt x="1131" y="416"/>
                    <a:pt x="1131" y="416"/>
                    <a:pt x="1131" y="416"/>
                  </a:cubicBezTo>
                  <a:cubicBezTo>
                    <a:pt x="1143" y="459"/>
                    <a:pt x="1143" y="459"/>
                    <a:pt x="1143" y="459"/>
                  </a:cubicBezTo>
                  <a:cubicBezTo>
                    <a:pt x="1158" y="469"/>
                    <a:pt x="1158" y="469"/>
                    <a:pt x="1158" y="469"/>
                  </a:cubicBezTo>
                  <a:cubicBezTo>
                    <a:pt x="1151" y="499"/>
                    <a:pt x="1151" y="499"/>
                    <a:pt x="1151" y="499"/>
                  </a:cubicBezTo>
                  <a:cubicBezTo>
                    <a:pt x="1138" y="504"/>
                    <a:pt x="1138" y="504"/>
                    <a:pt x="1138" y="504"/>
                  </a:cubicBezTo>
                  <a:cubicBezTo>
                    <a:pt x="1133" y="519"/>
                    <a:pt x="1133" y="519"/>
                    <a:pt x="1133" y="519"/>
                  </a:cubicBezTo>
                  <a:cubicBezTo>
                    <a:pt x="1111" y="534"/>
                    <a:pt x="1111" y="534"/>
                    <a:pt x="1111" y="534"/>
                  </a:cubicBezTo>
                  <a:cubicBezTo>
                    <a:pt x="1081" y="541"/>
                    <a:pt x="1081" y="541"/>
                    <a:pt x="1081" y="541"/>
                  </a:cubicBezTo>
                  <a:cubicBezTo>
                    <a:pt x="1071" y="526"/>
                    <a:pt x="1071" y="526"/>
                    <a:pt x="1071" y="526"/>
                  </a:cubicBezTo>
                  <a:cubicBezTo>
                    <a:pt x="1048" y="526"/>
                    <a:pt x="1048" y="526"/>
                    <a:pt x="1048" y="526"/>
                  </a:cubicBezTo>
                  <a:cubicBezTo>
                    <a:pt x="1061" y="546"/>
                    <a:pt x="1061" y="546"/>
                    <a:pt x="1061" y="546"/>
                  </a:cubicBezTo>
                  <a:cubicBezTo>
                    <a:pt x="1036" y="551"/>
                    <a:pt x="1036" y="551"/>
                    <a:pt x="1036" y="551"/>
                  </a:cubicBezTo>
                  <a:cubicBezTo>
                    <a:pt x="1028" y="589"/>
                    <a:pt x="1028" y="589"/>
                    <a:pt x="1028" y="589"/>
                  </a:cubicBezTo>
                  <a:cubicBezTo>
                    <a:pt x="1028" y="610"/>
                    <a:pt x="1028" y="610"/>
                    <a:pt x="1028" y="610"/>
                  </a:cubicBezTo>
                  <a:cubicBezTo>
                    <a:pt x="1015" y="628"/>
                    <a:pt x="1015" y="628"/>
                    <a:pt x="1015" y="628"/>
                  </a:cubicBezTo>
                  <a:cubicBezTo>
                    <a:pt x="1015" y="646"/>
                    <a:pt x="1015" y="646"/>
                    <a:pt x="1015" y="646"/>
                  </a:cubicBezTo>
                  <a:cubicBezTo>
                    <a:pt x="995" y="657"/>
                    <a:pt x="995" y="657"/>
                    <a:pt x="995" y="657"/>
                  </a:cubicBezTo>
                  <a:cubicBezTo>
                    <a:pt x="976" y="669"/>
                    <a:pt x="976" y="669"/>
                    <a:pt x="976" y="669"/>
                  </a:cubicBezTo>
                  <a:cubicBezTo>
                    <a:pt x="952" y="682"/>
                    <a:pt x="952" y="682"/>
                    <a:pt x="952" y="682"/>
                  </a:cubicBezTo>
                  <a:cubicBezTo>
                    <a:pt x="945" y="709"/>
                    <a:pt x="945" y="709"/>
                    <a:pt x="945" y="709"/>
                  </a:cubicBezTo>
                  <a:cubicBezTo>
                    <a:pt x="912" y="731"/>
                    <a:pt x="912" y="731"/>
                    <a:pt x="912" y="731"/>
                  </a:cubicBezTo>
                  <a:cubicBezTo>
                    <a:pt x="898" y="756"/>
                    <a:pt x="898" y="756"/>
                    <a:pt x="898" y="756"/>
                  </a:cubicBezTo>
                  <a:cubicBezTo>
                    <a:pt x="898" y="787"/>
                    <a:pt x="898" y="787"/>
                    <a:pt x="898" y="787"/>
                  </a:cubicBezTo>
                  <a:cubicBezTo>
                    <a:pt x="918" y="797"/>
                    <a:pt x="918" y="797"/>
                    <a:pt x="918" y="797"/>
                  </a:cubicBezTo>
                  <a:cubicBezTo>
                    <a:pt x="917" y="813"/>
                    <a:pt x="917" y="813"/>
                    <a:pt x="917" y="813"/>
                  </a:cubicBezTo>
                  <a:cubicBezTo>
                    <a:pt x="923" y="836"/>
                    <a:pt x="923" y="836"/>
                    <a:pt x="923" y="836"/>
                  </a:cubicBezTo>
                  <a:cubicBezTo>
                    <a:pt x="932" y="855"/>
                    <a:pt x="932" y="855"/>
                    <a:pt x="932" y="855"/>
                  </a:cubicBezTo>
                  <a:cubicBezTo>
                    <a:pt x="945" y="855"/>
                    <a:pt x="945" y="855"/>
                    <a:pt x="945" y="855"/>
                  </a:cubicBezTo>
                  <a:cubicBezTo>
                    <a:pt x="966" y="845"/>
                    <a:pt x="966" y="845"/>
                    <a:pt x="966" y="845"/>
                  </a:cubicBezTo>
                  <a:cubicBezTo>
                    <a:pt x="976" y="854"/>
                    <a:pt x="976" y="854"/>
                    <a:pt x="976" y="854"/>
                  </a:cubicBezTo>
                  <a:cubicBezTo>
                    <a:pt x="997" y="863"/>
                    <a:pt x="997" y="863"/>
                    <a:pt x="997" y="863"/>
                  </a:cubicBezTo>
                  <a:cubicBezTo>
                    <a:pt x="1029" y="891"/>
                    <a:pt x="1029" y="891"/>
                    <a:pt x="1029" y="891"/>
                  </a:cubicBezTo>
                  <a:cubicBezTo>
                    <a:pt x="1059" y="902"/>
                    <a:pt x="1059" y="902"/>
                    <a:pt x="1059" y="902"/>
                  </a:cubicBezTo>
                  <a:cubicBezTo>
                    <a:pt x="1077" y="914"/>
                    <a:pt x="1077" y="914"/>
                    <a:pt x="1077" y="914"/>
                  </a:cubicBezTo>
                  <a:cubicBezTo>
                    <a:pt x="1091" y="921"/>
                    <a:pt x="1091" y="921"/>
                    <a:pt x="1091" y="921"/>
                  </a:cubicBezTo>
                  <a:cubicBezTo>
                    <a:pt x="1126" y="928"/>
                    <a:pt x="1126" y="928"/>
                    <a:pt x="1126" y="928"/>
                  </a:cubicBezTo>
                  <a:cubicBezTo>
                    <a:pt x="1125" y="961"/>
                    <a:pt x="1125" y="961"/>
                    <a:pt x="1125" y="961"/>
                  </a:cubicBezTo>
                  <a:cubicBezTo>
                    <a:pt x="1126" y="978"/>
                    <a:pt x="1126" y="978"/>
                    <a:pt x="1126" y="978"/>
                  </a:cubicBezTo>
                  <a:cubicBezTo>
                    <a:pt x="1130" y="990"/>
                    <a:pt x="1130" y="990"/>
                    <a:pt x="1130" y="990"/>
                  </a:cubicBezTo>
                  <a:cubicBezTo>
                    <a:pt x="1133" y="1010"/>
                    <a:pt x="1133" y="1010"/>
                    <a:pt x="1133" y="1010"/>
                  </a:cubicBezTo>
                  <a:cubicBezTo>
                    <a:pt x="1136" y="1012"/>
                    <a:pt x="1136" y="1012"/>
                    <a:pt x="1136" y="1012"/>
                  </a:cubicBezTo>
                  <a:cubicBezTo>
                    <a:pt x="1146" y="1026"/>
                    <a:pt x="1146" y="1026"/>
                    <a:pt x="1146" y="1026"/>
                  </a:cubicBezTo>
                  <a:cubicBezTo>
                    <a:pt x="1158" y="1045"/>
                    <a:pt x="1158" y="1045"/>
                    <a:pt x="1158" y="1045"/>
                  </a:cubicBezTo>
                  <a:cubicBezTo>
                    <a:pt x="1173" y="1055"/>
                    <a:pt x="1173" y="1055"/>
                    <a:pt x="1173" y="1055"/>
                  </a:cubicBezTo>
                  <a:cubicBezTo>
                    <a:pt x="1199" y="1046"/>
                    <a:pt x="1199" y="1046"/>
                    <a:pt x="1199" y="1046"/>
                  </a:cubicBezTo>
                  <a:cubicBezTo>
                    <a:pt x="1199" y="1022"/>
                    <a:pt x="1199" y="1022"/>
                    <a:pt x="1199" y="1022"/>
                  </a:cubicBezTo>
                  <a:cubicBezTo>
                    <a:pt x="1196" y="1006"/>
                    <a:pt x="1196" y="1006"/>
                    <a:pt x="1196" y="1006"/>
                  </a:cubicBezTo>
                  <a:cubicBezTo>
                    <a:pt x="1194" y="984"/>
                    <a:pt x="1194" y="984"/>
                    <a:pt x="1194" y="984"/>
                  </a:cubicBezTo>
                  <a:cubicBezTo>
                    <a:pt x="1189" y="966"/>
                    <a:pt x="1189" y="966"/>
                    <a:pt x="1189" y="966"/>
                  </a:cubicBezTo>
                  <a:cubicBezTo>
                    <a:pt x="1221" y="946"/>
                    <a:pt x="1221" y="946"/>
                    <a:pt x="1221" y="946"/>
                  </a:cubicBezTo>
                  <a:cubicBezTo>
                    <a:pt x="1224" y="925"/>
                    <a:pt x="1224" y="925"/>
                    <a:pt x="1224" y="925"/>
                  </a:cubicBezTo>
                  <a:cubicBezTo>
                    <a:pt x="1211" y="910"/>
                    <a:pt x="1211" y="910"/>
                    <a:pt x="1211" y="910"/>
                  </a:cubicBezTo>
                  <a:cubicBezTo>
                    <a:pt x="1217" y="884"/>
                    <a:pt x="1217" y="884"/>
                    <a:pt x="1217" y="884"/>
                  </a:cubicBezTo>
                  <a:cubicBezTo>
                    <a:pt x="1227" y="863"/>
                    <a:pt x="1227" y="863"/>
                    <a:pt x="1227" y="863"/>
                  </a:cubicBezTo>
                  <a:cubicBezTo>
                    <a:pt x="1213" y="818"/>
                    <a:pt x="1213" y="818"/>
                    <a:pt x="1213" y="818"/>
                  </a:cubicBezTo>
                  <a:cubicBezTo>
                    <a:pt x="1194" y="792"/>
                    <a:pt x="1194" y="792"/>
                    <a:pt x="1194" y="792"/>
                  </a:cubicBezTo>
                  <a:cubicBezTo>
                    <a:pt x="1194" y="777"/>
                    <a:pt x="1194" y="777"/>
                    <a:pt x="1194" y="777"/>
                  </a:cubicBezTo>
                  <a:cubicBezTo>
                    <a:pt x="1211" y="752"/>
                    <a:pt x="1211" y="752"/>
                    <a:pt x="1211" y="752"/>
                  </a:cubicBezTo>
                  <a:cubicBezTo>
                    <a:pt x="1219" y="746"/>
                    <a:pt x="1219" y="746"/>
                    <a:pt x="1219" y="746"/>
                  </a:cubicBezTo>
                  <a:cubicBezTo>
                    <a:pt x="1216" y="737"/>
                    <a:pt x="1216" y="737"/>
                    <a:pt x="1216" y="737"/>
                  </a:cubicBezTo>
                  <a:cubicBezTo>
                    <a:pt x="1209" y="709"/>
                    <a:pt x="1209" y="709"/>
                    <a:pt x="1209" y="709"/>
                  </a:cubicBezTo>
                  <a:cubicBezTo>
                    <a:pt x="1201" y="709"/>
                    <a:pt x="1201" y="709"/>
                    <a:pt x="1201" y="709"/>
                  </a:cubicBezTo>
                  <a:cubicBezTo>
                    <a:pt x="1209" y="684"/>
                    <a:pt x="1209" y="684"/>
                    <a:pt x="1209" y="684"/>
                  </a:cubicBezTo>
                  <a:cubicBezTo>
                    <a:pt x="1214" y="674"/>
                    <a:pt x="1214" y="674"/>
                    <a:pt x="1214" y="674"/>
                  </a:cubicBezTo>
                  <a:cubicBezTo>
                    <a:pt x="1206" y="662"/>
                    <a:pt x="1206" y="662"/>
                    <a:pt x="1206" y="662"/>
                  </a:cubicBezTo>
                  <a:cubicBezTo>
                    <a:pt x="1209" y="632"/>
                    <a:pt x="1209" y="632"/>
                    <a:pt x="1209" y="632"/>
                  </a:cubicBezTo>
                  <a:cubicBezTo>
                    <a:pt x="1249" y="634"/>
                    <a:pt x="1249" y="634"/>
                    <a:pt x="1249" y="634"/>
                  </a:cubicBezTo>
                  <a:cubicBezTo>
                    <a:pt x="1269" y="639"/>
                    <a:pt x="1269" y="639"/>
                    <a:pt x="1269" y="639"/>
                  </a:cubicBezTo>
                  <a:cubicBezTo>
                    <a:pt x="1296" y="634"/>
                    <a:pt x="1296" y="634"/>
                    <a:pt x="1296" y="634"/>
                  </a:cubicBezTo>
                  <a:cubicBezTo>
                    <a:pt x="1314" y="659"/>
                    <a:pt x="1314" y="659"/>
                    <a:pt x="1314" y="659"/>
                  </a:cubicBezTo>
                  <a:cubicBezTo>
                    <a:pt x="1329" y="674"/>
                    <a:pt x="1329" y="674"/>
                    <a:pt x="1329" y="674"/>
                  </a:cubicBezTo>
                  <a:cubicBezTo>
                    <a:pt x="1329" y="689"/>
                    <a:pt x="1329" y="689"/>
                    <a:pt x="1329" y="689"/>
                  </a:cubicBezTo>
                  <a:cubicBezTo>
                    <a:pt x="1357" y="702"/>
                    <a:pt x="1357" y="702"/>
                    <a:pt x="1357" y="702"/>
                  </a:cubicBezTo>
                  <a:cubicBezTo>
                    <a:pt x="1372" y="699"/>
                    <a:pt x="1372" y="699"/>
                    <a:pt x="1372" y="699"/>
                  </a:cubicBezTo>
                  <a:cubicBezTo>
                    <a:pt x="1369" y="732"/>
                    <a:pt x="1369" y="732"/>
                    <a:pt x="1369" y="732"/>
                  </a:cubicBezTo>
                  <a:cubicBezTo>
                    <a:pt x="1354" y="734"/>
                    <a:pt x="1354" y="734"/>
                    <a:pt x="1354" y="734"/>
                  </a:cubicBezTo>
                  <a:cubicBezTo>
                    <a:pt x="1367" y="747"/>
                    <a:pt x="1367" y="747"/>
                    <a:pt x="1367" y="747"/>
                  </a:cubicBezTo>
                  <a:cubicBezTo>
                    <a:pt x="1367" y="762"/>
                    <a:pt x="1367" y="762"/>
                    <a:pt x="1367" y="762"/>
                  </a:cubicBezTo>
                  <a:cubicBezTo>
                    <a:pt x="1372" y="772"/>
                    <a:pt x="1372" y="772"/>
                    <a:pt x="1372" y="772"/>
                  </a:cubicBezTo>
                  <a:cubicBezTo>
                    <a:pt x="1392" y="777"/>
                    <a:pt x="1392" y="777"/>
                    <a:pt x="1392" y="777"/>
                  </a:cubicBezTo>
                  <a:cubicBezTo>
                    <a:pt x="1397" y="792"/>
                    <a:pt x="1397" y="792"/>
                    <a:pt x="1397" y="792"/>
                  </a:cubicBezTo>
                  <a:cubicBezTo>
                    <a:pt x="1412" y="802"/>
                    <a:pt x="1412" y="802"/>
                    <a:pt x="1412" y="802"/>
                  </a:cubicBezTo>
                  <a:cubicBezTo>
                    <a:pt x="1422" y="795"/>
                    <a:pt x="1422" y="795"/>
                    <a:pt x="1422" y="795"/>
                  </a:cubicBezTo>
                  <a:cubicBezTo>
                    <a:pt x="1434" y="780"/>
                    <a:pt x="1434" y="780"/>
                    <a:pt x="1434" y="780"/>
                  </a:cubicBezTo>
                  <a:cubicBezTo>
                    <a:pt x="1449" y="767"/>
                    <a:pt x="1449" y="767"/>
                    <a:pt x="1449" y="767"/>
                  </a:cubicBezTo>
                  <a:cubicBezTo>
                    <a:pt x="1452" y="757"/>
                    <a:pt x="1452" y="757"/>
                    <a:pt x="1452" y="757"/>
                  </a:cubicBezTo>
                  <a:cubicBezTo>
                    <a:pt x="1452" y="747"/>
                    <a:pt x="1452" y="747"/>
                    <a:pt x="1452" y="747"/>
                  </a:cubicBezTo>
                  <a:cubicBezTo>
                    <a:pt x="1462" y="724"/>
                    <a:pt x="1462" y="724"/>
                    <a:pt x="1462" y="724"/>
                  </a:cubicBezTo>
                  <a:cubicBezTo>
                    <a:pt x="1477" y="757"/>
                    <a:pt x="1477" y="757"/>
                    <a:pt x="1477" y="757"/>
                  </a:cubicBezTo>
                  <a:cubicBezTo>
                    <a:pt x="1492" y="782"/>
                    <a:pt x="1492" y="782"/>
                    <a:pt x="1492" y="782"/>
                  </a:cubicBezTo>
                  <a:cubicBezTo>
                    <a:pt x="1484" y="797"/>
                    <a:pt x="1484" y="797"/>
                    <a:pt x="1484" y="797"/>
                  </a:cubicBezTo>
                  <a:cubicBezTo>
                    <a:pt x="1504" y="800"/>
                    <a:pt x="1504" y="800"/>
                    <a:pt x="1504" y="800"/>
                  </a:cubicBezTo>
                  <a:cubicBezTo>
                    <a:pt x="1509" y="820"/>
                    <a:pt x="1509" y="820"/>
                    <a:pt x="1509" y="820"/>
                  </a:cubicBezTo>
                  <a:cubicBezTo>
                    <a:pt x="1509" y="837"/>
                    <a:pt x="1509" y="837"/>
                    <a:pt x="1509" y="837"/>
                  </a:cubicBezTo>
                  <a:cubicBezTo>
                    <a:pt x="1520" y="847"/>
                    <a:pt x="1520" y="847"/>
                    <a:pt x="1520" y="847"/>
                  </a:cubicBezTo>
                  <a:cubicBezTo>
                    <a:pt x="1528" y="855"/>
                    <a:pt x="1528" y="855"/>
                    <a:pt x="1528" y="855"/>
                  </a:cubicBezTo>
                  <a:cubicBezTo>
                    <a:pt x="1540" y="856"/>
                    <a:pt x="1540" y="856"/>
                    <a:pt x="1540" y="856"/>
                  </a:cubicBezTo>
                  <a:cubicBezTo>
                    <a:pt x="1545" y="869"/>
                    <a:pt x="1545" y="869"/>
                    <a:pt x="1545" y="869"/>
                  </a:cubicBezTo>
                  <a:cubicBezTo>
                    <a:pt x="1550" y="880"/>
                    <a:pt x="1550" y="880"/>
                    <a:pt x="1550" y="880"/>
                  </a:cubicBezTo>
                  <a:cubicBezTo>
                    <a:pt x="1561" y="887"/>
                    <a:pt x="1561" y="887"/>
                    <a:pt x="1561" y="887"/>
                  </a:cubicBezTo>
                  <a:cubicBezTo>
                    <a:pt x="1566" y="893"/>
                    <a:pt x="1566" y="893"/>
                    <a:pt x="1566" y="893"/>
                  </a:cubicBezTo>
                  <a:cubicBezTo>
                    <a:pt x="1579" y="897"/>
                    <a:pt x="1579" y="897"/>
                    <a:pt x="1579" y="897"/>
                  </a:cubicBezTo>
                  <a:cubicBezTo>
                    <a:pt x="1586" y="911"/>
                    <a:pt x="1586" y="911"/>
                    <a:pt x="1586" y="911"/>
                  </a:cubicBezTo>
                  <a:cubicBezTo>
                    <a:pt x="1560" y="916"/>
                    <a:pt x="1560" y="916"/>
                    <a:pt x="1560" y="916"/>
                  </a:cubicBezTo>
                  <a:cubicBezTo>
                    <a:pt x="1554" y="932"/>
                    <a:pt x="1554" y="932"/>
                    <a:pt x="1554" y="932"/>
                  </a:cubicBezTo>
                  <a:cubicBezTo>
                    <a:pt x="1581" y="921"/>
                    <a:pt x="1581" y="921"/>
                    <a:pt x="1581" y="921"/>
                  </a:cubicBezTo>
                  <a:cubicBezTo>
                    <a:pt x="1595" y="914"/>
                    <a:pt x="1595" y="914"/>
                    <a:pt x="1595" y="914"/>
                  </a:cubicBezTo>
                  <a:cubicBezTo>
                    <a:pt x="1605" y="912"/>
                    <a:pt x="1605" y="912"/>
                    <a:pt x="1605" y="912"/>
                  </a:cubicBezTo>
                  <a:cubicBezTo>
                    <a:pt x="1605" y="932"/>
                    <a:pt x="1605" y="932"/>
                    <a:pt x="1605" y="932"/>
                  </a:cubicBezTo>
                  <a:cubicBezTo>
                    <a:pt x="1616" y="923"/>
                    <a:pt x="1616" y="923"/>
                    <a:pt x="1616" y="923"/>
                  </a:cubicBezTo>
                  <a:cubicBezTo>
                    <a:pt x="1629" y="932"/>
                    <a:pt x="1629" y="932"/>
                    <a:pt x="1629" y="932"/>
                  </a:cubicBezTo>
                  <a:cubicBezTo>
                    <a:pt x="1634" y="959"/>
                    <a:pt x="1634" y="959"/>
                    <a:pt x="1634" y="959"/>
                  </a:cubicBezTo>
                  <a:cubicBezTo>
                    <a:pt x="1634" y="978"/>
                    <a:pt x="1634" y="978"/>
                    <a:pt x="1634" y="978"/>
                  </a:cubicBezTo>
                  <a:cubicBezTo>
                    <a:pt x="1613" y="994"/>
                    <a:pt x="1613" y="994"/>
                    <a:pt x="1613" y="994"/>
                  </a:cubicBezTo>
                  <a:cubicBezTo>
                    <a:pt x="1596" y="997"/>
                    <a:pt x="1596" y="997"/>
                    <a:pt x="1596" y="997"/>
                  </a:cubicBezTo>
                  <a:cubicBezTo>
                    <a:pt x="1578" y="1004"/>
                    <a:pt x="1578" y="1004"/>
                    <a:pt x="1578" y="1004"/>
                  </a:cubicBezTo>
                  <a:cubicBezTo>
                    <a:pt x="1546" y="1031"/>
                    <a:pt x="1546" y="1031"/>
                    <a:pt x="1546" y="1031"/>
                  </a:cubicBezTo>
                  <a:cubicBezTo>
                    <a:pt x="1525" y="1037"/>
                    <a:pt x="1525" y="1037"/>
                    <a:pt x="1525" y="1037"/>
                  </a:cubicBezTo>
                  <a:cubicBezTo>
                    <a:pt x="1517" y="1031"/>
                    <a:pt x="1517" y="1031"/>
                    <a:pt x="1517" y="1031"/>
                  </a:cubicBezTo>
                  <a:cubicBezTo>
                    <a:pt x="1494" y="1032"/>
                    <a:pt x="1494" y="1032"/>
                    <a:pt x="1494" y="1032"/>
                  </a:cubicBezTo>
                  <a:cubicBezTo>
                    <a:pt x="1472" y="1031"/>
                    <a:pt x="1472" y="1031"/>
                    <a:pt x="1472" y="1031"/>
                  </a:cubicBezTo>
                  <a:cubicBezTo>
                    <a:pt x="1437" y="1029"/>
                    <a:pt x="1437" y="1029"/>
                    <a:pt x="1437" y="1029"/>
                  </a:cubicBezTo>
                  <a:cubicBezTo>
                    <a:pt x="1423" y="1041"/>
                    <a:pt x="1423" y="1041"/>
                    <a:pt x="1423" y="1041"/>
                  </a:cubicBezTo>
                  <a:cubicBezTo>
                    <a:pt x="1421" y="1048"/>
                    <a:pt x="1421" y="1048"/>
                    <a:pt x="1421" y="1048"/>
                  </a:cubicBezTo>
                  <a:cubicBezTo>
                    <a:pt x="1408" y="1051"/>
                    <a:pt x="1408" y="1051"/>
                    <a:pt x="1408" y="1051"/>
                  </a:cubicBezTo>
                  <a:cubicBezTo>
                    <a:pt x="1394" y="1070"/>
                    <a:pt x="1394" y="1070"/>
                    <a:pt x="1394" y="1070"/>
                  </a:cubicBezTo>
                  <a:cubicBezTo>
                    <a:pt x="1386" y="1083"/>
                    <a:pt x="1386" y="1083"/>
                    <a:pt x="1386" y="1083"/>
                  </a:cubicBezTo>
                  <a:cubicBezTo>
                    <a:pt x="1381" y="1085"/>
                    <a:pt x="1381" y="1085"/>
                    <a:pt x="1381" y="1085"/>
                  </a:cubicBezTo>
                  <a:cubicBezTo>
                    <a:pt x="1380" y="1098"/>
                    <a:pt x="1380" y="1098"/>
                    <a:pt x="1380" y="1098"/>
                  </a:cubicBezTo>
                  <a:cubicBezTo>
                    <a:pt x="1364" y="1119"/>
                    <a:pt x="1364" y="1119"/>
                    <a:pt x="1364" y="1119"/>
                  </a:cubicBezTo>
                  <a:cubicBezTo>
                    <a:pt x="1365" y="1121"/>
                    <a:pt x="1365" y="1121"/>
                    <a:pt x="1365" y="1121"/>
                  </a:cubicBezTo>
                  <a:cubicBezTo>
                    <a:pt x="1378" y="1108"/>
                    <a:pt x="1378" y="1108"/>
                    <a:pt x="1378" y="1108"/>
                  </a:cubicBezTo>
                  <a:cubicBezTo>
                    <a:pt x="1391" y="1086"/>
                    <a:pt x="1391" y="1086"/>
                    <a:pt x="1391" y="1086"/>
                  </a:cubicBezTo>
                  <a:cubicBezTo>
                    <a:pt x="1417" y="1063"/>
                    <a:pt x="1417" y="1063"/>
                    <a:pt x="1417" y="1063"/>
                  </a:cubicBezTo>
                  <a:cubicBezTo>
                    <a:pt x="1447" y="1048"/>
                    <a:pt x="1447" y="1048"/>
                    <a:pt x="1447" y="1048"/>
                  </a:cubicBezTo>
                  <a:cubicBezTo>
                    <a:pt x="1453" y="1048"/>
                    <a:pt x="1453" y="1048"/>
                    <a:pt x="1453" y="1048"/>
                  </a:cubicBezTo>
                  <a:cubicBezTo>
                    <a:pt x="1463" y="1046"/>
                    <a:pt x="1463" y="1046"/>
                    <a:pt x="1463" y="1046"/>
                  </a:cubicBezTo>
                  <a:cubicBezTo>
                    <a:pt x="1476" y="1051"/>
                    <a:pt x="1476" y="1051"/>
                    <a:pt x="1476" y="1051"/>
                  </a:cubicBezTo>
                  <a:cubicBezTo>
                    <a:pt x="1480" y="1062"/>
                    <a:pt x="1480" y="1062"/>
                    <a:pt x="1480" y="1062"/>
                  </a:cubicBezTo>
                  <a:cubicBezTo>
                    <a:pt x="1466" y="1078"/>
                    <a:pt x="1466" y="1078"/>
                    <a:pt x="1466" y="1078"/>
                  </a:cubicBezTo>
                  <a:cubicBezTo>
                    <a:pt x="1449" y="1077"/>
                    <a:pt x="1449" y="1077"/>
                    <a:pt x="1449" y="1077"/>
                  </a:cubicBezTo>
                  <a:cubicBezTo>
                    <a:pt x="1446" y="1080"/>
                    <a:pt x="1446" y="1080"/>
                    <a:pt x="1446" y="1080"/>
                  </a:cubicBezTo>
                  <a:cubicBezTo>
                    <a:pt x="1457" y="1083"/>
                    <a:pt x="1457" y="1083"/>
                    <a:pt x="1457" y="1083"/>
                  </a:cubicBezTo>
                  <a:cubicBezTo>
                    <a:pt x="1461" y="1088"/>
                    <a:pt x="1461" y="1088"/>
                    <a:pt x="1461" y="1088"/>
                  </a:cubicBezTo>
                  <a:cubicBezTo>
                    <a:pt x="1470" y="1082"/>
                    <a:pt x="1470" y="1082"/>
                    <a:pt x="1470" y="1082"/>
                  </a:cubicBezTo>
                  <a:cubicBezTo>
                    <a:pt x="1476" y="1084"/>
                    <a:pt x="1476" y="1084"/>
                    <a:pt x="1476" y="1084"/>
                  </a:cubicBezTo>
                  <a:cubicBezTo>
                    <a:pt x="1476" y="1090"/>
                    <a:pt x="1476" y="1090"/>
                    <a:pt x="1476" y="1090"/>
                  </a:cubicBezTo>
                  <a:cubicBezTo>
                    <a:pt x="1476" y="1095"/>
                    <a:pt x="1476" y="1095"/>
                    <a:pt x="1476" y="1095"/>
                  </a:cubicBezTo>
                  <a:cubicBezTo>
                    <a:pt x="1473" y="1101"/>
                    <a:pt x="1473" y="1101"/>
                    <a:pt x="1473" y="1101"/>
                  </a:cubicBezTo>
                  <a:cubicBezTo>
                    <a:pt x="1475" y="1102"/>
                    <a:pt x="1475" y="1102"/>
                    <a:pt x="1475" y="1102"/>
                  </a:cubicBezTo>
                  <a:cubicBezTo>
                    <a:pt x="1479" y="1101"/>
                    <a:pt x="1479" y="1101"/>
                    <a:pt x="1479" y="1101"/>
                  </a:cubicBezTo>
                  <a:cubicBezTo>
                    <a:pt x="1481" y="1106"/>
                    <a:pt x="1481" y="1106"/>
                    <a:pt x="1481" y="1106"/>
                  </a:cubicBezTo>
                  <a:cubicBezTo>
                    <a:pt x="1474" y="1125"/>
                    <a:pt x="1474" y="1125"/>
                    <a:pt x="1474" y="1125"/>
                  </a:cubicBezTo>
                  <a:cubicBezTo>
                    <a:pt x="1486" y="1144"/>
                    <a:pt x="1486" y="1144"/>
                    <a:pt x="1486" y="1144"/>
                  </a:cubicBezTo>
                  <a:cubicBezTo>
                    <a:pt x="1496" y="1156"/>
                    <a:pt x="1496" y="1156"/>
                    <a:pt x="1496" y="1156"/>
                  </a:cubicBezTo>
                  <a:cubicBezTo>
                    <a:pt x="1515" y="1151"/>
                    <a:pt x="1515" y="1151"/>
                    <a:pt x="1515" y="1151"/>
                  </a:cubicBezTo>
                  <a:cubicBezTo>
                    <a:pt x="1516" y="1156"/>
                    <a:pt x="1516" y="1156"/>
                    <a:pt x="1516" y="1156"/>
                  </a:cubicBezTo>
                  <a:cubicBezTo>
                    <a:pt x="1526" y="1154"/>
                    <a:pt x="1526" y="1154"/>
                    <a:pt x="1526" y="1154"/>
                  </a:cubicBezTo>
                  <a:cubicBezTo>
                    <a:pt x="1524" y="1146"/>
                    <a:pt x="1524" y="1146"/>
                    <a:pt x="1524" y="1146"/>
                  </a:cubicBezTo>
                  <a:cubicBezTo>
                    <a:pt x="1538" y="1121"/>
                    <a:pt x="1538" y="1121"/>
                    <a:pt x="1538" y="1121"/>
                  </a:cubicBezTo>
                  <a:cubicBezTo>
                    <a:pt x="1544" y="1120"/>
                    <a:pt x="1544" y="1120"/>
                    <a:pt x="1544" y="1120"/>
                  </a:cubicBezTo>
                  <a:cubicBezTo>
                    <a:pt x="1543" y="1141"/>
                    <a:pt x="1543" y="1141"/>
                    <a:pt x="1543" y="1141"/>
                  </a:cubicBezTo>
                  <a:cubicBezTo>
                    <a:pt x="1552" y="1141"/>
                    <a:pt x="1552" y="1141"/>
                    <a:pt x="1552" y="1141"/>
                  </a:cubicBezTo>
                  <a:cubicBezTo>
                    <a:pt x="1554" y="1148"/>
                    <a:pt x="1554" y="1148"/>
                    <a:pt x="1554" y="1148"/>
                  </a:cubicBezTo>
                  <a:cubicBezTo>
                    <a:pt x="1541" y="1158"/>
                    <a:pt x="1541" y="1158"/>
                    <a:pt x="1541" y="1158"/>
                  </a:cubicBezTo>
                  <a:cubicBezTo>
                    <a:pt x="1527" y="1159"/>
                    <a:pt x="1527" y="1159"/>
                    <a:pt x="1527" y="1159"/>
                  </a:cubicBezTo>
                  <a:cubicBezTo>
                    <a:pt x="1529" y="1167"/>
                    <a:pt x="1529" y="1167"/>
                    <a:pt x="1529" y="1167"/>
                  </a:cubicBezTo>
                  <a:cubicBezTo>
                    <a:pt x="1521" y="1170"/>
                    <a:pt x="1521" y="1170"/>
                    <a:pt x="1521" y="1170"/>
                  </a:cubicBezTo>
                  <a:cubicBezTo>
                    <a:pt x="1506" y="1178"/>
                    <a:pt x="1506" y="1178"/>
                    <a:pt x="1506" y="1178"/>
                  </a:cubicBezTo>
                  <a:cubicBezTo>
                    <a:pt x="1484" y="1183"/>
                    <a:pt x="1484" y="1183"/>
                    <a:pt x="1484" y="1183"/>
                  </a:cubicBezTo>
                  <a:cubicBezTo>
                    <a:pt x="1459" y="1206"/>
                    <a:pt x="1459" y="1206"/>
                    <a:pt x="1459" y="1206"/>
                  </a:cubicBezTo>
                  <a:cubicBezTo>
                    <a:pt x="1451" y="1209"/>
                    <a:pt x="1451" y="1209"/>
                    <a:pt x="1451" y="1209"/>
                  </a:cubicBezTo>
                  <a:cubicBezTo>
                    <a:pt x="1448" y="1214"/>
                    <a:pt x="1448" y="1214"/>
                    <a:pt x="1448" y="1214"/>
                  </a:cubicBezTo>
                  <a:cubicBezTo>
                    <a:pt x="1443" y="1213"/>
                    <a:pt x="1443" y="1213"/>
                    <a:pt x="1443" y="1213"/>
                  </a:cubicBezTo>
                  <a:cubicBezTo>
                    <a:pt x="1437" y="1203"/>
                    <a:pt x="1437" y="1203"/>
                    <a:pt x="1437" y="1203"/>
                  </a:cubicBezTo>
                  <a:cubicBezTo>
                    <a:pt x="1436" y="1188"/>
                    <a:pt x="1436" y="1188"/>
                    <a:pt x="1436" y="1188"/>
                  </a:cubicBezTo>
                  <a:cubicBezTo>
                    <a:pt x="1443" y="1183"/>
                    <a:pt x="1443" y="1183"/>
                    <a:pt x="1443" y="1183"/>
                  </a:cubicBezTo>
                  <a:cubicBezTo>
                    <a:pt x="1457" y="1171"/>
                    <a:pt x="1457" y="1171"/>
                    <a:pt x="1457" y="1171"/>
                  </a:cubicBezTo>
                  <a:cubicBezTo>
                    <a:pt x="1466" y="1167"/>
                    <a:pt x="1466" y="1167"/>
                    <a:pt x="1466" y="1167"/>
                  </a:cubicBezTo>
                  <a:cubicBezTo>
                    <a:pt x="1473" y="1173"/>
                    <a:pt x="1473" y="1173"/>
                    <a:pt x="1473" y="1173"/>
                  </a:cubicBezTo>
                  <a:cubicBezTo>
                    <a:pt x="1483" y="1167"/>
                    <a:pt x="1483" y="1167"/>
                    <a:pt x="1483" y="1167"/>
                  </a:cubicBezTo>
                  <a:cubicBezTo>
                    <a:pt x="1481" y="1159"/>
                    <a:pt x="1481" y="1159"/>
                    <a:pt x="1481" y="1159"/>
                  </a:cubicBezTo>
                  <a:cubicBezTo>
                    <a:pt x="1482" y="1151"/>
                    <a:pt x="1482" y="1151"/>
                    <a:pt x="1482" y="1151"/>
                  </a:cubicBezTo>
                  <a:lnTo>
                    <a:pt x="1477" y="1149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8001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3" name="Chile">
              <a:extLst>
                <a:ext uri="{FF2B5EF4-FFF2-40B4-BE49-F238E27FC236}">
                  <a16:creationId xmlns="" xmlns:a16="http://schemas.microsoft.com/office/drawing/2014/main" id="{9E1321A9-762F-4E77-9895-62854BC34DD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107017" y="4591426"/>
              <a:ext cx="271371" cy="1571281"/>
            </a:xfrm>
            <a:custGeom>
              <a:avLst/>
              <a:gdLst/>
              <a:ahLst/>
              <a:cxnLst>
                <a:cxn ang="0">
                  <a:pos x="90" y="878"/>
                </a:cxn>
                <a:cxn ang="0">
                  <a:pos x="75" y="883"/>
                </a:cxn>
                <a:cxn ang="0">
                  <a:pos x="45" y="870"/>
                </a:cxn>
                <a:cxn ang="0">
                  <a:pos x="60" y="856"/>
                </a:cxn>
                <a:cxn ang="0">
                  <a:pos x="45" y="831"/>
                </a:cxn>
                <a:cxn ang="0">
                  <a:pos x="39" y="818"/>
                </a:cxn>
                <a:cxn ang="0">
                  <a:pos x="31" y="769"/>
                </a:cxn>
                <a:cxn ang="0">
                  <a:pos x="31" y="723"/>
                </a:cxn>
                <a:cxn ang="0">
                  <a:pos x="32" y="707"/>
                </a:cxn>
                <a:cxn ang="0">
                  <a:pos x="13" y="685"/>
                </a:cxn>
                <a:cxn ang="0">
                  <a:pos x="15" y="661"/>
                </a:cxn>
                <a:cxn ang="0">
                  <a:pos x="41" y="675"/>
                </a:cxn>
                <a:cxn ang="0">
                  <a:pos x="49" y="617"/>
                </a:cxn>
                <a:cxn ang="0">
                  <a:pos x="59" y="552"/>
                </a:cxn>
                <a:cxn ang="0">
                  <a:pos x="50" y="487"/>
                </a:cxn>
                <a:cxn ang="0">
                  <a:pos x="61" y="402"/>
                </a:cxn>
                <a:cxn ang="0">
                  <a:pos x="80" y="291"/>
                </a:cxn>
                <a:cxn ang="0">
                  <a:pos x="91" y="205"/>
                </a:cxn>
                <a:cxn ang="0">
                  <a:pos x="99" y="118"/>
                </a:cxn>
                <a:cxn ang="0">
                  <a:pos x="102" y="17"/>
                </a:cxn>
                <a:cxn ang="0">
                  <a:pos x="138" y="74"/>
                </a:cxn>
                <a:cxn ang="0">
                  <a:pos x="141" y="147"/>
                </a:cxn>
                <a:cxn ang="0">
                  <a:pos x="129" y="215"/>
                </a:cxn>
                <a:cxn ang="0">
                  <a:pos x="104" y="280"/>
                </a:cxn>
                <a:cxn ang="0">
                  <a:pos x="105" y="382"/>
                </a:cxn>
                <a:cxn ang="0">
                  <a:pos x="91" y="476"/>
                </a:cxn>
                <a:cxn ang="0">
                  <a:pos x="78" y="563"/>
                </a:cxn>
                <a:cxn ang="0">
                  <a:pos x="86" y="630"/>
                </a:cxn>
                <a:cxn ang="0">
                  <a:pos x="78" y="657"/>
                </a:cxn>
                <a:cxn ang="0">
                  <a:pos x="61" y="726"/>
                </a:cxn>
                <a:cxn ang="0">
                  <a:pos x="46" y="804"/>
                </a:cxn>
                <a:cxn ang="0">
                  <a:pos x="130" y="843"/>
                </a:cxn>
                <a:cxn ang="0">
                  <a:pos x="132" y="858"/>
                </a:cxn>
                <a:cxn ang="0">
                  <a:pos x="106" y="871"/>
                </a:cxn>
                <a:cxn ang="0">
                  <a:pos x="123" y="891"/>
                </a:cxn>
                <a:cxn ang="0">
                  <a:pos x="125" y="920"/>
                </a:cxn>
                <a:cxn ang="0">
                  <a:pos x="100" y="923"/>
                </a:cxn>
                <a:cxn ang="0">
                  <a:pos x="92" y="931"/>
                </a:cxn>
                <a:cxn ang="0">
                  <a:pos x="165" y="935"/>
                </a:cxn>
                <a:cxn ang="0">
                  <a:pos x="159" y="949"/>
                </a:cxn>
                <a:cxn ang="0">
                  <a:pos x="130" y="947"/>
                </a:cxn>
                <a:cxn ang="0">
                  <a:pos x="142" y="945"/>
                </a:cxn>
                <a:cxn ang="0">
                  <a:pos x="111" y="944"/>
                </a:cxn>
                <a:cxn ang="0">
                  <a:pos x="96" y="938"/>
                </a:cxn>
                <a:cxn ang="0">
                  <a:pos x="117" y="936"/>
                </a:cxn>
                <a:cxn ang="0">
                  <a:pos x="62" y="905"/>
                </a:cxn>
                <a:cxn ang="0">
                  <a:pos x="28" y="876"/>
                </a:cxn>
                <a:cxn ang="0">
                  <a:pos x="38" y="874"/>
                </a:cxn>
                <a:cxn ang="0">
                  <a:pos x="77" y="911"/>
                </a:cxn>
                <a:cxn ang="0">
                  <a:pos x="88" y="912"/>
                </a:cxn>
                <a:cxn ang="0">
                  <a:pos x="98" y="890"/>
                </a:cxn>
                <a:cxn ang="0">
                  <a:pos x="25" y="822"/>
                </a:cxn>
                <a:cxn ang="0">
                  <a:pos x="18" y="814"/>
                </a:cxn>
                <a:cxn ang="0">
                  <a:pos x="14" y="745"/>
                </a:cxn>
                <a:cxn ang="0">
                  <a:pos x="19" y="764"/>
                </a:cxn>
                <a:cxn ang="0">
                  <a:pos x="12" y="738"/>
                </a:cxn>
                <a:cxn ang="0">
                  <a:pos x="6" y="784"/>
                </a:cxn>
                <a:cxn ang="0">
                  <a:pos x="18" y="841"/>
                </a:cxn>
                <a:cxn ang="0">
                  <a:pos x="55" y="882"/>
                </a:cxn>
                <a:cxn ang="0">
                  <a:pos x="61" y="869"/>
                </a:cxn>
                <a:cxn ang="0">
                  <a:pos x="53" y="630"/>
                </a:cxn>
                <a:cxn ang="0">
                  <a:pos x="26" y="593"/>
                </a:cxn>
                <a:cxn ang="0">
                  <a:pos x="34" y="558"/>
                </a:cxn>
              </a:cxnLst>
              <a:rect l="0" t="0" r="r" b="b"/>
              <a:pathLst>
                <a:path w="167" h="959">
                  <a:moveTo>
                    <a:pt x="121" y="848"/>
                  </a:moveTo>
                  <a:cubicBezTo>
                    <a:pt x="116" y="856"/>
                    <a:pt x="116" y="856"/>
                    <a:pt x="116" y="856"/>
                  </a:cubicBezTo>
                  <a:cubicBezTo>
                    <a:pt x="109" y="858"/>
                    <a:pt x="109" y="858"/>
                    <a:pt x="109" y="858"/>
                  </a:cubicBezTo>
                  <a:cubicBezTo>
                    <a:pt x="101" y="863"/>
                    <a:pt x="101" y="863"/>
                    <a:pt x="101" y="863"/>
                  </a:cubicBezTo>
                  <a:cubicBezTo>
                    <a:pt x="93" y="863"/>
                    <a:pt x="93" y="863"/>
                    <a:pt x="93" y="863"/>
                  </a:cubicBezTo>
                  <a:cubicBezTo>
                    <a:pt x="93" y="870"/>
                    <a:pt x="93" y="870"/>
                    <a:pt x="93" y="870"/>
                  </a:cubicBezTo>
                  <a:cubicBezTo>
                    <a:pt x="90" y="878"/>
                    <a:pt x="90" y="878"/>
                    <a:pt x="90" y="878"/>
                  </a:cubicBezTo>
                  <a:cubicBezTo>
                    <a:pt x="89" y="891"/>
                    <a:pt x="89" y="891"/>
                    <a:pt x="89" y="891"/>
                  </a:cubicBezTo>
                  <a:cubicBezTo>
                    <a:pt x="86" y="900"/>
                    <a:pt x="86" y="900"/>
                    <a:pt x="86" y="900"/>
                  </a:cubicBezTo>
                  <a:cubicBezTo>
                    <a:pt x="78" y="898"/>
                    <a:pt x="78" y="898"/>
                    <a:pt x="78" y="898"/>
                  </a:cubicBezTo>
                  <a:cubicBezTo>
                    <a:pt x="69" y="893"/>
                    <a:pt x="69" y="893"/>
                    <a:pt x="69" y="893"/>
                  </a:cubicBezTo>
                  <a:cubicBezTo>
                    <a:pt x="63" y="881"/>
                    <a:pt x="63" y="881"/>
                    <a:pt x="63" y="881"/>
                  </a:cubicBezTo>
                  <a:cubicBezTo>
                    <a:pt x="70" y="880"/>
                    <a:pt x="70" y="880"/>
                    <a:pt x="70" y="880"/>
                  </a:cubicBezTo>
                  <a:cubicBezTo>
                    <a:pt x="75" y="883"/>
                    <a:pt x="75" y="883"/>
                    <a:pt x="75" y="883"/>
                  </a:cubicBezTo>
                  <a:cubicBezTo>
                    <a:pt x="81" y="879"/>
                    <a:pt x="81" y="879"/>
                    <a:pt x="81" y="879"/>
                  </a:cubicBezTo>
                  <a:cubicBezTo>
                    <a:pt x="85" y="869"/>
                    <a:pt x="85" y="869"/>
                    <a:pt x="85" y="869"/>
                  </a:cubicBezTo>
                  <a:cubicBezTo>
                    <a:pt x="78" y="858"/>
                    <a:pt x="78" y="858"/>
                    <a:pt x="78" y="858"/>
                  </a:cubicBezTo>
                  <a:cubicBezTo>
                    <a:pt x="62" y="861"/>
                    <a:pt x="62" y="861"/>
                    <a:pt x="62" y="861"/>
                  </a:cubicBezTo>
                  <a:cubicBezTo>
                    <a:pt x="53" y="866"/>
                    <a:pt x="53" y="866"/>
                    <a:pt x="53" y="866"/>
                  </a:cubicBezTo>
                  <a:cubicBezTo>
                    <a:pt x="50" y="873"/>
                    <a:pt x="50" y="873"/>
                    <a:pt x="50" y="873"/>
                  </a:cubicBezTo>
                  <a:cubicBezTo>
                    <a:pt x="45" y="870"/>
                    <a:pt x="45" y="870"/>
                    <a:pt x="45" y="870"/>
                  </a:cubicBezTo>
                  <a:cubicBezTo>
                    <a:pt x="41" y="865"/>
                    <a:pt x="41" y="865"/>
                    <a:pt x="41" y="865"/>
                  </a:cubicBezTo>
                  <a:cubicBezTo>
                    <a:pt x="41" y="857"/>
                    <a:pt x="41" y="857"/>
                    <a:pt x="41" y="857"/>
                  </a:cubicBezTo>
                  <a:cubicBezTo>
                    <a:pt x="40" y="847"/>
                    <a:pt x="40" y="847"/>
                    <a:pt x="40" y="847"/>
                  </a:cubicBezTo>
                  <a:cubicBezTo>
                    <a:pt x="48" y="846"/>
                    <a:pt x="48" y="846"/>
                    <a:pt x="48" y="846"/>
                  </a:cubicBezTo>
                  <a:cubicBezTo>
                    <a:pt x="54" y="846"/>
                    <a:pt x="54" y="846"/>
                    <a:pt x="54" y="846"/>
                  </a:cubicBezTo>
                  <a:cubicBezTo>
                    <a:pt x="52" y="856"/>
                    <a:pt x="52" y="856"/>
                    <a:pt x="52" y="856"/>
                  </a:cubicBezTo>
                  <a:cubicBezTo>
                    <a:pt x="60" y="856"/>
                    <a:pt x="60" y="856"/>
                    <a:pt x="60" y="856"/>
                  </a:cubicBezTo>
                  <a:cubicBezTo>
                    <a:pt x="60" y="847"/>
                    <a:pt x="60" y="847"/>
                    <a:pt x="60" y="847"/>
                  </a:cubicBezTo>
                  <a:cubicBezTo>
                    <a:pt x="58" y="839"/>
                    <a:pt x="58" y="839"/>
                    <a:pt x="58" y="839"/>
                  </a:cubicBezTo>
                  <a:cubicBezTo>
                    <a:pt x="58" y="829"/>
                    <a:pt x="58" y="829"/>
                    <a:pt x="58" y="829"/>
                  </a:cubicBezTo>
                  <a:cubicBezTo>
                    <a:pt x="50" y="825"/>
                    <a:pt x="50" y="825"/>
                    <a:pt x="50" y="825"/>
                  </a:cubicBezTo>
                  <a:cubicBezTo>
                    <a:pt x="51" y="839"/>
                    <a:pt x="51" y="839"/>
                    <a:pt x="51" y="839"/>
                  </a:cubicBezTo>
                  <a:cubicBezTo>
                    <a:pt x="46" y="839"/>
                    <a:pt x="46" y="839"/>
                    <a:pt x="46" y="839"/>
                  </a:cubicBezTo>
                  <a:cubicBezTo>
                    <a:pt x="45" y="831"/>
                    <a:pt x="45" y="831"/>
                    <a:pt x="45" y="831"/>
                  </a:cubicBezTo>
                  <a:cubicBezTo>
                    <a:pt x="42" y="841"/>
                    <a:pt x="42" y="841"/>
                    <a:pt x="42" y="841"/>
                  </a:cubicBezTo>
                  <a:cubicBezTo>
                    <a:pt x="38" y="831"/>
                    <a:pt x="38" y="831"/>
                    <a:pt x="38" y="831"/>
                  </a:cubicBezTo>
                  <a:cubicBezTo>
                    <a:pt x="33" y="835"/>
                    <a:pt x="33" y="835"/>
                    <a:pt x="33" y="835"/>
                  </a:cubicBezTo>
                  <a:cubicBezTo>
                    <a:pt x="30" y="833"/>
                    <a:pt x="30" y="833"/>
                    <a:pt x="30" y="833"/>
                  </a:cubicBezTo>
                  <a:cubicBezTo>
                    <a:pt x="34" y="826"/>
                    <a:pt x="34" y="826"/>
                    <a:pt x="34" y="826"/>
                  </a:cubicBezTo>
                  <a:cubicBezTo>
                    <a:pt x="39" y="825"/>
                    <a:pt x="39" y="825"/>
                    <a:pt x="39" y="825"/>
                  </a:cubicBezTo>
                  <a:cubicBezTo>
                    <a:pt x="39" y="818"/>
                    <a:pt x="39" y="818"/>
                    <a:pt x="39" y="818"/>
                  </a:cubicBezTo>
                  <a:cubicBezTo>
                    <a:pt x="33" y="814"/>
                    <a:pt x="33" y="814"/>
                    <a:pt x="33" y="814"/>
                  </a:cubicBezTo>
                  <a:cubicBezTo>
                    <a:pt x="33" y="805"/>
                    <a:pt x="33" y="805"/>
                    <a:pt x="33" y="805"/>
                  </a:cubicBezTo>
                  <a:cubicBezTo>
                    <a:pt x="27" y="801"/>
                    <a:pt x="27" y="801"/>
                    <a:pt x="27" y="801"/>
                  </a:cubicBezTo>
                  <a:cubicBezTo>
                    <a:pt x="21" y="792"/>
                    <a:pt x="21" y="792"/>
                    <a:pt x="21" y="792"/>
                  </a:cubicBezTo>
                  <a:cubicBezTo>
                    <a:pt x="25" y="786"/>
                    <a:pt x="25" y="786"/>
                    <a:pt x="25" y="786"/>
                  </a:cubicBezTo>
                  <a:cubicBezTo>
                    <a:pt x="27" y="779"/>
                    <a:pt x="27" y="779"/>
                    <a:pt x="27" y="779"/>
                  </a:cubicBezTo>
                  <a:cubicBezTo>
                    <a:pt x="31" y="769"/>
                    <a:pt x="31" y="769"/>
                    <a:pt x="31" y="769"/>
                  </a:cubicBezTo>
                  <a:cubicBezTo>
                    <a:pt x="34" y="763"/>
                    <a:pt x="34" y="763"/>
                    <a:pt x="34" y="763"/>
                  </a:cubicBezTo>
                  <a:cubicBezTo>
                    <a:pt x="38" y="758"/>
                    <a:pt x="38" y="758"/>
                    <a:pt x="38" y="758"/>
                  </a:cubicBezTo>
                  <a:cubicBezTo>
                    <a:pt x="36" y="749"/>
                    <a:pt x="36" y="749"/>
                    <a:pt x="36" y="749"/>
                  </a:cubicBezTo>
                  <a:cubicBezTo>
                    <a:pt x="29" y="756"/>
                    <a:pt x="29" y="756"/>
                    <a:pt x="29" y="756"/>
                  </a:cubicBezTo>
                  <a:cubicBezTo>
                    <a:pt x="29" y="735"/>
                    <a:pt x="29" y="735"/>
                    <a:pt x="29" y="735"/>
                  </a:cubicBezTo>
                  <a:cubicBezTo>
                    <a:pt x="24" y="723"/>
                    <a:pt x="24" y="723"/>
                    <a:pt x="24" y="723"/>
                  </a:cubicBezTo>
                  <a:cubicBezTo>
                    <a:pt x="31" y="723"/>
                    <a:pt x="31" y="723"/>
                    <a:pt x="31" y="723"/>
                  </a:cubicBezTo>
                  <a:cubicBezTo>
                    <a:pt x="45" y="726"/>
                    <a:pt x="45" y="726"/>
                    <a:pt x="45" y="726"/>
                  </a:cubicBezTo>
                  <a:cubicBezTo>
                    <a:pt x="45" y="721"/>
                    <a:pt x="45" y="721"/>
                    <a:pt x="45" y="721"/>
                  </a:cubicBezTo>
                  <a:cubicBezTo>
                    <a:pt x="42" y="715"/>
                    <a:pt x="42" y="715"/>
                    <a:pt x="42" y="715"/>
                  </a:cubicBezTo>
                  <a:cubicBezTo>
                    <a:pt x="27" y="718"/>
                    <a:pt x="27" y="718"/>
                    <a:pt x="27" y="718"/>
                  </a:cubicBezTo>
                  <a:cubicBezTo>
                    <a:pt x="23" y="711"/>
                    <a:pt x="23" y="711"/>
                    <a:pt x="23" y="711"/>
                  </a:cubicBezTo>
                  <a:cubicBezTo>
                    <a:pt x="30" y="713"/>
                    <a:pt x="30" y="713"/>
                    <a:pt x="30" y="713"/>
                  </a:cubicBezTo>
                  <a:cubicBezTo>
                    <a:pt x="32" y="707"/>
                    <a:pt x="32" y="707"/>
                    <a:pt x="32" y="707"/>
                  </a:cubicBezTo>
                  <a:cubicBezTo>
                    <a:pt x="25" y="706"/>
                    <a:pt x="25" y="706"/>
                    <a:pt x="25" y="706"/>
                  </a:cubicBezTo>
                  <a:cubicBezTo>
                    <a:pt x="27" y="700"/>
                    <a:pt x="27" y="700"/>
                    <a:pt x="27" y="700"/>
                  </a:cubicBezTo>
                  <a:cubicBezTo>
                    <a:pt x="32" y="697"/>
                    <a:pt x="32" y="697"/>
                    <a:pt x="32" y="697"/>
                  </a:cubicBezTo>
                  <a:cubicBezTo>
                    <a:pt x="32" y="690"/>
                    <a:pt x="32" y="690"/>
                    <a:pt x="32" y="690"/>
                  </a:cubicBezTo>
                  <a:cubicBezTo>
                    <a:pt x="25" y="686"/>
                    <a:pt x="25" y="686"/>
                    <a:pt x="25" y="686"/>
                  </a:cubicBezTo>
                  <a:cubicBezTo>
                    <a:pt x="19" y="690"/>
                    <a:pt x="19" y="690"/>
                    <a:pt x="19" y="690"/>
                  </a:cubicBezTo>
                  <a:cubicBezTo>
                    <a:pt x="13" y="685"/>
                    <a:pt x="13" y="685"/>
                    <a:pt x="13" y="685"/>
                  </a:cubicBezTo>
                  <a:cubicBezTo>
                    <a:pt x="8" y="686"/>
                    <a:pt x="8" y="686"/>
                    <a:pt x="8" y="686"/>
                  </a:cubicBezTo>
                  <a:cubicBezTo>
                    <a:pt x="9" y="693"/>
                    <a:pt x="9" y="693"/>
                    <a:pt x="9" y="693"/>
                  </a:cubicBezTo>
                  <a:cubicBezTo>
                    <a:pt x="2" y="692"/>
                    <a:pt x="2" y="692"/>
                    <a:pt x="2" y="692"/>
                  </a:cubicBezTo>
                  <a:cubicBezTo>
                    <a:pt x="0" y="683"/>
                    <a:pt x="0" y="683"/>
                    <a:pt x="0" y="683"/>
                  </a:cubicBezTo>
                  <a:cubicBezTo>
                    <a:pt x="9" y="678"/>
                    <a:pt x="9" y="678"/>
                    <a:pt x="9" y="678"/>
                  </a:cubicBezTo>
                  <a:cubicBezTo>
                    <a:pt x="17" y="672"/>
                    <a:pt x="17" y="672"/>
                    <a:pt x="17" y="672"/>
                  </a:cubicBezTo>
                  <a:cubicBezTo>
                    <a:pt x="15" y="661"/>
                    <a:pt x="15" y="661"/>
                    <a:pt x="15" y="661"/>
                  </a:cubicBezTo>
                  <a:cubicBezTo>
                    <a:pt x="27" y="658"/>
                    <a:pt x="27" y="658"/>
                    <a:pt x="27" y="658"/>
                  </a:cubicBezTo>
                  <a:cubicBezTo>
                    <a:pt x="29" y="665"/>
                    <a:pt x="29" y="665"/>
                    <a:pt x="29" y="665"/>
                  </a:cubicBezTo>
                  <a:cubicBezTo>
                    <a:pt x="23" y="672"/>
                    <a:pt x="23" y="672"/>
                    <a:pt x="23" y="672"/>
                  </a:cubicBezTo>
                  <a:cubicBezTo>
                    <a:pt x="25" y="677"/>
                    <a:pt x="25" y="677"/>
                    <a:pt x="25" y="677"/>
                  </a:cubicBezTo>
                  <a:cubicBezTo>
                    <a:pt x="36" y="672"/>
                    <a:pt x="36" y="672"/>
                    <a:pt x="36" y="672"/>
                  </a:cubicBezTo>
                  <a:cubicBezTo>
                    <a:pt x="37" y="681"/>
                    <a:pt x="37" y="681"/>
                    <a:pt x="37" y="681"/>
                  </a:cubicBezTo>
                  <a:cubicBezTo>
                    <a:pt x="41" y="675"/>
                    <a:pt x="41" y="675"/>
                    <a:pt x="41" y="675"/>
                  </a:cubicBezTo>
                  <a:cubicBezTo>
                    <a:pt x="45" y="670"/>
                    <a:pt x="45" y="670"/>
                    <a:pt x="45" y="670"/>
                  </a:cubicBezTo>
                  <a:cubicBezTo>
                    <a:pt x="45" y="660"/>
                    <a:pt x="45" y="660"/>
                    <a:pt x="45" y="660"/>
                  </a:cubicBezTo>
                  <a:cubicBezTo>
                    <a:pt x="50" y="649"/>
                    <a:pt x="50" y="649"/>
                    <a:pt x="50" y="649"/>
                  </a:cubicBezTo>
                  <a:cubicBezTo>
                    <a:pt x="45" y="639"/>
                    <a:pt x="45" y="639"/>
                    <a:pt x="45" y="639"/>
                  </a:cubicBezTo>
                  <a:cubicBezTo>
                    <a:pt x="59" y="633"/>
                    <a:pt x="59" y="633"/>
                    <a:pt x="59" y="633"/>
                  </a:cubicBezTo>
                  <a:cubicBezTo>
                    <a:pt x="59" y="623"/>
                    <a:pt x="59" y="623"/>
                    <a:pt x="59" y="623"/>
                  </a:cubicBezTo>
                  <a:cubicBezTo>
                    <a:pt x="49" y="617"/>
                    <a:pt x="49" y="617"/>
                    <a:pt x="49" y="617"/>
                  </a:cubicBezTo>
                  <a:cubicBezTo>
                    <a:pt x="57" y="608"/>
                    <a:pt x="57" y="608"/>
                    <a:pt x="57" y="608"/>
                  </a:cubicBezTo>
                  <a:cubicBezTo>
                    <a:pt x="54" y="595"/>
                    <a:pt x="54" y="595"/>
                    <a:pt x="54" y="595"/>
                  </a:cubicBezTo>
                  <a:cubicBezTo>
                    <a:pt x="58" y="590"/>
                    <a:pt x="58" y="590"/>
                    <a:pt x="58" y="590"/>
                  </a:cubicBezTo>
                  <a:cubicBezTo>
                    <a:pt x="61" y="582"/>
                    <a:pt x="61" y="582"/>
                    <a:pt x="61" y="582"/>
                  </a:cubicBezTo>
                  <a:cubicBezTo>
                    <a:pt x="58" y="578"/>
                    <a:pt x="58" y="578"/>
                    <a:pt x="58" y="578"/>
                  </a:cubicBezTo>
                  <a:cubicBezTo>
                    <a:pt x="65" y="562"/>
                    <a:pt x="65" y="562"/>
                    <a:pt x="65" y="562"/>
                  </a:cubicBezTo>
                  <a:cubicBezTo>
                    <a:pt x="59" y="552"/>
                    <a:pt x="59" y="552"/>
                    <a:pt x="59" y="552"/>
                  </a:cubicBezTo>
                  <a:cubicBezTo>
                    <a:pt x="63" y="543"/>
                    <a:pt x="63" y="543"/>
                    <a:pt x="63" y="543"/>
                  </a:cubicBezTo>
                  <a:cubicBezTo>
                    <a:pt x="55" y="545"/>
                    <a:pt x="55" y="545"/>
                    <a:pt x="55" y="545"/>
                  </a:cubicBezTo>
                  <a:cubicBezTo>
                    <a:pt x="47" y="549"/>
                    <a:pt x="47" y="549"/>
                    <a:pt x="47" y="549"/>
                  </a:cubicBezTo>
                  <a:cubicBezTo>
                    <a:pt x="40" y="546"/>
                    <a:pt x="40" y="546"/>
                    <a:pt x="40" y="546"/>
                  </a:cubicBezTo>
                  <a:cubicBezTo>
                    <a:pt x="35" y="534"/>
                    <a:pt x="35" y="534"/>
                    <a:pt x="35" y="534"/>
                  </a:cubicBezTo>
                  <a:cubicBezTo>
                    <a:pt x="41" y="507"/>
                    <a:pt x="41" y="507"/>
                    <a:pt x="41" y="507"/>
                  </a:cubicBezTo>
                  <a:cubicBezTo>
                    <a:pt x="50" y="487"/>
                    <a:pt x="50" y="487"/>
                    <a:pt x="50" y="487"/>
                  </a:cubicBezTo>
                  <a:cubicBezTo>
                    <a:pt x="44" y="454"/>
                    <a:pt x="44" y="454"/>
                    <a:pt x="44" y="454"/>
                  </a:cubicBezTo>
                  <a:cubicBezTo>
                    <a:pt x="39" y="451"/>
                    <a:pt x="39" y="451"/>
                    <a:pt x="39" y="451"/>
                  </a:cubicBezTo>
                  <a:cubicBezTo>
                    <a:pt x="38" y="436"/>
                    <a:pt x="38" y="436"/>
                    <a:pt x="38" y="436"/>
                  </a:cubicBezTo>
                  <a:cubicBezTo>
                    <a:pt x="48" y="437"/>
                    <a:pt x="48" y="437"/>
                    <a:pt x="48" y="437"/>
                  </a:cubicBezTo>
                  <a:cubicBezTo>
                    <a:pt x="52" y="428"/>
                    <a:pt x="52" y="428"/>
                    <a:pt x="52" y="428"/>
                  </a:cubicBezTo>
                  <a:cubicBezTo>
                    <a:pt x="54" y="416"/>
                    <a:pt x="54" y="416"/>
                    <a:pt x="54" y="416"/>
                  </a:cubicBezTo>
                  <a:cubicBezTo>
                    <a:pt x="61" y="402"/>
                    <a:pt x="61" y="402"/>
                    <a:pt x="61" y="402"/>
                  </a:cubicBezTo>
                  <a:cubicBezTo>
                    <a:pt x="61" y="393"/>
                    <a:pt x="61" y="393"/>
                    <a:pt x="61" y="393"/>
                  </a:cubicBezTo>
                  <a:cubicBezTo>
                    <a:pt x="68" y="384"/>
                    <a:pt x="68" y="384"/>
                    <a:pt x="68" y="384"/>
                  </a:cubicBezTo>
                  <a:cubicBezTo>
                    <a:pt x="76" y="351"/>
                    <a:pt x="76" y="351"/>
                    <a:pt x="76" y="351"/>
                  </a:cubicBezTo>
                  <a:cubicBezTo>
                    <a:pt x="82" y="351"/>
                    <a:pt x="82" y="351"/>
                    <a:pt x="82" y="351"/>
                  </a:cubicBezTo>
                  <a:cubicBezTo>
                    <a:pt x="81" y="333"/>
                    <a:pt x="81" y="333"/>
                    <a:pt x="81" y="333"/>
                  </a:cubicBezTo>
                  <a:cubicBezTo>
                    <a:pt x="85" y="321"/>
                    <a:pt x="85" y="321"/>
                    <a:pt x="85" y="321"/>
                  </a:cubicBezTo>
                  <a:cubicBezTo>
                    <a:pt x="80" y="291"/>
                    <a:pt x="80" y="291"/>
                    <a:pt x="80" y="291"/>
                  </a:cubicBezTo>
                  <a:cubicBezTo>
                    <a:pt x="83" y="272"/>
                    <a:pt x="83" y="272"/>
                    <a:pt x="83" y="272"/>
                  </a:cubicBezTo>
                  <a:cubicBezTo>
                    <a:pt x="87" y="259"/>
                    <a:pt x="87" y="259"/>
                    <a:pt x="87" y="259"/>
                  </a:cubicBezTo>
                  <a:cubicBezTo>
                    <a:pt x="83" y="244"/>
                    <a:pt x="83" y="244"/>
                    <a:pt x="83" y="244"/>
                  </a:cubicBezTo>
                  <a:cubicBezTo>
                    <a:pt x="87" y="237"/>
                    <a:pt x="87" y="237"/>
                    <a:pt x="87" y="237"/>
                  </a:cubicBezTo>
                  <a:cubicBezTo>
                    <a:pt x="87" y="219"/>
                    <a:pt x="87" y="219"/>
                    <a:pt x="87" y="219"/>
                  </a:cubicBezTo>
                  <a:cubicBezTo>
                    <a:pt x="91" y="213"/>
                    <a:pt x="91" y="213"/>
                    <a:pt x="91" y="213"/>
                  </a:cubicBezTo>
                  <a:cubicBezTo>
                    <a:pt x="91" y="205"/>
                    <a:pt x="91" y="205"/>
                    <a:pt x="91" y="205"/>
                  </a:cubicBezTo>
                  <a:cubicBezTo>
                    <a:pt x="99" y="190"/>
                    <a:pt x="99" y="190"/>
                    <a:pt x="99" y="190"/>
                  </a:cubicBezTo>
                  <a:cubicBezTo>
                    <a:pt x="97" y="171"/>
                    <a:pt x="97" y="171"/>
                    <a:pt x="97" y="171"/>
                  </a:cubicBezTo>
                  <a:cubicBezTo>
                    <a:pt x="102" y="166"/>
                    <a:pt x="102" y="166"/>
                    <a:pt x="102" y="166"/>
                  </a:cubicBezTo>
                  <a:cubicBezTo>
                    <a:pt x="100" y="153"/>
                    <a:pt x="100" y="153"/>
                    <a:pt x="100" y="153"/>
                  </a:cubicBezTo>
                  <a:cubicBezTo>
                    <a:pt x="101" y="137"/>
                    <a:pt x="101" y="137"/>
                    <a:pt x="101" y="137"/>
                  </a:cubicBezTo>
                  <a:cubicBezTo>
                    <a:pt x="105" y="125"/>
                    <a:pt x="105" y="125"/>
                    <a:pt x="105" y="125"/>
                  </a:cubicBezTo>
                  <a:cubicBezTo>
                    <a:pt x="99" y="118"/>
                    <a:pt x="99" y="118"/>
                    <a:pt x="99" y="118"/>
                  </a:cubicBezTo>
                  <a:cubicBezTo>
                    <a:pt x="105" y="111"/>
                    <a:pt x="105" y="111"/>
                    <a:pt x="105" y="111"/>
                  </a:cubicBezTo>
                  <a:cubicBezTo>
                    <a:pt x="106" y="102"/>
                    <a:pt x="106" y="102"/>
                    <a:pt x="106" y="102"/>
                  </a:cubicBezTo>
                  <a:cubicBezTo>
                    <a:pt x="108" y="96"/>
                    <a:pt x="108" y="96"/>
                    <a:pt x="108" y="96"/>
                  </a:cubicBezTo>
                  <a:cubicBezTo>
                    <a:pt x="108" y="79"/>
                    <a:pt x="108" y="79"/>
                    <a:pt x="108" y="79"/>
                  </a:cubicBezTo>
                  <a:cubicBezTo>
                    <a:pt x="108" y="41"/>
                    <a:pt x="108" y="41"/>
                    <a:pt x="108" y="41"/>
                  </a:cubicBezTo>
                  <a:cubicBezTo>
                    <a:pt x="101" y="26"/>
                    <a:pt x="101" y="26"/>
                    <a:pt x="101" y="26"/>
                  </a:cubicBezTo>
                  <a:cubicBezTo>
                    <a:pt x="102" y="17"/>
                    <a:pt x="102" y="17"/>
                    <a:pt x="102" y="17"/>
                  </a:cubicBezTo>
                  <a:cubicBezTo>
                    <a:pt x="96" y="14"/>
                    <a:pt x="96" y="14"/>
                    <a:pt x="96" y="14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30" y="38"/>
                    <a:pt x="130" y="38"/>
                    <a:pt x="130" y="38"/>
                  </a:cubicBezTo>
                  <a:cubicBezTo>
                    <a:pt x="130" y="46"/>
                    <a:pt x="130" y="46"/>
                    <a:pt x="130" y="46"/>
                  </a:cubicBezTo>
                  <a:cubicBezTo>
                    <a:pt x="133" y="51"/>
                    <a:pt x="133" y="51"/>
                    <a:pt x="133" y="51"/>
                  </a:cubicBezTo>
                  <a:cubicBezTo>
                    <a:pt x="133" y="71"/>
                    <a:pt x="133" y="71"/>
                    <a:pt x="133" y="71"/>
                  </a:cubicBezTo>
                  <a:cubicBezTo>
                    <a:pt x="138" y="74"/>
                    <a:pt x="138" y="74"/>
                    <a:pt x="138" y="74"/>
                  </a:cubicBezTo>
                  <a:cubicBezTo>
                    <a:pt x="141" y="80"/>
                    <a:pt x="141" y="80"/>
                    <a:pt x="141" y="80"/>
                  </a:cubicBezTo>
                  <a:cubicBezTo>
                    <a:pt x="144" y="106"/>
                    <a:pt x="144" y="106"/>
                    <a:pt x="144" y="106"/>
                  </a:cubicBezTo>
                  <a:cubicBezTo>
                    <a:pt x="165" y="115"/>
                    <a:pt x="165" y="115"/>
                    <a:pt x="165" y="115"/>
                  </a:cubicBezTo>
                  <a:cubicBezTo>
                    <a:pt x="161" y="130"/>
                    <a:pt x="161" y="130"/>
                    <a:pt x="161" y="130"/>
                  </a:cubicBezTo>
                  <a:cubicBezTo>
                    <a:pt x="156" y="136"/>
                    <a:pt x="156" y="136"/>
                    <a:pt x="156" y="136"/>
                  </a:cubicBezTo>
                  <a:cubicBezTo>
                    <a:pt x="144" y="144"/>
                    <a:pt x="144" y="144"/>
                    <a:pt x="144" y="144"/>
                  </a:cubicBezTo>
                  <a:cubicBezTo>
                    <a:pt x="141" y="147"/>
                    <a:pt x="141" y="147"/>
                    <a:pt x="141" y="147"/>
                  </a:cubicBezTo>
                  <a:cubicBezTo>
                    <a:pt x="141" y="155"/>
                    <a:pt x="141" y="155"/>
                    <a:pt x="141" y="155"/>
                  </a:cubicBezTo>
                  <a:cubicBezTo>
                    <a:pt x="136" y="166"/>
                    <a:pt x="136" y="166"/>
                    <a:pt x="136" y="166"/>
                  </a:cubicBezTo>
                  <a:cubicBezTo>
                    <a:pt x="138" y="175"/>
                    <a:pt x="138" y="175"/>
                    <a:pt x="138" y="175"/>
                  </a:cubicBezTo>
                  <a:cubicBezTo>
                    <a:pt x="138" y="192"/>
                    <a:pt x="138" y="192"/>
                    <a:pt x="138" y="192"/>
                  </a:cubicBezTo>
                  <a:cubicBezTo>
                    <a:pt x="142" y="200"/>
                    <a:pt x="142" y="200"/>
                    <a:pt x="142" y="200"/>
                  </a:cubicBezTo>
                  <a:cubicBezTo>
                    <a:pt x="134" y="207"/>
                    <a:pt x="134" y="207"/>
                    <a:pt x="134" y="207"/>
                  </a:cubicBezTo>
                  <a:cubicBezTo>
                    <a:pt x="129" y="215"/>
                    <a:pt x="129" y="215"/>
                    <a:pt x="129" y="215"/>
                  </a:cubicBezTo>
                  <a:cubicBezTo>
                    <a:pt x="127" y="223"/>
                    <a:pt x="127" y="223"/>
                    <a:pt x="127" y="223"/>
                  </a:cubicBezTo>
                  <a:cubicBezTo>
                    <a:pt x="120" y="229"/>
                    <a:pt x="120" y="229"/>
                    <a:pt x="120" y="229"/>
                  </a:cubicBezTo>
                  <a:cubicBezTo>
                    <a:pt x="113" y="243"/>
                    <a:pt x="113" y="243"/>
                    <a:pt x="113" y="243"/>
                  </a:cubicBezTo>
                  <a:cubicBezTo>
                    <a:pt x="112" y="253"/>
                    <a:pt x="112" y="253"/>
                    <a:pt x="112" y="253"/>
                  </a:cubicBezTo>
                  <a:cubicBezTo>
                    <a:pt x="113" y="273"/>
                    <a:pt x="113" y="273"/>
                    <a:pt x="113" y="273"/>
                  </a:cubicBezTo>
                  <a:cubicBezTo>
                    <a:pt x="109" y="279"/>
                    <a:pt x="109" y="279"/>
                    <a:pt x="109" y="279"/>
                  </a:cubicBezTo>
                  <a:cubicBezTo>
                    <a:pt x="104" y="280"/>
                    <a:pt x="104" y="280"/>
                    <a:pt x="104" y="280"/>
                  </a:cubicBezTo>
                  <a:cubicBezTo>
                    <a:pt x="105" y="291"/>
                    <a:pt x="105" y="291"/>
                    <a:pt x="105" y="291"/>
                  </a:cubicBezTo>
                  <a:cubicBezTo>
                    <a:pt x="100" y="294"/>
                    <a:pt x="100" y="294"/>
                    <a:pt x="100" y="294"/>
                  </a:cubicBezTo>
                  <a:cubicBezTo>
                    <a:pt x="101" y="306"/>
                    <a:pt x="101" y="306"/>
                    <a:pt x="101" y="306"/>
                  </a:cubicBezTo>
                  <a:cubicBezTo>
                    <a:pt x="109" y="326"/>
                    <a:pt x="109" y="326"/>
                    <a:pt x="109" y="326"/>
                  </a:cubicBezTo>
                  <a:cubicBezTo>
                    <a:pt x="112" y="342"/>
                    <a:pt x="112" y="342"/>
                    <a:pt x="112" y="342"/>
                  </a:cubicBezTo>
                  <a:cubicBezTo>
                    <a:pt x="111" y="361"/>
                    <a:pt x="111" y="361"/>
                    <a:pt x="111" y="361"/>
                  </a:cubicBezTo>
                  <a:cubicBezTo>
                    <a:pt x="105" y="382"/>
                    <a:pt x="105" y="382"/>
                    <a:pt x="105" y="382"/>
                  </a:cubicBezTo>
                  <a:cubicBezTo>
                    <a:pt x="100" y="404"/>
                    <a:pt x="100" y="404"/>
                    <a:pt x="100" y="404"/>
                  </a:cubicBezTo>
                  <a:cubicBezTo>
                    <a:pt x="95" y="409"/>
                    <a:pt x="95" y="409"/>
                    <a:pt x="95" y="409"/>
                  </a:cubicBezTo>
                  <a:cubicBezTo>
                    <a:pt x="94" y="416"/>
                    <a:pt x="94" y="416"/>
                    <a:pt x="94" y="416"/>
                  </a:cubicBezTo>
                  <a:cubicBezTo>
                    <a:pt x="89" y="420"/>
                    <a:pt x="89" y="420"/>
                    <a:pt x="89" y="420"/>
                  </a:cubicBezTo>
                  <a:cubicBezTo>
                    <a:pt x="89" y="439"/>
                    <a:pt x="89" y="439"/>
                    <a:pt x="89" y="439"/>
                  </a:cubicBezTo>
                  <a:cubicBezTo>
                    <a:pt x="92" y="463"/>
                    <a:pt x="92" y="463"/>
                    <a:pt x="92" y="463"/>
                  </a:cubicBezTo>
                  <a:cubicBezTo>
                    <a:pt x="91" y="476"/>
                    <a:pt x="91" y="476"/>
                    <a:pt x="91" y="476"/>
                  </a:cubicBezTo>
                  <a:cubicBezTo>
                    <a:pt x="86" y="476"/>
                    <a:pt x="86" y="476"/>
                    <a:pt x="86" y="476"/>
                  </a:cubicBezTo>
                  <a:cubicBezTo>
                    <a:pt x="80" y="488"/>
                    <a:pt x="80" y="488"/>
                    <a:pt x="80" y="488"/>
                  </a:cubicBezTo>
                  <a:cubicBezTo>
                    <a:pt x="75" y="507"/>
                    <a:pt x="75" y="507"/>
                    <a:pt x="75" y="507"/>
                  </a:cubicBezTo>
                  <a:cubicBezTo>
                    <a:pt x="77" y="514"/>
                    <a:pt x="77" y="514"/>
                    <a:pt x="77" y="514"/>
                  </a:cubicBezTo>
                  <a:cubicBezTo>
                    <a:pt x="73" y="523"/>
                    <a:pt x="73" y="523"/>
                    <a:pt x="73" y="523"/>
                  </a:cubicBezTo>
                  <a:cubicBezTo>
                    <a:pt x="75" y="546"/>
                    <a:pt x="75" y="546"/>
                    <a:pt x="75" y="546"/>
                  </a:cubicBezTo>
                  <a:cubicBezTo>
                    <a:pt x="78" y="563"/>
                    <a:pt x="78" y="563"/>
                    <a:pt x="78" y="563"/>
                  </a:cubicBezTo>
                  <a:cubicBezTo>
                    <a:pt x="67" y="568"/>
                    <a:pt x="67" y="568"/>
                    <a:pt x="67" y="568"/>
                  </a:cubicBezTo>
                  <a:cubicBezTo>
                    <a:pt x="66" y="573"/>
                    <a:pt x="66" y="573"/>
                    <a:pt x="66" y="573"/>
                  </a:cubicBezTo>
                  <a:cubicBezTo>
                    <a:pt x="73" y="583"/>
                    <a:pt x="73" y="583"/>
                    <a:pt x="73" y="583"/>
                  </a:cubicBezTo>
                  <a:cubicBezTo>
                    <a:pt x="75" y="598"/>
                    <a:pt x="75" y="598"/>
                    <a:pt x="75" y="598"/>
                  </a:cubicBezTo>
                  <a:cubicBezTo>
                    <a:pt x="74" y="618"/>
                    <a:pt x="74" y="618"/>
                    <a:pt x="74" y="618"/>
                  </a:cubicBezTo>
                  <a:cubicBezTo>
                    <a:pt x="86" y="624"/>
                    <a:pt x="86" y="624"/>
                    <a:pt x="86" y="624"/>
                  </a:cubicBezTo>
                  <a:cubicBezTo>
                    <a:pt x="86" y="630"/>
                    <a:pt x="86" y="630"/>
                    <a:pt x="86" y="630"/>
                  </a:cubicBezTo>
                  <a:cubicBezTo>
                    <a:pt x="74" y="629"/>
                    <a:pt x="74" y="629"/>
                    <a:pt x="74" y="629"/>
                  </a:cubicBezTo>
                  <a:cubicBezTo>
                    <a:pt x="71" y="633"/>
                    <a:pt x="71" y="633"/>
                    <a:pt x="71" y="633"/>
                  </a:cubicBezTo>
                  <a:cubicBezTo>
                    <a:pt x="72" y="634"/>
                    <a:pt x="72" y="634"/>
                    <a:pt x="72" y="634"/>
                  </a:cubicBezTo>
                  <a:cubicBezTo>
                    <a:pt x="79" y="636"/>
                    <a:pt x="79" y="636"/>
                    <a:pt x="79" y="636"/>
                  </a:cubicBezTo>
                  <a:cubicBezTo>
                    <a:pt x="84" y="642"/>
                    <a:pt x="84" y="642"/>
                    <a:pt x="84" y="642"/>
                  </a:cubicBezTo>
                  <a:cubicBezTo>
                    <a:pt x="76" y="652"/>
                    <a:pt x="76" y="652"/>
                    <a:pt x="76" y="652"/>
                  </a:cubicBezTo>
                  <a:cubicBezTo>
                    <a:pt x="78" y="657"/>
                    <a:pt x="78" y="657"/>
                    <a:pt x="78" y="657"/>
                  </a:cubicBezTo>
                  <a:cubicBezTo>
                    <a:pt x="76" y="662"/>
                    <a:pt x="76" y="662"/>
                    <a:pt x="76" y="662"/>
                  </a:cubicBezTo>
                  <a:cubicBezTo>
                    <a:pt x="76" y="679"/>
                    <a:pt x="76" y="679"/>
                    <a:pt x="76" y="679"/>
                  </a:cubicBezTo>
                  <a:cubicBezTo>
                    <a:pt x="73" y="682"/>
                    <a:pt x="73" y="682"/>
                    <a:pt x="73" y="682"/>
                  </a:cubicBezTo>
                  <a:cubicBezTo>
                    <a:pt x="72" y="695"/>
                    <a:pt x="72" y="695"/>
                    <a:pt x="72" y="695"/>
                  </a:cubicBezTo>
                  <a:cubicBezTo>
                    <a:pt x="58" y="709"/>
                    <a:pt x="58" y="709"/>
                    <a:pt x="58" y="709"/>
                  </a:cubicBezTo>
                  <a:cubicBezTo>
                    <a:pt x="58" y="715"/>
                    <a:pt x="58" y="715"/>
                    <a:pt x="58" y="715"/>
                  </a:cubicBezTo>
                  <a:cubicBezTo>
                    <a:pt x="61" y="726"/>
                    <a:pt x="61" y="726"/>
                    <a:pt x="61" y="726"/>
                  </a:cubicBezTo>
                  <a:cubicBezTo>
                    <a:pt x="57" y="737"/>
                    <a:pt x="57" y="737"/>
                    <a:pt x="57" y="737"/>
                  </a:cubicBezTo>
                  <a:cubicBezTo>
                    <a:pt x="53" y="746"/>
                    <a:pt x="53" y="746"/>
                    <a:pt x="53" y="746"/>
                  </a:cubicBezTo>
                  <a:cubicBezTo>
                    <a:pt x="41" y="765"/>
                    <a:pt x="41" y="765"/>
                    <a:pt x="41" y="765"/>
                  </a:cubicBezTo>
                  <a:cubicBezTo>
                    <a:pt x="37" y="781"/>
                    <a:pt x="37" y="781"/>
                    <a:pt x="37" y="781"/>
                  </a:cubicBezTo>
                  <a:cubicBezTo>
                    <a:pt x="38" y="788"/>
                    <a:pt x="38" y="788"/>
                    <a:pt x="38" y="788"/>
                  </a:cubicBezTo>
                  <a:cubicBezTo>
                    <a:pt x="43" y="795"/>
                    <a:pt x="43" y="795"/>
                    <a:pt x="43" y="795"/>
                  </a:cubicBezTo>
                  <a:cubicBezTo>
                    <a:pt x="46" y="804"/>
                    <a:pt x="46" y="804"/>
                    <a:pt x="46" y="804"/>
                  </a:cubicBezTo>
                  <a:cubicBezTo>
                    <a:pt x="53" y="799"/>
                    <a:pt x="53" y="799"/>
                    <a:pt x="53" y="799"/>
                  </a:cubicBezTo>
                  <a:cubicBezTo>
                    <a:pt x="60" y="799"/>
                    <a:pt x="60" y="799"/>
                    <a:pt x="60" y="799"/>
                  </a:cubicBezTo>
                  <a:cubicBezTo>
                    <a:pt x="60" y="814"/>
                    <a:pt x="60" y="814"/>
                    <a:pt x="60" y="814"/>
                  </a:cubicBezTo>
                  <a:cubicBezTo>
                    <a:pt x="62" y="821"/>
                    <a:pt x="62" y="821"/>
                    <a:pt x="62" y="821"/>
                  </a:cubicBezTo>
                  <a:cubicBezTo>
                    <a:pt x="61" y="828"/>
                    <a:pt x="61" y="828"/>
                    <a:pt x="61" y="828"/>
                  </a:cubicBezTo>
                  <a:cubicBezTo>
                    <a:pt x="70" y="843"/>
                    <a:pt x="70" y="843"/>
                    <a:pt x="70" y="843"/>
                  </a:cubicBezTo>
                  <a:cubicBezTo>
                    <a:pt x="130" y="843"/>
                    <a:pt x="130" y="843"/>
                    <a:pt x="130" y="843"/>
                  </a:cubicBezTo>
                  <a:cubicBezTo>
                    <a:pt x="136" y="851"/>
                    <a:pt x="136" y="851"/>
                    <a:pt x="136" y="851"/>
                  </a:cubicBezTo>
                  <a:cubicBezTo>
                    <a:pt x="128" y="848"/>
                    <a:pt x="128" y="848"/>
                    <a:pt x="128" y="848"/>
                  </a:cubicBezTo>
                  <a:lnTo>
                    <a:pt x="121" y="848"/>
                  </a:lnTo>
                  <a:close/>
                  <a:moveTo>
                    <a:pt x="136" y="932"/>
                  </a:moveTo>
                  <a:cubicBezTo>
                    <a:pt x="136" y="903"/>
                    <a:pt x="136" y="903"/>
                    <a:pt x="136" y="903"/>
                  </a:cubicBezTo>
                  <a:cubicBezTo>
                    <a:pt x="137" y="864"/>
                    <a:pt x="137" y="864"/>
                    <a:pt x="137" y="864"/>
                  </a:cubicBezTo>
                  <a:cubicBezTo>
                    <a:pt x="132" y="858"/>
                    <a:pt x="132" y="858"/>
                    <a:pt x="132" y="858"/>
                  </a:cubicBezTo>
                  <a:cubicBezTo>
                    <a:pt x="125" y="860"/>
                    <a:pt x="125" y="860"/>
                    <a:pt x="125" y="860"/>
                  </a:cubicBezTo>
                  <a:cubicBezTo>
                    <a:pt x="122" y="857"/>
                    <a:pt x="122" y="857"/>
                    <a:pt x="122" y="857"/>
                  </a:cubicBezTo>
                  <a:cubicBezTo>
                    <a:pt x="117" y="857"/>
                    <a:pt x="117" y="857"/>
                    <a:pt x="117" y="857"/>
                  </a:cubicBezTo>
                  <a:cubicBezTo>
                    <a:pt x="112" y="867"/>
                    <a:pt x="112" y="867"/>
                    <a:pt x="112" y="867"/>
                  </a:cubicBezTo>
                  <a:cubicBezTo>
                    <a:pt x="104" y="865"/>
                    <a:pt x="104" y="865"/>
                    <a:pt x="104" y="865"/>
                  </a:cubicBezTo>
                  <a:cubicBezTo>
                    <a:pt x="101" y="867"/>
                    <a:pt x="101" y="867"/>
                    <a:pt x="101" y="867"/>
                  </a:cubicBezTo>
                  <a:cubicBezTo>
                    <a:pt x="106" y="871"/>
                    <a:pt x="106" y="871"/>
                    <a:pt x="106" y="871"/>
                  </a:cubicBezTo>
                  <a:cubicBezTo>
                    <a:pt x="103" y="875"/>
                    <a:pt x="103" y="875"/>
                    <a:pt x="103" y="875"/>
                  </a:cubicBezTo>
                  <a:cubicBezTo>
                    <a:pt x="100" y="874"/>
                    <a:pt x="100" y="874"/>
                    <a:pt x="100" y="874"/>
                  </a:cubicBezTo>
                  <a:cubicBezTo>
                    <a:pt x="99" y="884"/>
                    <a:pt x="99" y="884"/>
                    <a:pt x="99" y="884"/>
                  </a:cubicBezTo>
                  <a:cubicBezTo>
                    <a:pt x="105" y="887"/>
                    <a:pt x="105" y="887"/>
                    <a:pt x="105" y="887"/>
                  </a:cubicBezTo>
                  <a:cubicBezTo>
                    <a:pt x="113" y="887"/>
                    <a:pt x="113" y="887"/>
                    <a:pt x="113" y="887"/>
                  </a:cubicBezTo>
                  <a:cubicBezTo>
                    <a:pt x="122" y="887"/>
                    <a:pt x="122" y="887"/>
                    <a:pt x="122" y="887"/>
                  </a:cubicBezTo>
                  <a:cubicBezTo>
                    <a:pt x="123" y="891"/>
                    <a:pt x="123" y="891"/>
                    <a:pt x="123" y="891"/>
                  </a:cubicBezTo>
                  <a:cubicBezTo>
                    <a:pt x="117" y="893"/>
                    <a:pt x="117" y="893"/>
                    <a:pt x="117" y="893"/>
                  </a:cubicBezTo>
                  <a:cubicBezTo>
                    <a:pt x="109" y="894"/>
                    <a:pt x="109" y="894"/>
                    <a:pt x="109" y="894"/>
                  </a:cubicBezTo>
                  <a:cubicBezTo>
                    <a:pt x="106" y="896"/>
                    <a:pt x="106" y="896"/>
                    <a:pt x="106" y="896"/>
                  </a:cubicBezTo>
                  <a:cubicBezTo>
                    <a:pt x="108" y="905"/>
                    <a:pt x="108" y="905"/>
                    <a:pt x="108" y="905"/>
                  </a:cubicBezTo>
                  <a:cubicBezTo>
                    <a:pt x="114" y="911"/>
                    <a:pt x="114" y="911"/>
                    <a:pt x="114" y="911"/>
                  </a:cubicBezTo>
                  <a:cubicBezTo>
                    <a:pt x="129" y="916"/>
                    <a:pt x="129" y="916"/>
                    <a:pt x="129" y="916"/>
                  </a:cubicBezTo>
                  <a:cubicBezTo>
                    <a:pt x="125" y="920"/>
                    <a:pt x="125" y="920"/>
                    <a:pt x="125" y="920"/>
                  </a:cubicBezTo>
                  <a:cubicBezTo>
                    <a:pt x="117" y="918"/>
                    <a:pt x="117" y="918"/>
                    <a:pt x="117" y="918"/>
                  </a:cubicBezTo>
                  <a:cubicBezTo>
                    <a:pt x="112" y="915"/>
                    <a:pt x="112" y="915"/>
                    <a:pt x="112" y="915"/>
                  </a:cubicBezTo>
                  <a:cubicBezTo>
                    <a:pt x="108" y="915"/>
                    <a:pt x="108" y="915"/>
                    <a:pt x="108" y="915"/>
                  </a:cubicBezTo>
                  <a:cubicBezTo>
                    <a:pt x="106" y="917"/>
                    <a:pt x="106" y="917"/>
                    <a:pt x="106" y="917"/>
                  </a:cubicBezTo>
                  <a:cubicBezTo>
                    <a:pt x="97" y="916"/>
                    <a:pt x="97" y="916"/>
                    <a:pt x="97" y="916"/>
                  </a:cubicBezTo>
                  <a:cubicBezTo>
                    <a:pt x="105" y="924"/>
                    <a:pt x="105" y="924"/>
                    <a:pt x="105" y="924"/>
                  </a:cubicBezTo>
                  <a:cubicBezTo>
                    <a:pt x="100" y="923"/>
                    <a:pt x="100" y="923"/>
                    <a:pt x="100" y="923"/>
                  </a:cubicBezTo>
                  <a:cubicBezTo>
                    <a:pt x="94" y="919"/>
                    <a:pt x="94" y="919"/>
                    <a:pt x="94" y="919"/>
                  </a:cubicBezTo>
                  <a:cubicBezTo>
                    <a:pt x="91" y="921"/>
                    <a:pt x="91" y="921"/>
                    <a:pt x="91" y="921"/>
                  </a:cubicBezTo>
                  <a:cubicBezTo>
                    <a:pt x="84" y="919"/>
                    <a:pt x="84" y="919"/>
                    <a:pt x="84" y="919"/>
                  </a:cubicBezTo>
                  <a:cubicBezTo>
                    <a:pt x="72" y="921"/>
                    <a:pt x="72" y="921"/>
                    <a:pt x="72" y="921"/>
                  </a:cubicBezTo>
                  <a:cubicBezTo>
                    <a:pt x="72" y="924"/>
                    <a:pt x="72" y="924"/>
                    <a:pt x="72" y="924"/>
                  </a:cubicBezTo>
                  <a:cubicBezTo>
                    <a:pt x="92" y="927"/>
                    <a:pt x="92" y="927"/>
                    <a:pt x="92" y="927"/>
                  </a:cubicBezTo>
                  <a:cubicBezTo>
                    <a:pt x="92" y="931"/>
                    <a:pt x="92" y="931"/>
                    <a:pt x="92" y="931"/>
                  </a:cubicBezTo>
                  <a:cubicBezTo>
                    <a:pt x="102" y="931"/>
                    <a:pt x="102" y="931"/>
                    <a:pt x="102" y="931"/>
                  </a:cubicBezTo>
                  <a:cubicBezTo>
                    <a:pt x="104" y="932"/>
                    <a:pt x="104" y="932"/>
                    <a:pt x="104" y="932"/>
                  </a:cubicBezTo>
                  <a:cubicBezTo>
                    <a:pt x="123" y="933"/>
                    <a:pt x="123" y="933"/>
                    <a:pt x="123" y="933"/>
                  </a:cubicBezTo>
                  <a:cubicBezTo>
                    <a:pt x="131" y="935"/>
                    <a:pt x="131" y="935"/>
                    <a:pt x="131" y="935"/>
                  </a:cubicBezTo>
                  <a:lnTo>
                    <a:pt x="136" y="932"/>
                  </a:lnTo>
                  <a:close/>
                  <a:moveTo>
                    <a:pt x="167" y="940"/>
                  </a:moveTo>
                  <a:cubicBezTo>
                    <a:pt x="165" y="935"/>
                    <a:pt x="165" y="935"/>
                    <a:pt x="165" y="935"/>
                  </a:cubicBezTo>
                  <a:cubicBezTo>
                    <a:pt x="157" y="933"/>
                    <a:pt x="157" y="933"/>
                    <a:pt x="157" y="933"/>
                  </a:cubicBezTo>
                  <a:cubicBezTo>
                    <a:pt x="156" y="936"/>
                    <a:pt x="156" y="936"/>
                    <a:pt x="156" y="936"/>
                  </a:cubicBezTo>
                  <a:cubicBezTo>
                    <a:pt x="144" y="939"/>
                    <a:pt x="144" y="939"/>
                    <a:pt x="144" y="939"/>
                  </a:cubicBezTo>
                  <a:cubicBezTo>
                    <a:pt x="146" y="944"/>
                    <a:pt x="146" y="944"/>
                    <a:pt x="146" y="944"/>
                  </a:cubicBezTo>
                  <a:cubicBezTo>
                    <a:pt x="152" y="947"/>
                    <a:pt x="152" y="947"/>
                    <a:pt x="152" y="947"/>
                  </a:cubicBezTo>
                  <a:cubicBezTo>
                    <a:pt x="158" y="945"/>
                    <a:pt x="158" y="945"/>
                    <a:pt x="158" y="945"/>
                  </a:cubicBezTo>
                  <a:cubicBezTo>
                    <a:pt x="159" y="949"/>
                    <a:pt x="159" y="949"/>
                    <a:pt x="159" y="949"/>
                  </a:cubicBezTo>
                  <a:cubicBezTo>
                    <a:pt x="163" y="949"/>
                    <a:pt x="163" y="949"/>
                    <a:pt x="163" y="949"/>
                  </a:cubicBezTo>
                  <a:lnTo>
                    <a:pt x="167" y="940"/>
                  </a:lnTo>
                  <a:close/>
                  <a:moveTo>
                    <a:pt x="120" y="955"/>
                  </a:moveTo>
                  <a:cubicBezTo>
                    <a:pt x="124" y="954"/>
                    <a:pt x="124" y="954"/>
                    <a:pt x="124" y="954"/>
                  </a:cubicBezTo>
                  <a:cubicBezTo>
                    <a:pt x="121" y="949"/>
                    <a:pt x="121" y="949"/>
                    <a:pt x="121" y="949"/>
                  </a:cubicBezTo>
                  <a:cubicBezTo>
                    <a:pt x="124" y="947"/>
                    <a:pt x="124" y="947"/>
                    <a:pt x="124" y="947"/>
                  </a:cubicBezTo>
                  <a:cubicBezTo>
                    <a:pt x="130" y="947"/>
                    <a:pt x="130" y="947"/>
                    <a:pt x="130" y="947"/>
                  </a:cubicBezTo>
                  <a:cubicBezTo>
                    <a:pt x="132" y="955"/>
                    <a:pt x="132" y="955"/>
                    <a:pt x="132" y="955"/>
                  </a:cubicBezTo>
                  <a:cubicBezTo>
                    <a:pt x="140" y="955"/>
                    <a:pt x="140" y="955"/>
                    <a:pt x="140" y="955"/>
                  </a:cubicBezTo>
                  <a:cubicBezTo>
                    <a:pt x="147" y="959"/>
                    <a:pt x="147" y="959"/>
                    <a:pt x="147" y="959"/>
                  </a:cubicBezTo>
                  <a:cubicBezTo>
                    <a:pt x="149" y="957"/>
                    <a:pt x="149" y="957"/>
                    <a:pt x="149" y="957"/>
                  </a:cubicBezTo>
                  <a:cubicBezTo>
                    <a:pt x="144" y="952"/>
                    <a:pt x="144" y="952"/>
                    <a:pt x="144" y="952"/>
                  </a:cubicBezTo>
                  <a:cubicBezTo>
                    <a:pt x="136" y="949"/>
                    <a:pt x="136" y="949"/>
                    <a:pt x="136" y="949"/>
                  </a:cubicBezTo>
                  <a:cubicBezTo>
                    <a:pt x="142" y="945"/>
                    <a:pt x="142" y="945"/>
                    <a:pt x="142" y="945"/>
                  </a:cubicBezTo>
                  <a:cubicBezTo>
                    <a:pt x="133" y="944"/>
                    <a:pt x="133" y="944"/>
                    <a:pt x="133" y="944"/>
                  </a:cubicBezTo>
                  <a:cubicBezTo>
                    <a:pt x="132" y="942"/>
                    <a:pt x="132" y="942"/>
                    <a:pt x="132" y="942"/>
                  </a:cubicBezTo>
                  <a:cubicBezTo>
                    <a:pt x="138" y="942"/>
                    <a:pt x="138" y="942"/>
                    <a:pt x="138" y="942"/>
                  </a:cubicBezTo>
                  <a:cubicBezTo>
                    <a:pt x="140" y="938"/>
                    <a:pt x="140" y="938"/>
                    <a:pt x="140" y="938"/>
                  </a:cubicBezTo>
                  <a:cubicBezTo>
                    <a:pt x="126" y="938"/>
                    <a:pt x="126" y="938"/>
                    <a:pt x="126" y="938"/>
                  </a:cubicBezTo>
                  <a:cubicBezTo>
                    <a:pt x="126" y="938"/>
                    <a:pt x="118" y="944"/>
                    <a:pt x="117" y="944"/>
                  </a:cubicBezTo>
                  <a:cubicBezTo>
                    <a:pt x="116" y="944"/>
                    <a:pt x="111" y="944"/>
                    <a:pt x="111" y="944"/>
                  </a:cubicBezTo>
                  <a:lnTo>
                    <a:pt x="120" y="955"/>
                  </a:lnTo>
                  <a:close/>
                  <a:moveTo>
                    <a:pt x="88" y="938"/>
                  </a:moveTo>
                  <a:cubicBezTo>
                    <a:pt x="92" y="942"/>
                    <a:pt x="92" y="942"/>
                    <a:pt x="92" y="942"/>
                  </a:cubicBezTo>
                  <a:cubicBezTo>
                    <a:pt x="98" y="942"/>
                    <a:pt x="98" y="942"/>
                    <a:pt x="98" y="942"/>
                  </a:cubicBezTo>
                  <a:cubicBezTo>
                    <a:pt x="102" y="942"/>
                    <a:pt x="102" y="942"/>
                    <a:pt x="102" y="942"/>
                  </a:cubicBezTo>
                  <a:cubicBezTo>
                    <a:pt x="100" y="937"/>
                    <a:pt x="100" y="937"/>
                    <a:pt x="100" y="937"/>
                  </a:cubicBezTo>
                  <a:cubicBezTo>
                    <a:pt x="96" y="938"/>
                    <a:pt x="96" y="938"/>
                    <a:pt x="96" y="938"/>
                  </a:cubicBezTo>
                  <a:cubicBezTo>
                    <a:pt x="91" y="936"/>
                    <a:pt x="91" y="936"/>
                    <a:pt x="91" y="936"/>
                  </a:cubicBezTo>
                  <a:cubicBezTo>
                    <a:pt x="85" y="932"/>
                    <a:pt x="85" y="932"/>
                    <a:pt x="85" y="932"/>
                  </a:cubicBezTo>
                  <a:cubicBezTo>
                    <a:pt x="82" y="935"/>
                    <a:pt x="82" y="935"/>
                    <a:pt x="82" y="935"/>
                  </a:cubicBezTo>
                  <a:lnTo>
                    <a:pt x="88" y="938"/>
                  </a:lnTo>
                  <a:close/>
                  <a:moveTo>
                    <a:pt x="117" y="941"/>
                  </a:moveTo>
                  <a:cubicBezTo>
                    <a:pt x="122" y="937"/>
                    <a:pt x="122" y="937"/>
                    <a:pt x="122" y="937"/>
                  </a:cubicBezTo>
                  <a:cubicBezTo>
                    <a:pt x="117" y="936"/>
                    <a:pt x="117" y="936"/>
                    <a:pt x="117" y="936"/>
                  </a:cubicBezTo>
                  <a:cubicBezTo>
                    <a:pt x="108" y="938"/>
                    <a:pt x="108" y="938"/>
                    <a:pt x="108" y="938"/>
                  </a:cubicBezTo>
                  <a:lnTo>
                    <a:pt x="117" y="941"/>
                  </a:lnTo>
                  <a:close/>
                  <a:moveTo>
                    <a:pt x="41" y="900"/>
                  </a:moveTo>
                  <a:cubicBezTo>
                    <a:pt x="45" y="902"/>
                    <a:pt x="45" y="902"/>
                    <a:pt x="45" y="902"/>
                  </a:cubicBezTo>
                  <a:cubicBezTo>
                    <a:pt x="49" y="908"/>
                    <a:pt x="49" y="908"/>
                    <a:pt x="49" y="908"/>
                  </a:cubicBezTo>
                  <a:cubicBezTo>
                    <a:pt x="58" y="909"/>
                    <a:pt x="58" y="909"/>
                    <a:pt x="58" y="909"/>
                  </a:cubicBezTo>
                  <a:cubicBezTo>
                    <a:pt x="62" y="905"/>
                    <a:pt x="62" y="905"/>
                    <a:pt x="62" y="905"/>
                  </a:cubicBezTo>
                  <a:cubicBezTo>
                    <a:pt x="65" y="897"/>
                    <a:pt x="65" y="897"/>
                    <a:pt x="65" y="897"/>
                  </a:cubicBezTo>
                  <a:cubicBezTo>
                    <a:pt x="55" y="888"/>
                    <a:pt x="55" y="888"/>
                    <a:pt x="55" y="888"/>
                  </a:cubicBezTo>
                  <a:cubicBezTo>
                    <a:pt x="50" y="890"/>
                    <a:pt x="50" y="890"/>
                    <a:pt x="50" y="890"/>
                  </a:cubicBezTo>
                  <a:cubicBezTo>
                    <a:pt x="46" y="888"/>
                    <a:pt x="46" y="888"/>
                    <a:pt x="46" y="888"/>
                  </a:cubicBezTo>
                  <a:cubicBezTo>
                    <a:pt x="36" y="892"/>
                    <a:pt x="36" y="892"/>
                    <a:pt x="36" y="892"/>
                  </a:cubicBezTo>
                  <a:lnTo>
                    <a:pt x="41" y="900"/>
                  </a:lnTo>
                  <a:close/>
                  <a:moveTo>
                    <a:pt x="28" y="876"/>
                  </a:moveTo>
                  <a:cubicBezTo>
                    <a:pt x="32" y="878"/>
                    <a:pt x="32" y="878"/>
                    <a:pt x="32" y="878"/>
                  </a:cubicBezTo>
                  <a:cubicBezTo>
                    <a:pt x="39" y="882"/>
                    <a:pt x="39" y="882"/>
                    <a:pt x="39" y="882"/>
                  </a:cubicBezTo>
                  <a:cubicBezTo>
                    <a:pt x="46" y="886"/>
                    <a:pt x="46" y="886"/>
                    <a:pt x="46" y="886"/>
                  </a:cubicBezTo>
                  <a:cubicBezTo>
                    <a:pt x="50" y="885"/>
                    <a:pt x="50" y="885"/>
                    <a:pt x="50" y="885"/>
                  </a:cubicBezTo>
                  <a:cubicBezTo>
                    <a:pt x="46" y="879"/>
                    <a:pt x="46" y="879"/>
                    <a:pt x="46" y="879"/>
                  </a:cubicBezTo>
                  <a:cubicBezTo>
                    <a:pt x="40" y="878"/>
                    <a:pt x="40" y="878"/>
                    <a:pt x="40" y="878"/>
                  </a:cubicBezTo>
                  <a:cubicBezTo>
                    <a:pt x="38" y="874"/>
                    <a:pt x="38" y="874"/>
                    <a:pt x="38" y="874"/>
                  </a:cubicBezTo>
                  <a:cubicBezTo>
                    <a:pt x="33" y="873"/>
                    <a:pt x="33" y="873"/>
                    <a:pt x="33" y="873"/>
                  </a:cubicBezTo>
                  <a:cubicBezTo>
                    <a:pt x="21" y="865"/>
                    <a:pt x="21" y="865"/>
                    <a:pt x="21" y="865"/>
                  </a:cubicBezTo>
                  <a:cubicBezTo>
                    <a:pt x="21" y="871"/>
                    <a:pt x="21" y="871"/>
                    <a:pt x="21" y="871"/>
                  </a:cubicBezTo>
                  <a:lnTo>
                    <a:pt x="28" y="876"/>
                  </a:lnTo>
                  <a:close/>
                  <a:moveTo>
                    <a:pt x="69" y="910"/>
                  </a:moveTo>
                  <a:cubicBezTo>
                    <a:pt x="74" y="915"/>
                    <a:pt x="74" y="915"/>
                    <a:pt x="74" y="915"/>
                  </a:cubicBezTo>
                  <a:cubicBezTo>
                    <a:pt x="77" y="911"/>
                    <a:pt x="77" y="911"/>
                    <a:pt x="77" y="911"/>
                  </a:cubicBezTo>
                  <a:cubicBezTo>
                    <a:pt x="75" y="908"/>
                    <a:pt x="75" y="908"/>
                    <a:pt x="75" y="908"/>
                  </a:cubicBezTo>
                  <a:cubicBezTo>
                    <a:pt x="75" y="902"/>
                    <a:pt x="75" y="902"/>
                    <a:pt x="75" y="902"/>
                  </a:cubicBezTo>
                  <a:cubicBezTo>
                    <a:pt x="71" y="902"/>
                    <a:pt x="71" y="902"/>
                    <a:pt x="71" y="902"/>
                  </a:cubicBezTo>
                  <a:cubicBezTo>
                    <a:pt x="67" y="904"/>
                    <a:pt x="67" y="904"/>
                    <a:pt x="67" y="904"/>
                  </a:cubicBezTo>
                  <a:lnTo>
                    <a:pt x="69" y="910"/>
                  </a:lnTo>
                  <a:close/>
                  <a:moveTo>
                    <a:pt x="84" y="916"/>
                  </a:moveTo>
                  <a:cubicBezTo>
                    <a:pt x="88" y="912"/>
                    <a:pt x="88" y="912"/>
                    <a:pt x="88" y="912"/>
                  </a:cubicBezTo>
                  <a:cubicBezTo>
                    <a:pt x="81" y="906"/>
                    <a:pt x="81" y="906"/>
                    <a:pt x="81" y="906"/>
                  </a:cubicBezTo>
                  <a:cubicBezTo>
                    <a:pt x="78" y="906"/>
                    <a:pt x="78" y="906"/>
                    <a:pt x="78" y="906"/>
                  </a:cubicBezTo>
                  <a:lnTo>
                    <a:pt x="84" y="916"/>
                  </a:lnTo>
                  <a:close/>
                  <a:moveTo>
                    <a:pt x="100" y="907"/>
                  </a:moveTo>
                  <a:cubicBezTo>
                    <a:pt x="103" y="904"/>
                    <a:pt x="103" y="904"/>
                    <a:pt x="103" y="904"/>
                  </a:cubicBezTo>
                  <a:cubicBezTo>
                    <a:pt x="101" y="896"/>
                    <a:pt x="101" y="896"/>
                    <a:pt x="101" y="896"/>
                  </a:cubicBezTo>
                  <a:cubicBezTo>
                    <a:pt x="98" y="890"/>
                    <a:pt x="98" y="890"/>
                    <a:pt x="98" y="890"/>
                  </a:cubicBezTo>
                  <a:cubicBezTo>
                    <a:pt x="97" y="900"/>
                    <a:pt x="97" y="900"/>
                    <a:pt x="97" y="900"/>
                  </a:cubicBezTo>
                  <a:cubicBezTo>
                    <a:pt x="93" y="901"/>
                    <a:pt x="93" y="901"/>
                    <a:pt x="93" y="901"/>
                  </a:cubicBezTo>
                  <a:cubicBezTo>
                    <a:pt x="92" y="909"/>
                    <a:pt x="92" y="909"/>
                    <a:pt x="92" y="909"/>
                  </a:cubicBezTo>
                  <a:cubicBezTo>
                    <a:pt x="100" y="913"/>
                    <a:pt x="100" y="913"/>
                    <a:pt x="100" y="913"/>
                  </a:cubicBezTo>
                  <a:lnTo>
                    <a:pt x="100" y="907"/>
                  </a:lnTo>
                  <a:close/>
                  <a:moveTo>
                    <a:pt x="18" y="824"/>
                  </a:moveTo>
                  <a:cubicBezTo>
                    <a:pt x="25" y="822"/>
                    <a:pt x="25" y="822"/>
                    <a:pt x="25" y="822"/>
                  </a:cubicBezTo>
                  <a:cubicBezTo>
                    <a:pt x="24" y="815"/>
                    <a:pt x="24" y="815"/>
                    <a:pt x="24" y="815"/>
                  </a:cubicBezTo>
                  <a:cubicBezTo>
                    <a:pt x="25" y="812"/>
                    <a:pt x="25" y="812"/>
                    <a:pt x="25" y="812"/>
                  </a:cubicBezTo>
                  <a:cubicBezTo>
                    <a:pt x="25" y="804"/>
                    <a:pt x="25" y="804"/>
                    <a:pt x="25" y="804"/>
                  </a:cubicBezTo>
                  <a:cubicBezTo>
                    <a:pt x="20" y="804"/>
                    <a:pt x="20" y="804"/>
                    <a:pt x="20" y="804"/>
                  </a:cubicBezTo>
                  <a:cubicBezTo>
                    <a:pt x="16" y="800"/>
                    <a:pt x="16" y="800"/>
                    <a:pt x="16" y="800"/>
                  </a:cubicBezTo>
                  <a:cubicBezTo>
                    <a:pt x="15" y="813"/>
                    <a:pt x="15" y="813"/>
                    <a:pt x="15" y="813"/>
                  </a:cubicBezTo>
                  <a:cubicBezTo>
                    <a:pt x="18" y="814"/>
                    <a:pt x="18" y="814"/>
                    <a:pt x="18" y="814"/>
                  </a:cubicBezTo>
                  <a:lnTo>
                    <a:pt x="18" y="824"/>
                  </a:lnTo>
                  <a:close/>
                  <a:moveTo>
                    <a:pt x="17" y="781"/>
                  </a:moveTo>
                  <a:cubicBezTo>
                    <a:pt x="24" y="779"/>
                    <a:pt x="24" y="779"/>
                    <a:pt x="24" y="779"/>
                  </a:cubicBezTo>
                  <a:cubicBezTo>
                    <a:pt x="24" y="755"/>
                    <a:pt x="24" y="755"/>
                    <a:pt x="24" y="755"/>
                  </a:cubicBezTo>
                  <a:cubicBezTo>
                    <a:pt x="22" y="744"/>
                    <a:pt x="22" y="744"/>
                    <a:pt x="22" y="744"/>
                  </a:cubicBezTo>
                  <a:cubicBezTo>
                    <a:pt x="17" y="743"/>
                    <a:pt x="17" y="743"/>
                    <a:pt x="17" y="743"/>
                  </a:cubicBezTo>
                  <a:cubicBezTo>
                    <a:pt x="14" y="745"/>
                    <a:pt x="14" y="745"/>
                    <a:pt x="14" y="745"/>
                  </a:cubicBezTo>
                  <a:cubicBezTo>
                    <a:pt x="18" y="753"/>
                    <a:pt x="18" y="753"/>
                    <a:pt x="18" y="753"/>
                  </a:cubicBezTo>
                  <a:cubicBezTo>
                    <a:pt x="16" y="759"/>
                    <a:pt x="16" y="759"/>
                    <a:pt x="16" y="759"/>
                  </a:cubicBezTo>
                  <a:cubicBezTo>
                    <a:pt x="10" y="760"/>
                    <a:pt x="10" y="760"/>
                    <a:pt x="10" y="760"/>
                  </a:cubicBezTo>
                  <a:cubicBezTo>
                    <a:pt x="8" y="765"/>
                    <a:pt x="8" y="765"/>
                    <a:pt x="8" y="765"/>
                  </a:cubicBezTo>
                  <a:cubicBezTo>
                    <a:pt x="12" y="774"/>
                    <a:pt x="12" y="774"/>
                    <a:pt x="12" y="774"/>
                  </a:cubicBezTo>
                  <a:cubicBezTo>
                    <a:pt x="15" y="765"/>
                    <a:pt x="15" y="765"/>
                    <a:pt x="15" y="765"/>
                  </a:cubicBezTo>
                  <a:cubicBezTo>
                    <a:pt x="19" y="764"/>
                    <a:pt x="19" y="764"/>
                    <a:pt x="19" y="764"/>
                  </a:cubicBezTo>
                  <a:cubicBezTo>
                    <a:pt x="17" y="772"/>
                    <a:pt x="17" y="772"/>
                    <a:pt x="17" y="772"/>
                  </a:cubicBezTo>
                  <a:lnTo>
                    <a:pt x="17" y="781"/>
                  </a:lnTo>
                  <a:close/>
                  <a:moveTo>
                    <a:pt x="12" y="738"/>
                  </a:moveTo>
                  <a:cubicBezTo>
                    <a:pt x="10" y="728"/>
                    <a:pt x="10" y="728"/>
                    <a:pt x="10" y="728"/>
                  </a:cubicBezTo>
                  <a:cubicBezTo>
                    <a:pt x="7" y="728"/>
                    <a:pt x="7" y="728"/>
                    <a:pt x="7" y="728"/>
                  </a:cubicBezTo>
                  <a:cubicBezTo>
                    <a:pt x="5" y="738"/>
                    <a:pt x="5" y="738"/>
                    <a:pt x="5" y="738"/>
                  </a:cubicBezTo>
                  <a:lnTo>
                    <a:pt x="12" y="738"/>
                  </a:lnTo>
                  <a:close/>
                  <a:moveTo>
                    <a:pt x="22" y="741"/>
                  </a:moveTo>
                  <a:cubicBezTo>
                    <a:pt x="23" y="731"/>
                    <a:pt x="23" y="731"/>
                    <a:pt x="23" y="731"/>
                  </a:cubicBezTo>
                  <a:cubicBezTo>
                    <a:pt x="20" y="729"/>
                    <a:pt x="20" y="729"/>
                    <a:pt x="20" y="729"/>
                  </a:cubicBezTo>
                  <a:cubicBezTo>
                    <a:pt x="19" y="733"/>
                    <a:pt x="19" y="733"/>
                    <a:pt x="19" y="733"/>
                  </a:cubicBezTo>
                  <a:cubicBezTo>
                    <a:pt x="14" y="735"/>
                    <a:pt x="14" y="735"/>
                    <a:pt x="14" y="735"/>
                  </a:cubicBezTo>
                  <a:lnTo>
                    <a:pt x="22" y="741"/>
                  </a:lnTo>
                  <a:close/>
                  <a:moveTo>
                    <a:pt x="6" y="784"/>
                  </a:moveTo>
                  <a:cubicBezTo>
                    <a:pt x="6" y="790"/>
                    <a:pt x="6" y="790"/>
                    <a:pt x="6" y="790"/>
                  </a:cubicBezTo>
                  <a:cubicBezTo>
                    <a:pt x="11" y="792"/>
                    <a:pt x="11" y="792"/>
                    <a:pt x="11" y="792"/>
                  </a:cubicBezTo>
                  <a:cubicBezTo>
                    <a:pt x="15" y="787"/>
                    <a:pt x="15" y="787"/>
                    <a:pt x="15" y="787"/>
                  </a:cubicBezTo>
                  <a:cubicBezTo>
                    <a:pt x="14" y="784"/>
                    <a:pt x="14" y="784"/>
                    <a:pt x="14" y="784"/>
                  </a:cubicBezTo>
                  <a:cubicBezTo>
                    <a:pt x="10" y="787"/>
                    <a:pt x="10" y="787"/>
                    <a:pt x="10" y="787"/>
                  </a:cubicBezTo>
                  <a:lnTo>
                    <a:pt x="6" y="784"/>
                  </a:lnTo>
                  <a:close/>
                  <a:moveTo>
                    <a:pt x="18" y="841"/>
                  </a:moveTo>
                  <a:cubicBezTo>
                    <a:pt x="19" y="833"/>
                    <a:pt x="19" y="833"/>
                    <a:pt x="19" y="833"/>
                  </a:cubicBezTo>
                  <a:cubicBezTo>
                    <a:pt x="16" y="831"/>
                    <a:pt x="16" y="831"/>
                    <a:pt x="16" y="831"/>
                  </a:cubicBezTo>
                  <a:cubicBezTo>
                    <a:pt x="14" y="836"/>
                    <a:pt x="14" y="836"/>
                    <a:pt x="14" y="836"/>
                  </a:cubicBezTo>
                  <a:cubicBezTo>
                    <a:pt x="14" y="845"/>
                    <a:pt x="14" y="845"/>
                    <a:pt x="14" y="845"/>
                  </a:cubicBezTo>
                  <a:lnTo>
                    <a:pt x="18" y="841"/>
                  </a:lnTo>
                  <a:close/>
                  <a:moveTo>
                    <a:pt x="51" y="880"/>
                  </a:moveTo>
                  <a:cubicBezTo>
                    <a:pt x="55" y="882"/>
                    <a:pt x="55" y="882"/>
                    <a:pt x="55" y="882"/>
                  </a:cubicBezTo>
                  <a:cubicBezTo>
                    <a:pt x="61" y="876"/>
                    <a:pt x="61" y="876"/>
                    <a:pt x="61" y="876"/>
                  </a:cubicBezTo>
                  <a:cubicBezTo>
                    <a:pt x="64" y="872"/>
                    <a:pt x="64" y="872"/>
                    <a:pt x="64" y="872"/>
                  </a:cubicBezTo>
                  <a:cubicBezTo>
                    <a:pt x="70" y="872"/>
                    <a:pt x="70" y="872"/>
                    <a:pt x="70" y="872"/>
                  </a:cubicBezTo>
                  <a:cubicBezTo>
                    <a:pt x="78" y="867"/>
                    <a:pt x="78" y="867"/>
                    <a:pt x="78" y="867"/>
                  </a:cubicBezTo>
                  <a:cubicBezTo>
                    <a:pt x="77" y="864"/>
                    <a:pt x="77" y="864"/>
                    <a:pt x="77" y="864"/>
                  </a:cubicBezTo>
                  <a:cubicBezTo>
                    <a:pt x="67" y="863"/>
                    <a:pt x="67" y="863"/>
                    <a:pt x="67" y="863"/>
                  </a:cubicBezTo>
                  <a:cubicBezTo>
                    <a:pt x="61" y="869"/>
                    <a:pt x="61" y="869"/>
                    <a:pt x="61" y="869"/>
                  </a:cubicBezTo>
                  <a:cubicBezTo>
                    <a:pt x="54" y="870"/>
                    <a:pt x="54" y="870"/>
                    <a:pt x="54" y="870"/>
                  </a:cubicBezTo>
                  <a:cubicBezTo>
                    <a:pt x="54" y="877"/>
                    <a:pt x="54" y="877"/>
                    <a:pt x="54" y="877"/>
                  </a:cubicBezTo>
                  <a:lnTo>
                    <a:pt x="51" y="880"/>
                  </a:lnTo>
                  <a:close/>
                  <a:moveTo>
                    <a:pt x="36" y="626"/>
                  </a:moveTo>
                  <a:cubicBezTo>
                    <a:pt x="36" y="635"/>
                    <a:pt x="36" y="635"/>
                    <a:pt x="36" y="635"/>
                  </a:cubicBezTo>
                  <a:cubicBezTo>
                    <a:pt x="44" y="636"/>
                    <a:pt x="44" y="636"/>
                    <a:pt x="44" y="636"/>
                  </a:cubicBezTo>
                  <a:cubicBezTo>
                    <a:pt x="53" y="630"/>
                    <a:pt x="53" y="630"/>
                    <a:pt x="53" y="630"/>
                  </a:cubicBezTo>
                  <a:cubicBezTo>
                    <a:pt x="53" y="624"/>
                    <a:pt x="53" y="624"/>
                    <a:pt x="53" y="624"/>
                  </a:cubicBezTo>
                  <a:cubicBezTo>
                    <a:pt x="45" y="620"/>
                    <a:pt x="45" y="620"/>
                    <a:pt x="45" y="620"/>
                  </a:cubicBezTo>
                  <a:lnTo>
                    <a:pt x="36" y="626"/>
                  </a:lnTo>
                  <a:close/>
                  <a:moveTo>
                    <a:pt x="34" y="558"/>
                  </a:moveTo>
                  <a:cubicBezTo>
                    <a:pt x="31" y="564"/>
                    <a:pt x="31" y="564"/>
                    <a:pt x="31" y="564"/>
                  </a:cubicBezTo>
                  <a:cubicBezTo>
                    <a:pt x="31" y="581"/>
                    <a:pt x="31" y="581"/>
                    <a:pt x="31" y="581"/>
                  </a:cubicBezTo>
                  <a:cubicBezTo>
                    <a:pt x="26" y="593"/>
                    <a:pt x="26" y="593"/>
                    <a:pt x="26" y="593"/>
                  </a:cubicBezTo>
                  <a:cubicBezTo>
                    <a:pt x="39" y="594"/>
                    <a:pt x="39" y="594"/>
                    <a:pt x="39" y="594"/>
                  </a:cubicBezTo>
                  <a:cubicBezTo>
                    <a:pt x="44" y="582"/>
                    <a:pt x="44" y="582"/>
                    <a:pt x="44" y="582"/>
                  </a:cubicBezTo>
                  <a:cubicBezTo>
                    <a:pt x="40" y="568"/>
                    <a:pt x="40" y="568"/>
                    <a:pt x="40" y="568"/>
                  </a:cubicBezTo>
                  <a:cubicBezTo>
                    <a:pt x="45" y="566"/>
                    <a:pt x="45" y="566"/>
                    <a:pt x="45" y="566"/>
                  </a:cubicBezTo>
                  <a:cubicBezTo>
                    <a:pt x="48" y="553"/>
                    <a:pt x="48" y="553"/>
                    <a:pt x="48" y="553"/>
                  </a:cubicBezTo>
                  <a:cubicBezTo>
                    <a:pt x="35" y="553"/>
                    <a:pt x="35" y="553"/>
                    <a:pt x="35" y="553"/>
                  </a:cubicBezTo>
                  <a:lnTo>
                    <a:pt x="34" y="558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4" name="Colombia">
              <a:extLst>
                <a:ext uri="{FF2B5EF4-FFF2-40B4-BE49-F238E27FC236}">
                  <a16:creationId xmlns="" xmlns:a16="http://schemas.microsoft.com/office/drawing/2014/main" id="{2EA62629-4E82-4FED-B9E3-0BAE92F004CE}"/>
                </a:ext>
              </a:extLst>
            </p:cNvPr>
            <p:cNvSpPr>
              <a:spLocks/>
            </p:cNvSpPr>
            <p:nvPr/>
          </p:nvSpPr>
          <p:spPr bwMode="gray">
            <a:xfrm>
              <a:off x="3003546" y="3651412"/>
              <a:ext cx="368985" cy="501472"/>
            </a:xfrm>
            <a:custGeom>
              <a:avLst/>
              <a:gdLst/>
              <a:ahLst/>
              <a:cxnLst>
                <a:cxn ang="0">
                  <a:pos x="50" y="183"/>
                </a:cxn>
                <a:cxn ang="0">
                  <a:pos x="48" y="161"/>
                </a:cxn>
                <a:cxn ang="0">
                  <a:pos x="60" y="143"/>
                </a:cxn>
                <a:cxn ang="0">
                  <a:pos x="76" y="137"/>
                </a:cxn>
                <a:cxn ang="0">
                  <a:pos x="86" y="116"/>
                </a:cxn>
                <a:cxn ang="0">
                  <a:pos x="133" y="88"/>
                </a:cxn>
                <a:cxn ang="0">
                  <a:pos x="155" y="28"/>
                </a:cxn>
                <a:cxn ang="0">
                  <a:pos x="185" y="14"/>
                </a:cxn>
                <a:cxn ang="0">
                  <a:pos x="243" y="0"/>
                </a:cxn>
                <a:cxn ang="0">
                  <a:pos x="255" y="20"/>
                </a:cxn>
                <a:cxn ang="0">
                  <a:pos x="223" y="84"/>
                </a:cxn>
                <a:cxn ang="0">
                  <a:pos x="239" y="139"/>
                </a:cxn>
                <a:cxn ang="0">
                  <a:pos x="279" y="181"/>
                </a:cxn>
                <a:cxn ang="0">
                  <a:pos x="367" y="215"/>
                </a:cxn>
                <a:cxn ang="0">
                  <a:pos x="441" y="221"/>
                </a:cxn>
                <a:cxn ang="0">
                  <a:pos x="429" y="293"/>
                </a:cxn>
                <a:cxn ang="0">
                  <a:pos x="421" y="329"/>
                </a:cxn>
                <a:cxn ang="0">
                  <a:pos x="435" y="341"/>
                </a:cxn>
                <a:cxn ang="0">
                  <a:pos x="453" y="381"/>
                </a:cxn>
                <a:cxn ang="0">
                  <a:pos x="435" y="369"/>
                </a:cxn>
                <a:cxn ang="0">
                  <a:pos x="401" y="371"/>
                </a:cxn>
                <a:cxn ang="0">
                  <a:pos x="341" y="379"/>
                </a:cxn>
                <a:cxn ang="0">
                  <a:pos x="367" y="409"/>
                </a:cxn>
                <a:cxn ang="0">
                  <a:pos x="339" y="421"/>
                </a:cxn>
                <a:cxn ang="0">
                  <a:pos x="361" y="451"/>
                </a:cxn>
                <a:cxn ang="0">
                  <a:pos x="363" y="499"/>
                </a:cxn>
                <a:cxn ang="0">
                  <a:pos x="317" y="601"/>
                </a:cxn>
                <a:cxn ang="0">
                  <a:pos x="299" y="535"/>
                </a:cxn>
                <a:cxn ang="0">
                  <a:pos x="247" y="519"/>
                </a:cxn>
                <a:cxn ang="0">
                  <a:pos x="195" y="499"/>
                </a:cxn>
                <a:cxn ang="0">
                  <a:pos x="32" y="419"/>
                </a:cxn>
                <a:cxn ang="0">
                  <a:pos x="0" y="385"/>
                </a:cxn>
                <a:cxn ang="0">
                  <a:pos x="14" y="369"/>
                </a:cxn>
                <a:cxn ang="0">
                  <a:pos x="44" y="351"/>
                </a:cxn>
                <a:cxn ang="0">
                  <a:pos x="60" y="297"/>
                </a:cxn>
                <a:cxn ang="0">
                  <a:pos x="70" y="225"/>
                </a:cxn>
                <a:cxn ang="0">
                  <a:pos x="64" y="197"/>
                </a:cxn>
              </a:cxnLst>
              <a:rect l="0" t="0" r="r" b="b"/>
              <a:pathLst>
                <a:path w="453" h="613">
                  <a:moveTo>
                    <a:pt x="64" y="197"/>
                  </a:moveTo>
                  <a:lnTo>
                    <a:pt x="50" y="183"/>
                  </a:lnTo>
                  <a:lnTo>
                    <a:pt x="50" y="173"/>
                  </a:lnTo>
                  <a:lnTo>
                    <a:pt x="48" y="161"/>
                  </a:lnTo>
                  <a:lnTo>
                    <a:pt x="60" y="153"/>
                  </a:lnTo>
                  <a:lnTo>
                    <a:pt x="60" y="143"/>
                  </a:lnTo>
                  <a:lnTo>
                    <a:pt x="58" y="118"/>
                  </a:lnTo>
                  <a:lnTo>
                    <a:pt x="76" y="137"/>
                  </a:lnTo>
                  <a:lnTo>
                    <a:pt x="88" y="145"/>
                  </a:lnTo>
                  <a:lnTo>
                    <a:pt x="86" y="116"/>
                  </a:lnTo>
                  <a:lnTo>
                    <a:pt x="115" y="92"/>
                  </a:lnTo>
                  <a:lnTo>
                    <a:pt x="133" y="88"/>
                  </a:lnTo>
                  <a:lnTo>
                    <a:pt x="135" y="50"/>
                  </a:lnTo>
                  <a:lnTo>
                    <a:pt x="155" y="28"/>
                  </a:lnTo>
                  <a:lnTo>
                    <a:pt x="185" y="30"/>
                  </a:lnTo>
                  <a:lnTo>
                    <a:pt x="185" y="14"/>
                  </a:lnTo>
                  <a:lnTo>
                    <a:pt x="219" y="18"/>
                  </a:lnTo>
                  <a:lnTo>
                    <a:pt x="243" y="0"/>
                  </a:lnTo>
                  <a:lnTo>
                    <a:pt x="261" y="0"/>
                  </a:lnTo>
                  <a:lnTo>
                    <a:pt x="255" y="20"/>
                  </a:lnTo>
                  <a:lnTo>
                    <a:pt x="225" y="52"/>
                  </a:lnTo>
                  <a:lnTo>
                    <a:pt x="223" y="84"/>
                  </a:lnTo>
                  <a:lnTo>
                    <a:pt x="235" y="100"/>
                  </a:lnTo>
                  <a:lnTo>
                    <a:pt x="239" y="139"/>
                  </a:lnTo>
                  <a:lnTo>
                    <a:pt x="251" y="169"/>
                  </a:lnTo>
                  <a:lnTo>
                    <a:pt x="279" y="181"/>
                  </a:lnTo>
                  <a:lnTo>
                    <a:pt x="329" y="181"/>
                  </a:lnTo>
                  <a:lnTo>
                    <a:pt x="367" y="215"/>
                  </a:lnTo>
                  <a:lnTo>
                    <a:pt x="429" y="211"/>
                  </a:lnTo>
                  <a:lnTo>
                    <a:pt x="441" y="221"/>
                  </a:lnTo>
                  <a:lnTo>
                    <a:pt x="427" y="251"/>
                  </a:lnTo>
                  <a:lnTo>
                    <a:pt x="429" y="293"/>
                  </a:lnTo>
                  <a:lnTo>
                    <a:pt x="439" y="321"/>
                  </a:lnTo>
                  <a:lnTo>
                    <a:pt x="421" y="329"/>
                  </a:lnTo>
                  <a:lnTo>
                    <a:pt x="417" y="341"/>
                  </a:lnTo>
                  <a:lnTo>
                    <a:pt x="435" y="341"/>
                  </a:lnTo>
                  <a:lnTo>
                    <a:pt x="449" y="361"/>
                  </a:lnTo>
                  <a:lnTo>
                    <a:pt x="453" y="381"/>
                  </a:lnTo>
                  <a:lnTo>
                    <a:pt x="445" y="385"/>
                  </a:lnTo>
                  <a:lnTo>
                    <a:pt x="435" y="369"/>
                  </a:lnTo>
                  <a:lnTo>
                    <a:pt x="417" y="375"/>
                  </a:lnTo>
                  <a:lnTo>
                    <a:pt x="401" y="371"/>
                  </a:lnTo>
                  <a:lnTo>
                    <a:pt x="389" y="379"/>
                  </a:lnTo>
                  <a:lnTo>
                    <a:pt x="341" y="379"/>
                  </a:lnTo>
                  <a:lnTo>
                    <a:pt x="341" y="403"/>
                  </a:lnTo>
                  <a:lnTo>
                    <a:pt x="367" y="409"/>
                  </a:lnTo>
                  <a:lnTo>
                    <a:pt x="367" y="421"/>
                  </a:lnTo>
                  <a:lnTo>
                    <a:pt x="339" y="421"/>
                  </a:lnTo>
                  <a:lnTo>
                    <a:pt x="335" y="443"/>
                  </a:lnTo>
                  <a:lnTo>
                    <a:pt x="361" y="451"/>
                  </a:lnTo>
                  <a:lnTo>
                    <a:pt x="359" y="473"/>
                  </a:lnTo>
                  <a:lnTo>
                    <a:pt x="363" y="499"/>
                  </a:lnTo>
                  <a:lnTo>
                    <a:pt x="343" y="613"/>
                  </a:lnTo>
                  <a:lnTo>
                    <a:pt x="317" y="601"/>
                  </a:lnTo>
                  <a:lnTo>
                    <a:pt x="339" y="539"/>
                  </a:lnTo>
                  <a:lnTo>
                    <a:pt x="299" y="535"/>
                  </a:lnTo>
                  <a:lnTo>
                    <a:pt x="259" y="529"/>
                  </a:lnTo>
                  <a:lnTo>
                    <a:pt x="247" y="519"/>
                  </a:lnTo>
                  <a:lnTo>
                    <a:pt x="235" y="517"/>
                  </a:lnTo>
                  <a:lnTo>
                    <a:pt x="195" y="499"/>
                  </a:lnTo>
                  <a:lnTo>
                    <a:pt x="139" y="453"/>
                  </a:lnTo>
                  <a:lnTo>
                    <a:pt x="32" y="419"/>
                  </a:lnTo>
                  <a:lnTo>
                    <a:pt x="6" y="403"/>
                  </a:lnTo>
                  <a:lnTo>
                    <a:pt x="0" y="385"/>
                  </a:lnTo>
                  <a:lnTo>
                    <a:pt x="16" y="383"/>
                  </a:lnTo>
                  <a:lnTo>
                    <a:pt x="14" y="369"/>
                  </a:lnTo>
                  <a:lnTo>
                    <a:pt x="20" y="353"/>
                  </a:lnTo>
                  <a:lnTo>
                    <a:pt x="44" y="351"/>
                  </a:lnTo>
                  <a:lnTo>
                    <a:pt x="76" y="307"/>
                  </a:lnTo>
                  <a:lnTo>
                    <a:pt x="60" y="297"/>
                  </a:lnTo>
                  <a:lnTo>
                    <a:pt x="64" y="243"/>
                  </a:lnTo>
                  <a:lnTo>
                    <a:pt x="70" y="225"/>
                  </a:lnTo>
                  <a:lnTo>
                    <a:pt x="60" y="215"/>
                  </a:lnTo>
                  <a:lnTo>
                    <a:pt x="64" y="197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5" name="Costa Rica">
              <a:extLst>
                <a:ext uri="{FF2B5EF4-FFF2-40B4-BE49-F238E27FC236}">
                  <a16:creationId xmlns="" xmlns:a16="http://schemas.microsoft.com/office/drawing/2014/main" id="{FC15F93F-8877-4833-B8DF-4CEADB296C3A}"/>
                </a:ext>
              </a:extLst>
            </p:cNvPr>
            <p:cNvSpPr>
              <a:spLocks/>
            </p:cNvSpPr>
            <p:nvPr/>
          </p:nvSpPr>
          <p:spPr bwMode="gray">
            <a:xfrm>
              <a:off x="2792698" y="3671076"/>
              <a:ext cx="101519" cy="94394"/>
            </a:xfrm>
            <a:custGeom>
              <a:avLst/>
              <a:gdLst/>
              <a:ahLst/>
              <a:cxnLst>
                <a:cxn ang="0">
                  <a:pos x="98" y="105"/>
                </a:cxn>
                <a:cxn ang="0">
                  <a:pos x="98" y="117"/>
                </a:cxn>
                <a:cxn ang="0">
                  <a:pos x="94" y="117"/>
                </a:cxn>
                <a:cxn ang="0">
                  <a:pos x="80" y="105"/>
                </a:cxn>
                <a:cxn ang="0">
                  <a:pos x="84" y="94"/>
                </a:cxn>
                <a:cxn ang="0">
                  <a:pos x="84" y="82"/>
                </a:cxn>
                <a:cxn ang="0">
                  <a:pos x="68" y="72"/>
                </a:cxn>
                <a:cxn ang="0">
                  <a:pos x="54" y="72"/>
                </a:cxn>
                <a:cxn ang="0">
                  <a:pos x="46" y="64"/>
                </a:cxn>
                <a:cxn ang="0">
                  <a:pos x="46" y="52"/>
                </a:cxn>
                <a:cxn ang="0">
                  <a:pos x="30" y="40"/>
                </a:cxn>
                <a:cxn ang="0">
                  <a:pos x="22" y="42"/>
                </a:cxn>
                <a:cxn ang="0">
                  <a:pos x="22" y="48"/>
                </a:cxn>
                <a:cxn ang="0">
                  <a:pos x="34" y="52"/>
                </a:cxn>
                <a:cxn ang="0">
                  <a:pos x="32" y="60"/>
                </a:cxn>
                <a:cxn ang="0">
                  <a:pos x="28" y="66"/>
                </a:cxn>
                <a:cxn ang="0">
                  <a:pos x="10" y="54"/>
                </a:cxn>
                <a:cxn ang="0">
                  <a:pos x="2" y="40"/>
                </a:cxn>
                <a:cxn ang="0">
                  <a:pos x="4" y="18"/>
                </a:cxn>
                <a:cxn ang="0">
                  <a:pos x="0" y="4"/>
                </a:cxn>
                <a:cxn ang="0">
                  <a:pos x="24" y="2"/>
                </a:cxn>
                <a:cxn ang="0">
                  <a:pos x="42" y="0"/>
                </a:cxn>
                <a:cxn ang="0">
                  <a:pos x="62" y="20"/>
                </a:cxn>
                <a:cxn ang="0">
                  <a:pos x="68" y="18"/>
                </a:cxn>
                <a:cxn ang="0">
                  <a:pos x="76" y="10"/>
                </a:cxn>
                <a:cxn ang="0">
                  <a:pos x="84" y="12"/>
                </a:cxn>
                <a:cxn ang="0">
                  <a:pos x="86" y="26"/>
                </a:cxn>
                <a:cxn ang="0">
                  <a:pos x="96" y="32"/>
                </a:cxn>
                <a:cxn ang="0">
                  <a:pos x="98" y="44"/>
                </a:cxn>
                <a:cxn ang="0">
                  <a:pos x="114" y="50"/>
                </a:cxn>
                <a:cxn ang="0">
                  <a:pos x="126" y="64"/>
                </a:cxn>
                <a:cxn ang="0">
                  <a:pos x="102" y="70"/>
                </a:cxn>
                <a:cxn ang="0">
                  <a:pos x="98" y="74"/>
                </a:cxn>
                <a:cxn ang="0">
                  <a:pos x="100" y="94"/>
                </a:cxn>
                <a:cxn ang="0">
                  <a:pos x="90" y="96"/>
                </a:cxn>
                <a:cxn ang="0">
                  <a:pos x="90" y="101"/>
                </a:cxn>
                <a:cxn ang="0">
                  <a:pos x="98" y="105"/>
                </a:cxn>
              </a:cxnLst>
              <a:rect l="0" t="0" r="r" b="b"/>
              <a:pathLst>
                <a:path w="126" h="117">
                  <a:moveTo>
                    <a:pt x="98" y="105"/>
                  </a:moveTo>
                  <a:lnTo>
                    <a:pt x="98" y="117"/>
                  </a:lnTo>
                  <a:lnTo>
                    <a:pt x="94" y="117"/>
                  </a:lnTo>
                  <a:lnTo>
                    <a:pt x="80" y="105"/>
                  </a:lnTo>
                  <a:lnTo>
                    <a:pt x="84" y="94"/>
                  </a:lnTo>
                  <a:lnTo>
                    <a:pt x="84" y="82"/>
                  </a:lnTo>
                  <a:lnTo>
                    <a:pt x="68" y="72"/>
                  </a:lnTo>
                  <a:lnTo>
                    <a:pt x="54" y="72"/>
                  </a:lnTo>
                  <a:lnTo>
                    <a:pt x="46" y="64"/>
                  </a:lnTo>
                  <a:lnTo>
                    <a:pt x="46" y="52"/>
                  </a:lnTo>
                  <a:lnTo>
                    <a:pt x="30" y="40"/>
                  </a:lnTo>
                  <a:lnTo>
                    <a:pt x="22" y="42"/>
                  </a:lnTo>
                  <a:lnTo>
                    <a:pt x="22" y="48"/>
                  </a:lnTo>
                  <a:lnTo>
                    <a:pt x="34" y="52"/>
                  </a:lnTo>
                  <a:lnTo>
                    <a:pt x="32" y="60"/>
                  </a:lnTo>
                  <a:lnTo>
                    <a:pt x="28" y="66"/>
                  </a:lnTo>
                  <a:lnTo>
                    <a:pt x="10" y="54"/>
                  </a:lnTo>
                  <a:lnTo>
                    <a:pt x="2" y="40"/>
                  </a:lnTo>
                  <a:lnTo>
                    <a:pt x="4" y="18"/>
                  </a:lnTo>
                  <a:lnTo>
                    <a:pt x="0" y="4"/>
                  </a:lnTo>
                  <a:lnTo>
                    <a:pt x="24" y="2"/>
                  </a:lnTo>
                  <a:lnTo>
                    <a:pt x="42" y="0"/>
                  </a:lnTo>
                  <a:lnTo>
                    <a:pt x="62" y="20"/>
                  </a:lnTo>
                  <a:lnTo>
                    <a:pt x="68" y="18"/>
                  </a:lnTo>
                  <a:lnTo>
                    <a:pt x="76" y="10"/>
                  </a:lnTo>
                  <a:lnTo>
                    <a:pt x="84" y="12"/>
                  </a:lnTo>
                  <a:lnTo>
                    <a:pt x="86" y="26"/>
                  </a:lnTo>
                  <a:lnTo>
                    <a:pt x="96" y="32"/>
                  </a:lnTo>
                  <a:lnTo>
                    <a:pt x="98" y="44"/>
                  </a:lnTo>
                  <a:lnTo>
                    <a:pt x="114" y="50"/>
                  </a:lnTo>
                  <a:lnTo>
                    <a:pt x="126" y="64"/>
                  </a:lnTo>
                  <a:lnTo>
                    <a:pt x="102" y="70"/>
                  </a:lnTo>
                  <a:lnTo>
                    <a:pt x="98" y="74"/>
                  </a:lnTo>
                  <a:lnTo>
                    <a:pt x="100" y="94"/>
                  </a:lnTo>
                  <a:lnTo>
                    <a:pt x="90" y="96"/>
                  </a:lnTo>
                  <a:lnTo>
                    <a:pt x="90" y="101"/>
                  </a:lnTo>
                  <a:lnTo>
                    <a:pt x="98" y="105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36" name="Cuba">
              <a:extLst>
                <a:ext uri="{FF2B5EF4-FFF2-40B4-BE49-F238E27FC236}">
                  <a16:creationId xmlns="" xmlns:a16="http://schemas.microsoft.com/office/drawing/2014/main" id="{6CF60672-28AD-421F-A03D-F26F53AEE192}"/>
                </a:ext>
              </a:extLst>
            </p:cNvPr>
            <p:cNvSpPr>
              <a:spLocks/>
            </p:cNvSpPr>
            <p:nvPr/>
          </p:nvSpPr>
          <p:spPr bwMode="gray">
            <a:xfrm>
              <a:off x="2894218" y="3269898"/>
              <a:ext cx="324082" cy="114060"/>
            </a:xfrm>
            <a:custGeom>
              <a:avLst/>
              <a:gdLst/>
              <a:ahLst/>
              <a:cxnLst>
                <a:cxn ang="0">
                  <a:pos x="0" y="50"/>
                </a:cxn>
                <a:cxn ang="0">
                  <a:pos x="14" y="28"/>
                </a:cxn>
                <a:cxn ang="0">
                  <a:pos x="64" y="8"/>
                </a:cxn>
                <a:cxn ang="0">
                  <a:pos x="110" y="10"/>
                </a:cxn>
                <a:cxn ang="0">
                  <a:pos x="130" y="0"/>
                </a:cxn>
                <a:cxn ang="0">
                  <a:pos x="154" y="8"/>
                </a:cxn>
                <a:cxn ang="0">
                  <a:pos x="174" y="16"/>
                </a:cxn>
                <a:cxn ang="0">
                  <a:pos x="206" y="38"/>
                </a:cxn>
                <a:cxn ang="0">
                  <a:pos x="230" y="40"/>
                </a:cxn>
                <a:cxn ang="0">
                  <a:pos x="268" y="70"/>
                </a:cxn>
                <a:cxn ang="0">
                  <a:pos x="302" y="82"/>
                </a:cxn>
                <a:cxn ang="0">
                  <a:pos x="343" y="88"/>
                </a:cxn>
                <a:cxn ang="0">
                  <a:pos x="343" y="104"/>
                </a:cxn>
                <a:cxn ang="0">
                  <a:pos x="369" y="102"/>
                </a:cxn>
                <a:cxn ang="0">
                  <a:pos x="401" y="126"/>
                </a:cxn>
                <a:cxn ang="0">
                  <a:pos x="347" y="136"/>
                </a:cxn>
                <a:cxn ang="0">
                  <a:pos x="318" y="134"/>
                </a:cxn>
                <a:cxn ang="0">
                  <a:pos x="262" y="140"/>
                </a:cxn>
                <a:cxn ang="0">
                  <a:pos x="280" y="124"/>
                </a:cxn>
                <a:cxn ang="0">
                  <a:pos x="280" y="106"/>
                </a:cxn>
                <a:cxn ang="0">
                  <a:pos x="248" y="106"/>
                </a:cxn>
                <a:cxn ang="0">
                  <a:pos x="228" y="90"/>
                </a:cxn>
                <a:cxn ang="0">
                  <a:pos x="220" y="72"/>
                </a:cxn>
                <a:cxn ang="0">
                  <a:pos x="202" y="72"/>
                </a:cxn>
                <a:cxn ang="0">
                  <a:pos x="176" y="58"/>
                </a:cxn>
                <a:cxn ang="0">
                  <a:pos x="158" y="44"/>
                </a:cxn>
                <a:cxn ang="0">
                  <a:pos x="138" y="38"/>
                </a:cxn>
                <a:cxn ang="0">
                  <a:pos x="124" y="48"/>
                </a:cxn>
                <a:cxn ang="0">
                  <a:pos x="104" y="40"/>
                </a:cxn>
                <a:cxn ang="0">
                  <a:pos x="112" y="26"/>
                </a:cxn>
                <a:cxn ang="0">
                  <a:pos x="74" y="24"/>
                </a:cxn>
                <a:cxn ang="0">
                  <a:pos x="46" y="42"/>
                </a:cxn>
                <a:cxn ang="0">
                  <a:pos x="34" y="44"/>
                </a:cxn>
                <a:cxn ang="0">
                  <a:pos x="30" y="56"/>
                </a:cxn>
                <a:cxn ang="0">
                  <a:pos x="8" y="60"/>
                </a:cxn>
                <a:cxn ang="0">
                  <a:pos x="0" y="50"/>
                </a:cxn>
              </a:cxnLst>
              <a:rect l="0" t="0" r="r" b="b"/>
              <a:pathLst>
                <a:path w="401" h="140">
                  <a:moveTo>
                    <a:pt x="0" y="50"/>
                  </a:moveTo>
                  <a:lnTo>
                    <a:pt x="14" y="28"/>
                  </a:lnTo>
                  <a:lnTo>
                    <a:pt x="64" y="8"/>
                  </a:lnTo>
                  <a:lnTo>
                    <a:pt x="110" y="10"/>
                  </a:lnTo>
                  <a:lnTo>
                    <a:pt x="130" y="0"/>
                  </a:lnTo>
                  <a:lnTo>
                    <a:pt x="154" y="8"/>
                  </a:lnTo>
                  <a:lnTo>
                    <a:pt x="174" y="16"/>
                  </a:lnTo>
                  <a:lnTo>
                    <a:pt x="206" y="38"/>
                  </a:lnTo>
                  <a:lnTo>
                    <a:pt x="230" y="40"/>
                  </a:lnTo>
                  <a:lnTo>
                    <a:pt x="268" y="70"/>
                  </a:lnTo>
                  <a:lnTo>
                    <a:pt x="302" y="82"/>
                  </a:lnTo>
                  <a:lnTo>
                    <a:pt x="343" y="88"/>
                  </a:lnTo>
                  <a:lnTo>
                    <a:pt x="343" y="104"/>
                  </a:lnTo>
                  <a:lnTo>
                    <a:pt x="369" y="102"/>
                  </a:lnTo>
                  <a:lnTo>
                    <a:pt x="401" y="126"/>
                  </a:lnTo>
                  <a:lnTo>
                    <a:pt x="347" y="136"/>
                  </a:lnTo>
                  <a:lnTo>
                    <a:pt x="318" y="134"/>
                  </a:lnTo>
                  <a:lnTo>
                    <a:pt x="262" y="140"/>
                  </a:lnTo>
                  <a:lnTo>
                    <a:pt x="280" y="124"/>
                  </a:lnTo>
                  <a:lnTo>
                    <a:pt x="280" y="106"/>
                  </a:lnTo>
                  <a:lnTo>
                    <a:pt x="248" y="106"/>
                  </a:lnTo>
                  <a:lnTo>
                    <a:pt x="228" y="90"/>
                  </a:lnTo>
                  <a:lnTo>
                    <a:pt x="220" y="72"/>
                  </a:lnTo>
                  <a:lnTo>
                    <a:pt x="202" y="72"/>
                  </a:lnTo>
                  <a:lnTo>
                    <a:pt x="176" y="58"/>
                  </a:lnTo>
                  <a:lnTo>
                    <a:pt x="158" y="44"/>
                  </a:lnTo>
                  <a:lnTo>
                    <a:pt x="138" y="38"/>
                  </a:lnTo>
                  <a:lnTo>
                    <a:pt x="124" y="48"/>
                  </a:lnTo>
                  <a:lnTo>
                    <a:pt x="104" y="40"/>
                  </a:lnTo>
                  <a:lnTo>
                    <a:pt x="112" y="26"/>
                  </a:lnTo>
                  <a:lnTo>
                    <a:pt x="74" y="24"/>
                  </a:lnTo>
                  <a:lnTo>
                    <a:pt x="46" y="42"/>
                  </a:lnTo>
                  <a:lnTo>
                    <a:pt x="34" y="44"/>
                  </a:lnTo>
                  <a:lnTo>
                    <a:pt x="30" y="56"/>
                  </a:lnTo>
                  <a:lnTo>
                    <a:pt x="8" y="60"/>
                  </a:lnTo>
                  <a:lnTo>
                    <a:pt x="0" y="50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55" name="Dominican Republic">
              <a:extLst>
                <a:ext uri="{FF2B5EF4-FFF2-40B4-BE49-F238E27FC236}">
                  <a16:creationId xmlns="" xmlns:a16="http://schemas.microsoft.com/office/drawing/2014/main" id="{7EED0147-2AB7-4DAE-8B96-773529F4274F}"/>
                </a:ext>
              </a:extLst>
            </p:cNvPr>
            <p:cNvSpPr>
              <a:spLocks/>
            </p:cNvSpPr>
            <p:nvPr/>
          </p:nvSpPr>
          <p:spPr bwMode="gray">
            <a:xfrm>
              <a:off x="3280773" y="3378059"/>
              <a:ext cx="117138" cy="72763"/>
            </a:xfrm>
            <a:custGeom>
              <a:avLst/>
              <a:gdLst/>
              <a:ahLst/>
              <a:cxnLst>
                <a:cxn ang="0">
                  <a:pos x="0" y="60"/>
                </a:cxn>
                <a:cxn ang="0">
                  <a:pos x="10" y="14"/>
                </a:cxn>
                <a:cxn ang="0">
                  <a:pos x="24" y="2"/>
                </a:cxn>
                <a:cxn ang="0">
                  <a:pos x="56" y="0"/>
                </a:cxn>
                <a:cxn ang="0">
                  <a:pos x="84" y="12"/>
                </a:cxn>
                <a:cxn ang="0">
                  <a:pos x="118" y="20"/>
                </a:cxn>
                <a:cxn ang="0">
                  <a:pos x="114" y="30"/>
                </a:cxn>
                <a:cxn ang="0">
                  <a:pos x="146" y="46"/>
                </a:cxn>
                <a:cxn ang="0">
                  <a:pos x="134" y="58"/>
                </a:cxn>
                <a:cxn ang="0">
                  <a:pos x="108" y="50"/>
                </a:cxn>
                <a:cxn ang="0">
                  <a:pos x="88" y="54"/>
                </a:cxn>
                <a:cxn ang="0">
                  <a:pos x="78" y="66"/>
                </a:cxn>
                <a:cxn ang="0">
                  <a:pos x="44" y="52"/>
                </a:cxn>
                <a:cxn ang="0">
                  <a:pos x="46" y="70"/>
                </a:cxn>
                <a:cxn ang="0">
                  <a:pos x="26" y="90"/>
                </a:cxn>
                <a:cxn ang="0">
                  <a:pos x="20" y="76"/>
                </a:cxn>
                <a:cxn ang="0">
                  <a:pos x="0" y="60"/>
                </a:cxn>
              </a:cxnLst>
              <a:rect l="0" t="0" r="r" b="b"/>
              <a:pathLst>
                <a:path w="146" h="90">
                  <a:moveTo>
                    <a:pt x="0" y="60"/>
                  </a:moveTo>
                  <a:lnTo>
                    <a:pt x="10" y="14"/>
                  </a:lnTo>
                  <a:lnTo>
                    <a:pt x="24" y="2"/>
                  </a:lnTo>
                  <a:lnTo>
                    <a:pt x="56" y="0"/>
                  </a:lnTo>
                  <a:lnTo>
                    <a:pt x="84" y="12"/>
                  </a:lnTo>
                  <a:lnTo>
                    <a:pt x="118" y="20"/>
                  </a:lnTo>
                  <a:lnTo>
                    <a:pt x="114" y="30"/>
                  </a:lnTo>
                  <a:lnTo>
                    <a:pt x="146" y="46"/>
                  </a:lnTo>
                  <a:lnTo>
                    <a:pt x="134" y="58"/>
                  </a:lnTo>
                  <a:lnTo>
                    <a:pt x="108" y="50"/>
                  </a:lnTo>
                  <a:lnTo>
                    <a:pt x="88" y="54"/>
                  </a:lnTo>
                  <a:lnTo>
                    <a:pt x="78" y="66"/>
                  </a:lnTo>
                  <a:lnTo>
                    <a:pt x="44" y="52"/>
                  </a:lnTo>
                  <a:lnTo>
                    <a:pt x="46" y="70"/>
                  </a:lnTo>
                  <a:lnTo>
                    <a:pt x="26" y="90"/>
                  </a:lnTo>
                  <a:lnTo>
                    <a:pt x="20" y="76"/>
                  </a:lnTo>
                  <a:lnTo>
                    <a:pt x="0" y="60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56" name="Ecuador">
              <a:extLst>
                <a:ext uri="{FF2B5EF4-FFF2-40B4-BE49-F238E27FC236}">
                  <a16:creationId xmlns="" xmlns:a16="http://schemas.microsoft.com/office/drawing/2014/main" id="{207446F7-4181-4F4B-9A22-B08595BE37F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609180" y="3981793"/>
              <a:ext cx="507600" cy="196656"/>
            </a:xfrm>
            <a:custGeom>
              <a:avLst/>
              <a:gdLst/>
              <a:ahLst/>
              <a:cxnLst>
                <a:cxn ang="0">
                  <a:pos x="611" y="98"/>
                </a:cxn>
                <a:cxn ang="0">
                  <a:pos x="582" y="128"/>
                </a:cxn>
                <a:cxn ang="0">
                  <a:pos x="550" y="148"/>
                </a:cxn>
                <a:cxn ang="0">
                  <a:pos x="524" y="158"/>
                </a:cxn>
                <a:cxn ang="0">
                  <a:pos x="516" y="166"/>
                </a:cxn>
                <a:cxn ang="0">
                  <a:pos x="520" y="182"/>
                </a:cxn>
                <a:cxn ang="0">
                  <a:pos x="520" y="198"/>
                </a:cxn>
                <a:cxn ang="0">
                  <a:pos x="514" y="210"/>
                </a:cxn>
                <a:cxn ang="0">
                  <a:pos x="496" y="222"/>
                </a:cxn>
                <a:cxn ang="0">
                  <a:pos x="484" y="226"/>
                </a:cxn>
                <a:cxn ang="0">
                  <a:pos x="474" y="240"/>
                </a:cxn>
                <a:cxn ang="0">
                  <a:pos x="454" y="220"/>
                </a:cxn>
                <a:cxn ang="0">
                  <a:pos x="438" y="222"/>
                </a:cxn>
                <a:cxn ang="0">
                  <a:pos x="432" y="214"/>
                </a:cxn>
                <a:cxn ang="0">
                  <a:pos x="440" y="200"/>
                </a:cxn>
                <a:cxn ang="0">
                  <a:pos x="436" y="186"/>
                </a:cxn>
                <a:cxn ang="0">
                  <a:pos x="456" y="176"/>
                </a:cxn>
                <a:cxn ang="0">
                  <a:pos x="468" y="158"/>
                </a:cxn>
                <a:cxn ang="0">
                  <a:pos x="468" y="144"/>
                </a:cxn>
                <a:cxn ang="0">
                  <a:pos x="464" y="138"/>
                </a:cxn>
                <a:cxn ang="0">
                  <a:pos x="446" y="152"/>
                </a:cxn>
                <a:cxn ang="0">
                  <a:pos x="420" y="138"/>
                </a:cxn>
                <a:cxn ang="0">
                  <a:pos x="418" y="130"/>
                </a:cxn>
                <a:cxn ang="0">
                  <a:pos x="426" y="120"/>
                </a:cxn>
                <a:cxn ang="0">
                  <a:pos x="420" y="102"/>
                </a:cxn>
                <a:cxn ang="0">
                  <a:pos x="426" y="96"/>
                </a:cxn>
                <a:cxn ang="0">
                  <a:pos x="420" y="82"/>
                </a:cxn>
                <a:cxn ang="0">
                  <a:pos x="434" y="76"/>
                </a:cxn>
                <a:cxn ang="0">
                  <a:pos x="436" y="54"/>
                </a:cxn>
                <a:cxn ang="0">
                  <a:pos x="444" y="42"/>
                </a:cxn>
                <a:cxn ang="0">
                  <a:pos x="444" y="20"/>
                </a:cxn>
                <a:cxn ang="0">
                  <a:pos x="464" y="16"/>
                </a:cxn>
                <a:cxn ang="0">
                  <a:pos x="494" y="0"/>
                </a:cxn>
                <a:cxn ang="0">
                  <a:pos x="520" y="16"/>
                </a:cxn>
                <a:cxn ang="0">
                  <a:pos x="627" y="50"/>
                </a:cxn>
                <a:cxn ang="0">
                  <a:pos x="625" y="76"/>
                </a:cxn>
                <a:cxn ang="0">
                  <a:pos x="611" y="98"/>
                </a:cxn>
                <a:cxn ang="0">
                  <a:pos x="10" y="56"/>
                </a:cxn>
                <a:cxn ang="0">
                  <a:pos x="22" y="86"/>
                </a:cxn>
                <a:cxn ang="0">
                  <a:pos x="8" y="100"/>
                </a:cxn>
                <a:cxn ang="0">
                  <a:pos x="24" y="102"/>
                </a:cxn>
                <a:cxn ang="0">
                  <a:pos x="36" y="94"/>
                </a:cxn>
                <a:cxn ang="0">
                  <a:pos x="36" y="82"/>
                </a:cxn>
                <a:cxn ang="0">
                  <a:pos x="28" y="82"/>
                </a:cxn>
                <a:cxn ang="0">
                  <a:pos x="30" y="72"/>
                </a:cxn>
                <a:cxn ang="0">
                  <a:pos x="16" y="44"/>
                </a:cxn>
                <a:cxn ang="0">
                  <a:pos x="0" y="48"/>
                </a:cxn>
                <a:cxn ang="0">
                  <a:pos x="10" y="56"/>
                </a:cxn>
              </a:cxnLst>
              <a:rect l="0" t="0" r="r" b="b"/>
              <a:pathLst>
                <a:path w="627" h="240">
                  <a:moveTo>
                    <a:pt x="611" y="98"/>
                  </a:moveTo>
                  <a:lnTo>
                    <a:pt x="582" y="128"/>
                  </a:lnTo>
                  <a:lnTo>
                    <a:pt x="550" y="148"/>
                  </a:lnTo>
                  <a:lnTo>
                    <a:pt x="524" y="158"/>
                  </a:lnTo>
                  <a:lnTo>
                    <a:pt x="516" y="166"/>
                  </a:lnTo>
                  <a:lnTo>
                    <a:pt x="520" y="182"/>
                  </a:lnTo>
                  <a:lnTo>
                    <a:pt x="520" y="198"/>
                  </a:lnTo>
                  <a:lnTo>
                    <a:pt x="514" y="210"/>
                  </a:lnTo>
                  <a:lnTo>
                    <a:pt x="496" y="222"/>
                  </a:lnTo>
                  <a:lnTo>
                    <a:pt x="484" y="226"/>
                  </a:lnTo>
                  <a:lnTo>
                    <a:pt x="474" y="240"/>
                  </a:lnTo>
                  <a:lnTo>
                    <a:pt x="454" y="220"/>
                  </a:lnTo>
                  <a:lnTo>
                    <a:pt x="438" y="222"/>
                  </a:lnTo>
                  <a:lnTo>
                    <a:pt x="432" y="214"/>
                  </a:lnTo>
                  <a:lnTo>
                    <a:pt x="440" y="200"/>
                  </a:lnTo>
                  <a:lnTo>
                    <a:pt x="436" y="186"/>
                  </a:lnTo>
                  <a:lnTo>
                    <a:pt x="456" y="176"/>
                  </a:lnTo>
                  <a:lnTo>
                    <a:pt x="468" y="158"/>
                  </a:lnTo>
                  <a:lnTo>
                    <a:pt x="468" y="144"/>
                  </a:lnTo>
                  <a:lnTo>
                    <a:pt x="464" y="138"/>
                  </a:lnTo>
                  <a:lnTo>
                    <a:pt x="446" y="152"/>
                  </a:lnTo>
                  <a:lnTo>
                    <a:pt x="420" y="138"/>
                  </a:lnTo>
                  <a:lnTo>
                    <a:pt x="418" y="130"/>
                  </a:lnTo>
                  <a:lnTo>
                    <a:pt x="426" y="120"/>
                  </a:lnTo>
                  <a:lnTo>
                    <a:pt x="420" y="102"/>
                  </a:lnTo>
                  <a:lnTo>
                    <a:pt x="426" y="96"/>
                  </a:lnTo>
                  <a:lnTo>
                    <a:pt x="420" y="82"/>
                  </a:lnTo>
                  <a:lnTo>
                    <a:pt x="434" y="76"/>
                  </a:lnTo>
                  <a:lnTo>
                    <a:pt x="436" y="54"/>
                  </a:lnTo>
                  <a:lnTo>
                    <a:pt x="444" y="42"/>
                  </a:lnTo>
                  <a:lnTo>
                    <a:pt x="444" y="20"/>
                  </a:lnTo>
                  <a:lnTo>
                    <a:pt x="464" y="16"/>
                  </a:lnTo>
                  <a:lnTo>
                    <a:pt x="494" y="0"/>
                  </a:lnTo>
                  <a:lnTo>
                    <a:pt x="520" y="16"/>
                  </a:lnTo>
                  <a:lnTo>
                    <a:pt x="627" y="50"/>
                  </a:lnTo>
                  <a:lnTo>
                    <a:pt x="625" y="76"/>
                  </a:lnTo>
                  <a:lnTo>
                    <a:pt x="611" y="98"/>
                  </a:lnTo>
                  <a:close/>
                  <a:moveTo>
                    <a:pt x="10" y="56"/>
                  </a:moveTo>
                  <a:lnTo>
                    <a:pt x="22" y="86"/>
                  </a:lnTo>
                  <a:lnTo>
                    <a:pt x="8" y="100"/>
                  </a:lnTo>
                  <a:lnTo>
                    <a:pt x="24" y="102"/>
                  </a:lnTo>
                  <a:lnTo>
                    <a:pt x="36" y="94"/>
                  </a:lnTo>
                  <a:lnTo>
                    <a:pt x="36" y="82"/>
                  </a:lnTo>
                  <a:lnTo>
                    <a:pt x="28" y="82"/>
                  </a:lnTo>
                  <a:lnTo>
                    <a:pt x="30" y="72"/>
                  </a:lnTo>
                  <a:lnTo>
                    <a:pt x="16" y="44"/>
                  </a:lnTo>
                  <a:lnTo>
                    <a:pt x="0" y="48"/>
                  </a:lnTo>
                  <a:lnTo>
                    <a:pt x="10" y="56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57" name="Falkland Islands">
              <a:extLst>
                <a:ext uri="{FF2B5EF4-FFF2-40B4-BE49-F238E27FC236}">
                  <a16:creationId xmlns="" xmlns:a16="http://schemas.microsoft.com/office/drawing/2014/main" id="{2376A7BF-5E21-4966-8C57-C296E70B920D}"/>
                </a:ext>
              </a:extLst>
            </p:cNvPr>
            <p:cNvSpPr>
              <a:spLocks noChangeAspect="1" noEditPoints="1"/>
            </p:cNvSpPr>
            <p:nvPr/>
          </p:nvSpPr>
          <p:spPr bwMode="gray">
            <a:xfrm>
              <a:off x="3565811" y="5930654"/>
              <a:ext cx="107376" cy="58998"/>
            </a:xfrm>
            <a:custGeom>
              <a:avLst/>
              <a:gdLst/>
              <a:ahLst/>
              <a:cxnLst>
                <a:cxn ang="0">
                  <a:pos x="85" y="38"/>
                </a:cxn>
                <a:cxn ang="0">
                  <a:pos x="73" y="40"/>
                </a:cxn>
                <a:cxn ang="0">
                  <a:pos x="69" y="61"/>
                </a:cxn>
                <a:cxn ang="0">
                  <a:pos x="71" y="73"/>
                </a:cxn>
                <a:cxn ang="0">
                  <a:pos x="61" y="83"/>
                </a:cxn>
                <a:cxn ang="0">
                  <a:pos x="69" y="85"/>
                </a:cxn>
                <a:cxn ang="0">
                  <a:pos x="76" y="78"/>
                </a:cxn>
                <a:cxn ang="0">
                  <a:pos x="80" y="66"/>
                </a:cxn>
                <a:cxn ang="0">
                  <a:pos x="90" y="64"/>
                </a:cxn>
                <a:cxn ang="0">
                  <a:pos x="94" y="52"/>
                </a:cxn>
                <a:cxn ang="0">
                  <a:pos x="109" y="59"/>
                </a:cxn>
                <a:cxn ang="0">
                  <a:pos x="111" y="50"/>
                </a:cxn>
                <a:cxn ang="0">
                  <a:pos x="128" y="45"/>
                </a:cxn>
                <a:cxn ang="0">
                  <a:pos x="132" y="38"/>
                </a:cxn>
                <a:cxn ang="0">
                  <a:pos x="144" y="35"/>
                </a:cxn>
                <a:cxn ang="0">
                  <a:pos x="158" y="26"/>
                </a:cxn>
                <a:cxn ang="0">
                  <a:pos x="156" y="12"/>
                </a:cxn>
                <a:cxn ang="0">
                  <a:pos x="146" y="7"/>
                </a:cxn>
                <a:cxn ang="0">
                  <a:pos x="132" y="7"/>
                </a:cxn>
                <a:cxn ang="0">
                  <a:pos x="128" y="19"/>
                </a:cxn>
                <a:cxn ang="0">
                  <a:pos x="120" y="16"/>
                </a:cxn>
                <a:cxn ang="0">
                  <a:pos x="118" y="5"/>
                </a:cxn>
                <a:cxn ang="0">
                  <a:pos x="102" y="0"/>
                </a:cxn>
                <a:cxn ang="0">
                  <a:pos x="94" y="21"/>
                </a:cxn>
                <a:cxn ang="0">
                  <a:pos x="94" y="38"/>
                </a:cxn>
                <a:cxn ang="0">
                  <a:pos x="85" y="38"/>
                </a:cxn>
                <a:cxn ang="0">
                  <a:pos x="87" y="14"/>
                </a:cxn>
                <a:cxn ang="0">
                  <a:pos x="80" y="7"/>
                </a:cxn>
                <a:cxn ang="0">
                  <a:pos x="76" y="12"/>
                </a:cxn>
                <a:cxn ang="0">
                  <a:pos x="61" y="12"/>
                </a:cxn>
                <a:cxn ang="0">
                  <a:pos x="57" y="2"/>
                </a:cxn>
                <a:cxn ang="0">
                  <a:pos x="40" y="2"/>
                </a:cxn>
                <a:cxn ang="0">
                  <a:pos x="24" y="12"/>
                </a:cxn>
                <a:cxn ang="0">
                  <a:pos x="31" y="14"/>
                </a:cxn>
                <a:cxn ang="0">
                  <a:pos x="33" y="21"/>
                </a:cxn>
                <a:cxn ang="0">
                  <a:pos x="47" y="24"/>
                </a:cxn>
                <a:cxn ang="0">
                  <a:pos x="52" y="31"/>
                </a:cxn>
                <a:cxn ang="0">
                  <a:pos x="45" y="33"/>
                </a:cxn>
                <a:cxn ang="0">
                  <a:pos x="24" y="31"/>
                </a:cxn>
                <a:cxn ang="0">
                  <a:pos x="24" y="38"/>
                </a:cxn>
                <a:cxn ang="0">
                  <a:pos x="35" y="38"/>
                </a:cxn>
                <a:cxn ang="0">
                  <a:pos x="33" y="45"/>
                </a:cxn>
                <a:cxn ang="0">
                  <a:pos x="28" y="52"/>
                </a:cxn>
                <a:cxn ang="0">
                  <a:pos x="14" y="47"/>
                </a:cxn>
                <a:cxn ang="0">
                  <a:pos x="7" y="40"/>
                </a:cxn>
                <a:cxn ang="0">
                  <a:pos x="0" y="45"/>
                </a:cxn>
                <a:cxn ang="0">
                  <a:pos x="5" y="59"/>
                </a:cxn>
                <a:cxn ang="0">
                  <a:pos x="12" y="66"/>
                </a:cxn>
                <a:cxn ang="0">
                  <a:pos x="17" y="64"/>
                </a:cxn>
                <a:cxn ang="0">
                  <a:pos x="28" y="71"/>
                </a:cxn>
                <a:cxn ang="0">
                  <a:pos x="35" y="64"/>
                </a:cxn>
                <a:cxn ang="0">
                  <a:pos x="38" y="57"/>
                </a:cxn>
                <a:cxn ang="0">
                  <a:pos x="54" y="52"/>
                </a:cxn>
                <a:cxn ang="0">
                  <a:pos x="69" y="31"/>
                </a:cxn>
                <a:cxn ang="0">
                  <a:pos x="87" y="14"/>
                </a:cxn>
              </a:cxnLst>
              <a:rect l="0" t="0" r="r" b="b"/>
              <a:pathLst>
                <a:path w="158" h="85">
                  <a:moveTo>
                    <a:pt x="85" y="38"/>
                  </a:moveTo>
                  <a:lnTo>
                    <a:pt x="73" y="40"/>
                  </a:lnTo>
                  <a:lnTo>
                    <a:pt x="69" y="61"/>
                  </a:lnTo>
                  <a:lnTo>
                    <a:pt x="71" y="73"/>
                  </a:lnTo>
                  <a:lnTo>
                    <a:pt x="61" y="83"/>
                  </a:lnTo>
                  <a:lnTo>
                    <a:pt x="69" y="85"/>
                  </a:lnTo>
                  <a:lnTo>
                    <a:pt x="76" y="78"/>
                  </a:lnTo>
                  <a:lnTo>
                    <a:pt x="80" y="66"/>
                  </a:lnTo>
                  <a:lnTo>
                    <a:pt x="90" y="64"/>
                  </a:lnTo>
                  <a:lnTo>
                    <a:pt x="94" y="52"/>
                  </a:lnTo>
                  <a:lnTo>
                    <a:pt x="109" y="59"/>
                  </a:lnTo>
                  <a:lnTo>
                    <a:pt x="111" y="50"/>
                  </a:lnTo>
                  <a:lnTo>
                    <a:pt x="128" y="45"/>
                  </a:lnTo>
                  <a:lnTo>
                    <a:pt x="132" y="38"/>
                  </a:lnTo>
                  <a:lnTo>
                    <a:pt x="144" y="35"/>
                  </a:lnTo>
                  <a:lnTo>
                    <a:pt x="158" y="26"/>
                  </a:lnTo>
                  <a:lnTo>
                    <a:pt x="156" y="12"/>
                  </a:lnTo>
                  <a:lnTo>
                    <a:pt x="146" y="7"/>
                  </a:lnTo>
                  <a:lnTo>
                    <a:pt x="132" y="7"/>
                  </a:lnTo>
                  <a:lnTo>
                    <a:pt x="128" y="19"/>
                  </a:lnTo>
                  <a:lnTo>
                    <a:pt x="120" y="16"/>
                  </a:lnTo>
                  <a:lnTo>
                    <a:pt x="118" y="5"/>
                  </a:lnTo>
                  <a:lnTo>
                    <a:pt x="102" y="0"/>
                  </a:lnTo>
                  <a:lnTo>
                    <a:pt x="94" y="21"/>
                  </a:lnTo>
                  <a:lnTo>
                    <a:pt x="94" y="38"/>
                  </a:lnTo>
                  <a:lnTo>
                    <a:pt x="85" y="38"/>
                  </a:lnTo>
                  <a:close/>
                  <a:moveTo>
                    <a:pt x="87" y="14"/>
                  </a:moveTo>
                  <a:lnTo>
                    <a:pt x="80" y="7"/>
                  </a:lnTo>
                  <a:lnTo>
                    <a:pt x="76" y="12"/>
                  </a:lnTo>
                  <a:lnTo>
                    <a:pt x="61" y="12"/>
                  </a:lnTo>
                  <a:lnTo>
                    <a:pt x="57" y="2"/>
                  </a:lnTo>
                  <a:lnTo>
                    <a:pt x="40" y="2"/>
                  </a:lnTo>
                  <a:lnTo>
                    <a:pt x="24" y="12"/>
                  </a:lnTo>
                  <a:lnTo>
                    <a:pt x="31" y="14"/>
                  </a:lnTo>
                  <a:lnTo>
                    <a:pt x="33" y="21"/>
                  </a:lnTo>
                  <a:lnTo>
                    <a:pt x="47" y="24"/>
                  </a:lnTo>
                  <a:lnTo>
                    <a:pt x="52" y="31"/>
                  </a:lnTo>
                  <a:lnTo>
                    <a:pt x="45" y="33"/>
                  </a:lnTo>
                  <a:lnTo>
                    <a:pt x="24" y="31"/>
                  </a:lnTo>
                  <a:lnTo>
                    <a:pt x="24" y="38"/>
                  </a:lnTo>
                  <a:lnTo>
                    <a:pt x="35" y="38"/>
                  </a:lnTo>
                  <a:lnTo>
                    <a:pt x="33" y="45"/>
                  </a:lnTo>
                  <a:lnTo>
                    <a:pt x="28" y="52"/>
                  </a:lnTo>
                  <a:lnTo>
                    <a:pt x="14" y="47"/>
                  </a:lnTo>
                  <a:lnTo>
                    <a:pt x="7" y="40"/>
                  </a:lnTo>
                  <a:lnTo>
                    <a:pt x="0" y="45"/>
                  </a:lnTo>
                  <a:lnTo>
                    <a:pt x="5" y="59"/>
                  </a:lnTo>
                  <a:lnTo>
                    <a:pt x="12" y="66"/>
                  </a:lnTo>
                  <a:lnTo>
                    <a:pt x="17" y="64"/>
                  </a:lnTo>
                  <a:lnTo>
                    <a:pt x="28" y="71"/>
                  </a:lnTo>
                  <a:lnTo>
                    <a:pt x="35" y="64"/>
                  </a:lnTo>
                  <a:lnTo>
                    <a:pt x="38" y="57"/>
                  </a:lnTo>
                  <a:lnTo>
                    <a:pt x="54" y="52"/>
                  </a:lnTo>
                  <a:lnTo>
                    <a:pt x="69" y="31"/>
                  </a:lnTo>
                  <a:lnTo>
                    <a:pt x="87" y="14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8001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58" name="French Guiana">
              <a:extLst>
                <a:ext uri="{FF2B5EF4-FFF2-40B4-BE49-F238E27FC236}">
                  <a16:creationId xmlns="" xmlns:a16="http://schemas.microsoft.com/office/drawing/2014/main" id="{F8A53D94-454A-41A4-A1E8-833488923D87}"/>
                </a:ext>
              </a:extLst>
            </p:cNvPr>
            <p:cNvSpPr>
              <a:spLocks/>
            </p:cNvSpPr>
            <p:nvPr/>
          </p:nvSpPr>
          <p:spPr bwMode="gray">
            <a:xfrm>
              <a:off x="3762993" y="3842167"/>
              <a:ext cx="83949" cy="114060"/>
            </a:xfrm>
            <a:custGeom>
              <a:avLst/>
              <a:gdLst/>
              <a:ahLst/>
              <a:cxnLst>
                <a:cxn ang="0">
                  <a:pos x="16" y="134"/>
                </a:cxn>
                <a:cxn ang="0">
                  <a:pos x="0" y="130"/>
                </a:cxn>
                <a:cxn ang="0">
                  <a:pos x="14" y="108"/>
                </a:cxn>
                <a:cxn ang="0">
                  <a:pos x="10" y="94"/>
                </a:cxn>
                <a:cxn ang="0">
                  <a:pos x="18" y="84"/>
                </a:cxn>
                <a:cxn ang="0">
                  <a:pos x="4" y="70"/>
                </a:cxn>
                <a:cxn ang="0">
                  <a:pos x="0" y="46"/>
                </a:cxn>
                <a:cxn ang="0">
                  <a:pos x="4" y="24"/>
                </a:cxn>
                <a:cxn ang="0">
                  <a:pos x="24" y="0"/>
                </a:cxn>
                <a:cxn ang="0">
                  <a:pos x="38" y="0"/>
                </a:cxn>
                <a:cxn ang="0">
                  <a:pos x="44" y="6"/>
                </a:cxn>
                <a:cxn ang="0">
                  <a:pos x="56" y="8"/>
                </a:cxn>
                <a:cxn ang="0">
                  <a:pos x="74" y="16"/>
                </a:cxn>
                <a:cxn ang="0">
                  <a:pos x="104" y="44"/>
                </a:cxn>
                <a:cxn ang="0">
                  <a:pos x="96" y="70"/>
                </a:cxn>
                <a:cxn ang="0">
                  <a:pos x="80" y="94"/>
                </a:cxn>
                <a:cxn ang="0">
                  <a:pos x="72" y="126"/>
                </a:cxn>
                <a:cxn ang="0">
                  <a:pos x="54" y="140"/>
                </a:cxn>
                <a:cxn ang="0">
                  <a:pos x="48" y="128"/>
                </a:cxn>
                <a:cxn ang="0">
                  <a:pos x="32" y="122"/>
                </a:cxn>
                <a:cxn ang="0">
                  <a:pos x="16" y="134"/>
                </a:cxn>
              </a:cxnLst>
              <a:rect l="0" t="0" r="r" b="b"/>
              <a:pathLst>
                <a:path w="104" h="140">
                  <a:moveTo>
                    <a:pt x="16" y="134"/>
                  </a:moveTo>
                  <a:lnTo>
                    <a:pt x="0" y="130"/>
                  </a:lnTo>
                  <a:lnTo>
                    <a:pt x="14" y="108"/>
                  </a:lnTo>
                  <a:lnTo>
                    <a:pt x="10" y="94"/>
                  </a:lnTo>
                  <a:lnTo>
                    <a:pt x="18" y="84"/>
                  </a:lnTo>
                  <a:lnTo>
                    <a:pt x="4" y="70"/>
                  </a:lnTo>
                  <a:lnTo>
                    <a:pt x="0" y="46"/>
                  </a:lnTo>
                  <a:lnTo>
                    <a:pt x="4" y="24"/>
                  </a:lnTo>
                  <a:lnTo>
                    <a:pt x="24" y="0"/>
                  </a:lnTo>
                  <a:lnTo>
                    <a:pt x="38" y="0"/>
                  </a:lnTo>
                  <a:lnTo>
                    <a:pt x="44" y="6"/>
                  </a:lnTo>
                  <a:lnTo>
                    <a:pt x="56" y="8"/>
                  </a:lnTo>
                  <a:lnTo>
                    <a:pt x="74" y="16"/>
                  </a:lnTo>
                  <a:lnTo>
                    <a:pt x="104" y="44"/>
                  </a:lnTo>
                  <a:lnTo>
                    <a:pt x="96" y="70"/>
                  </a:lnTo>
                  <a:lnTo>
                    <a:pt x="80" y="94"/>
                  </a:lnTo>
                  <a:lnTo>
                    <a:pt x="72" y="126"/>
                  </a:lnTo>
                  <a:lnTo>
                    <a:pt x="54" y="140"/>
                  </a:lnTo>
                  <a:lnTo>
                    <a:pt x="48" y="128"/>
                  </a:lnTo>
                  <a:lnTo>
                    <a:pt x="32" y="122"/>
                  </a:lnTo>
                  <a:lnTo>
                    <a:pt x="16" y="134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63" name="Greenland">
              <a:extLst>
                <a:ext uri="{FF2B5EF4-FFF2-40B4-BE49-F238E27FC236}">
                  <a16:creationId xmlns="" xmlns:a16="http://schemas.microsoft.com/office/drawing/2014/main" id="{5B339646-813A-4C3E-8E5F-A3AE9788B1B1}"/>
                </a:ext>
              </a:extLst>
            </p:cNvPr>
            <p:cNvSpPr>
              <a:spLocks/>
            </p:cNvSpPr>
            <p:nvPr/>
          </p:nvSpPr>
          <p:spPr bwMode="gray">
            <a:xfrm>
              <a:off x="3413530" y="259095"/>
              <a:ext cx="1497417" cy="1168136"/>
            </a:xfrm>
            <a:custGeom>
              <a:avLst/>
              <a:gdLst/>
              <a:ahLst/>
              <a:cxnLst>
                <a:cxn ang="0">
                  <a:pos x="25" y="143"/>
                </a:cxn>
                <a:cxn ang="0">
                  <a:pos x="96" y="119"/>
                </a:cxn>
                <a:cxn ang="0">
                  <a:pos x="70" y="96"/>
                </a:cxn>
                <a:cxn ang="0">
                  <a:pos x="150" y="69"/>
                </a:cxn>
                <a:cxn ang="0">
                  <a:pos x="231" y="51"/>
                </a:cxn>
                <a:cxn ang="0">
                  <a:pos x="276" y="72"/>
                </a:cxn>
                <a:cxn ang="0">
                  <a:pos x="291" y="45"/>
                </a:cxn>
                <a:cxn ang="0">
                  <a:pos x="330" y="60"/>
                </a:cxn>
                <a:cxn ang="0">
                  <a:pos x="345" y="39"/>
                </a:cxn>
                <a:cxn ang="0">
                  <a:pos x="378" y="24"/>
                </a:cxn>
                <a:cxn ang="0">
                  <a:pos x="433" y="17"/>
                </a:cxn>
                <a:cxn ang="0">
                  <a:pos x="489" y="2"/>
                </a:cxn>
                <a:cxn ang="0">
                  <a:pos x="561" y="0"/>
                </a:cxn>
                <a:cxn ang="0">
                  <a:pos x="589" y="6"/>
                </a:cxn>
                <a:cxn ang="0">
                  <a:pos x="568" y="18"/>
                </a:cxn>
                <a:cxn ang="0">
                  <a:pos x="568" y="26"/>
                </a:cxn>
                <a:cxn ang="0">
                  <a:pos x="628" y="21"/>
                </a:cxn>
                <a:cxn ang="0">
                  <a:pos x="666" y="33"/>
                </a:cxn>
                <a:cxn ang="0">
                  <a:pos x="612" y="54"/>
                </a:cxn>
                <a:cxn ang="0">
                  <a:pos x="631" y="65"/>
                </a:cxn>
                <a:cxn ang="0">
                  <a:pos x="643" y="89"/>
                </a:cxn>
                <a:cxn ang="0">
                  <a:pos x="742" y="62"/>
                </a:cxn>
                <a:cxn ang="0">
                  <a:pos x="783" y="65"/>
                </a:cxn>
                <a:cxn ang="0">
                  <a:pos x="745" y="96"/>
                </a:cxn>
                <a:cxn ang="0">
                  <a:pos x="700" y="123"/>
                </a:cxn>
                <a:cxn ang="0">
                  <a:pos x="681" y="149"/>
                </a:cxn>
                <a:cxn ang="0">
                  <a:pos x="684" y="168"/>
                </a:cxn>
                <a:cxn ang="0">
                  <a:pos x="697" y="198"/>
                </a:cxn>
                <a:cxn ang="0">
                  <a:pos x="687" y="212"/>
                </a:cxn>
                <a:cxn ang="0">
                  <a:pos x="664" y="234"/>
                </a:cxn>
                <a:cxn ang="0">
                  <a:pos x="663" y="267"/>
                </a:cxn>
                <a:cxn ang="0">
                  <a:pos x="651" y="287"/>
                </a:cxn>
                <a:cxn ang="0">
                  <a:pos x="663" y="314"/>
                </a:cxn>
                <a:cxn ang="0">
                  <a:pos x="658" y="344"/>
                </a:cxn>
                <a:cxn ang="0">
                  <a:pos x="630" y="344"/>
                </a:cxn>
                <a:cxn ang="0">
                  <a:pos x="595" y="354"/>
                </a:cxn>
                <a:cxn ang="0">
                  <a:pos x="619" y="369"/>
                </a:cxn>
                <a:cxn ang="0">
                  <a:pos x="612" y="390"/>
                </a:cxn>
                <a:cxn ang="0">
                  <a:pos x="544" y="413"/>
                </a:cxn>
                <a:cxn ang="0">
                  <a:pos x="499" y="432"/>
                </a:cxn>
                <a:cxn ang="0">
                  <a:pos x="448" y="470"/>
                </a:cxn>
                <a:cxn ang="0">
                  <a:pos x="409" y="516"/>
                </a:cxn>
                <a:cxn ang="0">
                  <a:pos x="376" y="576"/>
                </a:cxn>
                <a:cxn ang="0">
                  <a:pos x="355" y="606"/>
                </a:cxn>
                <a:cxn ang="0">
                  <a:pos x="310" y="582"/>
                </a:cxn>
                <a:cxn ang="0">
                  <a:pos x="265" y="521"/>
                </a:cxn>
                <a:cxn ang="0">
                  <a:pos x="240" y="479"/>
                </a:cxn>
                <a:cxn ang="0">
                  <a:pos x="255" y="440"/>
                </a:cxn>
                <a:cxn ang="0">
                  <a:pos x="268" y="407"/>
                </a:cxn>
                <a:cxn ang="0">
                  <a:pos x="268" y="362"/>
                </a:cxn>
                <a:cxn ang="0">
                  <a:pos x="250" y="326"/>
                </a:cxn>
                <a:cxn ang="0">
                  <a:pos x="208" y="317"/>
                </a:cxn>
                <a:cxn ang="0">
                  <a:pos x="196" y="255"/>
                </a:cxn>
                <a:cxn ang="0">
                  <a:pos x="153" y="213"/>
                </a:cxn>
                <a:cxn ang="0">
                  <a:pos x="102" y="210"/>
                </a:cxn>
                <a:cxn ang="0">
                  <a:pos x="78" y="218"/>
                </a:cxn>
                <a:cxn ang="0">
                  <a:pos x="46" y="213"/>
                </a:cxn>
                <a:cxn ang="0">
                  <a:pos x="9" y="197"/>
                </a:cxn>
                <a:cxn ang="0">
                  <a:pos x="33" y="176"/>
                </a:cxn>
                <a:cxn ang="0">
                  <a:pos x="0" y="162"/>
                </a:cxn>
              </a:cxnLst>
              <a:rect l="0" t="0" r="r" b="b"/>
              <a:pathLst>
                <a:path w="783" h="606">
                  <a:moveTo>
                    <a:pt x="6" y="149"/>
                  </a:moveTo>
                  <a:lnTo>
                    <a:pt x="25" y="143"/>
                  </a:lnTo>
                  <a:lnTo>
                    <a:pt x="67" y="143"/>
                  </a:lnTo>
                  <a:lnTo>
                    <a:pt x="96" y="119"/>
                  </a:lnTo>
                  <a:lnTo>
                    <a:pt x="63" y="114"/>
                  </a:lnTo>
                  <a:lnTo>
                    <a:pt x="70" y="96"/>
                  </a:lnTo>
                  <a:lnTo>
                    <a:pt x="123" y="83"/>
                  </a:lnTo>
                  <a:lnTo>
                    <a:pt x="150" y="69"/>
                  </a:lnTo>
                  <a:lnTo>
                    <a:pt x="196" y="50"/>
                  </a:lnTo>
                  <a:lnTo>
                    <a:pt x="231" y="51"/>
                  </a:lnTo>
                  <a:lnTo>
                    <a:pt x="255" y="66"/>
                  </a:lnTo>
                  <a:lnTo>
                    <a:pt x="276" y="72"/>
                  </a:lnTo>
                  <a:lnTo>
                    <a:pt x="279" y="51"/>
                  </a:lnTo>
                  <a:lnTo>
                    <a:pt x="291" y="45"/>
                  </a:lnTo>
                  <a:lnTo>
                    <a:pt x="306" y="53"/>
                  </a:lnTo>
                  <a:lnTo>
                    <a:pt x="330" y="60"/>
                  </a:lnTo>
                  <a:lnTo>
                    <a:pt x="328" y="42"/>
                  </a:lnTo>
                  <a:lnTo>
                    <a:pt x="345" y="39"/>
                  </a:lnTo>
                  <a:lnTo>
                    <a:pt x="370" y="39"/>
                  </a:lnTo>
                  <a:lnTo>
                    <a:pt x="378" y="24"/>
                  </a:lnTo>
                  <a:lnTo>
                    <a:pt x="409" y="24"/>
                  </a:lnTo>
                  <a:lnTo>
                    <a:pt x="433" y="17"/>
                  </a:lnTo>
                  <a:lnTo>
                    <a:pt x="448" y="3"/>
                  </a:lnTo>
                  <a:lnTo>
                    <a:pt x="489" y="2"/>
                  </a:lnTo>
                  <a:lnTo>
                    <a:pt x="532" y="6"/>
                  </a:lnTo>
                  <a:lnTo>
                    <a:pt x="561" y="0"/>
                  </a:lnTo>
                  <a:lnTo>
                    <a:pt x="570" y="6"/>
                  </a:lnTo>
                  <a:lnTo>
                    <a:pt x="589" y="6"/>
                  </a:lnTo>
                  <a:lnTo>
                    <a:pt x="595" y="14"/>
                  </a:lnTo>
                  <a:lnTo>
                    <a:pt x="568" y="18"/>
                  </a:lnTo>
                  <a:lnTo>
                    <a:pt x="543" y="23"/>
                  </a:lnTo>
                  <a:lnTo>
                    <a:pt x="568" y="26"/>
                  </a:lnTo>
                  <a:lnTo>
                    <a:pt x="591" y="21"/>
                  </a:lnTo>
                  <a:lnTo>
                    <a:pt x="628" y="21"/>
                  </a:lnTo>
                  <a:lnTo>
                    <a:pt x="645" y="33"/>
                  </a:lnTo>
                  <a:lnTo>
                    <a:pt x="666" y="33"/>
                  </a:lnTo>
                  <a:lnTo>
                    <a:pt x="649" y="54"/>
                  </a:lnTo>
                  <a:lnTo>
                    <a:pt x="612" y="54"/>
                  </a:lnTo>
                  <a:lnTo>
                    <a:pt x="597" y="65"/>
                  </a:lnTo>
                  <a:lnTo>
                    <a:pt x="631" y="65"/>
                  </a:lnTo>
                  <a:lnTo>
                    <a:pt x="663" y="66"/>
                  </a:lnTo>
                  <a:lnTo>
                    <a:pt x="643" y="89"/>
                  </a:lnTo>
                  <a:lnTo>
                    <a:pt x="682" y="60"/>
                  </a:lnTo>
                  <a:lnTo>
                    <a:pt x="742" y="62"/>
                  </a:lnTo>
                  <a:lnTo>
                    <a:pt x="763" y="56"/>
                  </a:lnTo>
                  <a:lnTo>
                    <a:pt x="783" y="65"/>
                  </a:lnTo>
                  <a:lnTo>
                    <a:pt x="775" y="81"/>
                  </a:lnTo>
                  <a:lnTo>
                    <a:pt x="745" y="96"/>
                  </a:lnTo>
                  <a:lnTo>
                    <a:pt x="715" y="99"/>
                  </a:lnTo>
                  <a:lnTo>
                    <a:pt x="700" y="123"/>
                  </a:lnTo>
                  <a:lnTo>
                    <a:pt x="694" y="137"/>
                  </a:lnTo>
                  <a:lnTo>
                    <a:pt x="681" y="149"/>
                  </a:lnTo>
                  <a:lnTo>
                    <a:pt x="666" y="156"/>
                  </a:lnTo>
                  <a:lnTo>
                    <a:pt x="684" y="168"/>
                  </a:lnTo>
                  <a:lnTo>
                    <a:pt x="705" y="191"/>
                  </a:lnTo>
                  <a:lnTo>
                    <a:pt x="697" y="198"/>
                  </a:lnTo>
                  <a:lnTo>
                    <a:pt x="678" y="198"/>
                  </a:lnTo>
                  <a:lnTo>
                    <a:pt x="687" y="212"/>
                  </a:lnTo>
                  <a:lnTo>
                    <a:pt x="688" y="227"/>
                  </a:lnTo>
                  <a:lnTo>
                    <a:pt x="664" y="234"/>
                  </a:lnTo>
                  <a:lnTo>
                    <a:pt x="657" y="251"/>
                  </a:lnTo>
                  <a:lnTo>
                    <a:pt x="663" y="267"/>
                  </a:lnTo>
                  <a:lnTo>
                    <a:pt x="678" y="275"/>
                  </a:lnTo>
                  <a:lnTo>
                    <a:pt x="651" y="287"/>
                  </a:lnTo>
                  <a:lnTo>
                    <a:pt x="640" y="290"/>
                  </a:lnTo>
                  <a:lnTo>
                    <a:pt x="663" y="314"/>
                  </a:lnTo>
                  <a:lnTo>
                    <a:pt x="649" y="326"/>
                  </a:lnTo>
                  <a:lnTo>
                    <a:pt x="658" y="344"/>
                  </a:lnTo>
                  <a:lnTo>
                    <a:pt x="648" y="356"/>
                  </a:lnTo>
                  <a:lnTo>
                    <a:pt x="630" y="344"/>
                  </a:lnTo>
                  <a:lnTo>
                    <a:pt x="610" y="344"/>
                  </a:lnTo>
                  <a:lnTo>
                    <a:pt x="595" y="354"/>
                  </a:lnTo>
                  <a:lnTo>
                    <a:pt x="600" y="369"/>
                  </a:lnTo>
                  <a:lnTo>
                    <a:pt x="619" y="369"/>
                  </a:lnTo>
                  <a:lnTo>
                    <a:pt x="637" y="378"/>
                  </a:lnTo>
                  <a:lnTo>
                    <a:pt x="612" y="390"/>
                  </a:lnTo>
                  <a:lnTo>
                    <a:pt x="582" y="413"/>
                  </a:lnTo>
                  <a:lnTo>
                    <a:pt x="544" y="413"/>
                  </a:lnTo>
                  <a:lnTo>
                    <a:pt x="525" y="426"/>
                  </a:lnTo>
                  <a:lnTo>
                    <a:pt x="499" y="432"/>
                  </a:lnTo>
                  <a:lnTo>
                    <a:pt x="475" y="461"/>
                  </a:lnTo>
                  <a:lnTo>
                    <a:pt x="448" y="470"/>
                  </a:lnTo>
                  <a:lnTo>
                    <a:pt x="418" y="489"/>
                  </a:lnTo>
                  <a:lnTo>
                    <a:pt x="409" y="516"/>
                  </a:lnTo>
                  <a:lnTo>
                    <a:pt x="399" y="542"/>
                  </a:lnTo>
                  <a:lnTo>
                    <a:pt x="376" y="576"/>
                  </a:lnTo>
                  <a:lnTo>
                    <a:pt x="378" y="597"/>
                  </a:lnTo>
                  <a:lnTo>
                    <a:pt x="355" y="606"/>
                  </a:lnTo>
                  <a:lnTo>
                    <a:pt x="331" y="584"/>
                  </a:lnTo>
                  <a:lnTo>
                    <a:pt x="310" y="582"/>
                  </a:lnTo>
                  <a:lnTo>
                    <a:pt x="285" y="551"/>
                  </a:lnTo>
                  <a:lnTo>
                    <a:pt x="265" y="521"/>
                  </a:lnTo>
                  <a:lnTo>
                    <a:pt x="258" y="492"/>
                  </a:lnTo>
                  <a:lnTo>
                    <a:pt x="240" y="479"/>
                  </a:lnTo>
                  <a:lnTo>
                    <a:pt x="243" y="452"/>
                  </a:lnTo>
                  <a:lnTo>
                    <a:pt x="255" y="440"/>
                  </a:lnTo>
                  <a:lnTo>
                    <a:pt x="268" y="425"/>
                  </a:lnTo>
                  <a:lnTo>
                    <a:pt x="268" y="407"/>
                  </a:lnTo>
                  <a:lnTo>
                    <a:pt x="279" y="381"/>
                  </a:lnTo>
                  <a:lnTo>
                    <a:pt x="268" y="362"/>
                  </a:lnTo>
                  <a:lnTo>
                    <a:pt x="273" y="335"/>
                  </a:lnTo>
                  <a:lnTo>
                    <a:pt x="250" y="326"/>
                  </a:lnTo>
                  <a:lnTo>
                    <a:pt x="217" y="329"/>
                  </a:lnTo>
                  <a:lnTo>
                    <a:pt x="208" y="317"/>
                  </a:lnTo>
                  <a:lnTo>
                    <a:pt x="216" y="296"/>
                  </a:lnTo>
                  <a:lnTo>
                    <a:pt x="196" y="255"/>
                  </a:lnTo>
                  <a:lnTo>
                    <a:pt x="181" y="233"/>
                  </a:lnTo>
                  <a:lnTo>
                    <a:pt x="153" y="213"/>
                  </a:lnTo>
                  <a:lnTo>
                    <a:pt x="126" y="209"/>
                  </a:lnTo>
                  <a:lnTo>
                    <a:pt x="102" y="210"/>
                  </a:lnTo>
                  <a:lnTo>
                    <a:pt x="94" y="219"/>
                  </a:lnTo>
                  <a:lnTo>
                    <a:pt x="78" y="218"/>
                  </a:lnTo>
                  <a:lnTo>
                    <a:pt x="66" y="204"/>
                  </a:lnTo>
                  <a:lnTo>
                    <a:pt x="46" y="213"/>
                  </a:lnTo>
                  <a:lnTo>
                    <a:pt x="22" y="212"/>
                  </a:lnTo>
                  <a:lnTo>
                    <a:pt x="9" y="197"/>
                  </a:lnTo>
                  <a:lnTo>
                    <a:pt x="18" y="185"/>
                  </a:lnTo>
                  <a:lnTo>
                    <a:pt x="33" y="176"/>
                  </a:lnTo>
                  <a:lnTo>
                    <a:pt x="13" y="173"/>
                  </a:lnTo>
                  <a:lnTo>
                    <a:pt x="0" y="162"/>
                  </a:lnTo>
                  <a:lnTo>
                    <a:pt x="6" y="149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66" name="Guyana">
              <a:extLst>
                <a:ext uri="{FF2B5EF4-FFF2-40B4-BE49-F238E27FC236}">
                  <a16:creationId xmlns="" xmlns:a16="http://schemas.microsoft.com/office/drawing/2014/main" id="{F710201B-31C4-44F0-85B9-5500FE137165}"/>
                </a:ext>
              </a:extLst>
            </p:cNvPr>
            <p:cNvSpPr>
              <a:spLocks/>
            </p:cNvSpPr>
            <p:nvPr/>
          </p:nvSpPr>
          <p:spPr bwMode="gray">
            <a:xfrm>
              <a:off x="3550191" y="3755638"/>
              <a:ext cx="136661" cy="226155"/>
            </a:xfrm>
            <a:custGeom>
              <a:avLst/>
              <a:gdLst/>
              <a:ahLst/>
              <a:cxnLst>
                <a:cxn ang="0">
                  <a:pos x="56" y="124"/>
                </a:cxn>
                <a:cxn ang="0">
                  <a:pos x="28" y="126"/>
                </a:cxn>
                <a:cxn ang="0">
                  <a:pos x="0" y="102"/>
                </a:cxn>
                <a:cxn ang="0">
                  <a:pos x="6" y="86"/>
                </a:cxn>
                <a:cxn ang="0">
                  <a:pos x="8" y="60"/>
                </a:cxn>
                <a:cxn ang="0">
                  <a:pos x="34" y="52"/>
                </a:cxn>
                <a:cxn ang="0">
                  <a:pos x="36" y="24"/>
                </a:cxn>
                <a:cxn ang="0">
                  <a:pos x="56" y="0"/>
                </a:cxn>
                <a:cxn ang="0">
                  <a:pos x="64" y="6"/>
                </a:cxn>
                <a:cxn ang="0">
                  <a:pos x="76" y="6"/>
                </a:cxn>
                <a:cxn ang="0">
                  <a:pos x="112" y="38"/>
                </a:cxn>
                <a:cxn ang="0">
                  <a:pos x="112" y="62"/>
                </a:cxn>
                <a:cxn ang="0">
                  <a:pos x="130" y="58"/>
                </a:cxn>
                <a:cxn ang="0">
                  <a:pos x="150" y="76"/>
                </a:cxn>
                <a:cxn ang="0">
                  <a:pos x="162" y="94"/>
                </a:cxn>
                <a:cxn ang="0">
                  <a:pos x="156" y="112"/>
                </a:cxn>
                <a:cxn ang="0">
                  <a:pos x="156" y="128"/>
                </a:cxn>
                <a:cxn ang="0">
                  <a:pos x="144" y="138"/>
                </a:cxn>
                <a:cxn ang="0">
                  <a:pos x="128" y="134"/>
                </a:cxn>
                <a:cxn ang="0">
                  <a:pos x="126" y="158"/>
                </a:cxn>
                <a:cxn ang="0">
                  <a:pos x="132" y="188"/>
                </a:cxn>
                <a:cxn ang="0">
                  <a:pos x="152" y="200"/>
                </a:cxn>
                <a:cxn ang="0">
                  <a:pos x="170" y="246"/>
                </a:cxn>
                <a:cxn ang="0">
                  <a:pos x="148" y="250"/>
                </a:cxn>
                <a:cxn ang="0">
                  <a:pos x="122" y="264"/>
                </a:cxn>
                <a:cxn ang="0">
                  <a:pos x="108" y="262"/>
                </a:cxn>
                <a:cxn ang="0">
                  <a:pos x="90" y="276"/>
                </a:cxn>
                <a:cxn ang="0">
                  <a:pos x="58" y="250"/>
                </a:cxn>
                <a:cxn ang="0">
                  <a:pos x="68" y="238"/>
                </a:cxn>
                <a:cxn ang="0">
                  <a:pos x="54" y="224"/>
                </a:cxn>
                <a:cxn ang="0">
                  <a:pos x="62" y="200"/>
                </a:cxn>
                <a:cxn ang="0">
                  <a:pos x="62" y="186"/>
                </a:cxn>
                <a:cxn ang="0">
                  <a:pos x="74" y="166"/>
                </a:cxn>
                <a:cxn ang="0">
                  <a:pos x="58" y="154"/>
                </a:cxn>
                <a:cxn ang="0">
                  <a:pos x="48" y="142"/>
                </a:cxn>
                <a:cxn ang="0">
                  <a:pos x="56" y="124"/>
                </a:cxn>
              </a:cxnLst>
              <a:rect l="0" t="0" r="r" b="b"/>
              <a:pathLst>
                <a:path w="170" h="276">
                  <a:moveTo>
                    <a:pt x="56" y="124"/>
                  </a:moveTo>
                  <a:lnTo>
                    <a:pt x="28" y="126"/>
                  </a:lnTo>
                  <a:lnTo>
                    <a:pt x="0" y="102"/>
                  </a:lnTo>
                  <a:lnTo>
                    <a:pt x="6" y="86"/>
                  </a:lnTo>
                  <a:lnTo>
                    <a:pt x="8" y="60"/>
                  </a:lnTo>
                  <a:lnTo>
                    <a:pt x="34" y="52"/>
                  </a:lnTo>
                  <a:lnTo>
                    <a:pt x="36" y="24"/>
                  </a:lnTo>
                  <a:lnTo>
                    <a:pt x="56" y="0"/>
                  </a:lnTo>
                  <a:lnTo>
                    <a:pt x="64" y="6"/>
                  </a:lnTo>
                  <a:lnTo>
                    <a:pt x="76" y="6"/>
                  </a:lnTo>
                  <a:lnTo>
                    <a:pt x="112" y="38"/>
                  </a:lnTo>
                  <a:lnTo>
                    <a:pt x="112" y="62"/>
                  </a:lnTo>
                  <a:lnTo>
                    <a:pt x="130" y="58"/>
                  </a:lnTo>
                  <a:lnTo>
                    <a:pt x="150" y="76"/>
                  </a:lnTo>
                  <a:lnTo>
                    <a:pt x="162" y="94"/>
                  </a:lnTo>
                  <a:lnTo>
                    <a:pt x="156" y="112"/>
                  </a:lnTo>
                  <a:lnTo>
                    <a:pt x="156" y="128"/>
                  </a:lnTo>
                  <a:lnTo>
                    <a:pt x="144" y="138"/>
                  </a:lnTo>
                  <a:lnTo>
                    <a:pt x="128" y="134"/>
                  </a:lnTo>
                  <a:lnTo>
                    <a:pt x="126" y="158"/>
                  </a:lnTo>
                  <a:lnTo>
                    <a:pt x="132" y="188"/>
                  </a:lnTo>
                  <a:lnTo>
                    <a:pt x="152" y="200"/>
                  </a:lnTo>
                  <a:lnTo>
                    <a:pt x="170" y="246"/>
                  </a:lnTo>
                  <a:lnTo>
                    <a:pt x="148" y="250"/>
                  </a:lnTo>
                  <a:lnTo>
                    <a:pt x="122" y="264"/>
                  </a:lnTo>
                  <a:lnTo>
                    <a:pt x="108" y="262"/>
                  </a:lnTo>
                  <a:lnTo>
                    <a:pt x="90" y="276"/>
                  </a:lnTo>
                  <a:lnTo>
                    <a:pt x="58" y="250"/>
                  </a:lnTo>
                  <a:lnTo>
                    <a:pt x="68" y="238"/>
                  </a:lnTo>
                  <a:lnTo>
                    <a:pt x="54" y="224"/>
                  </a:lnTo>
                  <a:lnTo>
                    <a:pt x="62" y="200"/>
                  </a:lnTo>
                  <a:lnTo>
                    <a:pt x="62" y="186"/>
                  </a:lnTo>
                  <a:lnTo>
                    <a:pt x="74" y="166"/>
                  </a:lnTo>
                  <a:lnTo>
                    <a:pt x="58" y="154"/>
                  </a:lnTo>
                  <a:lnTo>
                    <a:pt x="48" y="142"/>
                  </a:lnTo>
                  <a:lnTo>
                    <a:pt x="56" y="124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67" name="Haiti">
              <a:extLst>
                <a:ext uri="{FF2B5EF4-FFF2-40B4-BE49-F238E27FC236}">
                  <a16:creationId xmlns="" xmlns:a16="http://schemas.microsoft.com/office/drawing/2014/main" id="{E6442310-2DEA-47A8-B40E-EE1161A89C8A}"/>
                </a:ext>
              </a:extLst>
            </p:cNvPr>
            <p:cNvSpPr>
              <a:spLocks/>
            </p:cNvSpPr>
            <p:nvPr/>
          </p:nvSpPr>
          <p:spPr bwMode="gray">
            <a:xfrm>
              <a:off x="3206586" y="3376092"/>
              <a:ext cx="81997" cy="64896"/>
            </a:xfrm>
            <a:custGeom>
              <a:avLst/>
              <a:gdLst/>
              <a:ahLst/>
              <a:cxnLst>
                <a:cxn ang="0">
                  <a:pos x="92" y="62"/>
                </a:cxn>
                <a:cxn ang="0">
                  <a:pos x="102" y="16"/>
                </a:cxn>
                <a:cxn ang="0">
                  <a:pos x="94" y="6"/>
                </a:cxn>
                <a:cxn ang="0">
                  <a:pos x="46" y="0"/>
                </a:cxn>
                <a:cxn ang="0">
                  <a:pos x="44" y="10"/>
                </a:cxn>
                <a:cxn ang="0">
                  <a:pos x="70" y="22"/>
                </a:cxn>
                <a:cxn ang="0">
                  <a:pos x="68" y="36"/>
                </a:cxn>
                <a:cxn ang="0">
                  <a:pos x="78" y="44"/>
                </a:cxn>
                <a:cxn ang="0">
                  <a:pos x="70" y="56"/>
                </a:cxn>
                <a:cxn ang="0">
                  <a:pos x="30" y="54"/>
                </a:cxn>
                <a:cxn ang="0">
                  <a:pos x="16" y="48"/>
                </a:cxn>
                <a:cxn ang="0">
                  <a:pos x="0" y="56"/>
                </a:cxn>
                <a:cxn ang="0">
                  <a:pos x="2" y="70"/>
                </a:cxn>
                <a:cxn ang="0">
                  <a:pos x="24" y="78"/>
                </a:cxn>
                <a:cxn ang="0">
                  <a:pos x="32" y="68"/>
                </a:cxn>
                <a:cxn ang="0">
                  <a:pos x="70" y="68"/>
                </a:cxn>
                <a:cxn ang="0">
                  <a:pos x="92" y="62"/>
                </a:cxn>
              </a:cxnLst>
              <a:rect l="0" t="0" r="r" b="b"/>
              <a:pathLst>
                <a:path w="102" h="78">
                  <a:moveTo>
                    <a:pt x="92" y="62"/>
                  </a:moveTo>
                  <a:lnTo>
                    <a:pt x="102" y="16"/>
                  </a:lnTo>
                  <a:lnTo>
                    <a:pt x="94" y="6"/>
                  </a:lnTo>
                  <a:lnTo>
                    <a:pt x="46" y="0"/>
                  </a:lnTo>
                  <a:lnTo>
                    <a:pt x="44" y="10"/>
                  </a:lnTo>
                  <a:lnTo>
                    <a:pt x="70" y="22"/>
                  </a:lnTo>
                  <a:lnTo>
                    <a:pt x="68" y="36"/>
                  </a:lnTo>
                  <a:lnTo>
                    <a:pt x="78" y="44"/>
                  </a:lnTo>
                  <a:lnTo>
                    <a:pt x="70" y="56"/>
                  </a:lnTo>
                  <a:lnTo>
                    <a:pt x="30" y="54"/>
                  </a:lnTo>
                  <a:lnTo>
                    <a:pt x="16" y="48"/>
                  </a:lnTo>
                  <a:lnTo>
                    <a:pt x="0" y="56"/>
                  </a:lnTo>
                  <a:lnTo>
                    <a:pt x="2" y="70"/>
                  </a:lnTo>
                  <a:lnTo>
                    <a:pt x="24" y="78"/>
                  </a:lnTo>
                  <a:lnTo>
                    <a:pt x="32" y="68"/>
                  </a:lnTo>
                  <a:lnTo>
                    <a:pt x="70" y="68"/>
                  </a:lnTo>
                  <a:lnTo>
                    <a:pt x="92" y="62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68" name="Honduras">
              <a:extLst>
                <a:ext uri="{FF2B5EF4-FFF2-40B4-BE49-F238E27FC236}">
                  <a16:creationId xmlns="" xmlns:a16="http://schemas.microsoft.com/office/drawing/2014/main" id="{C7E22DF0-393C-4FCF-B94E-7961E1539D58}"/>
                </a:ext>
              </a:extLst>
            </p:cNvPr>
            <p:cNvSpPr>
              <a:spLocks/>
            </p:cNvSpPr>
            <p:nvPr/>
          </p:nvSpPr>
          <p:spPr bwMode="gray">
            <a:xfrm>
              <a:off x="2665797" y="3517684"/>
              <a:ext cx="183517" cy="84561"/>
            </a:xfrm>
            <a:custGeom>
              <a:avLst/>
              <a:gdLst/>
              <a:ahLst/>
              <a:cxnLst>
                <a:cxn ang="0">
                  <a:pos x="0" y="54"/>
                </a:cxn>
                <a:cxn ang="0">
                  <a:pos x="8" y="36"/>
                </a:cxn>
                <a:cxn ang="0">
                  <a:pos x="48" y="4"/>
                </a:cxn>
                <a:cxn ang="0">
                  <a:pos x="66" y="12"/>
                </a:cxn>
                <a:cxn ang="0">
                  <a:pos x="82" y="6"/>
                </a:cxn>
                <a:cxn ang="0">
                  <a:pos x="96" y="12"/>
                </a:cxn>
                <a:cxn ang="0">
                  <a:pos x="124" y="12"/>
                </a:cxn>
                <a:cxn ang="0">
                  <a:pos x="158" y="2"/>
                </a:cxn>
                <a:cxn ang="0">
                  <a:pos x="168" y="4"/>
                </a:cxn>
                <a:cxn ang="0">
                  <a:pos x="192" y="0"/>
                </a:cxn>
                <a:cxn ang="0">
                  <a:pos x="208" y="6"/>
                </a:cxn>
                <a:cxn ang="0">
                  <a:pos x="220" y="14"/>
                </a:cxn>
                <a:cxn ang="0">
                  <a:pos x="214" y="20"/>
                </a:cxn>
                <a:cxn ang="0">
                  <a:pos x="216" y="26"/>
                </a:cxn>
                <a:cxn ang="0">
                  <a:pos x="228" y="32"/>
                </a:cxn>
                <a:cxn ang="0">
                  <a:pos x="216" y="46"/>
                </a:cxn>
                <a:cxn ang="0">
                  <a:pos x="174" y="48"/>
                </a:cxn>
                <a:cxn ang="0">
                  <a:pos x="160" y="64"/>
                </a:cxn>
                <a:cxn ang="0">
                  <a:pos x="128" y="76"/>
                </a:cxn>
                <a:cxn ang="0">
                  <a:pos x="102" y="80"/>
                </a:cxn>
                <a:cxn ang="0">
                  <a:pos x="98" y="102"/>
                </a:cxn>
                <a:cxn ang="0">
                  <a:pos x="86" y="104"/>
                </a:cxn>
                <a:cxn ang="0">
                  <a:pos x="74" y="104"/>
                </a:cxn>
                <a:cxn ang="0">
                  <a:pos x="68" y="80"/>
                </a:cxn>
                <a:cxn ang="0">
                  <a:pos x="46" y="76"/>
                </a:cxn>
                <a:cxn ang="0">
                  <a:pos x="26" y="64"/>
                </a:cxn>
                <a:cxn ang="0">
                  <a:pos x="0" y="54"/>
                </a:cxn>
              </a:cxnLst>
              <a:rect l="0" t="0" r="r" b="b"/>
              <a:pathLst>
                <a:path w="228" h="104">
                  <a:moveTo>
                    <a:pt x="0" y="54"/>
                  </a:moveTo>
                  <a:lnTo>
                    <a:pt x="8" y="36"/>
                  </a:lnTo>
                  <a:lnTo>
                    <a:pt x="48" y="4"/>
                  </a:lnTo>
                  <a:lnTo>
                    <a:pt x="66" y="12"/>
                  </a:lnTo>
                  <a:lnTo>
                    <a:pt x="82" y="6"/>
                  </a:lnTo>
                  <a:lnTo>
                    <a:pt x="96" y="12"/>
                  </a:lnTo>
                  <a:lnTo>
                    <a:pt x="124" y="12"/>
                  </a:lnTo>
                  <a:lnTo>
                    <a:pt x="158" y="2"/>
                  </a:lnTo>
                  <a:lnTo>
                    <a:pt x="168" y="4"/>
                  </a:lnTo>
                  <a:lnTo>
                    <a:pt x="192" y="0"/>
                  </a:lnTo>
                  <a:lnTo>
                    <a:pt x="208" y="6"/>
                  </a:lnTo>
                  <a:lnTo>
                    <a:pt x="220" y="14"/>
                  </a:lnTo>
                  <a:lnTo>
                    <a:pt x="214" y="20"/>
                  </a:lnTo>
                  <a:lnTo>
                    <a:pt x="216" y="26"/>
                  </a:lnTo>
                  <a:lnTo>
                    <a:pt x="228" y="32"/>
                  </a:lnTo>
                  <a:lnTo>
                    <a:pt x="216" y="46"/>
                  </a:lnTo>
                  <a:lnTo>
                    <a:pt x="174" y="48"/>
                  </a:lnTo>
                  <a:lnTo>
                    <a:pt x="160" y="64"/>
                  </a:lnTo>
                  <a:lnTo>
                    <a:pt x="128" y="76"/>
                  </a:lnTo>
                  <a:lnTo>
                    <a:pt x="102" y="80"/>
                  </a:lnTo>
                  <a:lnTo>
                    <a:pt x="98" y="102"/>
                  </a:lnTo>
                  <a:lnTo>
                    <a:pt x="86" y="104"/>
                  </a:lnTo>
                  <a:lnTo>
                    <a:pt x="74" y="104"/>
                  </a:lnTo>
                  <a:lnTo>
                    <a:pt x="68" y="80"/>
                  </a:lnTo>
                  <a:lnTo>
                    <a:pt x="46" y="76"/>
                  </a:lnTo>
                  <a:lnTo>
                    <a:pt x="26" y="64"/>
                  </a:lnTo>
                  <a:lnTo>
                    <a:pt x="0" y="54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71" name="Jamaica">
              <a:extLst>
                <a:ext uri="{FF2B5EF4-FFF2-40B4-BE49-F238E27FC236}">
                  <a16:creationId xmlns="" xmlns:a16="http://schemas.microsoft.com/office/drawing/2014/main" id="{6AD2839A-DA0F-4C8E-858D-690214B8DFD6}"/>
                </a:ext>
              </a:extLst>
            </p:cNvPr>
            <p:cNvSpPr>
              <a:spLocks/>
            </p:cNvSpPr>
            <p:nvPr/>
          </p:nvSpPr>
          <p:spPr bwMode="gray">
            <a:xfrm>
              <a:off x="3081638" y="3425256"/>
              <a:ext cx="72234" cy="23599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14" y="2"/>
                </a:cxn>
                <a:cxn ang="0">
                  <a:pos x="42" y="0"/>
                </a:cxn>
                <a:cxn ang="0">
                  <a:pos x="66" y="6"/>
                </a:cxn>
                <a:cxn ang="0">
                  <a:pos x="88" y="16"/>
                </a:cxn>
                <a:cxn ang="0">
                  <a:pos x="80" y="24"/>
                </a:cxn>
                <a:cxn ang="0">
                  <a:pos x="64" y="20"/>
                </a:cxn>
                <a:cxn ang="0">
                  <a:pos x="50" y="28"/>
                </a:cxn>
                <a:cxn ang="0">
                  <a:pos x="30" y="24"/>
                </a:cxn>
                <a:cxn ang="0">
                  <a:pos x="18" y="14"/>
                </a:cxn>
                <a:cxn ang="0">
                  <a:pos x="6" y="14"/>
                </a:cxn>
                <a:cxn ang="0">
                  <a:pos x="0" y="8"/>
                </a:cxn>
              </a:cxnLst>
              <a:rect l="0" t="0" r="r" b="b"/>
              <a:pathLst>
                <a:path w="88" h="28">
                  <a:moveTo>
                    <a:pt x="0" y="8"/>
                  </a:moveTo>
                  <a:lnTo>
                    <a:pt x="14" y="2"/>
                  </a:lnTo>
                  <a:lnTo>
                    <a:pt x="42" y="0"/>
                  </a:lnTo>
                  <a:lnTo>
                    <a:pt x="66" y="6"/>
                  </a:lnTo>
                  <a:lnTo>
                    <a:pt x="88" y="16"/>
                  </a:lnTo>
                  <a:lnTo>
                    <a:pt x="80" y="24"/>
                  </a:lnTo>
                  <a:lnTo>
                    <a:pt x="64" y="20"/>
                  </a:lnTo>
                  <a:lnTo>
                    <a:pt x="50" y="28"/>
                  </a:lnTo>
                  <a:lnTo>
                    <a:pt x="30" y="24"/>
                  </a:lnTo>
                  <a:lnTo>
                    <a:pt x="18" y="14"/>
                  </a:lnTo>
                  <a:lnTo>
                    <a:pt x="6" y="14"/>
                  </a:lnTo>
                  <a:lnTo>
                    <a:pt x="0" y="8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74" name="Mexico">
              <a:extLst>
                <a:ext uri="{FF2B5EF4-FFF2-40B4-BE49-F238E27FC236}">
                  <a16:creationId xmlns="" xmlns:a16="http://schemas.microsoft.com/office/drawing/2014/main" id="{2EA5E7E9-4FB6-458A-A81D-D48BAB0B7EDE}"/>
                </a:ext>
              </a:extLst>
            </p:cNvPr>
            <p:cNvSpPr>
              <a:spLocks/>
            </p:cNvSpPr>
            <p:nvPr/>
          </p:nvSpPr>
          <p:spPr bwMode="gray">
            <a:xfrm>
              <a:off x="1740405" y="2878553"/>
              <a:ext cx="1007388" cy="670598"/>
            </a:xfrm>
            <a:custGeom>
              <a:avLst/>
              <a:gdLst/>
              <a:ahLst/>
              <a:cxnLst>
                <a:cxn ang="0">
                  <a:pos x="838" y="481"/>
                </a:cxn>
                <a:cxn ang="0">
                  <a:pos x="862" y="565"/>
                </a:cxn>
                <a:cxn ang="0">
                  <a:pos x="910" y="645"/>
                </a:cxn>
                <a:cxn ang="0">
                  <a:pos x="1016" y="668"/>
                </a:cxn>
                <a:cxn ang="0">
                  <a:pos x="1098" y="649"/>
                </a:cxn>
                <a:cxn ang="0">
                  <a:pos x="1188" y="549"/>
                </a:cxn>
                <a:cxn ang="0">
                  <a:pos x="1228" y="601"/>
                </a:cxn>
                <a:cxn ang="0">
                  <a:pos x="1210" y="678"/>
                </a:cxn>
                <a:cxn ang="0">
                  <a:pos x="1152" y="692"/>
                </a:cxn>
                <a:cxn ang="0">
                  <a:pos x="1068" y="714"/>
                </a:cxn>
                <a:cxn ang="0">
                  <a:pos x="1058" y="770"/>
                </a:cxn>
                <a:cxn ang="0">
                  <a:pos x="972" y="776"/>
                </a:cxn>
                <a:cxn ang="0">
                  <a:pos x="946" y="774"/>
                </a:cxn>
                <a:cxn ang="0">
                  <a:pos x="835" y="772"/>
                </a:cxn>
                <a:cxn ang="0">
                  <a:pos x="683" y="688"/>
                </a:cxn>
                <a:cxn ang="0">
                  <a:pos x="547" y="597"/>
                </a:cxn>
                <a:cxn ang="0">
                  <a:pos x="533" y="493"/>
                </a:cxn>
                <a:cxn ang="0">
                  <a:pos x="443" y="411"/>
                </a:cxn>
                <a:cxn ang="0">
                  <a:pos x="399" y="371"/>
                </a:cxn>
                <a:cxn ang="0">
                  <a:pos x="383" y="333"/>
                </a:cxn>
                <a:cxn ang="0">
                  <a:pos x="350" y="296"/>
                </a:cxn>
                <a:cxn ang="0">
                  <a:pos x="312" y="254"/>
                </a:cxn>
                <a:cxn ang="0">
                  <a:pos x="276" y="218"/>
                </a:cxn>
                <a:cxn ang="0">
                  <a:pos x="254" y="174"/>
                </a:cxn>
                <a:cxn ang="0">
                  <a:pos x="158" y="82"/>
                </a:cxn>
                <a:cxn ang="0">
                  <a:pos x="194" y="196"/>
                </a:cxn>
                <a:cxn ang="0">
                  <a:pos x="254" y="248"/>
                </a:cxn>
                <a:cxn ang="0">
                  <a:pos x="280" y="310"/>
                </a:cxn>
                <a:cxn ang="0">
                  <a:pos x="306" y="329"/>
                </a:cxn>
                <a:cxn ang="0">
                  <a:pos x="346" y="405"/>
                </a:cxn>
                <a:cxn ang="0">
                  <a:pos x="377" y="443"/>
                </a:cxn>
                <a:cxn ang="0">
                  <a:pos x="365" y="477"/>
                </a:cxn>
                <a:cxn ang="0">
                  <a:pos x="300" y="413"/>
                </a:cxn>
                <a:cxn ang="0">
                  <a:pos x="282" y="357"/>
                </a:cxn>
                <a:cxn ang="0">
                  <a:pos x="176" y="286"/>
                </a:cxn>
                <a:cxn ang="0">
                  <a:pos x="158" y="214"/>
                </a:cxn>
                <a:cxn ang="0">
                  <a:pos x="74" y="94"/>
                </a:cxn>
                <a:cxn ang="0">
                  <a:pos x="0" y="0"/>
                </a:cxn>
                <a:cxn ang="0">
                  <a:pos x="365" y="106"/>
                </a:cxn>
                <a:cxn ang="0">
                  <a:pos x="493" y="96"/>
                </a:cxn>
                <a:cxn ang="0">
                  <a:pos x="563" y="166"/>
                </a:cxn>
                <a:cxn ang="0">
                  <a:pos x="577" y="218"/>
                </a:cxn>
                <a:cxn ang="0">
                  <a:pos x="639" y="198"/>
                </a:cxn>
                <a:cxn ang="0">
                  <a:pos x="673" y="200"/>
                </a:cxn>
                <a:cxn ang="0">
                  <a:pos x="703" y="216"/>
                </a:cxn>
                <a:cxn ang="0">
                  <a:pos x="747" y="290"/>
                </a:cxn>
                <a:cxn ang="0">
                  <a:pos x="779" y="355"/>
                </a:cxn>
                <a:cxn ang="0">
                  <a:pos x="815" y="383"/>
                </a:cxn>
                <a:cxn ang="0">
                  <a:pos x="860" y="389"/>
                </a:cxn>
              </a:cxnLst>
              <a:rect l="0" t="0" r="r" b="b"/>
              <a:pathLst>
                <a:path w="1244" h="822">
                  <a:moveTo>
                    <a:pt x="850" y="419"/>
                  </a:moveTo>
                  <a:lnTo>
                    <a:pt x="840" y="431"/>
                  </a:lnTo>
                  <a:lnTo>
                    <a:pt x="840" y="453"/>
                  </a:lnTo>
                  <a:lnTo>
                    <a:pt x="838" y="481"/>
                  </a:lnTo>
                  <a:lnTo>
                    <a:pt x="844" y="493"/>
                  </a:lnTo>
                  <a:lnTo>
                    <a:pt x="842" y="541"/>
                  </a:lnTo>
                  <a:lnTo>
                    <a:pt x="856" y="547"/>
                  </a:lnTo>
                  <a:lnTo>
                    <a:pt x="862" y="565"/>
                  </a:lnTo>
                  <a:lnTo>
                    <a:pt x="864" y="581"/>
                  </a:lnTo>
                  <a:lnTo>
                    <a:pt x="876" y="589"/>
                  </a:lnTo>
                  <a:lnTo>
                    <a:pt x="900" y="601"/>
                  </a:lnTo>
                  <a:lnTo>
                    <a:pt x="910" y="645"/>
                  </a:lnTo>
                  <a:lnTo>
                    <a:pt x="968" y="674"/>
                  </a:lnTo>
                  <a:lnTo>
                    <a:pt x="992" y="674"/>
                  </a:lnTo>
                  <a:lnTo>
                    <a:pt x="1004" y="664"/>
                  </a:lnTo>
                  <a:lnTo>
                    <a:pt x="1016" y="668"/>
                  </a:lnTo>
                  <a:lnTo>
                    <a:pt x="1030" y="653"/>
                  </a:lnTo>
                  <a:lnTo>
                    <a:pt x="1056" y="653"/>
                  </a:lnTo>
                  <a:lnTo>
                    <a:pt x="1066" y="662"/>
                  </a:lnTo>
                  <a:lnTo>
                    <a:pt x="1098" y="649"/>
                  </a:lnTo>
                  <a:lnTo>
                    <a:pt x="1134" y="569"/>
                  </a:lnTo>
                  <a:lnTo>
                    <a:pt x="1158" y="557"/>
                  </a:lnTo>
                  <a:lnTo>
                    <a:pt x="1176" y="557"/>
                  </a:lnTo>
                  <a:lnTo>
                    <a:pt x="1188" y="549"/>
                  </a:lnTo>
                  <a:lnTo>
                    <a:pt x="1214" y="555"/>
                  </a:lnTo>
                  <a:lnTo>
                    <a:pt x="1240" y="563"/>
                  </a:lnTo>
                  <a:lnTo>
                    <a:pt x="1244" y="579"/>
                  </a:lnTo>
                  <a:lnTo>
                    <a:pt x="1228" y="601"/>
                  </a:lnTo>
                  <a:lnTo>
                    <a:pt x="1220" y="621"/>
                  </a:lnTo>
                  <a:lnTo>
                    <a:pt x="1226" y="637"/>
                  </a:lnTo>
                  <a:lnTo>
                    <a:pt x="1216" y="678"/>
                  </a:lnTo>
                  <a:lnTo>
                    <a:pt x="1210" y="678"/>
                  </a:lnTo>
                  <a:lnTo>
                    <a:pt x="1208" y="658"/>
                  </a:lnTo>
                  <a:lnTo>
                    <a:pt x="1196" y="672"/>
                  </a:lnTo>
                  <a:lnTo>
                    <a:pt x="1174" y="674"/>
                  </a:lnTo>
                  <a:lnTo>
                    <a:pt x="1152" y="692"/>
                  </a:lnTo>
                  <a:lnTo>
                    <a:pt x="1150" y="702"/>
                  </a:lnTo>
                  <a:lnTo>
                    <a:pt x="1084" y="702"/>
                  </a:lnTo>
                  <a:lnTo>
                    <a:pt x="1080" y="714"/>
                  </a:lnTo>
                  <a:lnTo>
                    <a:pt x="1068" y="714"/>
                  </a:lnTo>
                  <a:lnTo>
                    <a:pt x="1096" y="746"/>
                  </a:lnTo>
                  <a:lnTo>
                    <a:pt x="1116" y="758"/>
                  </a:lnTo>
                  <a:lnTo>
                    <a:pt x="1116" y="764"/>
                  </a:lnTo>
                  <a:lnTo>
                    <a:pt x="1058" y="770"/>
                  </a:lnTo>
                  <a:lnTo>
                    <a:pt x="1040" y="822"/>
                  </a:lnTo>
                  <a:lnTo>
                    <a:pt x="1022" y="810"/>
                  </a:lnTo>
                  <a:lnTo>
                    <a:pt x="980" y="768"/>
                  </a:lnTo>
                  <a:lnTo>
                    <a:pt x="972" y="776"/>
                  </a:lnTo>
                  <a:lnTo>
                    <a:pt x="960" y="774"/>
                  </a:lnTo>
                  <a:lnTo>
                    <a:pt x="960" y="764"/>
                  </a:lnTo>
                  <a:lnTo>
                    <a:pt x="940" y="766"/>
                  </a:lnTo>
                  <a:lnTo>
                    <a:pt x="946" y="774"/>
                  </a:lnTo>
                  <a:lnTo>
                    <a:pt x="912" y="786"/>
                  </a:lnTo>
                  <a:lnTo>
                    <a:pt x="892" y="796"/>
                  </a:lnTo>
                  <a:lnTo>
                    <a:pt x="868" y="776"/>
                  </a:lnTo>
                  <a:lnTo>
                    <a:pt x="835" y="772"/>
                  </a:lnTo>
                  <a:lnTo>
                    <a:pt x="793" y="748"/>
                  </a:lnTo>
                  <a:lnTo>
                    <a:pt x="765" y="746"/>
                  </a:lnTo>
                  <a:lnTo>
                    <a:pt x="715" y="722"/>
                  </a:lnTo>
                  <a:lnTo>
                    <a:pt x="683" y="688"/>
                  </a:lnTo>
                  <a:lnTo>
                    <a:pt x="641" y="690"/>
                  </a:lnTo>
                  <a:lnTo>
                    <a:pt x="593" y="641"/>
                  </a:lnTo>
                  <a:lnTo>
                    <a:pt x="579" y="637"/>
                  </a:lnTo>
                  <a:lnTo>
                    <a:pt x="547" y="597"/>
                  </a:lnTo>
                  <a:lnTo>
                    <a:pt x="561" y="581"/>
                  </a:lnTo>
                  <a:lnTo>
                    <a:pt x="563" y="565"/>
                  </a:lnTo>
                  <a:lnTo>
                    <a:pt x="555" y="547"/>
                  </a:lnTo>
                  <a:lnTo>
                    <a:pt x="533" y="493"/>
                  </a:lnTo>
                  <a:lnTo>
                    <a:pt x="519" y="487"/>
                  </a:lnTo>
                  <a:lnTo>
                    <a:pt x="501" y="473"/>
                  </a:lnTo>
                  <a:lnTo>
                    <a:pt x="461" y="421"/>
                  </a:lnTo>
                  <a:lnTo>
                    <a:pt x="443" y="411"/>
                  </a:lnTo>
                  <a:lnTo>
                    <a:pt x="439" y="397"/>
                  </a:lnTo>
                  <a:lnTo>
                    <a:pt x="417" y="397"/>
                  </a:lnTo>
                  <a:lnTo>
                    <a:pt x="401" y="387"/>
                  </a:lnTo>
                  <a:lnTo>
                    <a:pt x="399" y="371"/>
                  </a:lnTo>
                  <a:lnTo>
                    <a:pt x="409" y="355"/>
                  </a:lnTo>
                  <a:lnTo>
                    <a:pt x="403" y="339"/>
                  </a:lnTo>
                  <a:lnTo>
                    <a:pt x="389" y="341"/>
                  </a:lnTo>
                  <a:lnTo>
                    <a:pt x="383" y="333"/>
                  </a:lnTo>
                  <a:lnTo>
                    <a:pt x="379" y="323"/>
                  </a:lnTo>
                  <a:lnTo>
                    <a:pt x="379" y="314"/>
                  </a:lnTo>
                  <a:lnTo>
                    <a:pt x="354" y="312"/>
                  </a:lnTo>
                  <a:lnTo>
                    <a:pt x="350" y="296"/>
                  </a:lnTo>
                  <a:lnTo>
                    <a:pt x="350" y="280"/>
                  </a:lnTo>
                  <a:lnTo>
                    <a:pt x="330" y="290"/>
                  </a:lnTo>
                  <a:lnTo>
                    <a:pt x="324" y="280"/>
                  </a:lnTo>
                  <a:lnTo>
                    <a:pt x="312" y="254"/>
                  </a:lnTo>
                  <a:lnTo>
                    <a:pt x="300" y="252"/>
                  </a:lnTo>
                  <a:lnTo>
                    <a:pt x="302" y="242"/>
                  </a:lnTo>
                  <a:lnTo>
                    <a:pt x="294" y="230"/>
                  </a:lnTo>
                  <a:lnTo>
                    <a:pt x="276" y="218"/>
                  </a:lnTo>
                  <a:lnTo>
                    <a:pt x="272" y="202"/>
                  </a:lnTo>
                  <a:lnTo>
                    <a:pt x="268" y="192"/>
                  </a:lnTo>
                  <a:lnTo>
                    <a:pt x="256" y="186"/>
                  </a:lnTo>
                  <a:lnTo>
                    <a:pt x="254" y="174"/>
                  </a:lnTo>
                  <a:lnTo>
                    <a:pt x="242" y="158"/>
                  </a:lnTo>
                  <a:lnTo>
                    <a:pt x="244" y="124"/>
                  </a:lnTo>
                  <a:lnTo>
                    <a:pt x="186" y="86"/>
                  </a:lnTo>
                  <a:lnTo>
                    <a:pt x="158" y="82"/>
                  </a:lnTo>
                  <a:lnTo>
                    <a:pt x="172" y="110"/>
                  </a:lnTo>
                  <a:lnTo>
                    <a:pt x="180" y="138"/>
                  </a:lnTo>
                  <a:lnTo>
                    <a:pt x="190" y="172"/>
                  </a:lnTo>
                  <a:lnTo>
                    <a:pt x="194" y="196"/>
                  </a:lnTo>
                  <a:lnTo>
                    <a:pt x="204" y="212"/>
                  </a:lnTo>
                  <a:lnTo>
                    <a:pt x="220" y="222"/>
                  </a:lnTo>
                  <a:lnTo>
                    <a:pt x="234" y="238"/>
                  </a:lnTo>
                  <a:lnTo>
                    <a:pt x="254" y="248"/>
                  </a:lnTo>
                  <a:lnTo>
                    <a:pt x="260" y="262"/>
                  </a:lnTo>
                  <a:lnTo>
                    <a:pt x="262" y="278"/>
                  </a:lnTo>
                  <a:lnTo>
                    <a:pt x="274" y="294"/>
                  </a:lnTo>
                  <a:lnTo>
                    <a:pt x="280" y="310"/>
                  </a:lnTo>
                  <a:lnTo>
                    <a:pt x="294" y="316"/>
                  </a:lnTo>
                  <a:lnTo>
                    <a:pt x="294" y="335"/>
                  </a:lnTo>
                  <a:lnTo>
                    <a:pt x="302" y="343"/>
                  </a:lnTo>
                  <a:lnTo>
                    <a:pt x="306" y="329"/>
                  </a:lnTo>
                  <a:lnTo>
                    <a:pt x="320" y="339"/>
                  </a:lnTo>
                  <a:lnTo>
                    <a:pt x="324" y="365"/>
                  </a:lnTo>
                  <a:lnTo>
                    <a:pt x="342" y="389"/>
                  </a:lnTo>
                  <a:lnTo>
                    <a:pt x="346" y="405"/>
                  </a:lnTo>
                  <a:lnTo>
                    <a:pt x="350" y="429"/>
                  </a:lnTo>
                  <a:lnTo>
                    <a:pt x="352" y="439"/>
                  </a:lnTo>
                  <a:lnTo>
                    <a:pt x="363" y="433"/>
                  </a:lnTo>
                  <a:lnTo>
                    <a:pt x="377" y="443"/>
                  </a:lnTo>
                  <a:lnTo>
                    <a:pt x="387" y="457"/>
                  </a:lnTo>
                  <a:lnTo>
                    <a:pt x="395" y="463"/>
                  </a:lnTo>
                  <a:lnTo>
                    <a:pt x="373" y="493"/>
                  </a:lnTo>
                  <a:lnTo>
                    <a:pt x="365" y="477"/>
                  </a:lnTo>
                  <a:lnTo>
                    <a:pt x="330" y="447"/>
                  </a:lnTo>
                  <a:lnTo>
                    <a:pt x="320" y="443"/>
                  </a:lnTo>
                  <a:lnTo>
                    <a:pt x="312" y="435"/>
                  </a:lnTo>
                  <a:lnTo>
                    <a:pt x="300" y="413"/>
                  </a:lnTo>
                  <a:lnTo>
                    <a:pt x="288" y="423"/>
                  </a:lnTo>
                  <a:lnTo>
                    <a:pt x="286" y="397"/>
                  </a:lnTo>
                  <a:lnTo>
                    <a:pt x="288" y="373"/>
                  </a:lnTo>
                  <a:lnTo>
                    <a:pt x="282" y="357"/>
                  </a:lnTo>
                  <a:lnTo>
                    <a:pt x="256" y="335"/>
                  </a:lnTo>
                  <a:lnTo>
                    <a:pt x="250" y="327"/>
                  </a:lnTo>
                  <a:lnTo>
                    <a:pt x="208" y="310"/>
                  </a:lnTo>
                  <a:lnTo>
                    <a:pt x="176" y="286"/>
                  </a:lnTo>
                  <a:lnTo>
                    <a:pt x="194" y="280"/>
                  </a:lnTo>
                  <a:lnTo>
                    <a:pt x="210" y="266"/>
                  </a:lnTo>
                  <a:lnTo>
                    <a:pt x="194" y="242"/>
                  </a:lnTo>
                  <a:lnTo>
                    <a:pt x="158" y="214"/>
                  </a:lnTo>
                  <a:lnTo>
                    <a:pt x="136" y="180"/>
                  </a:lnTo>
                  <a:lnTo>
                    <a:pt x="120" y="158"/>
                  </a:lnTo>
                  <a:lnTo>
                    <a:pt x="94" y="114"/>
                  </a:lnTo>
                  <a:lnTo>
                    <a:pt x="74" y="94"/>
                  </a:lnTo>
                  <a:lnTo>
                    <a:pt x="58" y="66"/>
                  </a:lnTo>
                  <a:lnTo>
                    <a:pt x="32" y="42"/>
                  </a:lnTo>
                  <a:lnTo>
                    <a:pt x="6" y="16"/>
                  </a:lnTo>
                  <a:lnTo>
                    <a:pt x="0" y="0"/>
                  </a:lnTo>
                  <a:lnTo>
                    <a:pt x="108" y="4"/>
                  </a:lnTo>
                  <a:lnTo>
                    <a:pt x="106" y="12"/>
                  </a:lnTo>
                  <a:lnTo>
                    <a:pt x="268" y="94"/>
                  </a:lnTo>
                  <a:lnTo>
                    <a:pt x="365" y="106"/>
                  </a:lnTo>
                  <a:lnTo>
                    <a:pt x="405" y="108"/>
                  </a:lnTo>
                  <a:lnTo>
                    <a:pt x="411" y="86"/>
                  </a:lnTo>
                  <a:lnTo>
                    <a:pt x="485" y="94"/>
                  </a:lnTo>
                  <a:lnTo>
                    <a:pt x="493" y="96"/>
                  </a:lnTo>
                  <a:lnTo>
                    <a:pt x="501" y="110"/>
                  </a:lnTo>
                  <a:lnTo>
                    <a:pt x="509" y="116"/>
                  </a:lnTo>
                  <a:lnTo>
                    <a:pt x="537" y="146"/>
                  </a:lnTo>
                  <a:lnTo>
                    <a:pt x="563" y="166"/>
                  </a:lnTo>
                  <a:lnTo>
                    <a:pt x="563" y="176"/>
                  </a:lnTo>
                  <a:lnTo>
                    <a:pt x="569" y="184"/>
                  </a:lnTo>
                  <a:lnTo>
                    <a:pt x="569" y="204"/>
                  </a:lnTo>
                  <a:lnTo>
                    <a:pt x="577" y="218"/>
                  </a:lnTo>
                  <a:lnTo>
                    <a:pt x="615" y="230"/>
                  </a:lnTo>
                  <a:lnTo>
                    <a:pt x="619" y="228"/>
                  </a:lnTo>
                  <a:lnTo>
                    <a:pt x="633" y="200"/>
                  </a:lnTo>
                  <a:lnTo>
                    <a:pt x="639" y="198"/>
                  </a:lnTo>
                  <a:lnTo>
                    <a:pt x="647" y="202"/>
                  </a:lnTo>
                  <a:lnTo>
                    <a:pt x="651" y="194"/>
                  </a:lnTo>
                  <a:lnTo>
                    <a:pt x="661" y="198"/>
                  </a:lnTo>
                  <a:lnTo>
                    <a:pt x="673" y="200"/>
                  </a:lnTo>
                  <a:lnTo>
                    <a:pt x="681" y="204"/>
                  </a:lnTo>
                  <a:lnTo>
                    <a:pt x="687" y="202"/>
                  </a:lnTo>
                  <a:lnTo>
                    <a:pt x="699" y="208"/>
                  </a:lnTo>
                  <a:lnTo>
                    <a:pt x="703" y="216"/>
                  </a:lnTo>
                  <a:lnTo>
                    <a:pt x="707" y="218"/>
                  </a:lnTo>
                  <a:lnTo>
                    <a:pt x="727" y="236"/>
                  </a:lnTo>
                  <a:lnTo>
                    <a:pt x="731" y="270"/>
                  </a:lnTo>
                  <a:lnTo>
                    <a:pt x="747" y="290"/>
                  </a:lnTo>
                  <a:lnTo>
                    <a:pt x="769" y="308"/>
                  </a:lnTo>
                  <a:lnTo>
                    <a:pt x="769" y="325"/>
                  </a:lnTo>
                  <a:lnTo>
                    <a:pt x="773" y="341"/>
                  </a:lnTo>
                  <a:lnTo>
                    <a:pt x="779" y="355"/>
                  </a:lnTo>
                  <a:lnTo>
                    <a:pt x="781" y="363"/>
                  </a:lnTo>
                  <a:lnTo>
                    <a:pt x="787" y="365"/>
                  </a:lnTo>
                  <a:lnTo>
                    <a:pt x="797" y="371"/>
                  </a:lnTo>
                  <a:lnTo>
                    <a:pt x="815" y="383"/>
                  </a:lnTo>
                  <a:lnTo>
                    <a:pt x="831" y="385"/>
                  </a:lnTo>
                  <a:lnTo>
                    <a:pt x="848" y="395"/>
                  </a:lnTo>
                  <a:lnTo>
                    <a:pt x="854" y="389"/>
                  </a:lnTo>
                  <a:lnTo>
                    <a:pt x="860" y="389"/>
                  </a:lnTo>
                  <a:lnTo>
                    <a:pt x="850" y="419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 cmpd="sng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75" name="Nicaragua">
              <a:extLst>
                <a:ext uri="{FF2B5EF4-FFF2-40B4-BE49-F238E27FC236}">
                  <a16:creationId xmlns="" xmlns:a16="http://schemas.microsoft.com/office/drawing/2014/main" id="{00A3073C-7C57-4C64-80DB-E4DBFD99E19E}"/>
                </a:ext>
              </a:extLst>
            </p:cNvPr>
            <p:cNvSpPr>
              <a:spLocks/>
            </p:cNvSpPr>
            <p:nvPr/>
          </p:nvSpPr>
          <p:spPr bwMode="gray">
            <a:xfrm>
              <a:off x="2730224" y="3541283"/>
              <a:ext cx="138613" cy="145525"/>
            </a:xfrm>
            <a:custGeom>
              <a:avLst/>
              <a:gdLst/>
              <a:ahLst/>
              <a:cxnLst>
                <a:cxn ang="0">
                  <a:pos x="50" y="140"/>
                </a:cxn>
                <a:cxn ang="0">
                  <a:pos x="66" y="152"/>
                </a:cxn>
                <a:cxn ang="0">
                  <a:pos x="74" y="162"/>
                </a:cxn>
                <a:cxn ang="0">
                  <a:pos x="98" y="160"/>
                </a:cxn>
                <a:cxn ang="0">
                  <a:pos x="116" y="158"/>
                </a:cxn>
                <a:cxn ang="0">
                  <a:pos x="136" y="178"/>
                </a:cxn>
                <a:cxn ang="0">
                  <a:pos x="142" y="176"/>
                </a:cxn>
                <a:cxn ang="0">
                  <a:pos x="150" y="168"/>
                </a:cxn>
                <a:cxn ang="0">
                  <a:pos x="146" y="150"/>
                </a:cxn>
                <a:cxn ang="0">
                  <a:pos x="150" y="144"/>
                </a:cxn>
                <a:cxn ang="0">
                  <a:pos x="150" y="112"/>
                </a:cxn>
                <a:cxn ang="0">
                  <a:pos x="156" y="108"/>
                </a:cxn>
                <a:cxn ang="0">
                  <a:pos x="158" y="94"/>
                </a:cxn>
                <a:cxn ang="0">
                  <a:pos x="158" y="72"/>
                </a:cxn>
                <a:cxn ang="0">
                  <a:pos x="158" y="62"/>
                </a:cxn>
                <a:cxn ang="0">
                  <a:pos x="162" y="48"/>
                </a:cxn>
                <a:cxn ang="0">
                  <a:pos x="170" y="40"/>
                </a:cxn>
                <a:cxn ang="0">
                  <a:pos x="170" y="16"/>
                </a:cxn>
                <a:cxn ang="0">
                  <a:pos x="166" y="6"/>
                </a:cxn>
                <a:cxn ang="0">
                  <a:pos x="158" y="0"/>
                </a:cxn>
                <a:cxn ang="0">
                  <a:pos x="146" y="4"/>
                </a:cxn>
                <a:cxn ang="0">
                  <a:pos x="134" y="18"/>
                </a:cxn>
                <a:cxn ang="0">
                  <a:pos x="92" y="20"/>
                </a:cxn>
                <a:cxn ang="0">
                  <a:pos x="78" y="36"/>
                </a:cxn>
                <a:cxn ang="0">
                  <a:pos x="46" y="48"/>
                </a:cxn>
                <a:cxn ang="0">
                  <a:pos x="20" y="52"/>
                </a:cxn>
                <a:cxn ang="0">
                  <a:pos x="16" y="74"/>
                </a:cxn>
                <a:cxn ang="0">
                  <a:pos x="0" y="94"/>
                </a:cxn>
                <a:cxn ang="0">
                  <a:pos x="16" y="106"/>
                </a:cxn>
                <a:cxn ang="0">
                  <a:pos x="22" y="114"/>
                </a:cxn>
                <a:cxn ang="0">
                  <a:pos x="30" y="114"/>
                </a:cxn>
                <a:cxn ang="0">
                  <a:pos x="50" y="140"/>
                </a:cxn>
              </a:cxnLst>
              <a:rect l="0" t="0" r="r" b="b"/>
              <a:pathLst>
                <a:path w="170" h="178">
                  <a:moveTo>
                    <a:pt x="50" y="140"/>
                  </a:moveTo>
                  <a:lnTo>
                    <a:pt x="66" y="152"/>
                  </a:lnTo>
                  <a:lnTo>
                    <a:pt x="74" y="162"/>
                  </a:lnTo>
                  <a:lnTo>
                    <a:pt x="98" y="160"/>
                  </a:lnTo>
                  <a:lnTo>
                    <a:pt x="116" y="158"/>
                  </a:lnTo>
                  <a:lnTo>
                    <a:pt x="136" y="178"/>
                  </a:lnTo>
                  <a:lnTo>
                    <a:pt x="142" y="176"/>
                  </a:lnTo>
                  <a:lnTo>
                    <a:pt x="150" y="168"/>
                  </a:lnTo>
                  <a:lnTo>
                    <a:pt x="146" y="150"/>
                  </a:lnTo>
                  <a:lnTo>
                    <a:pt x="150" y="144"/>
                  </a:lnTo>
                  <a:lnTo>
                    <a:pt x="150" y="112"/>
                  </a:lnTo>
                  <a:lnTo>
                    <a:pt x="156" y="108"/>
                  </a:lnTo>
                  <a:lnTo>
                    <a:pt x="158" y="94"/>
                  </a:lnTo>
                  <a:lnTo>
                    <a:pt x="158" y="72"/>
                  </a:lnTo>
                  <a:lnTo>
                    <a:pt x="158" y="62"/>
                  </a:lnTo>
                  <a:lnTo>
                    <a:pt x="162" y="48"/>
                  </a:lnTo>
                  <a:lnTo>
                    <a:pt x="170" y="40"/>
                  </a:lnTo>
                  <a:lnTo>
                    <a:pt x="170" y="16"/>
                  </a:lnTo>
                  <a:lnTo>
                    <a:pt x="166" y="6"/>
                  </a:lnTo>
                  <a:lnTo>
                    <a:pt x="158" y="0"/>
                  </a:lnTo>
                  <a:lnTo>
                    <a:pt x="146" y="4"/>
                  </a:lnTo>
                  <a:lnTo>
                    <a:pt x="134" y="18"/>
                  </a:lnTo>
                  <a:lnTo>
                    <a:pt x="92" y="20"/>
                  </a:lnTo>
                  <a:lnTo>
                    <a:pt x="78" y="36"/>
                  </a:lnTo>
                  <a:lnTo>
                    <a:pt x="46" y="48"/>
                  </a:lnTo>
                  <a:lnTo>
                    <a:pt x="20" y="52"/>
                  </a:lnTo>
                  <a:lnTo>
                    <a:pt x="16" y="74"/>
                  </a:lnTo>
                  <a:lnTo>
                    <a:pt x="0" y="94"/>
                  </a:lnTo>
                  <a:lnTo>
                    <a:pt x="16" y="106"/>
                  </a:lnTo>
                  <a:lnTo>
                    <a:pt x="22" y="114"/>
                  </a:lnTo>
                  <a:lnTo>
                    <a:pt x="30" y="114"/>
                  </a:lnTo>
                  <a:lnTo>
                    <a:pt x="50" y="140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76" name="Panama">
              <a:extLst>
                <a:ext uri="{FF2B5EF4-FFF2-40B4-BE49-F238E27FC236}">
                  <a16:creationId xmlns="" xmlns:a16="http://schemas.microsoft.com/office/drawing/2014/main" id="{C51D81B2-9767-4829-BB20-87BB0DBFEA6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870789" y="3720240"/>
              <a:ext cx="183517" cy="82594"/>
            </a:xfrm>
            <a:custGeom>
              <a:avLst/>
              <a:gdLst/>
              <a:ahLst/>
              <a:cxnLst>
                <a:cxn ang="0">
                  <a:pos x="134" y="41"/>
                </a:cxn>
                <a:cxn ang="0">
                  <a:pos x="114" y="53"/>
                </a:cxn>
                <a:cxn ang="0">
                  <a:pos x="122" y="81"/>
                </a:cxn>
                <a:cxn ang="0">
                  <a:pos x="106" y="97"/>
                </a:cxn>
                <a:cxn ang="0">
                  <a:pos x="92" y="97"/>
                </a:cxn>
                <a:cxn ang="0">
                  <a:pos x="80" y="75"/>
                </a:cxn>
                <a:cxn ang="0">
                  <a:pos x="64" y="73"/>
                </a:cxn>
                <a:cxn ang="0">
                  <a:pos x="50" y="57"/>
                </a:cxn>
                <a:cxn ang="0">
                  <a:pos x="28" y="57"/>
                </a:cxn>
                <a:cxn ang="0">
                  <a:pos x="10" y="61"/>
                </a:cxn>
                <a:cxn ang="0">
                  <a:pos x="2" y="34"/>
                </a:cxn>
                <a:cxn ang="0">
                  <a:pos x="4" y="10"/>
                </a:cxn>
                <a:cxn ang="0">
                  <a:pos x="32" y="14"/>
                </a:cxn>
                <a:cxn ang="0">
                  <a:pos x="40" y="24"/>
                </a:cxn>
                <a:cxn ang="0">
                  <a:pos x="52" y="20"/>
                </a:cxn>
                <a:cxn ang="0">
                  <a:pos x="80" y="28"/>
                </a:cxn>
                <a:cxn ang="0">
                  <a:pos x="110" y="18"/>
                </a:cxn>
                <a:cxn ang="0">
                  <a:pos x="124" y="10"/>
                </a:cxn>
                <a:cxn ang="0">
                  <a:pos x="52" y="87"/>
                </a:cxn>
                <a:cxn ang="0">
                  <a:pos x="66" y="89"/>
                </a:cxn>
                <a:cxn ang="0">
                  <a:pos x="52" y="87"/>
                </a:cxn>
                <a:cxn ang="0">
                  <a:pos x="156" y="22"/>
                </a:cxn>
                <a:cxn ang="0">
                  <a:pos x="192" y="39"/>
                </a:cxn>
                <a:cxn ang="0">
                  <a:pos x="208" y="51"/>
                </a:cxn>
                <a:cxn ang="0">
                  <a:pos x="192" y="63"/>
                </a:cxn>
                <a:cxn ang="0">
                  <a:pos x="206" y="95"/>
                </a:cxn>
                <a:cxn ang="0">
                  <a:pos x="214" y="91"/>
                </a:cxn>
                <a:cxn ang="0">
                  <a:pos x="224" y="71"/>
                </a:cxn>
                <a:cxn ang="0">
                  <a:pos x="222" y="36"/>
                </a:cxn>
                <a:cxn ang="0">
                  <a:pos x="196" y="14"/>
                </a:cxn>
                <a:cxn ang="0">
                  <a:pos x="164" y="6"/>
                </a:cxn>
                <a:cxn ang="0">
                  <a:pos x="150" y="2"/>
                </a:cxn>
                <a:cxn ang="0">
                  <a:pos x="124" y="10"/>
                </a:cxn>
              </a:cxnLst>
              <a:rect l="0" t="0" r="r" b="b"/>
              <a:pathLst>
                <a:path w="224" h="101">
                  <a:moveTo>
                    <a:pt x="138" y="26"/>
                  </a:moveTo>
                  <a:lnTo>
                    <a:pt x="134" y="41"/>
                  </a:lnTo>
                  <a:lnTo>
                    <a:pt x="120" y="43"/>
                  </a:lnTo>
                  <a:lnTo>
                    <a:pt x="114" y="53"/>
                  </a:lnTo>
                  <a:lnTo>
                    <a:pt x="106" y="59"/>
                  </a:lnTo>
                  <a:lnTo>
                    <a:pt x="122" y="81"/>
                  </a:lnTo>
                  <a:lnTo>
                    <a:pt x="110" y="89"/>
                  </a:lnTo>
                  <a:lnTo>
                    <a:pt x="106" y="97"/>
                  </a:lnTo>
                  <a:lnTo>
                    <a:pt x="100" y="101"/>
                  </a:lnTo>
                  <a:lnTo>
                    <a:pt x="92" y="97"/>
                  </a:lnTo>
                  <a:lnTo>
                    <a:pt x="86" y="71"/>
                  </a:lnTo>
                  <a:lnTo>
                    <a:pt x="80" y="75"/>
                  </a:lnTo>
                  <a:lnTo>
                    <a:pt x="78" y="83"/>
                  </a:lnTo>
                  <a:lnTo>
                    <a:pt x="64" y="73"/>
                  </a:lnTo>
                  <a:lnTo>
                    <a:pt x="64" y="63"/>
                  </a:lnTo>
                  <a:lnTo>
                    <a:pt x="50" y="57"/>
                  </a:lnTo>
                  <a:lnTo>
                    <a:pt x="38" y="53"/>
                  </a:lnTo>
                  <a:lnTo>
                    <a:pt x="28" y="57"/>
                  </a:lnTo>
                  <a:lnTo>
                    <a:pt x="18" y="55"/>
                  </a:lnTo>
                  <a:lnTo>
                    <a:pt x="10" y="61"/>
                  </a:lnTo>
                  <a:lnTo>
                    <a:pt x="10" y="41"/>
                  </a:lnTo>
                  <a:lnTo>
                    <a:pt x="2" y="34"/>
                  </a:lnTo>
                  <a:lnTo>
                    <a:pt x="0" y="14"/>
                  </a:lnTo>
                  <a:lnTo>
                    <a:pt x="4" y="10"/>
                  </a:lnTo>
                  <a:lnTo>
                    <a:pt x="28" y="4"/>
                  </a:lnTo>
                  <a:lnTo>
                    <a:pt x="32" y="14"/>
                  </a:lnTo>
                  <a:lnTo>
                    <a:pt x="38" y="16"/>
                  </a:lnTo>
                  <a:lnTo>
                    <a:pt x="40" y="24"/>
                  </a:lnTo>
                  <a:lnTo>
                    <a:pt x="48" y="24"/>
                  </a:lnTo>
                  <a:lnTo>
                    <a:pt x="52" y="20"/>
                  </a:lnTo>
                  <a:lnTo>
                    <a:pt x="62" y="26"/>
                  </a:lnTo>
                  <a:lnTo>
                    <a:pt x="80" y="28"/>
                  </a:lnTo>
                  <a:lnTo>
                    <a:pt x="96" y="20"/>
                  </a:lnTo>
                  <a:lnTo>
                    <a:pt x="110" y="18"/>
                  </a:lnTo>
                  <a:lnTo>
                    <a:pt x="118" y="16"/>
                  </a:lnTo>
                  <a:lnTo>
                    <a:pt x="124" y="10"/>
                  </a:lnTo>
                  <a:lnTo>
                    <a:pt x="138" y="26"/>
                  </a:lnTo>
                  <a:close/>
                  <a:moveTo>
                    <a:pt x="52" y="87"/>
                  </a:moveTo>
                  <a:lnTo>
                    <a:pt x="62" y="95"/>
                  </a:lnTo>
                  <a:lnTo>
                    <a:pt x="66" y="89"/>
                  </a:lnTo>
                  <a:lnTo>
                    <a:pt x="56" y="79"/>
                  </a:lnTo>
                  <a:lnTo>
                    <a:pt x="52" y="87"/>
                  </a:lnTo>
                  <a:close/>
                  <a:moveTo>
                    <a:pt x="138" y="26"/>
                  </a:moveTo>
                  <a:lnTo>
                    <a:pt x="156" y="22"/>
                  </a:lnTo>
                  <a:lnTo>
                    <a:pt x="170" y="22"/>
                  </a:lnTo>
                  <a:lnTo>
                    <a:pt x="192" y="39"/>
                  </a:lnTo>
                  <a:lnTo>
                    <a:pt x="204" y="41"/>
                  </a:lnTo>
                  <a:lnTo>
                    <a:pt x="208" y="51"/>
                  </a:lnTo>
                  <a:lnTo>
                    <a:pt x="196" y="55"/>
                  </a:lnTo>
                  <a:lnTo>
                    <a:pt x="192" y="63"/>
                  </a:lnTo>
                  <a:lnTo>
                    <a:pt x="198" y="83"/>
                  </a:lnTo>
                  <a:lnTo>
                    <a:pt x="206" y="95"/>
                  </a:lnTo>
                  <a:lnTo>
                    <a:pt x="214" y="101"/>
                  </a:lnTo>
                  <a:lnTo>
                    <a:pt x="214" y="91"/>
                  </a:lnTo>
                  <a:lnTo>
                    <a:pt x="212" y="79"/>
                  </a:lnTo>
                  <a:lnTo>
                    <a:pt x="224" y="71"/>
                  </a:lnTo>
                  <a:lnTo>
                    <a:pt x="224" y="61"/>
                  </a:lnTo>
                  <a:lnTo>
                    <a:pt x="222" y="36"/>
                  </a:lnTo>
                  <a:lnTo>
                    <a:pt x="204" y="20"/>
                  </a:lnTo>
                  <a:lnTo>
                    <a:pt x="196" y="14"/>
                  </a:lnTo>
                  <a:lnTo>
                    <a:pt x="184" y="8"/>
                  </a:lnTo>
                  <a:lnTo>
                    <a:pt x="164" y="6"/>
                  </a:lnTo>
                  <a:lnTo>
                    <a:pt x="158" y="2"/>
                  </a:lnTo>
                  <a:lnTo>
                    <a:pt x="150" y="2"/>
                  </a:lnTo>
                  <a:lnTo>
                    <a:pt x="138" y="0"/>
                  </a:lnTo>
                  <a:lnTo>
                    <a:pt x="124" y="10"/>
                  </a:lnTo>
                  <a:lnTo>
                    <a:pt x="138" y="26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77" name="Paraguay">
              <a:extLst>
                <a:ext uri="{FF2B5EF4-FFF2-40B4-BE49-F238E27FC236}">
                  <a16:creationId xmlns="" xmlns:a16="http://schemas.microsoft.com/office/drawing/2014/main" id="{40BBF45D-1BFF-4FAD-8C17-3EB5B6C98F3B}"/>
                </a:ext>
              </a:extLst>
            </p:cNvPr>
            <p:cNvSpPr>
              <a:spLocks/>
            </p:cNvSpPr>
            <p:nvPr/>
          </p:nvSpPr>
          <p:spPr bwMode="gray">
            <a:xfrm>
              <a:off x="3507241" y="4654357"/>
              <a:ext cx="265513" cy="277285"/>
            </a:xfrm>
            <a:custGeom>
              <a:avLst/>
              <a:gdLst/>
              <a:ahLst/>
              <a:cxnLst>
                <a:cxn ang="0">
                  <a:pos x="6" y="128"/>
                </a:cxn>
                <a:cxn ang="0">
                  <a:pos x="0" y="112"/>
                </a:cxn>
                <a:cxn ang="0">
                  <a:pos x="14" y="60"/>
                </a:cxn>
                <a:cxn ang="0">
                  <a:pos x="14" y="40"/>
                </a:cxn>
                <a:cxn ang="0">
                  <a:pos x="32" y="6"/>
                </a:cxn>
                <a:cxn ang="0">
                  <a:pos x="66" y="8"/>
                </a:cxn>
                <a:cxn ang="0">
                  <a:pos x="98" y="6"/>
                </a:cxn>
                <a:cxn ang="0">
                  <a:pos x="144" y="0"/>
                </a:cxn>
                <a:cxn ang="0">
                  <a:pos x="174" y="18"/>
                </a:cxn>
                <a:cxn ang="0">
                  <a:pos x="188" y="44"/>
                </a:cxn>
                <a:cxn ang="0">
                  <a:pos x="180" y="98"/>
                </a:cxn>
                <a:cxn ang="0">
                  <a:pos x="194" y="110"/>
                </a:cxn>
                <a:cxn ang="0">
                  <a:pos x="230" y="116"/>
                </a:cxn>
                <a:cxn ang="0">
                  <a:pos x="254" y="114"/>
                </a:cxn>
                <a:cxn ang="0">
                  <a:pos x="266" y="120"/>
                </a:cxn>
                <a:cxn ang="0">
                  <a:pos x="276" y="144"/>
                </a:cxn>
                <a:cxn ang="0">
                  <a:pos x="278" y="178"/>
                </a:cxn>
                <a:cxn ang="0">
                  <a:pos x="292" y="184"/>
                </a:cxn>
                <a:cxn ang="0">
                  <a:pos x="314" y="184"/>
                </a:cxn>
                <a:cxn ang="0">
                  <a:pos x="326" y="198"/>
                </a:cxn>
                <a:cxn ang="0">
                  <a:pos x="310" y="256"/>
                </a:cxn>
                <a:cxn ang="0">
                  <a:pos x="302" y="290"/>
                </a:cxn>
                <a:cxn ang="0">
                  <a:pos x="296" y="312"/>
                </a:cxn>
                <a:cxn ang="0">
                  <a:pos x="270" y="336"/>
                </a:cxn>
                <a:cxn ang="0">
                  <a:pos x="220" y="340"/>
                </a:cxn>
                <a:cxn ang="0">
                  <a:pos x="204" y="334"/>
                </a:cxn>
                <a:cxn ang="0">
                  <a:pos x="186" y="326"/>
                </a:cxn>
                <a:cxn ang="0">
                  <a:pos x="172" y="324"/>
                </a:cxn>
                <a:cxn ang="0">
                  <a:pos x="166" y="314"/>
                </a:cxn>
                <a:cxn ang="0">
                  <a:pos x="200" y="238"/>
                </a:cxn>
                <a:cxn ang="0">
                  <a:pos x="164" y="214"/>
                </a:cxn>
                <a:cxn ang="0">
                  <a:pos x="148" y="212"/>
                </a:cxn>
                <a:cxn ang="0">
                  <a:pos x="128" y="198"/>
                </a:cxn>
                <a:cxn ang="0">
                  <a:pos x="90" y="200"/>
                </a:cxn>
                <a:cxn ang="0">
                  <a:pos x="30" y="150"/>
                </a:cxn>
                <a:cxn ang="0">
                  <a:pos x="28" y="140"/>
                </a:cxn>
                <a:cxn ang="0">
                  <a:pos x="20" y="140"/>
                </a:cxn>
                <a:cxn ang="0">
                  <a:pos x="6" y="128"/>
                </a:cxn>
              </a:cxnLst>
              <a:rect l="0" t="0" r="r" b="b"/>
              <a:pathLst>
                <a:path w="326" h="340">
                  <a:moveTo>
                    <a:pt x="6" y="128"/>
                  </a:moveTo>
                  <a:lnTo>
                    <a:pt x="0" y="112"/>
                  </a:lnTo>
                  <a:lnTo>
                    <a:pt x="14" y="60"/>
                  </a:lnTo>
                  <a:lnTo>
                    <a:pt x="14" y="40"/>
                  </a:lnTo>
                  <a:lnTo>
                    <a:pt x="32" y="6"/>
                  </a:lnTo>
                  <a:lnTo>
                    <a:pt x="66" y="8"/>
                  </a:lnTo>
                  <a:lnTo>
                    <a:pt x="98" y="6"/>
                  </a:lnTo>
                  <a:lnTo>
                    <a:pt x="144" y="0"/>
                  </a:lnTo>
                  <a:lnTo>
                    <a:pt x="174" y="18"/>
                  </a:lnTo>
                  <a:lnTo>
                    <a:pt x="188" y="44"/>
                  </a:lnTo>
                  <a:lnTo>
                    <a:pt x="180" y="98"/>
                  </a:lnTo>
                  <a:lnTo>
                    <a:pt x="194" y="110"/>
                  </a:lnTo>
                  <a:lnTo>
                    <a:pt x="230" y="116"/>
                  </a:lnTo>
                  <a:lnTo>
                    <a:pt x="254" y="114"/>
                  </a:lnTo>
                  <a:lnTo>
                    <a:pt x="266" y="120"/>
                  </a:lnTo>
                  <a:lnTo>
                    <a:pt x="276" y="144"/>
                  </a:lnTo>
                  <a:lnTo>
                    <a:pt x="278" y="178"/>
                  </a:lnTo>
                  <a:lnTo>
                    <a:pt x="292" y="184"/>
                  </a:lnTo>
                  <a:lnTo>
                    <a:pt x="314" y="184"/>
                  </a:lnTo>
                  <a:lnTo>
                    <a:pt x="326" y="198"/>
                  </a:lnTo>
                  <a:lnTo>
                    <a:pt x="310" y="256"/>
                  </a:lnTo>
                  <a:lnTo>
                    <a:pt x="302" y="290"/>
                  </a:lnTo>
                  <a:lnTo>
                    <a:pt x="296" y="312"/>
                  </a:lnTo>
                  <a:lnTo>
                    <a:pt x="270" y="336"/>
                  </a:lnTo>
                  <a:lnTo>
                    <a:pt x="220" y="340"/>
                  </a:lnTo>
                  <a:lnTo>
                    <a:pt x="204" y="334"/>
                  </a:lnTo>
                  <a:lnTo>
                    <a:pt x="186" y="326"/>
                  </a:lnTo>
                  <a:lnTo>
                    <a:pt x="172" y="324"/>
                  </a:lnTo>
                  <a:lnTo>
                    <a:pt x="166" y="314"/>
                  </a:lnTo>
                  <a:lnTo>
                    <a:pt x="200" y="238"/>
                  </a:lnTo>
                  <a:lnTo>
                    <a:pt x="164" y="214"/>
                  </a:lnTo>
                  <a:lnTo>
                    <a:pt x="148" y="212"/>
                  </a:lnTo>
                  <a:lnTo>
                    <a:pt x="128" y="198"/>
                  </a:lnTo>
                  <a:lnTo>
                    <a:pt x="90" y="200"/>
                  </a:lnTo>
                  <a:lnTo>
                    <a:pt x="30" y="150"/>
                  </a:lnTo>
                  <a:lnTo>
                    <a:pt x="28" y="140"/>
                  </a:lnTo>
                  <a:lnTo>
                    <a:pt x="20" y="140"/>
                  </a:lnTo>
                  <a:lnTo>
                    <a:pt x="6" y="128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78" name="Peru">
              <a:extLst>
                <a:ext uri="{FF2B5EF4-FFF2-40B4-BE49-F238E27FC236}">
                  <a16:creationId xmlns="" xmlns:a16="http://schemas.microsoft.com/office/drawing/2014/main" id="{5E8EAFE4-3F46-413C-A416-0C97EA84E27B}"/>
                </a:ext>
              </a:extLst>
            </p:cNvPr>
            <p:cNvSpPr>
              <a:spLocks/>
            </p:cNvSpPr>
            <p:nvPr/>
          </p:nvSpPr>
          <p:spPr bwMode="gray">
            <a:xfrm>
              <a:off x="2935215" y="4023090"/>
              <a:ext cx="392414" cy="593901"/>
            </a:xfrm>
            <a:custGeom>
              <a:avLst/>
              <a:gdLst/>
              <a:ahLst/>
              <a:cxnLst>
                <a:cxn ang="0">
                  <a:pos x="38" y="150"/>
                </a:cxn>
                <a:cxn ang="0">
                  <a:pos x="36" y="172"/>
                </a:cxn>
                <a:cxn ang="0">
                  <a:pos x="72" y="190"/>
                </a:cxn>
                <a:cxn ang="0">
                  <a:pos x="94" y="172"/>
                </a:cxn>
                <a:cxn ang="0">
                  <a:pos x="118" y="148"/>
                </a:cxn>
                <a:cxn ang="0">
                  <a:pos x="114" y="116"/>
                </a:cxn>
                <a:cxn ang="0">
                  <a:pos x="148" y="98"/>
                </a:cxn>
                <a:cxn ang="0">
                  <a:pos x="209" y="48"/>
                </a:cxn>
                <a:cxn ang="0">
                  <a:pos x="225" y="0"/>
                </a:cxn>
                <a:cxn ang="0">
                  <a:pos x="321" y="64"/>
                </a:cxn>
                <a:cxn ang="0">
                  <a:pos x="345" y="76"/>
                </a:cxn>
                <a:cxn ang="0">
                  <a:pos x="425" y="86"/>
                </a:cxn>
                <a:cxn ang="0">
                  <a:pos x="429" y="160"/>
                </a:cxn>
                <a:cxn ang="0">
                  <a:pos x="409" y="164"/>
                </a:cxn>
                <a:cxn ang="0">
                  <a:pos x="351" y="174"/>
                </a:cxn>
                <a:cxn ang="0">
                  <a:pos x="321" y="198"/>
                </a:cxn>
                <a:cxn ang="0">
                  <a:pos x="307" y="254"/>
                </a:cxn>
                <a:cxn ang="0">
                  <a:pos x="281" y="276"/>
                </a:cxn>
                <a:cxn ang="0">
                  <a:pos x="289" y="302"/>
                </a:cxn>
                <a:cxn ang="0">
                  <a:pos x="291" y="336"/>
                </a:cxn>
                <a:cxn ang="0">
                  <a:pos x="307" y="358"/>
                </a:cxn>
                <a:cxn ang="0">
                  <a:pos x="359" y="390"/>
                </a:cxn>
                <a:cxn ang="0">
                  <a:pos x="405" y="364"/>
                </a:cxn>
                <a:cxn ang="0">
                  <a:pos x="447" y="434"/>
                </a:cxn>
                <a:cxn ang="0">
                  <a:pos x="453" y="583"/>
                </a:cxn>
                <a:cxn ang="0">
                  <a:pos x="455" y="625"/>
                </a:cxn>
                <a:cxn ang="0">
                  <a:pos x="465" y="661"/>
                </a:cxn>
                <a:cxn ang="0">
                  <a:pos x="447" y="697"/>
                </a:cxn>
                <a:cxn ang="0">
                  <a:pos x="399" y="711"/>
                </a:cxn>
                <a:cxn ang="0">
                  <a:pos x="379" y="691"/>
                </a:cxn>
                <a:cxn ang="0">
                  <a:pos x="355" y="677"/>
                </a:cxn>
                <a:cxn ang="0">
                  <a:pos x="329" y="651"/>
                </a:cxn>
                <a:cxn ang="0">
                  <a:pos x="265" y="619"/>
                </a:cxn>
                <a:cxn ang="0">
                  <a:pos x="233" y="601"/>
                </a:cxn>
                <a:cxn ang="0">
                  <a:pos x="203" y="573"/>
                </a:cxn>
                <a:cxn ang="0">
                  <a:pos x="189" y="547"/>
                </a:cxn>
                <a:cxn ang="0">
                  <a:pos x="166" y="486"/>
                </a:cxn>
                <a:cxn ang="0">
                  <a:pos x="142" y="436"/>
                </a:cxn>
                <a:cxn ang="0">
                  <a:pos x="120" y="392"/>
                </a:cxn>
                <a:cxn ang="0">
                  <a:pos x="104" y="352"/>
                </a:cxn>
                <a:cxn ang="0">
                  <a:pos x="74" y="302"/>
                </a:cxn>
                <a:cxn ang="0">
                  <a:pos x="42" y="250"/>
                </a:cxn>
                <a:cxn ang="0">
                  <a:pos x="10" y="228"/>
                </a:cxn>
                <a:cxn ang="0">
                  <a:pos x="8" y="198"/>
                </a:cxn>
                <a:cxn ang="0">
                  <a:pos x="0" y="178"/>
                </a:cxn>
                <a:cxn ang="0">
                  <a:pos x="16" y="150"/>
                </a:cxn>
              </a:cxnLst>
              <a:rect l="0" t="0" r="r" b="b"/>
              <a:pathLst>
                <a:path w="483" h="725">
                  <a:moveTo>
                    <a:pt x="34" y="136"/>
                  </a:moveTo>
                  <a:lnTo>
                    <a:pt x="38" y="150"/>
                  </a:lnTo>
                  <a:lnTo>
                    <a:pt x="30" y="164"/>
                  </a:lnTo>
                  <a:lnTo>
                    <a:pt x="36" y="172"/>
                  </a:lnTo>
                  <a:lnTo>
                    <a:pt x="52" y="170"/>
                  </a:lnTo>
                  <a:lnTo>
                    <a:pt x="72" y="190"/>
                  </a:lnTo>
                  <a:lnTo>
                    <a:pt x="82" y="176"/>
                  </a:lnTo>
                  <a:lnTo>
                    <a:pt x="94" y="172"/>
                  </a:lnTo>
                  <a:lnTo>
                    <a:pt x="112" y="160"/>
                  </a:lnTo>
                  <a:lnTo>
                    <a:pt x="118" y="148"/>
                  </a:lnTo>
                  <a:lnTo>
                    <a:pt x="118" y="132"/>
                  </a:lnTo>
                  <a:lnTo>
                    <a:pt x="114" y="116"/>
                  </a:lnTo>
                  <a:lnTo>
                    <a:pt x="122" y="108"/>
                  </a:lnTo>
                  <a:lnTo>
                    <a:pt x="148" y="98"/>
                  </a:lnTo>
                  <a:lnTo>
                    <a:pt x="180" y="78"/>
                  </a:lnTo>
                  <a:lnTo>
                    <a:pt x="209" y="48"/>
                  </a:lnTo>
                  <a:lnTo>
                    <a:pt x="223" y="26"/>
                  </a:lnTo>
                  <a:lnTo>
                    <a:pt x="225" y="0"/>
                  </a:lnTo>
                  <a:lnTo>
                    <a:pt x="281" y="46"/>
                  </a:lnTo>
                  <a:lnTo>
                    <a:pt x="321" y="64"/>
                  </a:lnTo>
                  <a:lnTo>
                    <a:pt x="333" y="66"/>
                  </a:lnTo>
                  <a:lnTo>
                    <a:pt x="345" y="76"/>
                  </a:lnTo>
                  <a:lnTo>
                    <a:pt x="385" y="82"/>
                  </a:lnTo>
                  <a:lnTo>
                    <a:pt x="425" y="86"/>
                  </a:lnTo>
                  <a:lnTo>
                    <a:pt x="403" y="148"/>
                  </a:lnTo>
                  <a:lnTo>
                    <a:pt x="429" y="160"/>
                  </a:lnTo>
                  <a:lnTo>
                    <a:pt x="423" y="170"/>
                  </a:lnTo>
                  <a:lnTo>
                    <a:pt x="409" y="164"/>
                  </a:lnTo>
                  <a:lnTo>
                    <a:pt x="369" y="172"/>
                  </a:lnTo>
                  <a:lnTo>
                    <a:pt x="351" y="174"/>
                  </a:lnTo>
                  <a:lnTo>
                    <a:pt x="337" y="186"/>
                  </a:lnTo>
                  <a:lnTo>
                    <a:pt x="321" y="198"/>
                  </a:lnTo>
                  <a:lnTo>
                    <a:pt x="307" y="236"/>
                  </a:lnTo>
                  <a:lnTo>
                    <a:pt x="307" y="254"/>
                  </a:lnTo>
                  <a:lnTo>
                    <a:pt x="293" y="258"/>
                  </a:lnTo>
                  <a:lnTo>
                    <a:pt x="281" y="276"/>
                  </a:lnTo>
                  <a:lnTo>
                    <a:pt x="279" y="292"/>
                  </a:lnTo>
                  <a:lnTo>
                    <a:pt x="289" y="302"/>
                  </a:lnTo>
                  <a:lnTo>
                    <a:pt x="285" y="322"/>
                  </a:lnTo>
                  <a:lnTo>
                    <a:pt x="291" y="336"/>
                  </a:lnTo>
                  <a:lnTo>
                    <a:pt x="317" y="340"/>
                  </a:lnTo>
                  <a:lnTo>
                    <a:pt x="307" y="358"/>
                  </a:lnTo>
                  <a:lnTo>
                    <a:pt x="331" y="364"/>
                  </a:lnTo>
                  <a:lnTo>
                    <a:pt x="359" y="390"/>
                  </a:lnTo>
                  <a:lnTo>
                    <a:pt x="399" y="360"/>
                  </a:lnTo>
                  <a:lnTo>
                    <a:pt x="405" y="364"/>
                  </a:lnTo>
                  <a:lnTo>
                    <a:pt x="409" y="432"/>
                  </a:lnTo>
                  <a:lnTo>
                    <a:pt x="447" y="434"/>
                  </a:lnTo>
                  <a:lnTo>
                    <a:pt x="483" y="492"/>
                  </a:lnTo>
                  <a:lnTo>
                    <a:pt x="453" y="583"/>
                  </a:lnTo>
                  <a:lnTo>
                    <a:pt x="463" y="599"/>
                  </a:lnTo>
                  <a:lnTo>
                    <a:pt x="455" y="625"/>
                  </a:lnTo>
                  <a:lnTo>
                    <a:pt x="477" y="647"/>
                  </a:lnTo>
                  <a:lnTo>
                    <a:pt x="465" y="661"/>
                  </a:lnTo>
                  <a:lnTo>
                    <a:pt x="441" y="677"/>
                  </a:lnTo>
                  <a:lnTo>
                    <a:pt x="447" y="697"/>
                  </a:lnTo>
                  <a:lnTo>
                    <a:pt x="405" y="725"/>
                  </a:lnTo>
                  <a:lnTo>
                    <a:pt x="399" y="711"/>
                  </a:lnTo>
                  <a:lnTo>
                    <a:pt x="383" y="705"/>
                  </a:lnTo>
                  <a:lnTo>
                    <a:pt x="379" y="691"/>
                  </a:lnTo>
                  <a:lnTo>
                    <a:pt x="367" y="679"/>
                  </a:lnTo>
                  <a:lnTo>
                    <a:pt x="355" y="677"/>
                  </a:lnTo>
                  <a:lnTo>
                    <a:pt x="349" y="661"/>
                  </a:lnTo>
                  <a:lnTo>
                    <a:pt x="329" y="651"/>
                  </a:lnTo>
                  <a:lnTo>
                    <a:pt x="307" y="647"/>
                  </a:lnTo>
                  <a:lnTo>
                    <a:pt x="265" y="619"/>
                  </a:lnTo>
                  <a:lnTo>
                    <a:pt x="255" y="617"/>
                  </a:lnTo>
                  <a:lnTo>
                    <a:pt x="233" y="601"/>
                  </a:lnTo>
                  <a:lnTo>
                    <a:pt x="227" y="591"/>
                  </a:lnTo>
                  <a:lnTo>
                    <a:pt x="203" y="573"/>
                  </a:lnTo>
                  <a:lnTo>
                    <a:pt x="201" y="563"/>
                  </a:lnTo>
                  <a:lnTo>
                    <a:pt x="189" y="547"/>
                  </a:lnTo>
                  <a:lnTo>
                    <a:pt x="197" y="537"/>
                  </a:lnTo>
                  <a:lnTo>
                    <a:pt x="166" y="486"/>
                  </a:lnTo>
                  <a:lnTo>
                    <a:pt x="156" y="462"/>
                  </a:lnTo>
                  <a:lnTo>
                    <a:pt x="142" y="436"/>
                  </a:lnTo>
                  <a:lnTo>
                    <a:pt x="142" y="422"/>
                  </a:lnTo>
                  <a:lnTo>
                    <a:pt x="120" y="392"/>
                  </a:lnTo>
                  <a:lnTo>
                    <a:pt x="116" y="376"/>
                  </a:lnTo>
                  <a:lnTo>
                    <a:pt x="104" y="352"/>
                  </a:lnTo>
                  <a:lnTo>
                    <a:pt x="88" y="314"/>
                  </a:lnTo>
                  <a:lnTo>
                    <a:pt x="74" y="302"/>
                  </a:lnTo>
                  <a:lnTo>
                    <a:pt x="72" y="288"/>
                  </a:lnTo>
                  <a:lnTo>
                    <a:pt x="42" y="250"/>
                  </a:lnTo>
                  <a:lnTo>
                    <a:pt x="22" y="242"/>
                  </a:lnTo>
                  <a:lnTo>
                    <a:pt x="10" y="228"/>
                  </a:lnTo>
                  <a:lnTo>
                    <a:pt x="16" y="216"/>
                  </a:lnTo>
                  <a:lnTo>
                    <a:pt x="8" y="198"/>
                  </a:lnTo>
                  <a:lnTo>
                    <a:pt x="10" y="190"/>
                  </a:lnTo>
                  <a:lnTo>
                    <a:pt x="0" y="178"/>
                  </a:lnTo>
                  <a:lnTo>
                    <a:pt x="2" y="164"/>
                  </a:lnTo>
                  <a:lnTo>
                    <a:pt x="16" y="150"/>
                  </a:lnTo>
                  <a:lnTo>
                    <a:pt x="34" y="136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80" name="Puerto Rico">
              <a:extLst>
                <a:ext uri="{FF2B5EF4-FFF2-40B4-BE49-F238E27FC236}">
                  <a16:creationId xmlns="" xmlns:a16="http://schemas.microsoft.com/office/drawing/2014/main" id="{043F1B2F-C6EE-423A-AA7E-89511A55EBA5}"/>
                </a:ext>
              </a:extLst>
            </p:cNvPr>
            <p:cNvSpPr>
              <a:spLocks/>
            </p:cNvSpPr>
            <p:nvPr/>
          </p:nvSpPr>
          <p:spPr bwMode="gray">
            <a:xfrm>
              <a:off x="3435005" y="3421323"/>
              <a:ext cx="46855" cy="25566"/>
            </a:xfrm>
            <a:custGeom>
              <a:avLst/>
              <a:gdLst/>
              <a:ahLst/>
              <a:cxnLst>
                <a:cxn ang="0">
                  <a:pos x="2" y="4"/>
                </a:cxn>
                <a:cxn ang="0">
                  <a:pos x="18" y="0"/>
                </a:cxn>
                <a:cxn ang="0">
                  <a:pos x="28" y="4"/>
                </a:cxn>
                <a:cxn ang="0">
                  <a:pos x="39" y="0"/>
                </a:cxn>
                <a:cxn ang="0">
                  <a:pos x="53" y="6"/>
                </a:cxn>
                <a:cxn ang="0">
                  <a:pos x="59" y="14"/>
                </a:cxn>
                <a:cxn ang="0">
                  <a:pos x="53" y="26"/>
                </a:cxn>
                <a:cxn ang="0">
                  <a:pos x="39" y="30"/>
                </a:cxn>
                <a:cxn ang="0">
                  <a:pos x="35" y="30"/>
                </a:cxn>
                <a:cxn ang="0">
                  <a:pos x="22" y="26"/>
                </a:cxn>
                <a:cxn ang="0">
                  <a:pos x="12" y="24"/>
                </a:cxn>
                <a:cxn ang="0">
                  <a:pos x="2" y="22"/>
                </a:cxn>
                <a:cxn ang="0">
                  <a:pos x="2" y="18"/>
                </a:cxn>
                <a:cxn ang="0">
                  <a:pos x="0" y="10"/>
                </a:cxn>
                <a:cxn ang="0">
                  <a:pos x="2" y="4"/>
                </a:cxn>
              </a:cxnLst>
              <a:rect l="0" t="0" r="r" b="b"/>
              <a:pathLst>
                <a:path w="59" h="30">
                  <a:moveTo>
                    <a:pt x="2" y="4"/>
                  </a:moveTo>
                  <a:lnTo>
                    <a:pt x="18" y="0"/>
                  </a:lnTo>
                  <a:lnTo>
                    <a:pt x="28" y="4"/>
                  </a:lnTo>
                  <a:lnTo>
                    <a:pt x="39" y="0"/>
                  </a:lnTo>
                  <a:lnTo>
                    <a:pt x="53" y="6"/>
                  </a:lnTo>
                  <a:lnTo>
                    <a:pt x="59" y="14"/>
                  </a:lnTo>
                  <a:lnTo>
                    <a:pt x="53" y="26"/>
                  </a:lnTo>
                  <a:lnTo>
                    <a:pt x="39" y="30"/>
                  </a:lnTo>
                  <a:lnTo>
                    <a:pt x="35" y="30"/>
                  </a:lnTo>
                  <a:lnTo>
                    <a:pt x="22" y="26"/>
                  </a:lnTo>
                  <a:lnTo>
                    <a:pt x="12" y="24"/>
                  </a:lnTo>
                  <a:lnTo>
                    <a:pt x="2" y="22"/>
                  </a:lnTo>
                  <a:lnTo>
                    <a:pt x="2" y="18"/>
                  </a:lnTo>
                  <a:lnTo>
                    <a:pt x="0" y="10"/>
                  </a:lnTo>
                  <a:lnTo>
                    <a:pt x="2" y="4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83" name="Suriname">
              <a:extLst>
                <a:ext uri="{FF2B5EF4-FFF2-40B4-BE49-F238E27FC236}">
                  <a16:creationId xmlns="" xmlns:a16="http://schemas.microsoft.com/office/drawing/2014/main" id="{57A6218B-681E-47F5-9756-2B7A7CFB50D0}"/>
                </a:ext>
              </a:extLst>
            </p:cNvPr>
            <p:cNvSpPr>
              <a:spLocks/>
            </p:cNvSpPr>
            <p:nvPr/>
          </p:nvSpPr>
          <p:spPr bwMode="gray">
            <a:xfrm>
              <a:off x="3651712" y="3826433"/>
              <a:ext cx="130803" cy="129793"/>
            </a:xfrm>
            <a:custGeom>
              <a:avLst/>
              <a:gdLst/>
              <a:ahLst/>
              <a:cxnLst>
                <a:cxn ang="0">
                  <a:pos x="84" y="160"/>
                </a:cxn>
                <a:cxn ang="0">
                  <a:pos x="44" y="158"/>
                </a:cxn>
                <a:cxn ang="0">
                  <a:pos x="26" y="112"/>
                </a:cxn>
                <a:cxn ang="0">
                  <a:pos x="6" y="100"/>
                </a:cxn>
                <a:cxn ang="0">
                  <a:pos x="0" y="70"/>
                </a:cxn>
                <a:cxn ang="0">
                  <a:pos x="2" y="46"/>
                </a:cxn>
                <a:cxn ang="0">
                  <a:pos x="18" y="50"/>
                </a:cxn>
                <a:cxn ang="0">
                  <a:pos x="30" y="40"/>
                </a:cxn>
                <a:cxn ang="0">
                  <a:pos x="30" y="24"/>
                </a:cxn>
                <a:cxn ang="0">
                  <a:pos x="36" y="6"/>
                </a:cxn>
                <a:cxn ang="0">
                  <a:pos x="62" y="10"/>
                </a:cxn>
                <a:cxn ang="0">
                  <a:pos x="86" y="10"/>
                </a:cxn>
                <a:cxn ang="0">
                  <a:pos x="112" y="0"/>
                </a:cxn>
                <a:cxn ang="0">
                  <a:pos x="142" y="6"/>
                </a:cxn>
                <a:cxn ang="0">
                  <a:pos x="158" y="8"/>
                </a:cxn>
                <a:cxn ang="0">
                  <a:pos x="162" y="18"/>
                </a:cxn>
                <a:cxn ang="0">
                  <a:pos x="142" y="42"/>
                </a:cxn>
                <a:cxn ang="0">
                  <a:pos x="138" y="64"/>
                </a:cxn>
                <a:cxn ang="0">
                  <a:pos x="142" y="88"/>
                </a:cxn>
                <a:cxn ang="0">
                  <a:pos x="156" y="102"/>
                </a:cxn>
                <a:cxn ang="0">
                  <a:pos x="148" y="112"/>
                </a:cxn>
                <a:cxn ang="0">
                  <a:pos x="152" y="126"/>
                </a:cxn>
                <a:cxn ang="0">
                  <a:pos x="138" y="148"/>
                </a:cxn>
                <a:cxn ang="0">
                  <a:pos x="118" y="130"/>
                </a:cxn>
                <a:cxn ang="0">
                  <a:pos x="100" y="146"/>
                </a:cxn>
                <a:cxn ang="0">
                  <a:pos x="82" y="138"/>
                </a:cxn>
                <a:cxn ang="0">
                  <a:pos x="76" y="146"/>
                </a:cxn>
                <a:cxn ang="0">
                  <a:pos x="84" y="160"/>
                </a:cxn>
              </a:cxnLst>
              <a:rect l="0" t="0" r="r" b="b"/>
              <a:pathLst>
                <a:path w="162" h="160">
                  <a:moveTo>
                    <a:pt x="84" y="160"/>
                  </a:moveTo>
                  <a:lnTo>
                    <a:pt x="44" y="158"/>
                  </a:lnTo>
                  <a:lnTo>
                    <a:pt x="26" y="112"/>
                  </a:lnTo>
                  <a:lnTo>
                    <a:pt x="6" y="100"/>
                  </a:lnTo>
                  <a:lnTo>
                    <a:pt x="0" y="70"/>
                  </a:lnTo>
                  <a:lnTo>
                    <a:pt x="2" y="46"/>
                  </a:lnTo>
                  <a:lnTo>
                    <a:pt x="18" y="50"/>
                  </a:lnTo>
                  <a:lnTo>
                    <a:pt x="30" y="40"/>
                  </a:lnTo>
                  <a:lnTo>
                    <a:pt x="30" y="24"/>
                  </a:lnTo>
                  <a:lnTo>
                    <a:pt x="36" y="6"/>
                  </a:lnTo>
                  <a:lnTo>
                    <a:pt x="62" y="10"/>
                  </a:lnTo>
                  <a:lnTo>
                    <a:pt x="86" y="10"/>
                  </a:lnTo>
                  <a:lnTo>
                    <a:pt x="112" y="0"/>
                  </a:lnTo>
                  <a:lnTo>
                    <a:pt x="142" y="6"/>
                  </a:lnTo>
                  <a:lnTo>
                    <a:pt x="158" y="8"/>
                  </a:lnTo>
                  <a:lnTo>
                    <a:pt x="162" y="18"/>
                  </a:lnTo>
                  <a:lnTo>
                    <a:pt x="142" y="42"/>
                  </a:lnTo>
                  <a:lnTo>
                    <a:pt x="138" y="64"/>
                  </a:lnTo>
                  <a:lnTo>
                    <a:pt x="142" y="88"/>
                  </a:lnTo>
                  <a:lnTo>
                    <a:pt x="156" y="102"/>
                  </a:lnTo>
                  <a:lnTo>
                    <a:pt x="148" y="112"/>
                  </a:lnTo>
                  <a:lnTo>
                    <a:pt x="152" y="126"/>
                  </a:lnTo>
                  <a:lnTo>
                    <a:pt x="138" y="148"/>
                  </a:lnTo>
                  <a:lnTo>
                    <a:pt x="118" y="130"/>
                  </a:lnTo>
                  <a:lnTo>
                    <a:pt x="100" y="146"/>
                  </a:lnTo>
                  <a:lnTo>
                    <a:pt x="82" y="138"/>
                  </a:lnTo>
                  <a:lnTo>
                    <a:pt x="76" y="146"/>
                  </a:lnTo>
                  <a:lnTo>
                    <a:pt x="84" y="160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84" name="United States">
              <a:extLst>
                <a:ext uri="{FF2B5EF4-FFF2-40B4-BE49-F238E27FC236}">
                  <a16:creationId xmlns="" xmlns:a16="http://schemas.microsoft.com/office/drawing/2014/main" id="{4E2D0363-A905-432D-81ED-B8534CF5C3C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05462" y="727137"/>
              <a:ext cx="3188112" cy="2619458"/>
            </a:xfrm>
            <a:custGeom>
              <a:avLst/>
              <a:gdLst/>
              <a:ahLst/>
              <a:cxnLst>
                <a:cxn ang="0">
                  <a:pos x="1893" y="935"/>
                </a:cxn>
                <a:cxn ang="0">
                  <a:pos x="1784" y="1022"/>
                </a:cxn>
                <a:cxn ang="0">
                  <a:pos x="1657" y="1093"/>
                </a:cxn>
                <a:cxn ang="0">
                  <a:pos x="1630" y="1037"/>
                </a:cxn>
                <a:cxn ang="0">
                  <a:pos x="1600" y="981"/>
                </a:cxn>
                <a:cxn ang="0">
                  <a:pos x="1581" y="1080"/>
                </a:cxn>
                <a:cxn ang="0">
                  <a:pos x="1555" y="1010"/>
                </a:cxn>
                <a:cxn ang="0">
                  <a:pos x="1568" y="980"/>
                </a:cxn>
                <a:cxn ang="0">
                  <a:pos x="1598" y="952"/>
                </a:cxn>
                <a:cxn ang="0">
                  <a:pos x="1531" y="937"/>
                </a:cxn>
                <a:cxn ang="0">
                  <a:pos x="1492" y="930"/>
                </a:cxn>
                <a:cxn ang="0">
                  <a:pos x="1423" y="912"/>
                </a:cxn>
                <a:cxn ang="0">
                  <a:pos x="887" y="903"/>
                </a:cxn>
                <a:cxn ang="0">
                  <a:pos x="843" y="952"/>
                </a:cxn>
                <a:cxn ang="0">
                  <a:pos x="799" y="1077"/>
                </a:cxn>
                <a:cxn ang="0">
                  <a:pos x="800" y="1176"/>
                </a:cxn>
                <a:cxn ang="0">
                  <a:pos x="816" y="1240"/>
                </a:cxn>
                <a:cxn ang="0">
                  <a:pos x="872" y="1288"/>
                </a:cxn>
                <a:cxn ang="0">
                  <a:pos x="1167" y="1407"/>
                </a:cxn>
                <a:cxn ang="0">
                  <a:pos x="1267" y="1469"/>
                </a:cxn>
                <a:cxn ang="0">
                  <a:pos x="1317" y="1455"/>
                </a:cxn>
                <a:cxn ang="0">
                  <a:pos x="1423" y="1431"/>
                </a:cxn>
                <a:cxn ang="0">
                  <a:pos x="1522" y="1442"/>
                </a:cxn>
                <a:cxn ang="0">
                  <a:pos x="1531" y="1417"/>
                </a:cxn>
                <a:cxn ang="0">
                  <a:pos x="1570" y="1406"/>
                </a:cxn>
                <a:cxn ang="0">
                  <a:pos x="1639" y="1413"/>
                </a:cxn>
                <a:cxn ang="0">
                  <a:pos x="1711" y="1462"/>
                </a:cxn>
                <a:cxn ang="0">
                  <a:pos x="1780" y="1517"/>
                </a:cxn>
                <a:cxn ang="0">
                  <a:pos x="1745" y="1416"/>
                </a:cxn>
                <a:cxn ang="0">
                  <a:pos x="1760" y="1320"/>
                </a:cxn>
                <a:cxn ang="0">
                  <a:pos x="1823" y="1249"/>
                </a:cxn>
                <a:cxn ang="0">
                  <a:pos x="1829" y="1220"/>
                </a:cxn>
                <a:cxn ang="0">
                  <a:pos x="1809" y="1163"/>
                </a:cxn>
                <a:cxn ang="0">
                  <a:pos x="1833" y="1174"/>
                </a:cxn>
                <a:cxn ang="0">
                  <a:pos x="1848" y="1097"/>
                </a:cxn>
                <a:cxn ang="0">
                  <a:pos x="1896" y="1065"/>
                </a:cxn>
                <a:cxn ang="0">
                  <a:pos x="1902" y="1017"/>
                </a:cxn>
                <a:cxn ang="0">
                  <a:pos x="163" y="1543"/>
                </a:cxn>
                <a:cxn ang="0">
                  <a:pos x="223" y="1562"/>
                </a:cxn>
                <a:cxn ang="0">
                  <a:pos x="223" y="1564"/>
                </a:cxn>
                <a:cxn ang="0">
                  <a:pos x="259" y="1594"/>
                </a:cxn>
                <a:cxn ang="0">
                  <a:pos x="308" y="633"/>
                </a:cxn>
                <a:cxn ang="0">
                  <a:pos x="79" y="703"/>
                </a:cxn>
                <a:cxn ang="0">
                  <a:pos x="48" y="510"/>
                </a:cxn>
                <a:cxn ang="0">
                  <a:pos x="659" y="615"/>
                </a:cxn>
                <a:cxn ang="0">
                  <a:pos x="634" y="618"/>
                </a:cxn>
                <a:cxn ang="0">
                  <a:pos x="724" y="705"/>
                </a:cxn>
                <a:cxn ang="0">
                  <a:pos x="442" y="109"/>
                </a:cxn>
                <a:cxn ang="0">
                  <a:pos x="250" y="15"/>
                </a:cxn>
                <a:cxn ang="0">
                  <a:pos x="39" y="183"/>
                </a:cxn>
                <a:cxn ang="0">
                  <a:pos x="40" y="277"/>
                </a:cxn>
                <a:cxn ang="0">
                  <a:pos x="134" y="353"/>
                </a:cxn>
                <a:cxn ang="0">
                  <a:pos x="65" y="474"/>
                </a:cxn>
                <a:cxn ang="0">
                  <a:pos x="143" y="566"/>
                </a:cxn>
                <a:cxn ang="0">
                  <a:pos x="181" y="643"/>
                </a:cxn>
                <a:cxn ang="0">
                  <a:pos x="201" y="654"/>
                </a:cxn>
                <a:cxn ang="0">
                  <a:pos x="339" y="468"/>
                </a:cxn>
                <a:cxn ang="0">
                  <a:pos x="357" y="546"/>
                </a:cxn>
                <a:cxn ang="0">
                  <a:pos x="471" y="525"/>
                </a:cxn>
                <a:cxn ang="0">
                  <a:pos x="602" y="562"/>
                </a:cxn>
                <a:cxn ang="0">
                  <a:pos x="706" y="663"/>
                </a:cxn>
              </a:cxnLst>
              <a:rect l="0" t="0" r="r" b="b"/>
              <a:pathLst>
                <a:path w="1964" h="1601">
                  <a:moveTo>
                    <a:pt x="1960" y="952"/>
                  </a:moveTo>
                  <a:cubicBezTo>
                    <a:pt x="1962" y="948"/>
                    <a:pt x="1962" y="948"/>
                    <a:pt x="1962" y="948"/>
                  </a:cubicBezTo>
                  <a:cubicBezTo>
                    <a:pt x="1960" y="941"/>
                    <a:pt x="1960" y="941"/>
                    <a:pt x="1960" y="941"/>
                  </a:cubicBezTo>
                  <a:cubicBezTo>
                    <a:pt x="1955" y="943"/>
                    <a:pt x="1955" y="943"/>
                    <a:pt x="1955" y="943"/>
                  </a:cubicBezTo>
                  <a:cubicBezTo>
                    <a:pt x="1952" y="940"/>
                    <a:pt x="1952" y="940"/>
                    <a:pt x="1952" y="940"/>
                  </a:cubicBezTo>
                  <a:cubicBezTo>
                    <a:pt x="1950" y="932"/>
                    <a:pt x="1950" y="932"/>
                    <a:pt x="1950" y="932"/>
                  </a:cubicBezTo>
                  <a:cubicBezTo>
                    <a:pt x="1943" y="931"/>
                    <a:pt x="1943" y="931"/>
                    <a:pt x="1943" y="931"/>
                  </a:cubicBezTo>
                  <a:cubicBezTo>
                    <a:pt x="1933" y="894"/>
                    <a:pt x="1933" y="894"/>
                    <a:pt x="1933" y="894"/>
                  </a:cubicBezTo>
                  <a:cubicBezTo>
                    <a:pt x="1924" y="886"/>
                    <a:pt x="1924" y="886"/>
                    <a:pt x="1924" y="886"/>
                  </a:cubicBezTo>
                  <a:cubicBezTo>
                    <a:pt x="1919" y="887"/>
                    <a:pt x="1919" y="887"/>
                    <a:pt x="1919" y="887"/>
                  </a:cubicBezTo>
                  <a:cubicBezTo>
                    <a:pt x="1918" y="890"/>
                    <a:pt x="1918" y="890"/>
                    <a:pt x="1918" y="890"/>
                  </a:cubicBezTo>
                  <a:cubicBezTo>
                    <a:pt x="1908" y="894"/>
                    <a:pt x="1908" y="894"/>
                    <a:pt x="1908" y="894"/>
                  </a:cubicBezTo>
                  <a:cubicBezTo>
                    <a:pt x="1907" y="888"/>
                    <a:pt x="1907" y="888"/>
                    <a:pt x="1907" y="888"/>
                  </a:cubicBezTo>
                  <a:cubicBezTo>
                    <a:pt x="1900" y="888"/>
                    <a:pt x="1900" y="888"/>
                    <a:pt x="1900" y="888"/>
                  </a:cubicBezTo>
                  <a:cubicBezTo>
                    <a:pt x="1891" y="915"/>
                    <a:pt x="1891" y="915"/>
                    <a:pt x="1891" y="915"/>
                  </a:cubicBezTo>
                  <a:cubicBezTo>
                    <a:pt x="1893" y="917"/>
                    <a:pt x="1893" y="917"/>
                    <a:pt x="1893" y="917"/>
                  </a:cubicBezTo>
                  <a:cubicBezTo>
                    <a:pt x="1893" y="921"/>
                    <a:pt x="1893" y="921"/>
                    <a:pt x="1893" y="921"/>
                  </a:cubicBezTo>
                  <a:cubicBezTo>
                    <a:pt x="1890" y="923"/>
                    <a:pt x="1890" y="923"/>
                    <a:pt x="1890" y="923"/>
                  </a:cubicBezTo>
                  <a:cubicBezTo>
                    <a:pt x="1893" y="935"/>
                    <a:pt x="1893" y="935"/>
                    <a:pt x="1893" y="935"/>
                  </a:cubicBezTo>
                  <a:cubicBezTo>
                    <a:pt x="1891" y="937"/>
                    <a:pt x="1891" y="937"/>
                    <a:pt x="1891" y="937"/>
                  </a:cubicBezTo>
                  <a:cubicBezTo>
                    <a:pt x="1890" y="940"/>
                    <a:pt x="1890" y="940"/>
                    <a:pt x="1890" y="940"/>
                  </a:cubicBezTo>
                  <a:cubicBezTo>
                    <a:pt x="1886" y="946"/>
                    <a:pt x="1886" y="946"/>
                    <a:pt x="1886" y="946"/>
                  </a:cubicBezTo>
                  <a:cubicBezTo>
                    <a:pt x="1887" y="949"/>
                    <a:pt x="1887" y="949"/>
                    <a:pt x="1887" y="949"/>
                  </a:cubicBezTo>
                  <a:cubicBezTo>
                    <a:pt x="1885" y="953"/>
                    <a:pt x="1885" y="953"/>
                    <a:pt x="1885" y="953"/>
                  </a:cubicBezTo>
                  <a:cubicBezTo>
                    <a:pt x="1880" y="954"/>
                    <a:pt x="1880" y="954"/>
                    <a:pt x="1880" y="954"/>
                  </a:cubicBezTo>
                  <a:cubicBezTo>
                    <a:pt x="1873" y="957"/>
                    <a:pt x="1873" y="957"/>
                    <a:pt x="1873" y="957"/>
                  </a:cubicBezTo>
                  <a:cubicBezTo>
                    <a:pt x="1874" y="961"/>
                    <a:pt x="1874" y="961"/>
                    <a:pt x="1874" y="961"/>
                  </a:cubicBezTo>
                  <a:cubicBezTo>
                    <a:pt x="1872" y="965"/>
                    <a:pt x="1872" y="965"/>
                    <a:pt x="1872" y="965"/>
                  </a:cubicBezTo>
                  <a:cubicBezTo>
                    <a:pt x="1836" y="972"/>
                    <a:pt x="1836" y="972"/>
                    <a:pt x="1836" y="972"/>
                  </a:cubicBezTo>
                  <a:cubicBezTo>
                    <a:pt x="1807" y="977"/>
                    <a:pt x="1807" y="977"/>
                    <a:pt x="1807" y="977"/>
                  </a:cubicBezTo>
                  <a:cubicBezTo>
                    <a:pt x="1790" y="993"/>
                    <a:pt x="1790" y="993"/>
                    <a:pt x="1790" y="993"/>
                  </a:cubicBezTo>
                  <a:cubicBezTo>
                    <a:pt x="1790" y="997"/>
                    <a:pt x="1790" y="997"/>
                    <a:pt x="1790" y="997"/>
                  </a:cubicBezTo>
                  <a:cubicBezTo>
                    <a:pt x="1780" y="1006"/>
                    <a:pt x="1780" y="1006"/>
                    <a:pt x="1780" y="1006"/>
                  </a:cubicBezTo>
                  <a:cubicBezTo>
                    <a:pt x="1781" y="1009"/>
                    <a:pt x="1781" y="1009"/>
                    <a:pt x="1781" y="1009"/>
                  </a:cubicBezTo>
                  <a:cubicBezTo>
                    <a:pt x="1784" y="1011"/>
                    <a:pt x="1784" y="1011"/>
                    <a:pt x="1784" y="1011"/>
                  </a:cubicBezTo>
                  <a:cubicBezTo>
                    <a:pt x="1784" y="1014"/>
                    <a:pt x="1784" y="1014"/>
                    <a:pt x="1784" y="1014"/>
                  </a:cubicBezTo>
                  <a:cubicBezTo>
                    <a:pt x="1786" y="1017"/>
                    <a:pt x="1786" y="1017"/>
                    <a:pt x="1786" y="1017"/>
                  </a:cubicBezTo>
                  <a:cubicBezTo>
                    <a:pt x="1784" y="1022"/>
                    <a:pt x="1784" y="1022"/>
                    <a:pt x="1784" y="1022"/>
                  </a:cubicBezTo>
                  <a:cubicBezTo>
                    <a:pt x="1781" y="1024"/>
                    <a:pt x="1781" y="1024"/>
                    <a:pt x="1781" y="1024"/>
                  </a:cubicBezTo>
                  <a:cubicBezTo>
                    <a:pt x="1776" y="1028"/>
                    <a:pt x="1776" y="1028"/>
                    <a:pt x="1776" y="1028"/>
                  </a:cubicBezTo>
                  <a:cubicBezTo>
                    <a:pt x="1771" y="1030"/>
                    <a:pt x="1771" y="1030"/>
                    <a:pt x="1771" y="1030"/>
                  </a:cubicBezTo>
                  <a:cubicBezTo>
                    <a:pt x="1761" y="1033"/>
                    <a:pt x="1761" y="1033"/>
                    <a:pt x="1761" y="1033"/>
                  </a:cubicBezTo>
                  <a:cubicBezTo>
                    <a:pt x="1755" y="1032"/>
                    <a:pt x="1755" y="1032"/>
                    <a:pt x="1755" y="1032"/>
                  </a:cubicBezTo>
                  <a:cubicBezTo>
                    <a:pt x="1743" y="1032"/>
                    <a:pt x="1743" y="1032"/>
                    <a:pt x="1743" y="1032"/>
                  </a:cubicBezTo>
                  <a:cubicBezTo>
                    <a:pt x="1735" y="1034"/>
                    <a:pt x="1735" y="1034"/>
                    <a:pt x="1735" y="1034"/>
                  </a:cubicBezTo>
                  <a:cubicBezTo>
                    <a:pt x="1730" y="1039"/>
                    <a:pt x="1730" y="1039"/>
                    <a:pt x="1730" y="1039"/>
                  </a:cubicBezTo>
                  <a:cubicBezTo>
                    <a:pt x="1731" y="1042"/>
                    <a:pt x="1731" y="1042"/>
                    <a:pt x="1731" y="1042"/>
                  </a:cubicBezTo>
                  <a:cubicBezTo>
                    <a:pt x="1734" y="1046"/>
                    <a:pt x="1734" y="1046"/>
                    <a:pt x="1734" y="1046"/>
                  </a:cubicBezTo>
                  <a:cubicBezTo>
                    <a:pt x="1734" y="1052"/>
                    <a:pt x="1734" y="1052"/>
                    <a:pt x="1734" y="1052"/>
                  </a:cubicBezTo>
                  <a:cubicBezTo>
                    <a:pt x="1718" y="1067"/>
                    <a:pt x="1718" y="1067"/>
                    <a:pt x="1718" y="1067"/>
                  </a:cubicBezTo>
                  <a:cubicBezTo>
                    <a:pt x="1711" y="1072"/>
                    <a:pt x="1711" y="1072"/>
                    <a:pt x="1711" y="1072"/>
                  </a:cubicBezTo>
                  <a:cubicBezTo>
                    <a:pt x="1704" y="1077"/>
                    <a:pt x="1704" y="1077"/>
                    <a:pt x="1704" y="1077"/>
                  </a:cubicBezTo>
                  <a:cubicBezTo>
                    <a:pt x="1687" y="1085"/>
                    <a:pt x="1687" y="1085"/>
                    <a:pt x="1687" y="1085"/>
                  </a:cubicBezTo>
                  <a:cubicBezTo>
                    <a:pt x="1680" y="1092"/>
                    <a:pt x="1680" y="1092"/>
                    <a:pt x="1680" y="1092"/>
                  </a:cubicBezTo>
                  <a:cubicBezTo>
                    <a:pt x="1672" y="1091"/>
                    <a:pt x="1672" y="1091"/>
                    <a:pt x="1672" y="1091"/>
                  </a:cubicBezTo>
                  <a:cubicBezTo>
                    <a:pt x="1665" y="1097"/>
                    <a:pt x="1665" y="1097"/>
                    <a:pt x="1665" y="1097"/>
                  </a:cubicBezTo>
                  <a:cubicBezTo>
                    <a:pt x="1657" y="1093"/>
                    <a:pt x="1657" y="1093"/>
                    <a:pt x="1657" y="1093"/>
                  </a:cubicBezTo>
                  <a:cubicBezTo>
                    <a:pt x="1643" y="1090"/>
                    <a:pt x="1643" y="1090"/>
                    <a:pt x="1643" y="1090"/>
                  </a:cubicBezTo>
                  <a:cubicBezTo>
                    <a:pt x="1649" y="1079"/>
                    <a:pt x="1649" y="1079"/>
                    <a:pt x="1649" y="1079"/>
                  </a:cubicBezTo>
                  <a:cubicBezTo>
                    <a:pt x="1647" y="1076"/>
                    <a:pt x="1647" y="1076"/>
                    <a:pt x="1647" y="1076"/>
                  </a:cubicBezTo>
                  <a:cubicBezTo>
                    <a:pt x="1649" y="1072"/>
                    <a:pt x="1649" y="1072"/>
                    <a:pt x="1649" y="1072"/>
                  </a:cubicBezTo>
                  <a:cubicBezTo>
                    <a:pt x="1653" y="1070"/>
                    <a:pt x="1653" y="1070"/>
                    <a:pt x="1653" y="1070"/>
                  </a:cubicBezTo>
                  <a:cubicBezTo>
                    <a:pt x="1653" y="1064"/>
                    <a:pt x="1653" y="1064"/>
                    <a:pt x="1653" y="1064"/>
                  </a:cubicBezTo>
                  <a:cubicBezTo>
                    <a:pt x="1655" y="1061"/>
                    <a:pt x="1655" y="1061"/>
                    <a:pt x="1655" y="1061"/>
                  </a:cubicBezTo>
                  <a:cubicBezTo>
                    <a:pt x="1658" y="1062"/>
                    <a:pt x="1658" y="1062"/>
                    <a:pt x="1658" y="1062"/>
                  </a:cubicBezTo>
                  <a:cubicBezTo>
                    <a:pt x="1661" y="1060"/>
                    <a:pt x="1661" y="1060"/>
                    <a:pt x="1661" y="1060"/>
                  </a:cubicBezTo>
                  <a:cubicBezTo>
                    <a:pt x="1660" y="1058"/>
                    <a:pt x="1660" y="1058"/>
                    <a:pt x="1660" y="1058"/>
                  </a:cubicBezTo>
                  <a:cubicBezTo>
                    <a:pt x="1659" y="1046"/>
                    <a:pt x="1659" y="1046"/>
                    <a:pt x="1659" y="1046"/>
                  </a:cubicBezTo>
                  <a:cubicBezTo>
                    <a:pt x="1657" y="1038"/>
                    <a:pt x="1657" y="1038"/>
                    <a:pt x="1657" y="1038"/>
                  </a:cubicBezTo>
                  <a:cubicBezTo>
                    <a:pt x="1653" y="1030"/>
                    <a:pt x="1653" y="1030"/>
                    <a:pt x="1653" y="1030"/>
                  </a:cubicBezTo>
                  <a:cubicBezTo>
                    <a:pt x="1652" y="1025"/>
                    <a:pt x="1652" y="1025"/>
                    <a:pt x="1652" y="1025"/>
                  </a:cubicBezTo>
                  <a:cubicBezTo>
                    <a:pt x="1646" y="1023"/>
                    <a:pt x="1646" y="1023"/>
                    <a:pt x="1646" y="1023"/>
                  </a:cubicBezTo>
                  <a:cubicBezTo>
                    <a:pt x="1642" y="1026"/>
                    <a:pt x="1642" y="1026"/>
                    <a:pt x="1642" y="1026"/>
                  </a:cubicBezTo>
                  <a:cubicBezTo>
                    <a:pt x="1637" y="1032"/>
                    <a:pt x="1637" y="1032"/>
                    <a:pt x="1637" y="1032"/>
                  </a:cubicBezTo>
                  <a:cubicBezTo>
                    <a:pt x="1632" y="1038"/>
                    <a:pt x="1632" y="1038"/>
                    <a:pt x="1632" y="1038"/>
                  </a:cubicBezTo>
                  <a:cubicBezTo>
                    <a:pt x="1630" y="1037"/>
                    <a:pt x="1630" y="1037"/>
                    <a:pt x="1630" y="1037"/>
                  </a:cubicBezTo>
                  <a:cubicBezTo>
                    <a:pt x="1627" y="1035"/>
                    <a:pt x="1627" y="1035"/>
                    <a:pt x="1627" y="1035"/>
                  </a:cubicBezTo>
                  <a:cubicBezTo>
                    <a:pt x="1627" y="1031"/>
                    <a:pt x="1627" y="1031"/>
                    <a:pt x="1627" y="1031"/>
                  </a:cubicBezTo>
                  <a:cubicBezTo>
                    <a:pt x="1629" y="1027"/>
                    <a:pt x="1629" y="1027"/>
                    <a:pt x="1629" y="1027"/>
                  </a:cubicBezTo>
                  <a:cubicBezTo>
                    <a:pt x="1633" y="1024"/>
                    <a:pt x="1633" y="1024"/>
                    <a:pt x="1633" y="1024"/>
                  </a:cubicBezTo>
                  <a:cubicBezTo>
                    <a:pt x="1634" y="1021"/>
                    <a:pt x="1634" y="1021"/>
                    <a:pt x="1634" y="1021"/>
                  </a:cubicBezTo>
                  <a:cubicBezTo>
                    <a:pt x="1635" y="1018"/>
                    <a:pt x="1635" y="1018"/>
                    <a:pt x="1635" y="1018"/>
                  </a:cubicBezTo>
                  <a:cubicBezTo>
                    <a:pt x="1638" y="1015"/>
                    <a:pt x="1638" y="1015"/>
                    <a:pt x="1638" y="1015"/>
                  </a:cubicBezTo>
                  <a:cubicBezTo>
                    <a:pt x="1638" y="1007"/>
                    <a:pt x="1638" y="1007"/>
                    <a:pt x="1638" y="1007"/>
                  </a:cubicBezTo>
                  <a:cubicBezTo>
                    <a:pt x="1636" y="1003"/>
                    <a:pt x="1636" y="1003"/>
                    <a:pt x="1636" y="1003"/>
                  </a:cubicBezTo>
                  <a:cubicBezTo>
                    <a:pt x="1632" y="999"/>
                    <a:pt x="1632" y="999"/>
                    <a:pt x="1632" y="999"/>
                  </a:cubicBezTo>
                  <a:cubicBezTo>
                    <a:pt x="1633" y="997"/>
                    <a:pt x="1633" y="997"/>
                    <a:pt x="1633" y="997"/>
                  </a:cubicBezTo>
                  <a:cubicBezTo>
                    <a:pt x="1636" y="995"/>
                    <a:pt x="1636" y="995"/>
                    <a:pt x="1636" y="995"/>
                  </a:cubicBezTo>
                  <a:cubicBezTo>
                    <a:pt x="1634" y="990"/>
                    <a:pt x="1634" y="990"/>
                    <a:pt x="1634" y="990"/>
                  </a:cubicBezTo>
                  <a:cubicBezTo>
                    <a:pt x="1625" y="986"/>
                    <a:pt x="1625" y="986"/>
                    <a:pt x="1625" y="986"/>
                  </a:cubicBezTo>
                  <a:cubicBezTo>
                    <a:pt x="1618" y="984"/>
                    <a:pt x="1618" y="984"/>
                    <a:pt x="1618" y="984"/>
                  </a:cubicBezTo>
                  <a:cubicBezTo>
                    <a:pt x="1616" y="982"/>
                    <a:pt x="1616" y="982"/>
                    <a:pt x="1616" y="982"/>
                  </a:cubicBezTo>
                  <a:cubicBezTo>
                    <a:pt x="1610" y="981"/>
                    <a:pt x="1610" y="981"/>
                    <a:pt x="1610" y="981"/>
                  </a:cubicBezTo>
                  <a:cubicBezTo>
                    <a:pt x="1606" y="979"/>
                    <a:pt x="1606" y="979"/>
                    <a:pt x="1606" y="979"/>
                  </a:cubicBezTo>
                  <a:cubicBezTo>
                    <a:pt x="1600" y="981"/>
                    <a:pt x="1600" y="981"/>
                    <a:pt x="1600" y="981"/>
                  </a:cubicBezTo>
                  <a:cubicBezTo>
                    <a:pt x="1599" y="987"/>
                    <a:pt x="1599" y="987"/>
                    <a:pt x="1599" y="987"/>
                  </a:cubicBezTo>
                  <a:cubicBezTo>
                    <a:pt x="1600" y="990"/>
                    <a:pt x="1600" y="990"/>
                    <a:pt x="1600" y="990"/>
                  </a:cubicBezTo>
                  <a:cubicBezTo>
                    <a:pt x="1594" y="995"/>
                    <a:pt x="1594" y="995"/>
                    <a:pt x="1594" y="995"/>
                  </a:cubicBezTo>
                  <a:cubicBezTo>
                    <a:pt x="1594" y="1001"/>
                    <a:pt x="1594" y="1001"/>
                    <a:pt x="1594" y="1001"/>
                  </a:cubicBezTo>
                  <a:cubicBezTo>
                    <a:pt x="1592" y="1005"/>
                    <a:pt x="1592" y="1005"/>
                    <a:pt x="1592" y="1005"/>
                  </a:cubicBezTo>
                  <a:cubicBezTo>
                    <a:pt x="1590" y="1006"/>
                    <a:pt x="1590" y="1006"/>
                    <a:pt x="1590" y="1006"/>
                  </a:cubicBezTo>
                  <a:cubicBezTo>
                    <a:pt x="1590" y="1000"/>
                    <a:pt x="1590" y="1000"/>
                    <a:pt x="1590" y="1000"/>
                  </a:cubicBezTo>
                  <a:cubicBezTo>
                    <a:pt x="1589" y="996"/>
                    <a:pt x="1589" y="996"/>
                    <a:pt x="1589" y="996"/>
                  </a:cubicBezTo>
                  <a:cubicBezTo>
                    <a:pt x="1586" y="1002"/>
                    <a:pt x="1586" y="1002"/>
                    <a:pt x="1586" y="1002"/>
                  </a:cubicBezTo>
                  <a:cubicBezTo>
                    <a:pt x="1583" y="1003"/>
                    <a:pt x="1583" y="1003"/>
                    <a:pt x="1583" y="1003"/>
                  </a:cubicBezTo>
                  <a:cubicBezTo>
                    <a:pt x="1578" y="1011"/>
                    <a:pt x="1578" y="1011"/>
                    <a:pt x="1578" y="1011"/>
                  </a:cubicBezTo>
                  <a:cubicBezTo>
                    <a:pt x="1577" y="1023"/>
                    <a:pt x="1577" y="1023"/>
                    <a:pt x="1577" y="1023"/>
                  </a:cubicBezTo>
                  <a:cubicBezTo>
                    <a:pt x="1573" y="1030"/>
                    <a:pt x="1573" y="1030"/>
                    <a:pt x="1573" y="1030"/>
                  </a:cubicBezTo>
                  <a:cubicBezTo>
                    <a:pt x="1575" y="1036"/>
                    <a:pt x="1575" y="1036"/>
                    <a:pt x="1575" y="1036"/>
                  </a:cubicBezTo>
                  <a:cubicBezTo>
                    <a:pt x="1575" y="1042"/>
                    <a:pt x="1575" y="1042"/>
                    <a:pt x="1575" y="1042"/>
                  </a:cubicBezTo>
                  <a:cubicBezTo>
                    <a:pt x="1579" y="1051"/>
                    <a:pt x="1579" y="1051"/>
                    <a:pt x="1579" y="1051"/>
                  </a:cubicBezTo>
                  <a:cubicBezTo>
                    <a:pt x="1583" y="1060"/>
                    <a:pt x="1583" y="1060"/>
                    <a:pt x="1583" y="1060"/>
                  </a:cubicBezTo>
                  <a:cubicBezTo>
                    <a:pt x="1583" y="1068"/>
                    <a:pt x="1583" y="1068"/>
                    <a:pt x="1583" y="1068"/>
                  </a:cubicBezTo>
                  <a:cubicBezTo>
                    <a:pt x="1581" y="1080"/>
                    <a:pt x="1581" y="1080"/>
                    <a:pt x="1581" y="1080"/>
                  </a:cubicBezTo>
                  <a:cubicBezTo>
                    <a:pt x="1576" y="1089"/>
                    <a:pt x="1576" y="1089"/>
                    <a:pt x="1576" y="1089"/>
                  </a:cubicBezTo>
                  <a:cubicBezTo>
                    <a:pt x="1573" y="1094"/>
                    <a:pt x="1573" y="1094"/>
                    <a:pt x="1573" y="1094"/>
                  </a:cubicBezTo>
                  <a:cubicBezTo>
                    <a:pt x="1569" y="1096"/>
                    <a:pt x="1569" y="1096"/>
                    <a:pt x="1569" y="1096"/>
                  </a:cubicBezTo>
                  <a:cubicBezTo>
                    <a:pt x="1562" y="1097"/>
                    <a:pt x="1562" y="1097"/>
                    <a:pt x="1562" y="1097"/>
                  </a:cubicBezTo>
                  <a:cubicBezTo>
                    <a:pt x="1558" y="1095"/>
                    <a:pt x="1558" y="1095"/>
                    <a:pt x="1558" y="1095"/>
                  </a:cubicBezTo>
                  <a:cubicBezTo>
                    <a:pt x="1556" y="1094"/>
                    <a:pt x="1556" y="1094"/>
                    <a:pt x="1556" y="1094"/>
                  </a:cubicBezTo>
                  <a:cubicBezTo>
                    <a:pt x="1555" y="1087"/>
                    <a:pt x="1555" y="1087"/>
                    <a:pt x="1555" y="1087"/>
                  </a:cubicBezTo>
                  <a:cubicBezTo>
                    <a:pt x="1553" y="1084"/>
                    <a:pt x="1553" y="1084"/>
                    <a:pt x="1553" y="1084"/>
                  </a:cubicBezTo>
                  <a:cubicBezTo>
                    <a:pt x="1550" y="1081"/>
                    <a:pt x="1550" y="1081"/>
                    <a:pt x="1550" y="1081"/>
                  </a:cubicBezTo>
                  <a:cubicBezTo>
                    <a:pt x="1549" y="1074"/>
                    <a:pt x="1549" y="1074"/>
                    <a:pt x="1549" y="1074"/>
                  </a:cubicBezTo>
                  <a:cubicBezTo>
                    <a:pt x="1549" y="1066"/>
                    <a:pt x="1549" y="1066"/>
                    <a:pt x="1549" y="1066"/>
                  </a:cubicBezTo>
                  <a:cubicBezTo>
                    <a:pt x="1547" y="1058"/>
                    <a:pt x="1547" y="1058"/>
                    <a:pt x="1547" y="1058"/>
                  </a:cubicBezTo>
                  <a:cubicBezTo>
                    <a:pt x="1546" y="1050"/>
                    <a:pt x="1546" y="1050"/>
                    <a:pt x="1546" y="1050"/>
                  </a:cubicBezTo>
                  <a:cubicBezTo>
                    <a:pt x="1549" y="1042"/>
                    <a:pt x="1549" y="1042"/>
                    <a:pt x="1549" y="1042"/>
                  </a:cubicBezTo>
                  <a:cubicBezTo>
                    <a:pt x="1549" y="1030"/>
                    <a:pt x="1549" y="1030"/>
                    <a:pt x="1549" y="1030"/>
                  </a:cubicBezTo>
                  <a:cubicBezTo>
                    <a:pt x="1553" y="1027"/>
                    <a:pt x="1553" y="1027"/>
                    <a:pt x="1553" y="1027"/>
                  </a:cubicBezTo>
                  <a:cubicBezTo>
                    <a:pt x="1552" y="1018"/>
                    <a:pt x="1552" y="1018"/>
                    <a:pt x="1552" y="1018"/>
                  </a:cubicBezTo>
                  <a:cubicBezTo>
                    <a:pt x="1555" y="1014"/>
                    <a:pt x="1555" y="1014"/>
                    <a:pt x="1555" y="1014"/>
                  </a:cubicBezTo>
                  <a:cubicBezTo>
                    <a:pt x="1555" y="1010"/>
                    <a:pt x="1555" y="1010"/>
                    <a:pt x="1555" y="1010"/>
                  </a:cubicBezTo>
                  <a:cubicBezTo>
                    <a:pt x="1560" y="1001"/>
                    <a:pt x="1560" y="1001"/>
                    <a:pt x="1560" y="1001"/>
                  </a:cubicBezTo>
                  <a:cubicBezTo>
                    <a:pt x="1561" y="997"/>
                    <a:pt x="1561" y="997"/>
                    <a:pt x="1561" y="997"/>
                  </a:cubicBezTo>
                  <a:cubicBezTo>
                    <a:pt x="1560" y="994"/>
                    <a:pt x="1560" y="994"/>
                    <a:pt x="1560" y="994"/>
                  </a:cubicBezTo>
                  <a:cubicBezTo>
                    <a:pt x="1556" y="999"/>
                    <a:pt x="1556" y="999"/>
                    <a:pt x="1556" y="999"/>
                  </a:cubicBezTo>
                  <a:cubicBezTo>
                    <a:pt x="1555" y="1003"/>
                    <a:pt x="1555" y="1003"/>
                    <a:pt x="1555" y="1003"/>
                  </a:cubicBezTo>
                  <a:cubicBezTo>
                    <a:pt x="1553" y="1007"/>
                    <a:pt x="1553" y="1007"/>
                    <a:pt x="1553" y="1007"/>
                  </a:cubicBezTo>
                  <a:cubicBezTo>
                    <a:pt x="1548" y="1010"/>
                    <a:pt x="1548" y="1010"/>
                    <a:pt x="1548" y="1010"/>
                  </a:cubicBezTo>
                  <a:cubicBezTo>
                    <a:pt x="1544" y="1017"/>
                    <a:pt x="1544" y="1017"/>
                    <a:pt x="1544" y="1017"/>
                  </a:cubicBezTo>
                  <a:cubicBezTo>
                    <a:pt x="1541" y="1016"/>
                    <a:pt x="1541" y="1016"/>
                    <a:pt x="1541" y="1016"/>
                  </a:cubicBezTo>
                  <a:cubicBezTo>
                    <a:pt x="1542" y="1011"/>
                    <a:pt x="1542" y="1011"/>
                    <a:pt x="1542" y="1011"/>
                  </a:cubicBezTo>
                  <a:cubicBezTo>
                    <a:pt x="1545" y="1005"/>
                    <a:pt x="1545" y="1005"/>
                    <a:pt x="1545" y="1005"/>
                  </a:cubicBezTo>
                  <a:cubicBezTo>
                    <a:pt x="1547" y="1001"/>
                    <a:pt x="1547" y="1001"/>
                    <a:pt x="1547" y="1001"/>
                  </a:cubicBezTo>
                  <a:cubicBezTo>
                    <a:pt x="1550" y="1001"/>
                    <a:pt x="1550" y="1001"/>
                    <a:pt x="1550" y="1001"/>
                  </a:cubicBezTo>
                  <a:cubicBezTo>
                    <a:pt x="1550" y="997"/>
                    <a:pt x="1550" y="997"/>
                    <a:pt x="1550" y="997"/>
                  </a:cubicBezTo>
                  <a:cubicBezTo>
                    <a:pt x="1555" y="989"/>
                    <a:pt x="1555" y="989"/>
                    <a:pt x="1555" y="989"/>
                  </a:cubicBezTo>
                  <a:cubicBezTo>
                    <a:pt x="1559" y="982"/>
                    <a:pt x="1559" y="982"/>
                    <a:pt x="1559" y="982"/>
                  </a:cubicBezTo>
                  <a:cubicBezTo>
                    <a:pt x="1562" y="983"/>
                    <a:pt x="1562" y="983"/>
                    <a:pt x="1562" y="983"/>
                  </a:cubicBezTo>
                  <a:cubicBezTo>
                    <a:pt x="1564" y="979"/>
                    <a:pt x="1564" y="979"/>
                    <a:pt x="1564" y="979"/>
                  </a:cubicBezTo>
                  <a:cubicBezTo>
                    <a:pt x="1568" y="980"/>
                    <a:pt x="1568" y="980"/>
                    <a:pt x="1568" y="980"/>
                  </a:cubicBezTo>
                  <a:cubicBezTo>
                    <a:pt x="1565" y="984"/>
                    <a:pt x="1565" y="984"/>
                    <a:pt x="1565" y="984"/>
                  </a:cubicBezTo>
                  <a:cubicBezTo>
                    <a:pt x="1567" y="986"/>
                    <a:pt x="1567" y="986"/>
                    <a:pt x="1567" y="986"/>
                  </a:cubicBezTo>
                  <a:cubicBezTo>
                    <a:pt x="1574" y="979"/>
                    <a:pt x="1574" y="979"/>
                    <a:pt x="1574" y="979"/>
                  </a:cubicBezTo>
                  <a:cubicBezTo>
                    <a:pt x="1574" y="977"/>
                    <a:pt x="1574" y="977"/>
                    <a:pt x="1574" y="977"/>
                  </a:cubicBezTo>
                  <a:cubicBezTo>
                    <a:pt x="1580" y="977"/>
                    <a:pt x="1580" y="977"/>
                    <a:pt x="1580" y="977"/>
                  </a:cubicBezTo>
                  <a:cubicBezTo>
                    <a:pt x="1591" y="971"/>
                    <a:pt x="1591" y="971"/>
                    <a:pt x="1591" y="971"/>
                  </a:cubicBezTo>
                  <a:cubicBezTo>
                    <a:pt x="1600" y="973"/>
                    <a:pt x="1600" y="973"/>
                    <a:pt x="1600" y="973"/>
                  </a:cubicBezTo>
                  <a:cubicBezTo>
                    <a:pt x="1604" y="975"/>
                    <a:pt x="1604" y="975"/>
                    <a:pt x="1604" y="975"/>
                  </a:cubicBezTo>
                  <a:cubicBezTo>
                    <a:pt x="1607" y="972"/>
                    <a:pt x="1607" y="972"/>
                    <a:pt x="1607" y="972"/>
                  </a:cubicBezTo>
                  <a:cubicBezTo>
                    <a:pt x="1627" y="972"/>
                    <a:pt x="1627" y="972"/>
                    <a:pt x="1627" y="972"/>
                  </a:cubicBezTo>
                  <a:cubicBezTo>
                    <a:pt x="1629" y="970"/>
                    <a:pt x="1629" y="970"/>
                    <a:pt x="1629" y="970"/>
                  </a:cubicBezTo>
                  <a:cubicBezTo>
                    <a:pt x="1627" y="968"/>
                    <a:pt x="1627" y="968"/>
                    <a:pt x="1627" y="968"/>
                  </a:cubicBezTo>
                  <a:cubicBezTo>
                    <a:pt x="1620" y="968"/>
                    <a:pt x="1620" y="968"/>
                    <a:pt x="1620" y="968"/>
                  </a:cubicBezTo>
                  <a:cubicBezTo>
                    <a:pt x="1617" y="967"/>
                    <a:pt x="1617" y="967"/>
                    <a:pt x="1617" y="967"/>
                  </a:cubicBezTo>
                  <a:cubicBezTo>
                    <a:pt x="1613" y="960"/>
                    <a:pt x="1613" y="960"/>
                    <a:pt x="1613" y="960"/>
                  </a:cubicBezTo>
                  <a:cubicBezTo>
                    <a:pt x="1609" y="959"/>
                    <a:pt x="1609" y="959"/>
                    <a:pt x="1609" y="959"/>
                  </a:cubicBezTo>
                  <a:cubicBezTo>
                    <a:pt x="1599" y="960"/>
                    <a:pt x="1599" y="960"/>
                    <a:pt x="1599" y="960"/>
                  </a:cubicBezTo>
                  <a:cubicBezTo>
                    <a:pt x="1596" y="955"/>
                    <a:pt x="1596" y="955"/>
                    <a:pt x="1596" y="955"/>
                  </a:cubicBezTo>
                  <a:cubicBezTo>
                    <a:pt x="1598" y="952"/>
                    <a:pt x="1598" y="952"/>
                    <a:pt x="1598" y="952"/>
                  </a:cubicBezTo>
                  <a:cubicBezTo>
                    <a:pt x="1594" y="951"/>
                    <a:pt x="1594" y="951"/>
                    <a:pt x="1594" y="951"/>
                  </a:cubicBezTo>
                  <a:cubicBezTo>
                    <a:pt x="1589" y="954"/>
                    <a:pt x="1589" y="954"/>
                    <a:pt x="1589" y="954"/>
                  </a:cubicBezTo>
                  <a:cubicBezTo>
                    <a:pt x="1573" y="956"/>
                    <a:pt x="1573" y="956"/>
                    <a:pt x="1573" y="956"/>
                  </a:cubicBezTo>
                  <a:cubicBezTo>
                    <a:pt x="1568" y="959"/>
                    <a:pt x="1568" y="959"/>
                    <a:pt x="1568" y="959"/>
                  </a:cubicBezTo>
                  <a:cubicBezTo>
                    <a:pt x="1564" y="963"/>
                    <a:pt x="1564" y="963"/>
                    <a:pt x="1564" y="963"/>
                  </a:cubicBezTo>
                  <a:cubicBezTo>
                    <a:pt x="1556" y="960"/>
                    <a:pt x="1556" y="960"/>
                    <a:pt x="1556" y="960"/>
                  </a:cubicBezTo>
                  <a:cubicBezTo>
                    <a:pt x="1554" y="961"/>
                    <a:pt x="1554" y="961"/>
                    <a:pt x="1554" y="961"/>
                  </a:cubicBezTo>
                  <a:cubicBezTo>
                    <a:pt x="1549" y="961"/>
                    <a:pt x="1549" y="961"/>
                    <a:pt x="1549" y="961"/>
                  </a:cubicBezTo>
                  <a:cubicBezTo>
                    <a:pt x="1547" y="956"/>
                    <a:pt x="1547" y="956"/>
                    <a:pt x="1547" y="956"/>
                  </a:cubicBezTo>
                  <a:cubicBezTo>
                    <a:pt x="1543" y="954"/>
                    <a:pt x="1543" y="954"/>
                    <a:pt x="1543" y="954"/>
                  </a:cubicBezTo>
                  <a:cubicBezTo>
                    <a:pt x="1537" y="951"/>
                    <a:pt x="1537" y="951"/>
                    <a:pt x="1537" y="951"/>
                  </a:cubicBezTo>
                  <a:cubicBezTo>
                    <a:pt x="1532" y="952"/>
                    <a:pt x="1532" y="952"/>
                    <a:pt x="1532" y="952"/>
                  </a:cubicBezTo>
                  <a:cubicBezTo>
                    <a:pt x="1528" y="955"/>
                    <a:pt x="1528" y="955"/>
                    <a:pt x="1528" y="955"/>
                  </a:cubicBezTo>
                  <a:cubicBezTo>
                    <a:pt x="1529" y="948"/>
                    <a:pt x="1529" y="948"/>
                    <a:pt x="1529" y="948"/>
                  </a:cubicBezTo>
                  <a:cubicBezTo>
                    <a:pt x="1533" y="946"/>
                    <a:pt x="1533" y="946"/>
                    <a:pt x="1533" y="946"/>
                  </a:cubicBezTo>
                  <a:cubicBezTo>
                    <a:pt x="1537" y="939"/>
                    <a:pt x="1537" y="939"/>
                    <a:pt x="1537" y="939"/>
                  </a:cubicBezTo>
                  <a:cubicBezTo>
                    <a:pt x="1541" y="936"/>
                    <a:pt x="1541" y="936"/>
                    <a:pt x="1541" y="936"/>
                  </a:cubicBezTo>
                  <a:cubicBezTo>
                    <a:pt x="1539" y="935"/>
                    <a:pt x="1539" y="935"/>
                    <a:pt x="1539" y="935"/>
                  </a:cubicBezTo>
                  <a:cubicBezTo>
                    <a:pt x="1531" y="937"/>
                    <a:pt x="1531" y="937"/>
                    <a:pt x="1531" y="937"/>
                  </a:cubicBezTo>
                  <a:cubicBezTo>
                    <a:pt x="1525" y="943"/>
                    <a:pt x="1525" y="943"/>
                    <a:pt x="1525" y="943"/>
                  </a:cubicBezTo>
                  <a:cubicBezTo>
                    <a:pt x="1523" y="943"/>
                    <a:pt x="1523" y="943"/>
                    <a:pt x="1523" y="943"/>
                  </a:cubicBezTo>
                  <a:cubicBezTo>
                    <a:pt x="1516" y="951"/>
                    <a:pt x="1516" y="951"/>
                    <a:pt x="1516" y="951"/>
                  </a:cubicBezTo>
                  <a:cubicBezTo>
                    <a:pt x="1506" y="955"/>
                    <a:pt x="1506" y="955"/>
                    <a:pt x="1506" y="955"/>
                  </a:cubicBezTo>
                  <a:cubicBezTo>
                    <a:pt x="1503" y="956"/>
                    <a:pt x="1503" y="956"/>
                    <a:pt x="1503" y="956"/>
                  </a:cubicBezTo>
                  <a:cubicBezTo>
                    <a:pt x="1499" y="959"/>
                    <a:pt x="1499" y="959"/>
                    <a:pt x="1499" y="959"/>
                  </a:cubicBezTo>
                  <a:cubicBezTo>
                    <a:pt x="1491" y="963"/>
                    <a:pt x="1491" y="963"/>
                    <a:pt x="1491" y="963"/>
                  </a:cubicBezTo>
                  <a:cubicBezTo>
                    <a:pt x="1488" y="963"/>
                    <a:pt x="1488" y="963"/>
                    <a:pt x="1488" y="963"/>
                  </a:cubicBezTo>
                  <a:cubicBezTo>
                    <a:pt x="1485" y="961"/>
                    <a:pt x="1485" y="961"/>
                    <a:pt x="1485" y="961"/>
                  </a:cubicBezTo>
                  <a:cubicBezTo>
                    <a:pt x="1480" y="962"/>
                    <a:pt x="1480" y="962"/>
                    <a:pt x="1480" y="962"/>
                  </a:cubicBezTo>
                  <a:cubicBezTo>
                    <a:pt x="1482" y="955"/>
                    <a:pt x="1482" y="955"/>
                    <a:pt x="1482" y="955"/>
                  </a:cubicBezTo>
                  <a:cubicBezTo>
                    <a:pt x="1479" y="953"/>
                    <a:pt x="1479" y="953"/>
                    <a:pt x="1479" y="953"/>
                  </a:cubicBezTo>
                  <a:cubicBezTo>
                    <a:pt x="1469" y="959"/>
                    <a:pt x="1469" y="959"/>
                    <a:pt x="1469" y="959"/>
                  </a:cubicBezTo>
                  <a:cubicBezTo>
                    <a:pt x="1464" y="962"/>
                    <a:pt x="1464" y="962"/>
                    <a:pt x="1464" y="962"/>
                  </a:cubicBezTo>
                  <a:cubicBezTo>
                    <a:pt x="1456" y="961"/>
                    <a:pt x="1456" y="961"/>
                    <a:pt x="1456" y="961"/>
                  </a:cubicBezTo>
                  <a:cubicBezTo>
                    <a:pt x="1467" y="951"/>
                    <a:pt x="1467" y="951"/>
                    <a:pt x="1467" y="951"/>
                  </a:cubicBezTo>
                  <a:cubicBezTo>
                    <a:pt x="1480" y="937"/>
                    <a:pt x="1480" y="937"/>
                    <a:pt x="1480" y="937"/>
                  </a:cubicBezTo>
                  <a:cubicBezTo>
                    <a:pt x="1486" y="935"/>
                    <a:pt x="1486" y="935"/>
                    <a:pt x="1486" y="935"/>
                  </a:cubicBezTo>
                  <a:cubicBezTo>
                    <a:pt x="1492" y="930"/>
                    <a:pt x="1492" y="930"/>
                    <a:pt x="1492" y="930"/>
                  </a:cubicBezTo>
                  <a:cubicBezTo>
                    <a:pt x="1496" y="930"/>
                    <a:pt x="1496" y="930"/>
                    <a:pt x="1496" y="930"/>
                  </a:cubicBezTo>
                  <a:cubicBezTo>
                    <a:pt x="1505" y="923"/>
                    <a:pt x="1505" y="923"/>
                    <a:pt x="1505" y="923"/>
                  </a:cubicBezTo>
                  <a:cubicBezTo>
                    <a:pt x="1499" y="923"/>
                    <a:pt x="1499" y="923"/>
                    <a:pt x="1499" y="923"/>
                  </a:cubicBezTo>
                  <a:cubicBezTo>
                    <a:pt x="1495" y="920"/>
                    <a:pt x="1495" y="920"/>
                    <a:pt x="1495" y="920"/>
                  </a:cubicBezTo>
                  <a:cubicBezTo>
                    <a:pt x="1482" y="921"/>
                    <a:pt x="1482" y="921"/>
                    <a:pt x="1482" y="921"/>
                  </a:cubicBezTo>
                  <a:cubicBezTo>
                    <a:pt x="1478" y="918"/>
                    <a:pt x="1478" y="918"/>
                    <a:pt x="1478" y="918"/>
                  </a:cubicBezTo>
                  <a:cubicBezTo>
                    <a:pt x="1469" y="923"/>
                    <a:pt x="1469" y="923"/>
                    <a:pt x="1469" y="923"/>
                  </a:cubicBezTo>
                  <a:cubicBezTo>
                    <a:pt x="1465" y="923"/>
                    <a:pt x="1465" y="923"/>
                    <a:pt x="1465" y="923"/>
                  </a:cubicBezTo>
                  <a:cubicBezTo>
                    <a:pt x="1460" y="919"/>
                    <a:pt x="1460" y="919"/>
                    <a:pt x="1460" y="919"/>
                  </a:cubicBezTo>
                  <a:cubicBezTo>
                    <a:pt x="1458" y="918"/>
                    <a:pt x="1458" y="918"/>
                    <a:pt x="1458" y="918"/>
                  </a:cubicBezTo>
                  <a:cubicBezTo>
                    <a:pt x="1454" y="915"/>
                    <a:pt x="1454" y="915"/>
                    <a:pt x="1454" y="915"/>
                  </a:cubicBezTo>
                  <a:cubicBezTo>
                    <a:pt x="1451" y="918"/>
                    <a:pt x="1451" y="918"/>
                    <a:pt x="1451" y="918"/>
                  </a:cubicBezTo>
                  <a:cubicBezTo>
                    <a:pt x="1448" y="918"/>
                    <a:pt x="1448" y="918"/>
                    <a:pt x="1448" y="918"/>
                  </a:cubicBezTo>
                  <a:cubicBezTo>
                    <a:pt x="1448" y="915"/>
                    <a:pt x="1448" y="915"/>
                    <a:pt x="1448" y="915"/>
                  </a:cubicBezTo>
                  <a:cubicBezTo>
                    <a:pt x="1445" y="913"/>
                    <a:pt x="1445" y="913"/>
                    <a:pt x="1445" y="913"/>
                  </a:cubicBezTo>
                  <a:cubicBezTo>
                    <a:pt x="1441" y="910"/>
                    <a:pt x="1441" y="910"/>
                    <a:pt x="1441" y="910"/>
                  </a:cubicBezTo>
                  <a:cubicBezTo>
                    <a:pt x="1430" y="910"/>
                    <a:pt x="1430" y="910"/>
                    <a:pt x="1430" y="910"/>
                  </a:cubicBezTo>
                  <a:cubicBezTo>
                    <a:pt x="1428" y="911"/>
                    <a:pt x="1428" y="911"/>
                    <a:pt x="1428" y="911"/>
                  </a:cubicBezTo>
                  <a:cubicBezTo>
                    <a:pt x="1423" y="912"/>
                    <a:pt x="1423" y="912"/>
                    <a:pt x="1423" y="912"/>
                  </a:cubicBezTo>
                  <a:cubicBezTo>
                    <a:pt x="1421" y="910"/>
                    <a:pt x="1421" y="910"/>
                    <a:pt x="1421" y="910"/>
                  </a:cubicBezTo>
                  <a:cubicBezTo>
                    <a:pt x="1414" y="908"/>
                    <a:pt x="1414" y="908"/>
                    <a:pt x="1414" y="908"/>
                  </a:cubicBezTo>
                  <a:cubicBezTo>
                    <a:pt x="1408" y="907"/>
                    <a:pt x="1408" y="907"/>
                    <a:pt x="1408" y="907"/>
                  </a:cubicBezTo>
                  <a:cubicBezTo>
                    <a:pt x="1405" y="905"/>
                    <a:pt x="1405" y="905"/>
                    <a:pt x="1405" y="905"/>
                  </a:cubicBezTo>
                  <a:cubicBezTo>
                    <a:pt x="1406" y="902"/>
                    <a:pt x="1406" y="902"/>
                    <a:pt x="1406" y="902"/>
                  </a:cubicBezTo>
                  <a:cubicBezTo>
                    <a:pt x="1404" y="897"/>
                    <a:pt x="1404" y="897"/>
                    <a:pt x="1404" y="897"/>
                  </a:cubicBezTo>
                  <a:cubicBezTo>
                    <a:pt x="1404" y="892"/>
                    <a:pt x="1404" y="892"/>
                    <a:pt x="1404" y="892"/>
                  </a:cubicBezTo>
                  <a:cubicBezTo>
                    <a:pt x="1398" y="890"/>
                    <a:pt x="1398" y="890"/>
                    <a:pt x="1398" y="890"/>
                  </a:cubicBezTo>
                  <a:cubicBezTo>
                    <a:pt x="1396" y="899"/>
                    <a:pt x="1396" y="899"/>
                    <a:pt x="1396" y="899"/>
                  </a:cubicBezTo>
                  <a:cubicBezTo>
                    <a:pt x="1358" y="902"/>
                    <a:pt x="1358" y="902"/>
                    <a:pt x="1358" y="902"/>
                  </a:cubicBezTo>
                  <a:cubicBezTo>
                    <a:pt x="1228" y="902"/>
                    <a:pt x="1228" y="902"/>
                    <a:pt x="1228" y="902"/>
                  </a:cubicBezTo>
                  <a:cubicBezTo>
                    <a:pt x="1113" y="902"/>
                    <a:pt x="1113" y="902"/>
                    <a:pt x="1113" y="902"/>
                  </a:cubicBezTo>
                  <a:cubicBezTo>
                    <a:pt x="1077" y="900"/>
                    <a:pt x="1077" y="900"/>
                    <a:pt x="1077" y="900"/>
                  </a:cubicBezTo>
                  <a:cubicBezTo>
                    <a:pt x="1005" y="900"/>
                    <a:pt x="1005" y="900"/>
                    <a:pt x="1005" y="900"/>
                  </a:cubicBezTo>
                  <a:cubicBezTo>
                    <a:pt x="987" y="900"/>
                    <a:pt x="987" y="900"/>
                    <a:pt x="987" y="900"/>
                  </a:cubicBezTo>
                  <a:cubicBezTo>
                    <a:pt x="933" y="898"/>
                    <a:pt x="933" y="898"/>
                    <a:pt x="933" y="898"/>
                  </a:cubicBezTo>
                  <a:cubicBezTo>
                    <a:pt x="884" y="897"/>
                    <a:pt x="884" y="897"/>
                    <a:pt x="884" y="897"/>
                  </a:cubicBezTo>
                  <a:cubicBezTo>
                    <a:pt x="884" y="903"/>
                    <a:pt x="884" y="903"/>
                    <a:pt x="884" y="903"/>
                  </a:cubicBezTo>
                  <a:cubicBezTo>
                    <a:pt x="887" y="903"/>
                    <a:pt x="887" y="903"/>
                    <a:pt x="887" y="903"/>
                  </a:cubicBezTo>
                  <a:cubicBezTo>
                    <a:pt x="887" y="909"/>
                    <a:pt x="887" y="909"/>
                    <a:pt x="887" y="909"/>
                  </a:cubicBezTo>
                  <a:cubicBezTo>
                    <a:pt x="883" y="912"/>
                    <a:pt x="883" y="912"/>
                    <a:pt x="883" y="912"/>
                  </a:cubicBezTo>
                  <a:cubicBezTo>
                    <a:pt x="887" y="924"/>
                    <a:pt x="887" y="924"/>
                    <a:pt x="887" y="924"/>
                  </a:cubicBezTo>
                  <a:cubicBezTo>
                    <a:pt x="882" y="931"/>
                    <a:pt x="882" y="931"/>
                    <a:pt x="882" y="931"/>
                  </a:cubicBezTo>
                  <a:cubicBezTo>
                    <a:pt x="880" y="935"/>
                    <a:pt x="880" y="935"/>
                    <a:pt x="880" y="935"/>
                  </a:cubicBezTo>
                  <a:cubicBezTo>
                    <a:pt x="880" y="939"/>
                    <a:pt x="880" y="939"/>
                    <a:pt x="880" y="939"/>
                  </a:cubicBezTo>
                  <a:cubicBezTo>
                    <a:pt x="875" y="941"/>
                    <a:pt x="875" y="941"/>
                    <a:pt x="875" y="941"/>
                  </a:cubicBezTo>
                  <a:cubicBezTo>
                    <a:pt x="875" y="934"/>
                    <a:pt x="875" y="934"/>
                    <a:pt x="875" y="934"/>
                  </a:cubicBezTo>
                  <a:cubicBezTo>
                    <a:pt x="879" y="927"/>
                    <a:pt x="879" y="927"/>
                    <a:pt x="879" y="927"/>
                  </a:cubicBezTo>
                  <a:cubicBezTo>
                    <a:pt x="879" y="920"/>
                    <a:pt x="879" y="920"/>
                    <a:pt x="879" y="920"/>
                  </a:cubicBezTo>
                  <a:cubicBezTo>
                    <a:pt x="873" y="920"/>
                    <a:pt x="873" y="920"/>
                    <a:pt x="873" y="920"/>
                  </a:cubicBezTo>
                  <a:cubicBezTo>
                    <a:pt x="863" y="918"/>
                    <a:pt x="863" y="918"/>
                    <a:pt x="863" y="918"/>
                  </a:cubicBezTo>
                  <a:cubicBezTo>
                    <a:pt x="845" y="912"/>
                    <a:pt x="845" y="912"/>
                    <a:pt x="845" y="912"/>
                  </a:cubicBezTo>
                  <a:cubicBezTo>
                    <a:pt x="842" y="921"/>
                    <a:pt x="842" y="921"/>
                    <a:pt x="842" y="921"/>
                  </a:cubicBezTo>
                  <a:cubicBezTo>
                    <a:pt x="844" y="928"/>
                    <a:pt x="844" y="928"/>
                    <a:pt x="844" y="928"/>
                  </a:cubicBezTo>
                  <a:cubicBezTo>
                    <a:pt x="843" y="934"/>
                    <a:pt x="843" y="934"/>
                    <a:pt x="843" y="934"/>
                  </a:cubicBezTo>
                  <a:cubicBezTo>
                    <a:pt x="843" y="948"/>
                    <a:pt x="843" y="948"/>
                    <a:pt x="843" y="948"/>
                  </a:cubicBezTo>
                  <a:cubicBezTo>
                    <a:pt x="847" y="949"/>
                    <a:pt x="847" y="949"/>
                    <a:pt x="847" y="949"/>
                  </a:cubicBezTo>
                  <a:cubicBezTo>
                    <a:pt x="843" y="952"/>
                    <a:pt x="843" y="952"/>
                    <a:pt x="843" y="952"/>
                  </a:cubicBezTo>
                  <a:cubicBezTo>
                    <a:pt x="843" y="955"/>
                    <a:pt x="843" y="955"/>
                    <a:pt x="843" y="955"/>
                  </a:cubicBezTo>
                  <a:cubicBezTo>
                    <a:pt x="845" y="957"/>
                    <a:pt x="845" y="957"/>
                    <a:pt x="845" y="957"/>
                  </a:cubicBezTo>
                  <a:cubicBezTo>
                    <a:pt x="843" y="961"/>
                    <a:pt x="843" y="961"/>
                    <a:pt x="843" y="961"/>
                  </a:cubicBezTo>
                  <a:cubicBezTo>
                    <a:pt x="840" y="961"/>
                    <a:pt x="840" y="961"/>
                    <a:pt x="840" y="961"/>
                  </a:cubicBezTo>
                  <a:cubicBezTo>
                    <a:pt x="839" y="966"/>
                    <a:pt x="839" y="966"/>
                    <a:pt x="839" y="966"/>
                  </a:cubicBezTo>
                  <a:cubicBezTo>
                    <a:pt x="844" y="968"/>
                    <a:pt x="844" y="968"/>
                    <a:pt x="844" y="968"/>
                  </a:cubicBezTo>
                  <a:cubicBezTo>
                    <a:pt x="839" y="971"/>
                    <a:pt x="839" y="971"/>
                    <a:pt x="839" y="971"/>
                  </a:cubicBezTo>
                  <a:cubicBezTo>
                    <a:pt x="831" y="995"/>
                    <a:pt x="831" y="995"/>
                    <a:pt x="831" y="995"/>
                  </a:cubicBezTo>
                  <a:cubicBezTo>
                    <a:pt x="829" y="1000"/>
                    <a:pt x="829" y="1000"/>
                    <a:pt x="829" y="1000"/>
                  </a:cubicBezTo>
                  <a:cubicBezTo>
                    <a:pt x="824" y="1007"/>
                    <a:pt x="824" y="1007"/>
                    <a:pt x="824" y="1007"/>
                  </a:cubicBezTo>
                  <a:cubicBezTo>
                    <a:pt x="821" y="1018"/>
                    <a:pt x="821" y="1018"/>
                    <a:pt x="821" y="1018"/>
                  </a:cubicBezTo>
                  <a:cubicBezTo>
                    <a:pt x="813" y="1034"/>
                    <a:pt x="813" y="1034"/>
                    <a:pt x="813" y="1034"/>
                  </a:cubicBezTo>
                  <a:cubicBezTo>
                    <a:pt x="806" y="1043"/>
                    <a:pt x="806" y="1043"/>
                    <a:pt x="806" y="1043"/>
                  </a:cubicBezTo>
                  <a:cubicBezTo>
                    <a:pt x="806" y="1047"/>
                    <a:pt x="806" y="1047"/>
                    <a:pt x="806" y="1047"/>
                  </a:cubicBezTo>
                  <a:cubicBezTo>
                    <a:pt x="799" y="1054"/>
                    <a:pt x="799" y="1054"/>
                    <a:pt x="799" y="1054"/>
                  </a:cubicBezTo>
                  <a:cubicBezTo>
                    <a:pt x="800" y="1058"/>
                    <a:pt x="800" y="1058"/>
                    <a:pt x="800" y="1058"/>
                  </a:cubicBezTo>
                  <a:cubicBezTo>
                    <a:pt x="800" y="1064"/>
                    <a:pt x="800" y="1064"/>
                    <a:pt x="800" y="1064"/>
                  </a:cubicBezTo>
                  <a:cubicBezTo>
                    <a:pt x="797" y="1070"/>
                    <a:pt x="797" y="1070"/>
                    <a:pt x="797" y="1070"/>
                  </a:cubicBezTo>
                  <a:cubicBezTo>
                    <a:pt x="799" y="1077"/>
                    <a:pt x="799" y="1077"/>
                    <a:pt x="799" y="1077"/>
                  </a:cubicBezTo>
                  <a:cubicBezTo>
                    <a:pt x="797" y="1081"/>
                    <a:pt x="797" y="1081"/>
                    <a:pt x="797" y="1081"/>
                  </a:cubicBezTo>
                  <a:cubicBezTo>
                    <a:pt x="798" y="1086"/>
                    <a:pt x="798" y="1086"/>
                    <a:pt x="798" y="1086"/>
                  </a:cubicBezTo>
                  <a:cubicBezTo>
                    <a:pt x="798" y="1091"/>
                    <a:pt x="798" y="1091"/>
                    <a:pt x="798" y="1091"/>
                  </a:cubicBezTo>
                  <a:cubicBezTo>
                    <a:pt x="794" y="1096"/>
                    <a:pt x="794" y="1096"/>
                    <a:pt x="794" y="1096"/>
                  </a:cubicBezTo>
                  <a:cubicBezTo>
                    <a:pt x="794" y="1100"/>
                    <a:pt x="794" y="1100"/>
                    <a:pt x="794" y="1100"/>
                  </a:cubicBezTo>
                  <a:cubicBezTo>
                    <a:pt x="782" y="1113"/>
                    <a:pt x="782" y="1113"/>
                    <a:pt x="782" y="1113"/>
                  </a:cubicBezTo>
                  <a:cubicBezTo>
                    <a:pt x="782" y="1118"/>
                    <a:pt x="782" y="1118"/>
                    <a:pt x="782" y="1118"/>
                  </a:cubicBezTo>
                  <a:cubicBezTo>
                    <a:pt x="783" y="1122"/>
                    <a:pt x="783" y="1122"/>
                    <a:pt x="783" y="1122"/>
                  </a:cubicBezTo>
                  <a:cubicBezTo>
                    <a:pt x="788" y="1130"/>
                    <a:pt x="788" y="1130"/>
                    <a:pt x="788" y="1130"/>
                  </a:cubicBezTo>
                  <a:cubicBezTo>
                    <a:pt x="788" y="1136"/>
                    <a:pt x="788" y="1136"/>
                    <a:pt x="788" y="1136"/>
                  </a:cubicBezTo>
                  <a:cubicBezTo>
                    <a:pt x="784" y="1142"/>
                    <a:pt x="784" y="1142"/>
                    <a:pt x="784" y="1142"/>
                  </a:cubicBezTo>
                  <a:cubicBezTo>
                    <a:pt x="785" y="1146"/>
                    <a:pt x="785" y="1146"/>
                    <a:pt x="785" y="1146"/>
                  </a:cubicBezTo>
                  <a:cubicBezTo>
                    <a:pt x="783" y="1150"/>
                    <a:pt x="783" y="1150"/>
                    <a:pt x="783" y="1150"/>
                  </a:cubicBezTo>
                  <a:cubicBezTo>
                    <a:pt x="788" y="1159"/>
                    <a:pt x="788" y="1159"/>
                    <a:pt x="788" y="1159"/>
                  </a:cubicBezTo>
                  <a:cubicBezTo>
                    <a:pt x="793" y="1162"/>
                    <a:pt x="793" y="1162"/>
                    <a:pt x="793" y="1162"/>
                  </a:cubicBezTo>
                  <a:cubicBezTo>
                    <a:pt x="793" y="1170"/>
                    <a:pt x="793" y="1170"/>
                    <a:pt x="793" y="1170"/>
                  </a:cubicBezTo>
                  <a:cubicBezTo>
                    <a:pt x="791" y="1172"/>
                    <a:pt x="791" y="1172"/>
                    <a:pt x="791" y="1172"/>
                  </a:cubicBezTo>
                  <a:cubicBezTo>
                    <a:pt x="797" y="1176"/>
                    <a:pt x="797" y="1176"/>
                    <a:pt x="797" y="1176"/>
                  </a:cubicBezTo>
                  <a:cubicBezTo>
                    <a:pt x="800" y="1176"/>
                    <a:pt x="800" y="1176"/>
                    <a:pt x="800" y="1176"/>
                  </a:cubicBezTo>
                  <a:cubicBezTo>
                    <a:pt x="804" y="1173"/>
                    <a:pt x="804" y="1173"/>
                    <a:pt x="804" y="1173"/>
                  </a:cubicBezTo>
                  <a:cubicBezTo>
                    <a:pt x="805" y="1177"/>
                    <a:pt x="805" y="1177"/>
                    <a:pt x="805" y="1177"/>
                  </a:cubicBezTo>
                  <a:cubicBezTo>
                    <a:pt x="806" y="1182"/>
                    <a:pt x="806" y="1182"/>
                    <a:pt x="806" y="1182"/>
                  </a:cubicBezTo>
                  <a:cubicBezTo>
                    <a:pt x="805" y="1185"/>
                    <a:pt x="805" y="1185"/>
                    <a:pt x="805" y="1185"/>
                  </a:cubicBezTo>
                  <a:cubicBezTo>
                    <a:pt x="802" y="1183"/>
                    <a:pt x="802" y="1183"/>
                    <a:pt x="802" y="1183"/>
                  </a:cubicBezTo>
                  <a:cubicBezTo>
                    <a:pt x="800" y="1179"/>
                    <a:pt x="800" y="1179"/>
                    <a:pt x="800" y="1179"/>
                  </a:cubicBezTo>
                  <a:cubicBezTo>
                    <a:pt x="798" y="1183"/>
                    <a:pt x="798" y="1183"/>
                    <a:pt x="798" y="1183"/>
                  </a:cubicBezTo>
                  <a:cubicBezTo>
                    <a:pt x="797" y="1194"/>
                    <a:pt x="797" y="1194"/>
                    <a:pt x="797" y="1194"/>
                  </a:cubicBezTo>
                  <a:cubicBezTo>
                    <a:pt x="799" y="1198"/>
                    <a:pt x="799" y="1198"/>
                    <a:pt x="799" y="1198"/>
                  </a:cubicBezTo>
                  <a:cubicBezTo>
                    <a:pt x="806" y="1199"/>
                    <a:pt x="806" y="1199"/>
                    <a:pt x="806" y="1199"/>
                  </a:cubicBezTo>
                  <a:cubicBezTo>
                    <a:pt x="807" y="1200"/>
                    <a:pt x="807" y="1200"/>
                    <a:pt x="807" y="1200"/>
                  </a:cubicBezTo>
                  <a:cubicBezTo>
                    <a:pt x="807" y="1205"/>
                    <a:pt x="807" y="1205"/>
                    <a:pt x="807" y="1205"/>
                  </a:cubicBezTo>
                  <a:cubicBezTo>
                    <a:pt x="803" y="1208"/>
                    <a:pt x="803" y="1208"/>
                    <a:pt x="803" y="1208"/>
                  </a:cubicBezTo>
                  <a:cubicBezTo>
                    <a:pt x="802" y="1213"/>
                    <a:pt x="802" y="1213"/>
                    <a:pt x="802" y="1213"/>
                  </a:cubicBezTo>
                  <a:cubicBezTo>
                    <a:pt x="806" y="1219"/>
                    <a:pt x="806" y="1219"/>
                    <a:pt x="806" y="1219"/>
                  </a:cubicBezTo>
                  <a:cubicBezTo>
                    <a:pt x="807" y="1223"/>
                    <a:pt x="807" y="1223"/>
                    <a:pt x="807" y="1223"/>
                  </a:cubicBezTo>
                  <a:cubicBezTo>
                    <a:pt x="815" y="1235"/>
                    <a:pt x="815" y="1235"/>
                    <a:pt x="815" y="1235"/>
                  </a:cubicBezTo>
                  <a:cubicBezTo>
                    <a:pt x="818" y="1236"/>
                    <a:pt x="818" y="1236"/>
                    <a:pt x="818" y="1236"/>
                  </a:cubicBezTo>
                  <a:cubicBezTo>
                    <a:pt x="816" y="1240"/>
                    <a:pt x="816" y="1240"/>
                    <a:pt x="816" y="1240"/>
                  </a:cubicBezTo>
                  <a:cubicBezTo>
                    <a:pt x="817" y="1243"/>
                    <a:pt x="817" y="1243"/>
                    <a:pt x="817" y="1243"/>
                  </a:cubicBezTo>
                  <a:cubicBezTo>
                    <a:pt x="819" y="1243"/>
                    <a:pt x="819" y="1243"/>
                    <a:pt x="819" y="1243"/>
                  </a:cubicBezTo>
                  <a:cubicBezTo>
                    <a:pt x="820" y="1246"/>
                    <a:pt x="820" y="1246"/>
                    <a:pt x="820" y="1246"/>
                  </a:cubicBezTo>
                  <a:cubicBezTo>
                    <a:pt x="818" y="1252"/>
                    <a:pt x="818" y="1252"/>
                    <a:pt x="818" y="1252"/>
                  </a:cubicBezTo>
                  <a:cubicBezTo>
                    <a:pt x="816" y="1255"/>
                    <a:pt x="816" y="1255"/>
                    <a:pt x="816" y="1255"/>
                  </a:cubicBezTo>
                  <a:cubicBezTo>
                    <a:pt x="816" y="1258"/>
                    <a:pt x="816" y="1258"/>
                    <a:pt x="816" y="1258"/>
                  </a:cubicBezTo>
                  <a:cubicBezTo>
                    <a:pt x="820" y="1260"/>
                    <a:pt x="820" y="1260"/>
                    <a:pt x="820" y="1260"/>
                  </a:cubicBezTo>
                  <a:cubicBezTo>
                    <a:pt x="828" y="1261"/>
                    <a:pt x="828" y="1261"/>
                    <a:pt x="828" y="1261"/>
                  </a:cubicBezTo>
                  <a:cubicBezTo>
                    <a:pt x="834" y="1263"/>
                    <a:pt x="834" y="1263"/>
                    <a:pt x="834" y="1263"/>
                  </a:cubicBezTo>
                  <a:cubicBezTo>
                    <a:pt x="838" y="1263"/>
                    <a:pt x="838" y="1263"/>
                    <a:pt x="838" y="1263"/>
                  </a:cubicBezTo>
                  <a:cubicBezTo>
                    <a:pt x="843" y="1264"/>
                    <a:pt x="843" y="1264"/>
                    <a:pt x="843" y="1264"/>
                  </a:cubicBezTo>
                  <a:cubicBezTo>
                    <a:pt x="846" y="1269"/>
                    <a:pt x="846" y="1269"/>
                    <a:pt x="846" y="1269"/>
                  </a:cubicBezTo>
                  <a:cubicBezTo>
                    <a:pt x="851" y="1273"/>
                    <a:pt x="851" y="1273"/>
                    <a:pt x="851" y="1273"/>
                  </a:cubicBezTo>
                  <a:cubicBezTo>
                    <a:pt x="858" y="1273"/>
                    <a:pt x="858" y="1273"/>
                    <a:pt x="858" y="1273"/>
                  </a:cubicBezTo>
                  <a:cubicBezTo>
                    <a:pt x="860" y="1276"/>
                    <a:pt x="860" y="1276"/>
                    <a:pt x="860" y="1276"/>
                  </a:cubicBezTo>
                  <a:cubicBezTo>
                    <a:pt x="861" y="1281"/>
                    <a:pt x="861" y="1281"/>
                    <a:pt x="861" y="1281"/>
                  </a:cubicBezTo>
                  <a:cubicBezTo>
                    <a:pt x="862" y="1283"/>
                    <a:pt x="862" y="1283"/>
                    <a:pt x="862" y="1283"/>
                  </a:cubicBezTo>
                  <a:cubicBezTo>
                    <a:pt x="865" y="1282"/>
                    <a:pt x="865" y="1282"/>
                    <a:pt x="865" y="1282"/>
                  </a:cubicBezTo>
                  <a:cubicBezTo>
                    <a:pt x="872" y="1288"/>
                    <a:pt x="872" y="1288"/>
                    <a:pt x="872" y="1288"/>
                  </a:cubicBezTo>
                  <a:cubicBezTo>
                    <a:pt x="881" y="1299"/>
                    <a:pt x="881" y="1299"/>
                    <a:pt x="881" y="1299"/>
                  </a:cubicBezTo>
                  <a:cubicBezTo>
                    <a:pt x="881" y="1308"/>
                    <a:pt x="881" y="1308"/>
                    <a:pt x="881" y="1308"/>
                  </a:cubicBezTo>
                  <a:cubicBezTo>
                    <a:pt x="882" y="1310"/>
                    <a:pt x="882" y="1310"/>
                    <a:pt x="882" y="1310"/>
                  </a:cubicBezTo>
                  <a:cubicBezTo>
                    <a:pt x="881" y="1313"/>
                    <a:pt x="881" y="1313"/>
                    <a:pt x="881" y="1313"/>
                  </a:cubicBezTo>
                  <a:cubicBezTo>
                    <a:pt x="883" y="1315"/>
                    <a:pt x="883" y="1315"/>
                    <a:pt x="883" y="1315"/>
                  </a:cubicBezTo>
                  <a:cubicBezTo>
                    <a:pt x="937" y="1317"/>
                    <a:pt x="937" y="1317"/>
                    <a:pt x="937" y="1317"/>
                  </a:cubicBezTo>
                  <a:cubicBezTo>
                    <a:pt x="936" y="1321"/>
                    <a:pt x="936" y="1321"/>
                    <a:pt x="936" y="1321"/>
                  </a:cubicBezTo>
                  <a:cubicBezTo>
                    <a:pt x="1017" y="1362"/>
                    <a:pt x="1017" y="1362"/>
                    <a:pt x="1017" y="1362"/>
                  </a:cubicBezTo>
                  <a:cubicBezTo>
                    <a:pt x="1065" y="1368"/>
                    <a:pt x="1065" y="1368"/>
                    <a:pt x="1065" y="1368"/>
                  </a:cubicBezTo>
                  <a:cubicBezTo>
                    <a:pt x="1085" y="1369"/>
                    <a:pt x="1085" y="1369"/>
                    <a:pt x="1085" y="1369"/>
                  </a:cubicBezTo>
                  <a:cubicBezTo>
                    <a:pt x="1088" y="1358"/>
                    <a:pt x="1088" y="1358"/>
                    <a:pt x="1088" y="1358"/>
                  </a:cubicBezTo>
                  <a:cubicBezTo>
                    <a:pt x="1125" y="1362"/>
                    <a:pt x="1125" y="1362"/>
                    <a:pt x="1125" y="1362"/>
                  </a:cubicBezTo>
                  <a:cubicBezTo>
                    <a:pt x="1129" y="1363"/>
                    <a:pt x="1129" y="1363"/>
                    <a:pt x="1129" y="1363"/>
                  </a:cubicBezTo>
                  <a:cubicBezTo>
                    <a:pt x="1133" y="1370"/>
                    <a:pt x="1133" y="1370"/>
                    <a:pt x="1133" y="1370"/>
                  </a:cubicBezTo>
                  <a:cubicBezTo>
                    <a:pt x="1137" y="1373"/>
                    <a:pt x="1137" y="1373"/>
                    <a:pt x="1137" y="1373"/>
                  </a:cubicBezTo>
                  <a:cubicBezTo>
                    <a:pt x="1151" y="1388"/>
                    <a:pt x="1151" y="1388"/>
                    <a:pt x="1151" y="1388"/>
                  </a:cubicBezTo>
                  <a:cubicBezTo>
                    <a:pt x="1164" y="1398"/>
                    <a:pt x="1164" y="1398"/>
                    <a:pt x="1164" y="1398"/>
                  </a:cubicBezTo>
                  <a:cubicBezTo>
                    <a:pt x="1164" y="1403"/>
                    <a:pt x="1164" y="1403"/>
                    <a:pt x="1164" y="1403"/>
                  </a:cubicBezTo>
                  <a:cubicBezTo>
                    <a:pt x="1167" y="1407"/>
                    <a:pt x="1167" y="1407"/>
                    <a:pt x="1167" y="1407"/>
                  </a:cubicBezTo>
                  <a:cubicBezTo>
                    <a:pt x="1167" y="1417"/>
                    <a:pt x="1167" y="1417"/>
                    <a:pt x="1167" y="1417"/>
                  </a:cubicBezTo>
                  <a:cubicBezTo>
                    <a:pt x="1171" y="1424"/>
                    <a:pt x="1171" y="1424"/>
                    <a:pt x="1171" y="1424"/>
                  </a:cubicBezTo>
                  <a:cubicBezTo>
                    <a:pt x="1190" y="1430"/>
                    <a:pt x="1190" y="1430"/>
                    <a:pt x="1190" y="1430"/>
                  </a:cubicBezTo>
                  <a:cubicBezTo>
                    <a:pt x="1192" y="1429"/>
                    <a:pt x="1192" y="1429"/>
                    <a:pt x="1192" y="1429"/>
                  </a:cubicBezTo>
                  <a:cubicBezTo>
                    <a:pt x="1199" y="1415"/>
                    <a:pt x="1199" y="1415"/>
                    <a:pt x="1199" y="1415"/>
                  </a:cubicBezTo>
                  <a:cubicBezTo>
                    <a:pt x="1202" y="1414"/>
                    <a:pt x="1202" y="1414"/>
                    <a:pt x="1202" y="1414"/>
                  </a:cubicBezTo>
                  <a:cubicBezTo>
                    <a:pt x="1206" y="1416"/>
                    <a:pt x="1206" y="1416"/>
                    <a:pt x="1206" y="1416"/>
                  </a:cubicBezTo>
                  <a:cubicBezTo>
                    <a:pt x="1208" y="1412"/>
                    <a:pt x="1208" y="1412"/>
                    <a:pt x="1208" y="1412"/>
                  </a:cubicBezTo>
                  <a:cubicBezTo>
                    <a:pt x="1213" y="1414"/>
                    <a:pt x="1213" y="1414"/>
                    <a:pt x="1213" y="1414"/>
                  </a:cubicBezTo>
                  <a:cubicBezTo>
                    <a:pt x="1219" y="1415"/>
                    <a:pt x="1219" y="1415"/>
                    <a:pt x="1219" y="1415"/>
                  </a:cubicBezTo>
                  <a:cubicBezTo>
                    <a:pt x="1223" y="1417"/>
                    <a:pt x="1223" y="1417"/>
                    <a:pt x="1223" y="1417"/>
                  </a:cubicBezTo>
                  <a:cubicBezTo>
                    <a:pt x="1226" y="1416"/>
                    <a:pt x="1226" y="1416"/>
                    <a:pt x="1226" y="1416"/>
                  </a:cubicBezTo>
                  <a:cubicBezTo>
                    <a:pt x="1232" y="1419"/>
                    <a:pt x="1232" y="1419"/>
                    <a:pt x="1232" y="1419"/>
                  </a:cubicBezTo>
                  <a:cubicBezTo>
                    <a:pt x="1234" y="1423"/>
                    <a:pt x="1234" y="1423"/>
                    <a:pt x="1234" y="1423"/>
                  </a:cubicBezTo>
                  <a:cubicBezTo>
                    <a:pt x="1236" y="1424"/>
                    <a:pt x="1236" y="1424"/>
                    <a:pt x="1236" y="1424"/>
                  </a:cubicBezTo>
                  <a:cubicBezTo>
                    <a:pt x="1246" y="1433"/>
                    <a:pt x="1246" y="1433"/>
                    <a:pt x="1246" y="1433"/>
                  </a:cubicBezTo>
                  <a:cubicBezTo>
                    <a:pt x="1248" y="1450"/>
                    <a:pt x="1248" y="1450"/>
                    <a:pt x="1248" y="1450"/>
                  </a:cubicBezTo>
                  <a:cubicBezTo>
                    <a:pt x="1256" y="1460"/>
                    <a:pt x="1256" y="1460"/>
                    <a:pt x="1256" y="1460"/>
                  </a:cubicBezTo>
                  <a:cubicBezTo>
                    <a:pt x="1267" y="1469"/>
                    <a:pt x="1267" y="1469"/>
                    <a:pt x="1267" y="1469"/>
                  </a:cubicBezTo>
                  <a:cubicBezTo>
                    <a:pt x="1267" y="1477"/>
                    <a:pt x="1267" y="1477"/>
                    <a:pt x="1267" y="1477"/>
                  </a:cubicBezTo>
                  <a:cubicBezTo>
                    <a:pt x="1269" y="1485"/>
                    <a:pt x="1269" y="1485"/>
                    <a:pt x="1269" y="1485"/>
                  </a:cubicBezTo>
                  <a:cubicBezTo>
                    <a:pt x="1272" y="1492"/>
                    <a:pt x="1272" y="1492"/>
                    <a:pt x="1272" y="1492"/>
                  </a:cubicBezTo>
                  <a:cubicBezTo>
                    <a:pt x="1273" y="1496"/>
                    <a:pt x="1273" y="1496"/>
                    <a:pt x="1273" y="1496"/>
                  </a:cubicBezTo>
                  <a:cubicBezTo>
                    <a:pt x="1276" y="1497"/>
                    <a:pt x="1276" y="1497"/>
                    <a:pt x="1276" y="1497"/>
                  </a:cubicBezTo>
                  <a:cubicBezTo>
                    <a:pt x="1281" y="1500"/>
                    <a:pt x="1281" y="1500"/>
                    <a:pt x="1281" y="1500"/>
                  </a:cubicBezTo>
                  <a:cubicBezTo>
                    <a:pt x="1290" y="1506"/>
                    <a:pt x="1290" y="1506"/>
                    <a:pt x="1290" y="1506"/>
                  </a:cubicBezTo>
                  <a:cubicBezTo>
                    <a:pt x="1298" y="1507"/>
                    <a:pt x="1298" y="1507"/>
                    <a:pt x="1298" y="1507"/>
                  </a:cubicBezTo>
                  <a:cubicBezTo>
                    <a:pt x="1306" y="1512"/>
                    <a:pt x="1306" y="1512"/>
                    <a:pt x="1306" y="1512"/>
                  </a:cubicBezTo>
                  <a:cubicBezTo>
                    <a:pt x="1309" y="1509"/>
                    <a:pt x="1309" y="1509"/>
                    <a:pt x="1309" y="1509"/>
                  </a:cubicBezTo>
                  <a:cubicBezTo>
                    <a:pt x="1312" y="1509"/>
                    <a:pt x="1312" y="1509"/>
                    <a:pt x="1312" y="1509"/>
                  </a:cubicBezTo>
                  <a:cubicBezTo>
                    <a:pt x="1314" y="1507"/>
                    <a:pt x="1314" y="1507"/>
                    <a:pt x="1314" y="1507"/>
                  </a:cubicBezTo>
                  <a:cubicBezTo>
                    <a:pt x="1309" y="1502"/>
                    <a:pt x="1309" y="1502"/>
                    <a:pt x="1309" y="1502"/>
                  </a:cubicBezTo>
                  <a:cubicBezTo>
                    <a:pt x="1312" y="1481"/>
                    <a:pt x="1312" y="1481"/>
                    <a:pt x="1312" y="1481"/>
                  </a:cubicBezTo>
                  <a:cubicBezTo>
                    <a:pt x="1315" y="1474"/>
                    <a:pt x="1315" y="1474"/>
                    <a:pt x="1315" y="1474"/>
                  </a:cubicBezTo>
                  <a:cubicBezTo>
                    <a:pt x="1313" y="1469"/>
                    <a:pt x="1313" y="1469"/>
                    <a:pt x="1313" y="1469"/>
                  </a:cubicBezTo>
                  <a:cubicBezTo>
                    <a:pt x="1316" y="1467"/>
                    <a:pt x="1316" y="1467"/>
                    <a:pt x="1316" y="1467"/>
                  </a:cubicBezTo>
                  <a:cubicBezTo>
                    <a:pt x="1318" y="1461"/>
                    <a:pt x="1318" y="1461"/>
                    <a:pt x="1318" y="1461"/>
                  </a:cubicBezTo>
                  <a:cubicBezTo>
                    <a:pt x="1317" y="1455"/>
                    <a:pt x="1317" y="1455"/>
                    <a:pt x="1317" y="1455"/>
                  </a:cubicBezTo>
                  <a:cubicBezTo>
                    <a:pt x="1321" y="1455"/>
                    <a:pt x="1321" y="1455"/>
                    <a:pt x="1321" y="1455"/>
                  </a:cubicBezTo>
                  <a:cubicBezTo>
                    <a:pt x="1325" y="1451"/>
                    <a:pt x="1325" y="1451"/>
                    <a:pt x="1325" y="1451"/>
                  </a:cubicBezTo>
                  <a:cubicBezTo>
                    <a:pt x="1324" y="1445"/>
                    <a:pt x="1324" y="1445"/>
                    <a:pt x="1324" y="1445"/>
                  </a:cubicBezTo>
                  <a:cubicBezTo>
                    <a:pt x="1331" y="1446"/>
                    <a:pt x="1331" y="1446"/>
                    <a:pt x="1331" y="1446"/>
                  </a:cubicBezTo>
                  <a:cubicBezTo>
                    <a:pt x="1333" y="1441"/>
                    <a:pt x="1333" y="1441"/>
                    <a:pt x="1333" y="1441"/>
                  </a:cubicBezTo>
                  <a:cubicBezTo>
                    <a:pt x="1341" y="1440"/>
                    <a:pt x="1341" y="1440"/>
                    <a:pt x="1341" y="1440"/>
                  </a:cubicBezTo>
                  <a:cubicBezTo>
                    <a:pt x="1338" y="1437"/>
                    <a:pt x="1338" y="1437"/>
                    <a:pt x="1338" y="1437"/>
                  </a:cubicBezTo>
                  <a:cubicBezTo>
                    <a:pt x="1342" y="1434"/>
                    <a:pt x="1342" y="1434"/>
                    <a:pt x="1342" y="1434"/>
                  </a:cubicBezTo>
                  <a:cubicBezTo>
                    <a:pt x="1345" y="1433"/>
                    <a:pt x="1345" y="1433"/>
                    <a:pt x="1345" y="1433"/>
                  </a:cubicBezTo>
                  <a:cubicBezTo>
                    <a:pt x="1346" y="1435"/>
                    <a:pt x="1346" y="1435"/>
                    <a:pt x="1346" y="1435"/>
                  </a:cubicBezTo>
                  <a:cubicBezTo>
                    <a:pt x="1370" y="1424"/>
                    <a:pt x="1370" y="1424"/>
                    <a:pt x="1370" y="1424"/>
                  </a:cubicBezTo>
                  <a:cubicBezTo>
                    <a:pt x="1371" y="1420"/>
                    <a:pt x="1371" y="1420"/>
                    <a:pt x="1371" y="1420"/>
                  </a:cubicBezTo>
                  <a:cubicBezTo>
                    <a:pt x="1382" y="1422"/>
                    <a:pt x="1382" y="1422"/>
                    <a:pt x="1382" y="1422"/>
                  </a:cubicBezTo>
                  <a:cubicBezTo>
                    <a:pt x="1380" y="1418"/>
                    <a:pt x="1380" y="1418"/>
                    <a:pt x="1380" y="1418"/>
                  </a:cubicBezTo>
                  <a:cubicBezTo>
                    <a:pt x="1380" y="1416"/>
                    <a:pt x="1380" y="1416"/>
                    <a:pt x="1380" y="1416"/>
                  </a:cubicBezTo>
                  <a:cubicBezTo>
                    <a:pt x="1385" y="1414"/>
                    <a:pt x="1385" y="1414"/>
                    <a:pt x="1385" y="1414"/>
                  </a:cubicBezTo>
                  <a:cubicBezTo>
                    <a:pt x="1386" y="1416"/>
                    <a:pt x="1386" y="1416"/>
                    <a:pt x="1386" y="1416"/>
                  </a:cubicBezTo>
                  <a:cubicBezTo>
                    <a:pt x="1391" y="1418"/>
                    <a:pt x="1391" y="1418"/>
                    <a:pt x="1391" y="1418"/>
                  </a:cubicBezTo>
                  <a:cubicBezTo>
                    <a:pt x="1423" y="1431"/>
                    <a:pt x="1423" y="1431"/>
                    <a:pt x="1423" y="1431"/>
                  </a:cubicBezTo>
                  <a:cubicBezTo>
                    <a:pt x="1430" y="1429"/>
                    <a:pt x="1430" y="1429"/>
                    <a:pt x="1430" y="1429"/>
                  </a:cubicBezTo>
                  <a:cubicBezTo>
                    <a:pt x="1439" y="1428"/>
                    <a:pt x="1439" y="1428"/>
                    <a:pt x="1439" y="1428"/>
                  </a:cubicBezTo>
                  <a:cubicBezTo>
                    <a:pt x="1447" y="1427"/>
                    <a:pt x="1447" y="1427"/>
                    <a:pt x="1447" y="1427"/>
                  </a:cubicBezTo>
                  <a:cubicBezTo>
                    <a:pt x="1452" y="1428"/>
                    <a:pt x="1452" y="1428"/>
                    <a:pt x="1452" y="1428"/>
                  </a:cubicBezTo>
                  <a:cubicBezTo>
                    <a:pt x="1465" y="1431"/>
                    <a:pt x="1465" y="1431"/>
                    <a:pt x="1465" y="1431"/>
                  </a:cubicBezTo>
                  <a:cubicBezTo>
                    <a:pt x="1474" y="1431"/>
                    <a:pt x="1474" y="1431"/>
                    <a:pt x="1474" y="1431"/>
                  </a:cubicBezTo>
                  <a:cubicBezTo>
                    <a:pt x="1474" y="1428"/>
                    <a:pt x="1474" y="1428"/>
                    <a:pt x="1474" y="1428"/>
                  </a:cubicBezTo>
                  <a:cubicBezTo>
                    <a:pt x="1479" y="1424"/>
                    <a:pt x="1479" y="1424"/>
                    <a:pt x="1479" y="1424"/>
                  </a:cubicBezTo>
                  <a:cubicBezTo>
                    <a:pt x="1481" y="1426"/>
                    <a:pt x="1481" y="1426"/>
                    <a:pt x="1481" y="1426"/>
                  </a:cubicBezTo>
                  <a:cubicBezTo>
                    <a:pt x="1485" y="1426"/>
                    <a:pt x="1485" y="1426"/>
                    <a:pt x="1485" y="1426"/>
                  </a:cubicBezTo>
                  <a:cubicBezTo>
                    <a:pt x="1490" y="1431"/>
                    <a:pt x="1490" y="1431"/>
                    <a:pt x="1490" y="1431"/>
                  </a:cubicBezTo>
                  <a:cubicBezTo>
                    <a:pt x="1496" y="1433"/>
                    <a:pt x="1496" y="1433"/>
                    <a:pt x="1496" y="1433"/>
                  </a:cubicBezTo>
                  <a:cubicBezTo>
                    <a:pt x="1500" y="1439"/>
                    <a:pt x="1500" y="1439"/>
                    <a:pt x="1500" y="1439"/>
                  </a:cubicBezTo>
                  <a:cubicBezTo>
                    <a:pt x="1505" y="1440"/>
                    <a:pt x="1505" y="1440"/>
                    <a:pt x="1505" y="1440"/>
                  </a:cubicBezTo>
                  <a:cubicBezTo>
                    <a:pt x="1507" y="1443"/>
                    <a:pt x="1507" y="1443"/>
                    <a:pt x="1507" y="1443"/>
                  </a:cubicBezTo>
                  <a:cubicBezTo>
                    <a:pt x="1510" y="1441"/>
                    <a:pt x="1510" y="1441"/>
                    <a:pt x="1510" y="1441"/>
                  </a:cubicBezTo>
                  <a:cubicBezTo>
                    <a:pt x="1514" y="1438"/>
                    <a:pt x="1514" y="1438"/>
                    <a:pt x="1514" y="1438"/>
                  </a:cubicBezTo>
                  <a:cubicBezTo>
                    <a:pt x="1518" y="1438"/>
                    <a:pt x="1518" y="1438"/>
                    <a:pt x="1518" y="1438"/>
                  </a:cubicBezTo>
                  <a:cubicBezTo>
                    <a:pt x="1522" y="1442"/>
                    <a:pt x="1522" y="1442"/>
                    <a:pt x="1522" y="1442"/>
                  </a:cubicBezTo>
                  <a:cubicBezTo>
                    <a:pt x="1526" y="1439"/>
                    <a:pt x="1526" y="1439"/>
                    <a:pt x="1526" y="1439"/>
                  </a:cubicBezTo>
                  <a:cubicBezTo>
                    <a:pt x="1526" y="1436"/>
                    <a:pt x="1526" y="1436"/>
                    <a:pt x="1526" y="1436"/>
                  </a:cubicBezTo>
                  <a:cubicBezTo>
                    <a:pt x="1527" y="1433"/>
                    <a:pt x="1527" y="1433"/>
                    <a:pt x="1527" y="1433"/>
                  </a:cubicBezTo>
                  <a:cubicBezTo>
                    <a:pt x="1530" y="1432"/>
                    <a:pt x="1530" y="1432"/>
                    <a:pt x="1530" y="1432"/>
                  </a:cubicBezTo>
                  <a:cubicBezTo>
                    <a:pt x="1531" y="1435"/>
                    <a:pt x="1531" y="1435"/>
                    <a:pt x="1531" y="1435"/>
                  </a:cubicBezTo>
                  <a:cubicBezTo>
                    <a:pt x="1542" y="1440"/>
                    <a:pt x="1542" y="1440"/>
                    <a:pt x="1542" y="1440"/>
                  </a:cubicBezTo>
                  <a:cubicBezTo>
                    <a:pt x="1542" y="1444"/>
                    <a:pt x="1542" y="1444"/>
                    <a:pt x="1542" y="1444"/>
                  </a:cubicBezTo>
                  <a:cubicBezTo>
                    <a:pt x="1550" y="1441"/>
                    <a:pt x="1550" y="1441"/>
                    <a:pt x="1550" y="1441"/>
                  </a:cubicBezTo>
                  <a:cubicBezTo>
                    <a:pt x="1551" y="1438"/>
                    <a:pt x="1551" y="1438"/>
                    <a:pt x="1551" y="1438"/>
                  </a:cubicBezTo>
                  <a:cubicBezTo>
                    <a:pt x="1536" y="1432"/>
                    <a:pt x="1536" y="1432"/>
                    <a:pt x="1536" y="1432"/>
                  </a:cubicBezTo>
                  <a:cubicBezTo>
                    <a:pt x="1537" y="1427"/>
                    <a:pt x="1537" y="1427"/>
                    <a:pt x="1537" y="1427"/>
                  </a:cubicBezTo>
                  <a:cubicBezTo>
                    <a:pt x="1545" y="1420"/>
                    <a:pt x="1545" y="1420"/>
                    <a:pt x="1545" y="1420"/>
                  </a:cubicBezTo>
                  <a:cubicBezTo>
                    <a:pt x="1545" y="1414"/>
                    <a:pt x="1545" y="1414"/>
                    <a:pt x="1545" y="1414"/>
                  </a:cubicBezTo>
                  <a:cubicBezTo>
                    <a:pt x="1544" y="1413"/>
                    <a:pt x="1544" y="1413"/>
                    <a:pt x="1544" y="1413"/>
                  </a:cubicBezTo>
                  <a:cubicBezTo>
                    <a:pt x="1538" y="1416"/>
                    <a:pt x="1538" y="1416"/>
                    <a:pt x="1538" y="1416"/>
                  </a:cubicBezTo>
                  <a:cubicBezTo>
                    <a:pt x="1536" y="1417"/>
                    <a:pt x="1536" y="1417"/>
                    <a:pt x="1536" y="1417"/>
                  </a:cubicBezTo>
                  <a:cubicBezTo>
                    <a:pt x="1534" y="1420"/>
                    <a:pt x="1534" y="1420"/>
                    <a:pt x="1534" y="1420"/>
                  </a:cubicBezTo>
                  <a:cubicBezTo>
                    <a:pt x="1532" y="1419"/>
                    <a:pt x="1532" y="1419"/>
                    <a:pt x="1532" y="1419"/>
                  </a:cubicBezTo>
                  <a:cubicBezTo>
                    <a:pt x="1531" y="1417"/>
                    <a:pt x="1531" y="1417"/>
                    <a:pt x="1531" y="1417"/>
                  </a:cubicBezTo>
                  <a:cubicBezTo>
                    <a:pt x="1533" y="1414"/>
                    <a:pt x="1533" y="1414"/>
                    <a:pt x="1533" y="1414"/>
                  </a:cubicBezTo>
                  <a:cubicBezTo>
                    <a:pt x="1528" y="1414"/>
                    <a:pt x="1528" y="1414"/>
                    <a:pt x="1528" y="1414"/>
                  </a:cubicBezTo>
                  <a:cubicBezTo>
                    <a:pt x="1524" y="1416"/>
                    <a:pt x="1524" y="1416"/>
                    <a:pt x="1524" y="1416"/>
                  </a:cubicBezTo>
                  <a:cubicBezTo>
                    <a:pt x="1520" y="1417"/>
                    <a:pt x="1520" y="1417"/>
                    <a:pt x="1520" y="1417"/>
                  </a:cubicBezTo>
                  <a:cubicBezTo>
                    <a:pt x="1516" y="1415"/>
                    <a:pt x="1516" y="1415"/>
                    <a:pt x="1516" y="1415"/>
                  </a:cubicBezTo>
                  <a:cubicBezTo>
                    <a:pt x="1516" y="1413"/>
                    <a:pt x="1516" y="1413"/>
                    <a:pt x="1516" y="1413"/>
                  </a:cubicBezTo>
                  <a:cubicBezTo>
                    <a:pt x="1518" y="1409"/>
                    <a:pt x="1518" y="1409"/>
                    <a:pt x="1518" y="1409"/>
                  </a:cubicBezTo>
                  <a:cubicBezTo>
                    <a:pt x="1522" y="1408"/>
                    <a:pt x="1522" y="1408"/>
                    <a:pt x="1522" y="1408"/>
                  </a:cubicBezTo>
                  <a:cubicBezTo>
                    <a:pt x="1529" y="1411"/>
                    <a:pt x="1529" y="1411"/>
                    <a:pt x="1529" y="1411"/>
                  </a:cubicBezTo>
                  <a:cubicBezTo>
                    <a:pt x="1535" y="1411"/>
                    <a:pt x="1535" y="1411"/>
                    <a:pt x="1535" y="1411"/>
                  </a:cubicBezTo>
                  <a:cubicBezTo>
                    <a:pt x="1539" y="1411"/>
                    <a:pt x="1539" y="1411"/>
                    <a:pt x="1539" y="1411"/>
                  </a:cubicBezTo>
                  <a:cubicBezTo>
                    <a:pt x="1542" y="1408"/>
                    <a:pt x="1542" y="1408"/>
                    <a:pt x="1542" y="1408"/>
                  </a:cubicBezTo>
                  <a:cubicBezTo>
                    <a:pt x="1547" y="1407"/>
                    <a:pt x="1547" y="1407"/>
                    <a:pt x="1547" y="1407"/>
                  </a:cubicBezTo>
                  <a:cubicBezTo>
                    <a:pt x="1554" y="1406"/>
                    <a:pt x="1554" y="1406"/>
                    <a:pt x="1554" y="1406"/>
                  </a:cubicBezTo>
                  <a:cubicBezTo>
                    <a:pt x="1557" y="1407"/>
                    <a:pt x="1557" y="1407"/>
                    <a:pt x="1557" y="1407"/>
                  </a:cubicBezTo>
                  <a:cubicBezTo>
                    <a:pt x="1560" y="1406"/>
                    <a:pt x="1560" y="1406"/>
                    <a:pt x="1560" y="1406"/>
                  </a:cubicBezTo>
                  <a:cubicBezTo>
                    <a:pt x="1563" y="1407"/>
                    <a:pt x="1563" y="1407"/>
                    <a:pt x="1563" y="1407"/>
                  </a:cubicBezTo>
                  <a:cubicBezTo>
                    <a:pt x="1566" y="1405"/>
                    <a:pt x="1566" y="1405"/>
                    <a:pt x="1566" y="1405"/>
                  </a:cubicBezTo>
                  <a:cubicBezTo>
                    <a:pt x="1570" y="1406"/>
                    <a:pt x="1570" y="1406"/>
                    <a:pt x="1570" y="1406"/>
                  </a:cubicBezTo>
                  <a:cubicBezTo>
                    <a:pt x="1571" y="1401"/>
                    <a:pt x="1571" y="1401"/>
                    <a:pt x="1571" y="1401"/>
                  </a:cubicBezTo>
                  <a:cubicBezTo>
                    <a:pt x="1573" y="1396"/>
                    <a:pt x="1573" y="1396"/>
                    <a:pt x="1573" y="1396"/>
                  </a:cubicBezTo>
                  <a:cubicBezTo>
                    <a:pt x="1576" y="1398"/>
                    <a:pt x="1576" y="1398"/>
                    <a:pt x="1576" y="1398"/>
                  </a:cubicBezTo>
                  <a:cubicBezTo>
                    <a:pt x="1576" y="1403"/>
                    <a:pt x="1576" y="1403"/>
                    <a:pt x="1576" y="1403"/>
                  </a:cubicBezTo>
                  <a:cubicBezTo>
                    <a:pt x="1578" y="1407"/>
                    <a:pt x="1578" y="1407"/>
                    <a:pt x="1578" y="1407"/>
                  </a:cubicBezTo>
                  <a:cubicBezTo>
                    <a:pt x="1582" y="1407"/>
                    <a:pt x="1582" y="1407"/>
                    <a:pt x="1582" y="1407"/>
                  </a:cubicBezTo>
                  <a:cubicBezTo>
                    <a:pt x="1587" y="1404"/>
                    <a:pt x="1587" y="1404"/>
                    <a:pt x="1587" y="1404"/>
                  </a:cubicBezTo>
                  <a:cubicBezTo>
                    <a:pt x="1588" y="1406"/>
                    <a:pt x="1588" y="1406"/>
                    <a:pt x="1588" y="1406"/>
                  </a:cubicBezTo>
                  <a:cubicBezTo>
                    <a:pt x="1591" y="1404"/>
                    <a:pt x="1591" y="1404"/>
                    <a:pt x="1591" y="1404"/>
                  </a:cubicBezTo>
                  <a:cubicBezTo>
                    <a:pt x="1595" y="1400"/>
                    <a:pt x="1595" y="1400"/>
                    <a:pt x="1595" y="1400"/>
                  </a:cubicBezTo>
                  <a:cubicBezTo>
                    <a:pt x="1598" y="1400"/>
                    <a:pt x="1598" y="1400"/>
                    <a:pt x="1598" y="1400"/>
                  </a:cubicBezTo>
                  <a:cubicBezTo>
                    <a:pt x="1598" y="1403"/>
                    <a:pt x="1598" y="1403"/>
                    <a:pt x="1598" y="1403"/>
                  </a:cubicBezTo>
                  <a:cubicBezTo>
                    <a:pt x="1612" y="1399"/>
                    <a:pt x="1612" y="1399"/>
                    <a:pt x="1612" y="1399"/>
                  </a:cubicBezTo>
                  <a:cubicBezTo>
                    <a:pt x="1614" y="1402"/>
                    <a:pt x="1614" y="1402"/>
                    <a:pt x="1614" y="1402"/>
                  </a:cubicBezTo>
                  <a:cubicBezTo>
                    <a:pt x="1620" y="1403"/>
                    <a:pt x="1620" y="1403"/>
                    <a:pt x="1620" y="1403"/>
                  </a:cubicBezTo>
                  <a:cubicBezTo>
                    <a:pt x="1628" y="1407"/>
                    <a:pt x="1628" y="1407"/>
                    <a:pt x="1628" y="1407"/>
                  </a:cubicBezTo>
                  <a:cubicBezTo>
                    <a:pt x="1630" y="1405"/>
                    <a:pt x="1630" y="1405"/>
                    <a:pt x="1630" y="1405"/>
                  </a:cubicBezTo>
                  <a:cubicBezTo>
                    <a:pt x="1635" y="1409"/>
                    <a:pt x="1635" y="1409"/>
                    <a:pt x="1635" y="1409"/>
                  </a:cubicBezTo>
                  <a:cubicBezTo>
                    <a:pt x="1639" y="1413"/>
                    <a:pt x="1639" y="1413"/>
                    <a:pt x="1639" y="1413"/>
                  </a:cubicBezTo>
                  <a:cubicBezTo>
                    <a:pt x="1639" y="1418"/>
                    <a:pt x="1639" y="1418"/>
                    <a:pt x="1639" y="1418"/>
                  </a:cubicBezTo>
                  <a:cubicBezTo>
                    <a:pt x="1646" y="1417"/>
                    <a:pt x="1646" y="1417"/>
                    <a:pt x="1646" y="1417"/>
                  </a:cubicBezTo>
                  <a:cubicBezTo>
                    <a:pt x="1649" y="1415"/>
                    <a:pt x="1649" y="1415"/>
                    <a:pt x="1649" y="1415"/>
                  </a:cubicBezTo>
                  <a:cubicBezTo>
                    <a:pt x="1652" y="1415"/>
                    <a:pt x="1652" y="1415"/>
                    <a:pt x="1652" y="1415"/>
                  </a:cubicBezTo>
                  <a:cubicBezTo>
                    <a:pt x="1659" y="1410"/>
                    <a:pt x="1659" y="1410"/>
                    <a:pt x="1659" y="1410"/>
                  </a:cubicBezTo>
                  <a:cubicBezTo>
                    <a:pt x="1663" y="1410"/>
                    <a:pt x="1663" y="1410"/>
                    <a:pt x="1663" y="1410"/>
                  </a:cubicBezTo>
                  <a:cubicBezTo>
                    <a:pt x="1664" y="1406"/>
                    <a:pt x="1664" y="1406"/>
                    <a:pt x="1664" y="1406"/>
                  </a:cubicBezTo>
                  <a:cubicBezTo>
                    <a:pt x="1667" y="1404"/>
                    <a:pt x="1667" y="1404"/>
                    <a:pt x="1667" y="1404"/>
                  </a:cubicBezTo>
                  <a:cubicBezTo>
                    <a:pt x="1673" y="1405"/>
                    <a:pt x="1673" y="1405"/>
                    <a:pt x="1673" y="1405"/>
                  </a:cubicBezTo>
                  <a:cubicBezTo>
                    <a:pt x="1680" y="1408"/>
                    <a:pt x="1680" y="1408"/>
                    <a:pt x="1680" y="1408"/>
                  </a:cubicBezTo>
                  <a:cubicBezTo>
                    <a:pt x="1683" y="1410"/>
                    <a:pt x="1683" y="1410"/>
                    <a:pt x="1683" y="1410"/>
                  </a:cubicBezTo>
                  <a:cubicBezTo>
                    <a:pt x="1688" y="1417"/>
                    <a:pt x="1688" y="1417"/>
                    <a:pt x="1688" y="1417"/>
                  </a:cubicBezTo>
                  <a:cubicBezTo>
                    <a:pt x="1693" y="1420"/>
                    <a:pt x="1693" y="1420"/>
                    <a:pt x="1693" y="1420"/>
                  </a:cubicBezTo>
                  <a:cubicBezTo>
                    <a:pt x="1697" y="1425"/>
                    <a:pt x="1697" y="1425"/>
                    <a:pt x="1697" y="1425"/>
                  </a:cubicBezTo>
                  <a:cubicBezTo>
                    <a:pt x="1704" y="1425"/>
                    <a:pt x="1704" y="1425"/>
                    <a:pt x="1704" y="1425"/>
                  </a:cubicBezTo>
                  <a:cubicBezTo>
                    <a:pt x="1710" y="1436"/>
                    <a:pt x="1710" y="1436"/>
                    <a:pt x="1710" y="1436"/>
                  </a:cubicBezTo>
                  <a:cubicBezTo>
                    <a:pt x="1709" y="1447"/>
                    <a:pt x="1709" y="1447"/>
                    <a:pt x="1709" y="1447"/>
                  </a:cubicBezTo>
                  <a:cubicBezTo>
                    <a:pt x="1708" y="1457"/>
                    <a:pt x="1708" y="1457"/>
                    <a:pt x="1708" y="1457"/>
                  </a:cubicBezTo>
                  <a:cubicBezTo>
                    <a:pt x="1711" y="1462"/>
                    <a:pt x="1711" y="1462"/>
                    <a:pt x="1711" y="1462"/>
                  </a:cubicBezTo>
                  <a:cubicBezTo>
                    <a:pt x="1714" y="1460"/>
                    <a:pt x="1714" y="1460"/>
                    <a:pt x="1714" y="1460"/>
                  </a:cubicBezTo>
                  <a:cubicBezTo>
                    <a:pt x="1713" y="1456"/>
                    <a:pt x="1713" y="1456"/>
                    <a:pt x="1713" y="1456"/>
                  </a:cubicBezTo>
                  <a:cubicBezTo>
                    <a:pt x="1717" y="1457"/>
                    <a:pt x="1717" y="1457"/>
                    <a:pt x="1717" y="1457"/>
                  </a:cubicBezTo>
                  <a:cubicBezTo>
                    <a:pt x="1719" y="1460"/>
                    <a:pt x="1719" y="1460"/>
                    <a:pt x="1719" y="1460"/>
                  </a:cubicBezTo>
                  <a:cubicBezTo>
                    <a:pt x="1714" y="1468"/>
                    <a:pt x="1714" y="1468"/>
                    <a:pt x="1714" y="1468"/>
                  </a:cubicBezTo>
                  <a:cubicBezTo>
                    <a:pt x="1719" y="1473"/>
                    <a:pt x="1719" y="1473"/>
                    <a:pt x="1719" y="1473"/>
                  </a:cubicBezTo>
                  <a:cubicBezTo>
                    <a:pt x="1722" y="1481"/>
                    <a:pt x="1722" y="1481"/>
                    <a:pt x="1722" y="1481"/>
                  </a:cubicBezTo>
                  <a:cubicBezTo>
                    <a:pt x="1728" y="1483"/>
                    <a:pt x="1728" y="1483"/>
                    <a:pt x="1728" y="1483"/>
                  </a:cubicBezTo>
                  <a:cubicBezTo>
                    <a:pt x="1731" y="1481"/>
                    <a:pt x="1731" y="1481"/>
                    <a:pt x="1731" y="1481"/>
                  </a:cubicBezTo>
                  <a:cubicBezTo>
                    <a:pt x="1735" y="1491"/>
                    <a:pt x="1735" y="1491"/>
                    <a:pt x="1735" y="1491"/>
                  </a:cubicBezTo>
                  <a:cubicBezTo>
                    <a:pt x="1739" y="1492"/>
                    <a:pt x="1739" y="1492"/>
                    <a:pt x="1739" y="1492"/>
                  </a:cubicBezTo>
                  <a:cubicBezTo>
                    <a:pt x="1744" y="1505"/>
                    <a:pt x="1744" y="1505"/>
                    <a:pt x="1744" y="1505"/>
                  </a:cubicBezTo>
                  <a:cubicBezTo>
                    <a:pt x="1753" y="1507"/>
                    <a:pt x="1753" y="1507"/>
                    <a:pt x="1753" y="1507"/>
                  </a:cubicBezTo>
                  <a:cubicBezTo>
                    <a:pt x="1762" y="1516"/>
                    <a:pt x="1762" y="1516"/>
                    <a:pt x="1762" y="1516"/>
                  </a:cubicBezTo>
                  <a:cubicBezTo>
                    <a:pt x="1764" y="1518"/>
                    <a:pt x="1764" y="1518"/>
                    <a:pt x="1764" y="1518"/>
                  </a:cubicBezTo>
                  <a:cubicBezTo>
                    <a:pt x="1762" y="1520"/>
                    <a:pt x="1762" y="1520"/>
                    <a:pt x="1762" y="1520"/>
                  </a:cubicBezTo>
                  <a:cubicBezTo>
                    <a:pt x="1764" y="1522"/>
                    <a:pt x="1764" y="1522"/>
                    <a:pt x="1764" y="1522"/>
                  </a:cubicBezTo>
                  <a:cubicBezTo>
                    <a:pt x="1769" y="1521"/>
                    <a:pt x="1769" y="1521"/>
                    <a:pt x="1769" y="1521"/>
                  </a:cubicBezTo>
                  <a:cubicBezTo>
                    <a:pt x="1780" y="1517"/>
                    <a:pt x="1780" y="1517"/>
                    <a:pt x="1780" y="1517"/>
                  </a:cubicBezTo>
                  <a:cubicBezTo>
                    <a:pt x="1782" y="1514"/>
                    <a:pt x="1782" y="1514"/>
                    <a:pt x="1782" y="1514"/>
                  </a:cubicBezTo>
                  <a:cubicBezTo>
                    <a:pt x="1782" y="1508"/>
                    <a:pt x="1782" y="1508"/>
                    <a:pt x="1782" y="1508"/>
                  </a:cubicBezTo>
                  <a:cubicBezTo>
                    <a:pt x="1783" y="1502"/>
                    <a:pt x="1783" y="1502"/>
                    <a:pt x="1783" y="1502"/>
                  </a:cubicBezTo>
                  <a:cubicBezTo>
                    <a:pt x="1785" y="1502"/>
                    <a:pt x="1785" y="1502"/>
                    <a:pt x="1785" y="1502"/>
                  </a:cubicBezTo>
                  <a:cubicBezTo>
                    <a:pt x="1784" y="1498"/>
                    <a:pt x="1784" y="1498"/>
                    <a:pt x="1784" y="1498"/>
                  </a:cubicBezTo>
                  <a:cubicBezTo>
                    <a:pt x="1783" y="1492"/>
                    <a:pt x="1783" y="1492"/>
                    <a:pt x="1783" y="1492"/>
                  </a:cubicBezTo>
                  <a:cubicBezTo>
                    <a:pt x="1784" y="1489"/>
                    <a:pt x="1784" y="1489"/>
                    <a:pt x="1784" y="1489"/>
                  </a:cubicBezTo>
                  <a:cubicBezTo>
                    <a:pt x="1783" y="1478"/>
                    <a:pt x="1783" y="1478"/>
                    <a:pt x="1783" y="1478"/>
                  </a:cubicBezTo>
                  <a:cubicBezTo>
                    <a:pt x="1781" y="1473"/>
                    <a:pt x="1781" y="1473"/>
                    <a:pt x="1781" y="1473"/>
                  </a:cubicBezTo>
                  <a:cubicBezTo>
                    <a:pt x="1775" y="1466"/>
                    <a:pt x="1775" y="1466"/>
                    <a:pt x="1775" y="1466"/>
                  </a:cubicBezTo>
                  <a:cubicBezTo>
                    <a:pt x="1772" y="1461"/>
                    <a:pt x="1772" y="1461"/>
                    <a:pt x="1772" y="1461"/>
                  </a:cubicBezTo>
                  <a:cubicBezTo>
                    <a:pt x="1770" y="1455"/>
                    <a:pt x="1770" y="1455"/>
                    <a:pt x="1770" y="1455"/>
                  </a:cubicBezTo>
                  <a:cubicBezTo>
                    <a:pt x="1764" y="1448"/>
                    <a:pt x="1764" y="1448"/>
                    <a:pt x="1764" y="1448"/>
                  </a:cubicBezTo>
                  <a:cubicBezTo>
                    <a:pt x="1762" y="1444"/>
                    <a:pt x="1762" y="1444"/>
                    <a:pt x="1762" y="1444"/>
                  </a:cubicBezTo>
                  <a:cubicBezTo>
                    <a:pt x="1762" y="1439"/>
                    <a:pt x="1762" y="1439"/>
                    <a:pt x="1762" y="1439"/>
                  </a:cubicBezTo>
                  <a:cubicBezTo>
                    <a:pt x="1763" y="1437"/>
                    <a:pt x="1763" y="1437"/>
                    <a:pt x="1763" y="1437"/>
                  </a:cubicBezTo>
                  <a:cubicBezTo>
                    <a:pt x="1756" y="1426"/>
                    <a:pt x="1756" y="1426"/>
                    <a:pt x="1756" y="1426"/>
                  </a:cubicBezTo>
                  <a:cubicBezTo>
                    <a:pt x="1750" y="1423"/>
                    <a:pt x="1750" y="1423"/>
                    <a:pt x="1750" y="1423"/>
                  </a:cubicBezTo>
                  <a:cubicBezTo>
                    <a:pt x="1745" y="1416"/>
                    <a:pt x="1745" y="1416"/>
                    <a:pt x="1745" y="1416"/>
                  </a:cubicBezTo>
                  <a:cubicBezTo>
                    <a:pt x="1738" y="1405"/>
                    <a:pt x="1738" y="1405"/>
                    <a:pt x="1738" y="1405"/>
                  </a:cubicBezTo>
                  <a:cubicBezTo>
                    <a:pt x="1737" y="1400"/>
                    <a:pt x="1737" y="1400"/>
                    <a:pt x="1737" y="1400"/>
                  </a:cubicBezTo>
                  <a:cubicBezTo>
                    <a:pt x="1733" y="1391"/>
                    <a:pt x="1733" y="1391"/>
                    <a:pt x="1733" y="1391"/>
                  </a:cubicBezTo>
                  <a:cubicBezTo>
                    <a:pt x="1731" y="1388"/>
                    <a:pt x="1731" y="1388"/>
                    <a:pt x="1731" y="1388"/>
                  </a:cubicBezTo>
                  <a:cubicBezTo>
                    <a:pt x="1730" y="1381"/>
                    <a:pt x="1730" y="1381"/>
                    <a:pt x="1730" y="1381"/>
                  </a:cubicBezTo>
                  <a:cubicBezTo>
                    <a:pt x="1728" y="1373"/>
                    <a:pt x="1728" y="1373"/>
                    <a:pt x="1728" y="1373"/>
                  </a:cubicBezTo>
                  <a:cubicBezTo>
                    <a:pt x="1728" y="1368"/>
                    <a:pt x="1728" y="1368"/>
                    <a:pt x="1728" y="1368"/>
                  </a:cubicBezTo>
                  <a:cubicBezTo>
                    <a:pt x="1732" y="1360"/>
                    <a:pt x="1732" y="1360"/>
                    <a:pt x="1732" y="1360"/>
                  </a:cubicBezTo>
                  <a:cubicBezTo>
                    <a:pt x="1733" y="1356"/>
                    <a:pt x="1733" y="1356"/>
                    <a:pt x="1733" y="1356"/>
                  </a:cubicBezTo>
                  <a:cubicBezTo>
                    <a:pt x="1735" y="1351"/>
                    <a:pt x="1735" y="1351"/>
                    <a:pt x="1735" y="1351"/>
                  </a:cubicBezTo>
                  <a:cubicBezTo>
                    <a:pt x="1740" y="1346"/>
                    <a:pt x="1740" y="1346"/>
                    <a:pt x="1740" y="1346"/>
                  </a:cubicBezTo>
                  <a:cubicBezTo>
                    <a:pt x="1738" y="1344"/>
                    <a:pt x="1738" y="1344"/>
                    <a:pt x="1738" y="1344"/>
                  </a:cubicBezTo>
                  <a:cubicBezTo>
                    <a:pt x="1741" y="1340"/>
                    <a:pt x="1741" y="1340"/>
                    <a:pt x="1741" y="1340"/>
                  </a:cubicBezTo>
                  <a:cubicBezTo>
                    <a:pt x="1740" y="1336"/>
                    <a:pt x="1740" y="1336"/>
                    <a:pt x="1740" y="1336"/>
                  </a:cubicBezTo>
                  <a:cubicBezTo>
                    <a:pt x="1743" y="1336"/>
                    <a:pt x="1743" y="1336"/>
                    <a:pt x="1743" y="1336"/>
                  </a:cubicBezTo>
                  <a:cubicBezTo>
                    <a:pt x="1746" y="1331"/>
                    <a:pt x="1746" y="1331"/>
                    <a:pt x="1746" y="1331"/>
                  </a:cubicBezTo>
                  <a:cubicBezTo>
                    <a:pt x="1751" y="1329"/>
                    <a:pt x="1751" y="1329"/>
                    <a:pt x="1751" y="1329"/>
                  </a:cubicBezTo>
                  <a:cubicBezTo>
                    <a:pt x="1757" y="1325"/>
                    <a:pt x="1757" y="1325"/>
                    <a:pt x="1757" y="1325"/>
                  </a:cubicBezTo>
                  <a:cubicBezTo>
                    <a:pt x="1760" y="1320"/>
                    <a:pt x="1760" y="1320"/>
                    <a:pt x="1760" y="1320"/>
                  </a:cubicBezTo>
                  <a:cubicBezTo>
                    <a:pt x="1764" y="1319"/>
                    <a:pt x="1764" y="1319"/>
                    <a:pt x="1764" y="1319"/>
                  </a:cubicBezTo>
                  <a:cubicBezTo>
                    <a:pt x="1768" y="1312"/>
                    <a:pt x="1768" y="1312"/>
                    <a:pt x="1768" y="1312"/>
                  </a:cubicBezTo>
                  <a:cubicBezTo>
                    <a:pt x="1772" y="1311"/>
                    <a:pt x="1772" y="1311"/>
                    <a:pt x="1772" y="1311"/>
                  </a:cubicBezTo>
                  <a:cubicBezTo>
                    <a:pt x="1773" y="1304"/>
                    <a:pt x="1773" y="1304"/>
                    <a:pt x="1773" y="1304"/>
                  </a:cubicBezTo>
                  <a:cubicBezTo>
                    <a:pt x="1776" y="1296"/>
                    <a:pt x="1776" y="1296"/>
                    <a:pt x="1776" y="1296"/>
                  </a:cubicBezTo>
                  <a:cubicBezTo>
                    <a:pt x="1780" y="1292"/>
                    <a:pt x="1780" y="1292"/>
                    <a:pt x="1780" y="1292"/>
                  </a:cubicBezTo>
                  <a:cubicBezTo>
                    <a:pt x="1784" y="1289"/>
                    <a:pt x="1784" y="1289"/>
                    <a:pt x="1784" y="1289"/>
                  </a:cubicBezTo>
                  <a:cubicBezTo>
                    <a:pt x="1797" y="1287"/>
                    <a:pt x="1797" y="1287"/>
                    <a:pt x="1797" y="1287"/>
                  </a:cubicBezTo>
                  <a:cubicBezTo>
                    <a:pt x="1799" y="1283"/>
                    <a:pt x="1799" y="1283"/>
                    <a:pt x="1799" y="1283"/>
                  </a:cubicBezTo>
                  <a:cubicBezTo>
                    <a:pt x="1800" y="1276"/>
                    <a:pt x="1800" y="1276"/>
                    <a:pt x="1800" y="1276"/>
                  </a:cubicBezTo>
                  <a:cubicBezTo>
                    <a:pt x="1804" y="1271"/>
                    <a:pt x="1804" y="1271"/>
                    <a:pt x="1804" y="1271"/>
                  </a:cubicBezTo>
                  <a:cubicBezTo>
                    <a:pt x="1811" y="1266"/>
                    <a:pt x="1811" y="1266"/>
                    <a:pt x="1811" y="1266"/>
                  </a:cubicBezTo>
                  <a:cubicBezTo>
                    <a:pt x="1814" y="1260"/>
                    <a:pt x="1814" y="1260"/>
                    <a:pt x="1814" y="1260"/>
                  </a:cubicBezTo>
                  <a:cubicBezTo>
                    <a:pt x="1825" y="1259"/>
                    <a:pt x="1825" y="1259"/>
                    <a:pt x="1825" y="1259"/>
                  </a:cubicBezTo>
                  <a:cubicBezTo>
                    <a:pt x="1829" y="1253"/>
                    <a:pt x="1829" y="1253"/>
                    <a:pt x="1829" y="1253"/>
                  </a:cubicBezTo>
                  <a:cubicBezTo>
                    <a:pt x="1828" y="1251"/>
                    <a:pt x="1828" y="1251"/>
                    <a:pt x="1828" y="1251"/>
                  </a:cubicBezTo>
                  <a:cubicBezTo>
                    <a:pt x="1823" y="1254"/>
                    <a:pt x="1823" y="1254"/>
                    <a:pt x="1823" y="1254"/>
                  </a:cubicBezTo>
                  <a:cubicBezTo>
                    <a:pt x="1819" y="1252"/>
                    <a:pt x="1819" y="1252"/>
                    <a:pt x="1819" y="1252"/>
                  </a:cubicBezTo>
                  <a:cubicBezTo>
                    <a:pt x="1823" y="1249"/>
                    <a:pt x="1823" y="1249"/>
                    <a:pt x="1823" y="1249"/>
                  </a:cubicBezTo>
                  <a:cubicBezTo>
                    <a:pt x="1823" y="1245"/>
                    <a:pt x="1823" y="1245"/>
                    <a:pt x="1823" y="1245"/>
                  </a:cubicBezTo>
                  <a:cubicBezTo>
                    <a:pt x="1821" y="1243"/>
                    <a:pt x="1821" y="1243"/>
                    <a:pt x="1821" y="1243"/>
                  </a:cubicBezTo>
                  <a:cubicBezTo>
                    <a:pt x="1821" y="1239"/>
                    <a:pt x="1821" y="1239"/>
                    <a:pt x="1821" y="1239"/>
                  </a:cubicBezTo>
                  <a:cubicBezTo>
                    <a:pt x="1824" y="1242"/>
                    <a:pt x="1824" y="1242"/>
                    <a:pt x="1824" y="1242"/>
                  </a:cubicBezTo>
                  <a:cubicBezTo>
                    <a:pt x="1827" y="1242"/>
                    <a:pt x="1827" y="1242"/>
                    <a:pt x="1827" y="1242"/>
                  </a:cubicBezTo>
                  <a:cubicBezTo>
                    <a:pt x="1833" y="1241"/>
                    <a:pt x="1833" y="1241"/>
                    <a:pt x="1833" y="1241"/>
                  </a:cubicBezTo>
                  <a:cubicBezTo>
                    <a:pt x="1835" y="1237"/>
                    <a:pt x="1835" y="1237"/>
                    <a:pt x="1835" y="1237"/>
                  </a:cubicBezTo>
                  <a:cubicBezTo>
                    <a:pt x="1839" y="1235"/>
                    <a:pt x="1839" y="1235"/>
                    <a:pt x="1839" y="1235"/>
                  </a:cubicBezTo>
                  <a:cubicBezTo>
                    <a:pt x="1837" y="1226"/>
                    <a:pt x="1837" y="1226"/>
                    <a:pt x="1837" y="1226"/>
                  </a:cubicBezTo>
                  <a:cubicBezTo>
                    <a:pt x="1835" y="1227"/>
                    <a:pt x="1835" y="1227"/>
                    <a:pt x="1835" y="1227"/>
                  </a:cubicBezTo>
                  <a:cubicBezTo>
                    <a:pt x="1830" y="1230"/>
                    <a:pt x="1830" y="1230"/>
                    <a:pt x="1830" y="1230"/>
                  </a:cubicBezTo>
                  <a:cubicBezTo>
                    <a:pt x="1830" y="1226"/>
                    <a:pt x="1830" y="1226"/>
                    <a:pt x="1830" y="1226"/>
                  </a:cubicBezTo>
                  <a:cubicBezTo>
                    <a:pt x="1827" y="1225"/>
                    <a:pt x="1827" y="1225"/>
                    <a:pt x="1827" y="1225"/>
                  </a:cubicBezTo>
                  <a:cubicBezTo>
                    <a:pt x="1818" y="1228"/>
                    <a:pt x="1818" y="1228"/>
                    <a:pt x="1818" y="1228"/>
                  </a:cubicBezTo>
                  <a:cubicBezTo>
                    <a:pt x="1816" y="1229"/>
                    <a:pt x="1816" y="1229"/>
                    <a:pt x="1816" y="1229"/>
                  </a:cubicBezTo>
                  <a:cubicBezTo>
                    <a:pt x="1816" y="1226"/>
                    <a:pt x="1816" y="1226"/>
                    <a:pt x="1816" y="1226"/>
                  </a:cubicBezTo>
                  <a:cubicBezTo>
                    <a:pt x="1820" y="1224"/>
                    <a:pt x="1820" y="1224"/>
                    <a:pt x="1820" y="1224"/>
                  </a:cubicBezTo>
                  <a:cubicBezTo>
                    <a:pt x="1823" y="1222"/>
                    <a:pt x="1823" y="1222"/>
                    <a:pt x="1823" y="1222"/>
                  </a:cubicBezTo>
                  <a:cubicBezTo>
                    <a:pt x="1829" y="1220"/>
                    <a:pt x="1829" y="1220"/>
                    <a:pt x="1829" y="1220"/>
                  </a:cubicBezTo>
                  <a:cubicBezTo>
                    <a:pt x="1833" y="1219"/>
                    <a:pt x="1833" y="1219"/>
                    <a:pt x="1833" y="1219"/>
                  </a:cubicBezTo>
                  <a:cubicBezTo>
                    <a:pt x="1833" y="1215"/>
                    <a:pt x="1833" y="1215"/>
                    <a:pt x="1833" y="1215"/>
                  </a:cubicBezTo>
                  <a:cubicBezTo>
                    <a:pt x="1827" y="1211"/>
                    <a:pt x="1827" y="1211"/>
                    <a:pt x="1827" y="1211"/>
                  </a:cubicBezTo>
                  <a:cubicBezTo>
                    <a:pt x="1830" y="1207"/>
                    <a:pt x="1830" y="1207"/>
                    <a:pt x="1830" y="1207"/>
                  </a:cubicBezTo>
                  <a:cubicBezTo>
                    <a:pt x="1827" y="1200"/>
                    <a:pt x="1827" y="1200"/>
                    <a:pt x="1827" y="1200"/>
                  </a:cubicBezTo>
                  <a:cubicBezTo>
                    <a:pt x="1823" y="1200"/>
                    <a:pt x="1823" y="1200"/>
                    <a:pt x="1823" y="1200"/>
                  </a:cubicBezTo>
                  <a:cubicBezTo>
                    <a:pt x="1818" y="1202"/>
                    <a:pt x="1818" y="1202"/>
                    <a:pt x="1818" y="1202"/>
                  </a:cubicBezTo>
                  <a:cubicBezTo>
                    <a:pt x="1815" y="1199"/>
                    <a:pt x="1815" y="1199"/>
                    <a:pt x="1815" y="1199"/>
                  </a:cubicBezTo>
                  <a:cubicBezTo>
                    <a:pt x="1818" y="1196"/>
                    <a:pt x="1818" y="1196"/>
                    <a:pt x="1818" y="1196"/>
                  </a:cubicBezTo>
                  <a:cubicBezTo>
                    <a:pt x="1814" y="1192"/>
                    <a:pt x="1814" y="1192"/>
                    <a:pt x="1814" y="1192"/>
                  </a:cubicBezTo>
                  <a:cubicBezTo>
                    <a:pt x="1817" y="1189"/>
                    <a:pt x="1817" y="1189"/>
                    <a:pt x="1817" y="1189"/>
                  </a:cubicBezTo>
                  <a:cubicBezTo>
                    <a:pt x="1813" y="1183"/>
                    <a:pt x="1813" y="1183"/>
                    <a:pt x="1813" y="1183"/>
                  </a:cubicBezTo>
                  <a:cubicBezTo>
                    <a:pt x="1815" y="1176"/>
                    <a:pt x="1815" y="1176"/>
                    <a:pt x="1815" y="1176"/>
                  </a:cubicBezTo>
                  <a:cubicBezTo>
                    <a:pt x="1806" y="1171"/>
                    <a:pt x="1806" y="1171"/>
                    <a:pt x="1806" y="1171"/>
                  </a:cubicBezTo>
                  <a:cubicBezTo>
                    <a:pt x="1802" y="1171"/>
                    <a:pt x="1802" y="1171"/>
                    <a:pt x="1802" y="1171"/>
                  </a:cubicBezTo>
                  <a:cubicBezTo>
                    <a:pt x="1799" y="1168"/>
                    <a:pt x="1799" y="1168"/>
                    <a:pt x="1799" y="1168"/>
                  </a:cubicBezTo>
                  <a:cubicBezTo>
                    <a:pt x="1805" y="1167"/>
                    <a:pt x="1805" y="1167"/>
                    <a:pt x="1805" y="1167"/>
                  </a:cubicBezTo>
                  <a:cubicBezTo>
                    <a:pt x="1812" y="1170"/>
                    <a:pt x="1812" y="1170"/>
                    <a:pt x="1812" y="1170"/>
                  </a:cubicBezTo>
                  <a:cubicBezTo>
                    <a:pt x="1809" y="1163"/>
                    <a:pt x="1809" y="1163"/>
                    <a:pt x="1809" y="1163"/>
                  </a:cubicBezTo>
                  <a:cubicBezTo>
                    <a:pt x="1803" y="1153"/>
                    <a:pt x="1803" y="1153"/>
                    <a:pt x="1803" y="1153"/>
                  </a:cubicBezTo>
                  <a:cubicBezTo>
                    <a:pt x="1803" y="1141"/>
                    <a:pt x="1803" y="1141"/>
                    <a:pt x="1803" y="1141"/>
                  </a:cubicBezTo>
                  <a:cubicBezTo>
                    <a:pt x="1805" y="1136"/>
                    <a:pt x="1805" y="1136"/>
                    <a:pt x="1805" y="1136"/>
                  </a:cubicBezTo>
                  <a:cubicBezTo>
                    <a:pt x="1811" y="1131"/>
                    <a:pt x="1811" y="1131"/>
                    <a:pt x="1811" y="1131"/>
                  </a:cubicBezTo>
                  <a:cubicBezTo>
                    <a:pt x="1814" y="1132"/>
                    <a:pt x="1814" y="1132"/>
                    <a:pt x="1814" y="1132"/>
                  </a:cubicBezTo>
                  <a:cubicBezTo>
                    <a:pt x="1809" y="1140"/>
                    <a:pt x="1809" y="1140"/>
                    <a:pt x="1809" y="1140"/>
                  </a:cubicBezTo>
                  <a:cubicBezTo>
                    <a:pt x="1812" y="1148"/>
                    <a:pt x="1812" y="1148"/>
                    <a:pt x="1812" y="1148"/>
                  </a:cubicBezTo>
                  <a:cubicBezTo>
                    <a:pt x="1810" y="1151"/>
                    <a:pt x="1810" y="1151"/>
                    <a:pt x="1810" y="1151"/>
                  </a:cubicBezTo>
                  <a:cubicBezTo>
                    <a:pt x="1813" y="1155"/>
                    <a:pt x="1813" y="1155"/>
                    <a:pt x="1813" y="1155"/>
                  </a:cubicBezTo>
                  <a:cubicBezTo>
                    <a:pt x="1813" y="1162"/>
                    <a:pt x="1813" y="1162"/>
                    <a:pt x="1813" y="1162"/>
                  </a:cubicBezTo>
                  <a:cubicBezTo>
                    <a:pt x="1817" y="1165"/>
                    <a:pt x="1817" y="1165"/>
                    <a:pt x="1817" y="1165"/>
                  </a:cubicBezTo>
                  <a:cubicBezTo>
                    <a:pt x="1822" y="1165"/>
                    <a:pt x="1822" y="1165"/>
                    <a:pt x="1822" y="1165"/>
                  </a:cubicBezTo>
                  <a:cubicBezTo>
                    <a:pt x="1824" y="1170"/>
                    <a:pt x="1824" y="1170"/>
                    <a:pt x="1824" y="1170"/>
                  </a:cubicBezTo>
                  <a:cubicBezTo>
                    <a:pt x="1828" y="1171"/>
                    <a:pt x="1828" y="1171"/>
                    <a:pt x="1828" y="1171"/>
                  </a:cubicBezTo>
                  <a:cubicBezTo>
                    <a:pt x="1828" y="1176"/>
                    <a:pt x="1828" y="1176"/>
                    <a:pt x="1828" y="1176"/>
                  </a:cubicBezTo>
                  <a:cubicBezTo>
                    <a:pt x="1824" y="1182"/>
                    <a:pt x="1824" y="1182"/>
                    <a:pt x="1824" y="1182"/>
                  </a:cubicBezTo>
                  <a:cubicBezTo>
                    <a:pt x="1825" y="1192"/>
                    <a:pt x="1825" y="1192"/>
                    <a:pt x="1825" y="1192"/>
                  </a:cubicBezTo>
                  <a:cubicBezTo>
                    <a:pt x="1833" y="1177"/>
                    <a:pt x="1833" y="1177"/>
                    <a:pt x="1833" y="1177"/>
                  </a:cubicBezTo>
                  <a:cubicBezTo>
                    <a:pt x="1833" y="1174"/>
                    <a:pt x="1833" y="1174"/>
                    <a:pt x="1833" y="1174"/>
                  </a:cubicBezTo>
                  <a:cubicBezTo>
                    <a:pt x="1836" y="1169"/>
                    <a:pt x="1836" y="1169"/>
                    <a:pt x="1836" y="1169"/>
                  </a:cubicBezTo>
                  <a:cubicBezTo>
                    <a:pt x="1839" y="1156"/>
                    <a:pt x="1839" y="1156"/>
                    <a:pt x="1839" y="1156"/>
                  </a:cubicBezTo>
                  <a:cubicBezTo>
                    <a:pt x="1838" y="1150"/>
                    <a:pt x="1838" y="1150"/>
                    <a:pt x="1838" y="1150"/>
                  </a:cubicBezTo>
                  <a:cubicBezTo>
                    <a:pt x="1831" y="1145"/>
                    <a:pt x="1831" y="1145"/>
                    <a:pt x="1831" y="1145"/>
                  </a:cubicBezTo>
                  <a:cubicBezTo>
                    <a:pt x="1820" y="1129"/>
                    <a:pt x="1820" y="1129"/>
                    <a:pt x="1820" y="1129"/>
                  </a:cubicBezTo>
                  <a:cubicBezTo>
                    <a:pt x="1821" y="1126"/>
                    <a:pt x="1821" y="1126"/>
                    <a:pt x="1821" y="1126"/>
                  </a:cubicBezTo>
                  <a:cubicBezTo>
                    <a:pt x="1827" y="1133"/>
                    <a:pt x="1827" y="1133"/>
                    <a:pt x="1827" y="1133"/>
                  </a:cubicBezTo>
                  <a:cubicBezTo>
                    <a:pt x="1833" y="1136"/>
                    <a:pt x="1833" y="1136"/>
                    <a:pt x="1833" y="1136"/>
                  </a:cubicBezTo>
                  <a:cubicBezTo>
                    <a:pt x="1838" y="1137"/>
                    <a:pt x="1838" y="1137"/>
                    <a:pt x="1838" y="1137"/>
                  </a:cubicBezTo>
                  <a:cubicBezTo>
                    <a:pt x="1838" y="1141"/>
                    <a:pt x="1838" y="1141"/>
                    <a:pt x="1838" y="1141"/>
                  </a:cubicBezTo>
                  <a:cubicBezTo>
                    <a:pt x="1840" y="1143"/>
                    <a:pt x="1840" y="1143"/>
                    <a:pt x="1840" y="1143"/>
                  </a:cubicBezTo>
                  <a:cubicBezTo>
                    <a:pt x="1843" y="1135"/>
                    <a:pt x="1843" y="1135"/>
                    <a:pt x="1843" y="1135"/>
                  </a:cubicBezTo>
                  <a:cubicBezTo>
                    <a:pt x="1850" y="1123"/>
                    <a:pt x="1850" y="1123"/>
                    <a:pt x="1850" y="1123"/>
                  </a:cubicBezTo>
                  <a:cubicBezTo>
                    <a:pt x="1853" y="1116"/>
                    <a:pt x="1853" y="1116"/>
                    <a:pt x="1853" y="1116"/>
                  </a:cubicBezTo>
                  <a:cubicBezTo>
                    <a:pt x="1851" y="1102"/>
                    <a:pt x="1851" y="1102"/>
                    <a:pt x="1851" y="1102"/>
                  </a:cubicBezTo>
                  <a:cubicBezTo>
                    <a:pt x="1849" y="1099"/>
                    <a:pt x="1849" y="1099"/>
                    <a:pt x="1849" y="1099"/>
                  </a:cubicBezTo>
                  <a:cubicBezTo>
                    <a:pt x="1845" y="1101"/>
                    <a:pt x="1845" y="1101"/>
                    <a:pt x="1845" y="1101"/>
                  </a:cubicBezTo>
                  <a:cubicBezTo>
                    <a:pt x="1843" y="1099"/>
                    <a:pt x="1843" y="1099"/>
                    <a:pt x="1843" y="1099"/>
                  </a:cubicBezTo>
                  <a:cubicBezTo>
                    <a:pt x="1848" y="1097"/>
                    <a:pt x="1848" y="1097"/>
                    <a:pt x="1848" y="1097"/>
                  </a:cubicBezTo>
                  <a:cubicBezTo>
                    <a:pt x="1855" y="1096"/>
                    <a:pt x="1855" y="1096"/>
                    <a:pt x="1855" y="1096"/>
                  </a:cubicBezTo>
                  <a:cubicBezTo>
                    <a:pt x="1865" y="1093"/>
                    <a:pt x="1865" y="1093"/>
                    <a:pt x="1865" y="1093"/>
                  </a:cubicBezTo>
                  <a:cubicBezTo>
                    <a:pt x="1878" y="1083"/>
                    <a:pt x="1878" y="1083"/>
                    <a:pt x="1878" y="1083"/>
                  </a:cubicBezTo>
                  <a:cubicBezTo>
                    <a:pt x="1888" y="1079"/>
                    <a:pt x="1888" y="1079"/>
                    <a:pt x="1888" y="1079"/>
                  </a:cubicBezTo>
                  <a:cubicBezTo>
                    <a:pt x="1890" y="1075"/>
                    <a:pt x="1890" y="1075"/>
                    <a:pt x="1890" y="1075"/>
                  </a:cubicBezTo>
                  <a:cubicBezTo>
                    <a:pt x="1885" y="1075"/>
                    <a:pt x="1885" y="1075"/>
                    <a:pt x="1885" y="1075"/>
                  </a:cubicBezTo>
                  <a:cubicBezTo>
                    <a:pt x="1879" y="1074"/>
                    <a:pt x="1879" y="1074"/>
                    <a:pt x="1879" y="1074"/>
                  </a:cubicBezTo>
                  <a:cubicBezTo>
                    <a:pt x="1876" y="1078"/>
                    <a:pt x="1876" y="1078"/>
                    <a:pt x="1876" y="1078"/>
                  </a:cubicBezTo>
                  <a:cubicBezTo>
                    <a:pt x="1867" y="1081"/>
                    <a:pt x="1867" y="1081"/>
                    <a:pt x="1867" y="1081"/>
                  </a:cubicBezTo>
                  <a:cubicBezTo>
                    <a:pt x="1856" y="1086"/>
                    <a:pt x="1856" y="1086"/>
                    <a:pt x="1856" y="1086"/>
                  </a:cubicBezTo>
                  <a:cubicBezTo>
                    <a:pt x="1853" y="1090"/>
                    <a:pt x="1853" y="1090"/>
                    <a:pt x="1853" y="1090"/>
                  </a:cubicBezTo>
                  <a:cubicBezTo>
                    <a:pt x="1850" y="1087"/>
                    <a:pt x="1850" y="1087"/>
                    <a:pt x="1850" y="1087"/>
                  </a:cubicBezTo>
                  <a:cubicBezTo>
                    <a:pt x="1854" y="1083"/>
                    <a:pt x="1854" y="1083"/>
                    <a:pt x="1854" y="1083"/>
                  </a:cubicBezTo>
                  <a:cubicBezTo>
                    <a:pt x="1858" y="1081"/>
                    <a:pt x="1858" y="1081"/>
                    <a:pt x="1858" y="1081"/>
                  </a:cubicBezTo>
                  <a:cubicBezTo>
                    <a:pt x="1867" y="1073"/>
                    <a:pt x="1867" y="1073"/>
                    <a:pt x="1867" y="1073"/>
                  </a:cubicBezTo>
                  <a:cubicBezTo>
                    <a:pt x="1877" y="1071"/>
                    <a:pt x="1877" y="1071"/>
                    <a:pt x="1877" y="1071"/>
                  </a:cubicBezTo>
                  <a:cubicBezTo>
                    <a:pt x="1883" y="1068"/>
                    <a:pt x="1883" y="1068"/>
                    <a:pt x="1883" y="1068"/>
                  </a:cubicBezTo>
                  <a:cubicBezTo>
                    <a:pt x="1889" y="1068"/>
                    <a:pt x="1889" y="1068"/>
                    <a:pt x="1889" y="1068"/>
                  </a:cubicBezTo>
                  <a:cubicBezTo>
                    <a:pt x="1896" y="1065"/>
                    <a:pt x="1896" y="1065"/>
                    <a:pt x="1896" y="1065"/>
                  </a:cubicBezTo>
                  <a:cubicBezTo>
                    <a:pt x="1898" y="1060"/>
                    <a:pt x="1898" y="1060"/>
                    <a:pt x="1898" y="1060"/>
                  </a:cubicBezTo>
                  <a:cubicBezTo>
                    <a:pt x="1901" y="1062"/>
                    <a:pt x="1901" y="1062"/>
                    <a:pt x="1901" y="1062"/>
                  </a:cubicBezTo>
                  <a:cubicBezTo>
                    <a:pt x="1907" y="1058"/>
                    <a:pt x="1907" y="1058"/>
                    <a:pt x="1907" y="1058"/>
                  </a:cubicBezTo>
                  <a:cubicBezTo>
                    <a:pt x="1912" y="1053"/>
                    <a:pt x="1912" y="1053"/>
                    <a:pt x="1912" y="1053"/>
                  </a:cubicBezTo>
                  <a:cubicBezTo>
                    <a:pt x="1915" y="1057"/>
                    <a:pt x="1915" y="1057"/>
                    <a:pt x="1915" y="1057"/>
                  </a:cubicBezTo>
                  <a:cubicBezTo>
                    <a:pt x="1920" y="1054"/>
                    <a:pt x="1920" y="1054"/>
                    <a:pt x="1920" y="1054"/>
                  </a:cubicBezTo>
                  <a:cubicBezTo>
                    <a:pt x="1927" y="1053"/>
                    <a:pt x="1927" y="1053"/>
                    <a:pt x="1927" y="1053"/>
                  </a:cubicBezTo>
                  <a:cubicBezTo>
                    <a:pt x="1928" y="1050"/>
                    <a:pt x="1928" y="1050"/>
                    <a:pt x="1928" y="1050"/>
                  </a:cubicBezTo>
                  <a:cubicBezTo>
                    <a:pt x="1923" y="1041"/>
                    <a:pt x="1923" y="1041"/>
                    <a:pt x="1923" y="1041"/>
                  </a:cubicBezTo>
                  <a:cubicBezTo>
                    <a:pt x="1918" y="1041"/>
                    <a:pt x="1918" y="1041"/>
                    <a:pt x="1918" y="1041"/>
                  </a:cubicBezTo>
                  <a:cubicBezTo>
                    <a:pt x="1923" y="1046"/>
                    <a:pt x="1923" y="1046"/>
                    <a:pt x="1923" y="1046"/>
                  </a:cubicBezTo>
                  <a:cubicBezTo>
                    <a:pt x="1921" y="1049"/>
                    <a:pt x="1921" y="1049"/>
                    <a:pt x="1921" y="1049"/>
                  </a:cubicBezTo>
                  <a:cubicBezTo>
                    <a:pt x="1913" y="1049"/>
                    <a:pt x="1913" y="1049"/>
                    <a:pt x="1913" y="1049"/>
                  </a:cubicBezTo>
                  <a:cubicBezTo>
                    <a:pt x="1906" y="1038"/>
                    <a:pt x="1906" y="1038"/>
                    <a:pt x="1906" y="1038"/>
                  </a:cubicBezTo>
                  <a:cubicBezTo>
                    <a:pt x="1900" y="1037"/>
                    <a:pt x="1900" y="1037"/>
                    <a:pt x="1900" y="1037"/>
                  </a:cubicBezTo>
                  <a:cubicBezTo>
                    <a:pt x="1905" y="1029"/>
                    <a:pt x="1905" y="1029"/>
                    <a:pt x="1905" y="1029"/>
                  </a:cubicBezTo>
                  <a:cubicBezTo>
                    <a:pt x="1901" y="1024"/>
                    <a:pt x="1901" y="1024"/>
                    <a:pt x="1901" y="1024"/>
                  </a:cubicBezTo>
                  <a:cubicBezTo>
                    <a:pt x="1901" y="1021"/>
                    <a:pt x="1901" y="1021"/>
                    <a:pt x="1901" y="1021"/>
                  </a:cubicBezTo>
                  <a:cubicBezTo>
                    <a:pt x="1902" y="1017"/>
                    <a:pt x="1902" y="1017"/>
                    <a:pt x="1902" y="1017"/>
                  </a:cubicBezTo>
                  <a:cubicBezTo>
                    <a:pt x="1903" y="1012"/>
                    <a:pt x="1903" y="1012"/>
                    <a:pt x="1903" y="1012"/>
                  </a:cubicBezTo>
                  <a:cubicBezTo>
                    <a:pt x="1906" y="1003"/>
                    <a:pt x="1906" y="1003"/>
                    <a:pt x="1906" y="1003"/>
                  </a:cubicBezTo>
                  <a:cubicBezTo>
                    <a:pt x="1909" y="1001"/>
                    <a:pt x="1909" y="1001"/>
                    <a:pt x="1909" y="1001"/>
                  </a:cubicBezTo>
                  <a:cubicBezTo>
                    <a:pt x="1907" y="995"/>
                    <a:pt x="1907" y="995"/>
                    <a:pt x="1907" y="995"/>
                  </a:cubicBezTo>
                  <a:cubicBezTo>
                    <a:pt x="1911" y="992"/>
                    <a:pt x="1911" y="992"/>
                    <a:pt x="1911" y="992"/>
                  </a:cubicBezTo>
                  <a:cubicBezTo>
                    <a:pt x="1915" y="993"/>
                    <a:pt x="1915" y="993"/>
                    <a:pt x="1915" y="993"/>
                  </a:cubicBezTo>
                  <a:cubicBezTo>
                    <a:pt x="1917" y="989"/>
                    <a:pt x="1917" y="989"/>
                    <a:pt x="1917" y="989"/>
                  </a:cubicBezTo>
                  <a:cubicBezTo>
                    <a:pt x="1923" y="986"/>
                    <a:pt x="1923" y="986"/>
                    <a:pt x="1923" y="986"/>
                  </a:cubicBezTo>
                  <a:cubicBezTo>
                    <a:pt x="1927" y="984"/>
                    <a:pt x="1927" y="984"/>
                    <a:pt x="1927" y="984"/>
                  </a:cubicBezTo>
                  <a:cubicBezTo>
                    <a:pt x="1928" y="979"/>
                    <a:pt x="1928" y="979"/>
                    <a:pt x="1928" y="979"/>
                  </a:cubicBezTo>
                  <a:cubicBezTo>
                    <a:pt x="1931" y="972"/>
                    <a:pt x="1931" y="972"/>
                    <a:pt x="1931" y="972"/>
                  </a:cubicBezTo>
                  <a:cubicBezTo>
                    <a:pt x="1935" y="974"/>
                    <a:pt x="1935" y="974"/>
                    <a:pt x="1935" y="974"/>
                  </a:cubicBezTo>
                  <a:cubicBezTo>
                    <a:pt x="1942" y="966"/>
                    <a:pt x="1942" y="966"/>
                    <a:pt x="1942" y="966"/>
                  </a:cubicBezTo>
                  <a:cubicBezTo>
                    <a:pt x="1948" y="969"/>
                    <a:pt x="1948" y="969"/>
                    <a:pt x="1948" y="969"/>
                  </a:cubicBezTo>
                  <a:cubicBezTo>
                    <a:pt x="1952" y="963"/>
                    <a:pt x="1952" y="963"/>
                    <a:pt x="1952" y="963"/>
                  </a:cubicBezTo>
                  <a:cubicBezTo>
                    <a:pt x="1960" y="958"/>
                    <a:pt x="1960" y="958"/>
                    <a:pt x="1960" y="958"/>
                  </a:cubicBezTo>
                  <a:cubicBezTo>
                    <a:pt x="1964" y="954"/>
                    <a:pt x="1964" y="954"/>
                    <a:pt x="1964" y="954"/>
                  </a:cubicBezTo>
                  <a:lnTo>
                    <a:pt x="1960" y="952"/>
                  </a:lnTo>
                  <a:close/>
                  <a:moveTo>
                    <a:pt x="163" y="1543"/>
                  </a:moveTo>
                  <a:cubicBezTo>
                    <a:pt x="166" y="1540"/>
                    <a:pt x="166" y="1540"/>
                    <a:pt x="166" y="1540"/>
                  </a:cubicBezTo>
                  <a:cubicBezTo>
                    <a:pt x="171" y="1539"/>
                    <a:pt x="171" y="1539"/>
                    <a:pt x="171" y="1539"/>
                  </a:cubicBezTo>
                  <a:cubicBezTo>
                    <a:pt x="173" y="1540"/>
                    <a:pt x="173" y="1540"/>
                    <a:pt x="173" y="1540"/>
                  </a:cubicBezTo>
                  <a:cubicBezTo>
                    <a:pt x="173" y="1544"/>
                    <a:pt x="173" y="1544"/>
                    <a:pt x="173" y="1544"/>
                  </a:cubicBezTo>
                  <a:cubicBezTo>
                    <a:pt x="170" y="1546"/>
                    <a:pt x="170" y="1546"/>
                    <a:pt x="170" y="1546"/>
                  </a:cubicBezTo>
                  <a:cubicBezTo>
                    <a:pt x="167" y="1546"/>
                    <a:pt x="167" y="1546"/>
                    <a:pt x="167" y="1546"/>
                  </a:cubicBezTo>
                  <a:lnTo>
                    <a:pt x="163" y="1543"/>
                  </a:lnTo>
                  <a:close/>
                  <a:moveTo>
                    <a:pt x="198" y="1557"/>
                  </a:moveTo>
                  <a:cubicBezTo>
                    <a:pt x="203" y="1557"/>
                    <a:pt x="203" y="1557"/>
                    <a:pt x="203" y="1557"/>
                  </a:cubicBezTo>
                  <a:cubicBezTo>
                    <a:pt x="205" y="1557"/>
                    <a:pt x="205" y="1557"/>
                    <a:pt x="205" y="1557"/>
                  </a:cubicBezTo>
                  <a:cubicBezTo>
                    <a:pt x="207" y="1556"/>
                    <a:pt x="207" y="1556"/>
                    <a:pt x="207" y="1556"/>
                  </a:cubicBezTo>
                  <a:cubicBezTo>
                    <a:pt x="201" y="1549"/>
                    <a:pt x="201" y="1549"/>
                    <a:pt x="201" y="1549"/>
                  </a:cubicBezTo>
                  <a:cubicBezTo>
                    <a:pt x="198" y="1551"/>
                    <a:pt x="198" y="1551"/>
                    <a:pt x="198" y="1551"/>
                  </a:cubicBezTo>
                  <a:cubicBezTo>
                    <a:pt x="194" y="1551"/>
                    <a:pt x="194" y="1551"/>
                    <a:pt x="194" y="1551"/>
                  </a:cubicBezTo>
                  <a:lnTo>
                    <a:pt x="198" y="1557"/>
                  </a:lnTo>
                  <a:close/>
                  <a:moveTo>
                    <a:pt x="215" y="1562"/>
                  </a:moveTo>
                  <a:cubicBezTo>
                    <a:pt x="217" y="1561"/>
                    <a:pt x="217" y="1561"/>
                    <a:pt x="217" y="1561"/>
                  </a:cubicBezTo>
                  <a:cubicBezTo>
                    <a:pt x="222" y="1561"/>
                    <a:pt x="222" y="1561"/>
                    <a:pt x="222" y="1561"/>
                  </a:cubicBezTo>
                  <a:cubicBezTo>
                    <a:pt x="223" y="1562"/>
                    <a:pt x="223" y="1562"/>
                    <a:pt x="223" y="1562"/>
                  </a:cubicBezTo>
                  <a:cubicBezTo>
                    <a:pt x="227" y="1559"/>
                    <a:pt x="227" y="1559"/>
                    <a:pt x="227" y="1559"/>
                  </a:cubicBezTo>
                  <a:cubicBezTo>
                    <a:pt x="216" y="1557"/>
                    <a:pt x="216" y="1557"/>
                    <a:pt x="216" y="1557"/>
                  </a:cubicBezTo>
                  <a:cubicBezTo>
                    <a:pt x="214" y="1560"/>
                    <a:pt x="214" y="1560"/>
                    <a:pt x="214" y="1560"/>
                  </a:cubicBezTo>
                  <a:lnTo>
                    <a:pt x="215" y="1562"/>
                  </a:lnTo>
                  <a:close/>
                  <a:moveTo>
                    <a:pt x="227" y="1563"/>
                  </a:moveTo>
                  <a:cubicBezTo>
                    <a:pt x="228" y="1565"/>
                    <a:pt x="228" y="1565"/>
                    <a:pt x="228" y="1565"/>
                  </a:cubicBezTo>
                  <a:cubicBezTo>
                    <a:pt x="230" y="1565"/>
                    <a:pt x="230" y="1565"/>
                    <a:pt x="230" y="1565"/>
                  </a:cubicBezTo>
                  <a:cubicBezTo>
                    <a:pt x="232" y="1567"/>
                    <a:pt x="232" y="1567"/>
                    <a:pt x="232" y="1567"/>
                  </a:cubicBezTo>
                  <a:cubicBezTo>
                    <a:pt x="233" y="1570"/>
                    <a:pt x="233" y="1570"/>
                    <a:pt x="233" y="1570"/>
                  </a:cubicBezTo>
                  <a:cubicBezTo>
                    <a:pt x="236" y="1570"/>
                    <a:pt x="236" y="1570"/>
                    <a:pt x="236" y="1570"/>
                  </a:cubicBezTo>
                  <a:cubicBezTo>
                    <a:pt x="242" y="1566"/>
                    <a:pt x="242" y="1566"/>
                    <a:pt x="242" y="1566"/>
                  </a:cubicBezTo>
                  <a:cubicBezTo>
                    <a:pt x="236" y="1563"/>
                    <a:pt x="236" y="1563"/>
                    <a:pt x="236" y="1563"/>
                  </a:cubicBezTo>
                  <a:cubicBezTo>
                    <a:pt x="234" y="1564"/>
                    <a:pt x="234" y="1564"/>
                    <a:pt x="234" y="1564"/>
                  </a:cubicBezTo>
                  <a:cubicBezTo>
                    <a:pt x="231" y="1564"/>
                    <a:pt x="231" y="1564"/>
                    <a:pt x="231" y="1564"/>
                  </a:cubicBezTo>
                  <a:cubicBezTo>
                    <a:pt x="229" y="1561"/>
                    <a:pt x="229" y="1561"/>
                    <a:pt x="229" y="1561"/>
                  </a:cubicBezTo>
                  <a:lnTo>
                    <a:pt x="227" y="1563"/>
                  </a:lnTo>
                  <a:close/>
                  <a:moveTo>
                    <a:pt x="222" y="1568"/>
                  </a:moveTo>
                  <a:cubicBezTo>
                    <a:pt x="225" y="1566"/>
                    <a:pt x="225" y="1566"/>
                    <a:pt x="225" y="1566"/>
                  </a:cubicBezTo>
                  <a:cubicBezTo>
                    <a:pt x="223" y="1564"/>
                    <a:pt x="223" y="1564"/>
                    <a:pt x="223" y="1564"/>
                  </a:cubicBezTo>
                  <a:cubicBezTo>
                    <a:pt x="219" y="1564"/>
                    <a:pt x="219" y="1564"/>
                    <a:pt x="219" y="1564"/>
                  </a:cubicBezTo>
                  <a:lnTo>
                    <a:pt x="222" y="1568"/>
                  </a:lnTo>
                  <a:close/>
                  <a:moveTo>
                    <a:pt x="230" y="1571"/>
                  </a:moveTo>
                  <a:cubicBezTo>
                    <a:pt x="228" y="1569"/>
                    <a:pt x="228" y="1569"/>
                    <a:pt x="228" y="1569"/>
                  </a:cubicBezTo>
                  <a:cubicBezTo>
                    <a:pt x="228" y="1571"/>
                    <a:pt x="228" y="1571"/>
                    <a:pt x="228" y="1571"/>
                  </a:cubicBezTo>
                  <a:lnTo>
                    <a:pt x="230" y="1571"/>
                  </a:lnTo>
                  <a:close/>
                  <a:moveTo>
                    <a:pt x="155" y="1548"/>
                  </a:moveTo>
                  <a:cubicBezTo>
                    <a:pt x="158" y="1544"/>
                    <a:pt x="158" y="1544"/>
                    <a:pt x="158" y="1544"/>
                  </a:cubicBezTo>
                  <a:cubicBezTo>
                    <a:pt x="157" y="1543"/>
                    <a:pt x="157" y="1543"/>
                    <a:pt x="157" y="1543"/>
                  </a:cubicBezTo>
                  <a:cubicBezTo>
                    <a:pt x="153" y="1548"/>
                    <a:pt x="153" y="1548"/>
                    <a:pt x="153" y="1548"/>
                  </a:cubicBezTo>
                  <a:lnTo>
                    <a:pt x="155" y="1548"/>
                  </a:lnTo>
                  <a:close/>
                  <a:moveTo>
                    <a:pt x="244" y="1580"/>
                  </a:moveTo>
                  <a:cubicBezTo>
                    <a:pt x="245" y="1582"/>
                    <a:pt x="245" y="1582"/>
                    <a:pt x="245" y="1582"/>
                  </a:cubicBezTo>
                  <a:cubicBezTo>
                    <a:pt x="241" y="1585"/>
                    <a:pt x="241" y="1585"/>
                    <a:pt x="241" y="1585"/>
                  </a:cubicBezTo>
                  <a:cubicBezTo>
                    <a:pt x="244" y="1593"/>
                    <a:pt x="244" y="1593"/>
                    <a:pt x="244" y="1593"/>
                  </a:cubicBezTo>
                  <a:cubicBezTo>
                    <a:pt x="244" y="1600"/>
                    <a:pt x="244" y="1600"/>
                    <a:pt x="244" y="1600"/>
                  </a:cubicBezTo>
                  <a:cubicBezTo>
                    <a:pt x="250" y="1601"/>
                    <a:pt x="250" y="1601"/>
                    <a:pt x="250" y="1601"/>
                  </a:cubicBezTo>
                  <a:cubicBezTo>
                    <a:pt x="254" y="1596"/>
                    <a:pt x="254" y="1596"/>
                    <a:pt x="254" y="1596"/>
                  </a:cubicBezTo>
                  <a:cubicBezTo>
                    <a:pt x="259" y="1594"/>
                    <a:pt x="259" y="1594"/>
                    <a:pt x="259" y="1594"/>
                  </a:cubicBezTo>
                  <a:cubicBezTo>
                    <a:pt x="265" y="1592"/>
                    <a:pt x="265" y="1592"/>
                    <a:pt x="265" y="1592"/>
                  </a:cubicBezTo>
                  <a:cubicBezTo>
                    <a:pt x="266" y="1590"/>
                    <a:pt x="266" y="1590"/>
                    <a:pt x="266" y="1590"/>
                  </a:cubicBezTo>
                  <a:cubicBezTo>
                    <a:pt x="260" y="1586"/>
                    <a:pt x="260" y="1586"/>
                    <a:pt x="260" y="1586"/>
                  </a:cubicBezTo>
                  <a:cubicBezTo>
                    <a:pt x="260" y="1583"/>
                    <a:pt x="260" y="1583"/>
                    <a:pt x="260" y="1583"/>
                  </a:cubicBezTo>
                  <a:cubicBezTo>
                    <a:pt x="251" y="1578"/>
                    <a:pt x="251" y="1578"/>
                    <a:pt x="251" y="1578"/>
                  </a:cubicBezTo>
                  <a:cubicBezTo>
                    <a:pt x="244" y="1576"/>
                    <a:pt x="244" y="1576"/>
                    <a:pt x="244" y="1576"/>
                  </a:cubicBezTo>
                  <a:lnTo>
                    <a:pt x="244" y="1580"/>
                  </a:lnTo>
                  <a:close/>
                  <a:moveTo>
                    <a:pt x="288" y="622"/>
                  </a:moveTo>
                  <a:cubicBezTo>
                    <a:pt x="284" y="617"/>
                    <a:pt x="284" y="617"/>
                    <a:pt x="284" y="617"/>
                  </a:cubicBezTo>
                  <a:cubicBezTo>
                    <a:pt x="269" y="625"/>
                    <a:pt x="269" y="625"/>
                    <a:pt x="269" y="625"/>
                  </a:cubicBezTo>
                  <a:cubicBezTo>
                    <a:pt x="268" y="639"/>
                    <a:pt x="268" y="639"/>
                    <a:pt x="268" y="639"/>
                  </a:cubicBezTo>
                  <a:cubicBezTo>
                    <a:pt x="279" y="648"/>
                    <a:pt x="279" y="648"/>
                    <a:pt x="279" y="648"/>
                  </a:cubicBezTo>
                  <a:cubicBezTo>
                    <a:pt x="280" y="639"/>
                    <a:pt x="280" y="639"/>
                    <a:pt x="280" y="639"/>
                  </a:cubicBezTo>
                  <a:cubicBezTo>
                    <a:pt x="290" y="636"/>
                    <a:pt x="290" y="636"/>
                    <a:pt x="290" y="636"/>
                  </a:cubicBezTo>
                  <a:cubicBezTo>
                    <a:pt x="285" y="650"/>
                    <a:pt x="285" y="650"/>
                    <a:pt x="285" y="650"/>
                  </a:cubicBezTo>
                  <a:cubicBezTo>
                    <a:pt x="290" y="650"/>
                    <a:pt x="290" y="650"/>
                    <a:pt x="290" y="650"/>
                  </a:cubicBezTo>
                  <a:cubicBezTo>
                    <a:pt x="295" y="640"/>
                    <a:pt x="295" y="640"/>
                    <a:pt x="295" y="640"/>
                  </a:cubicBezTo>
                  <a:cubicBezTo>
                    <a:pt x="306" y="638"/>
                    <a:pt x="306" y="638"/>
                    <a:pt x="306" y="638"/>
                  </a:cubicBezTo>
                  <a:cubicBezTo>
                    <a:pt x="308" y="633"/>
                    <a:pt x="308" y="633"/>
                    <a:pt x="308" y="633"/>
                  </a:cubicBezTo>
                  <a:cubicBezTo>
                    <a:pt x="307" y="629"/>
                    <a:pt x="307" y="629"/>
                    <a:pt x="307" y="629"/>
                  </a:cubicBezTo>
                  <a:cubicBezTo>
                    <a:pt x="317" y="625"/>
                    <a:pt x="317" y="625"/>
                    <a:pt x="317" y="625"/>
                  </a:cubicBezTo>
                  <a:cubicBezTo>
                    <a:pt x="308" y="617"/>
                    <a:pt x="308" y="617"/>
                    <a:pt x="308" y="617"/>
                  </a:cubicBezTo>
                  <a:cubicBezTo>
                    <a:pt x="317" y="617"/>
                    <a:pt x="317" y="617"/>
                    <a:pt x="317" y="617"/>
                  </a:cubicBezTo>
                  <a:cubicBezTo>
                    <a:pt x="324" y="611"/>
                    <a:pt x="324" y="611"/>
                    <a:pt x="324" y="611"/>
                  </a:cubicBezTo>
                  <a:cubicBezTo>
                    <a:pt x="320" y="603"/>
                    <a:pt x="320" y="603"/>
                    <a:pt x="320" y="603"/>
                  </a:cubicBezTo>
                  <a:cubicBezTo>
                    <a:pt x="310" y="609"/>
                    <a:pt x="310" y="609"/>
                    <a:pt x="310" y="609"/>
                  </a:cubicBezTo>
                  <a:cubicBezTo>
                    <a:pt x="308" y="603"/>
                    <a:pt x="308" y="603"/>
                    <a:pt x="308" y="603"/>
                  </a:cubicBezTo>
                  <a:cubicBezTo>
                    <a:pt x="302" y="610"/>
                    <a:pt x="302" y="610"/>
                    <a:pt x="302" y="610"/>
                  </a:cubicBezTo>
                  <a:cubicBezTo>
                    <a:pt x="300" y="603"/>
                    <a:pt x="300" y="603"/>
                    <a:pt x="300" y="603"/>
                  </a:cubicBezTo>
                  <a:cubicBezTo>
                    <a:pt x="286" y="611"/>
                    <a:pt x="286" y="611"/>
                    <a:pt x="286" y="611"/>
                  </a:cubicBezTo>
                  <a:lnTo>
                    <a:pt x="288" y="622"/>
                  </a:lnTo>
                  <a:close/>
                  <a:moveTo>
                    <a:pt x="70" y="728"/>
                  </a:moveTo>
                  <a:cubicBezTo>
                    <a:pt x="83" y="726"/>
                    <a:pt x="83" y="726"/>
                    <a:pt x="83" y="726"/>
                  </a:cubicBezTo>
                  <a:cubicBezTo>
                    <a:pt x="83" y="721"/>
                    <a:pt x="83" y="721"/>
                    <a:pt x="83" y="721"/>
                  </a:cubicBezTo>
                  <a:cubicBezTo>
                    <a:pt x="99" y="717"/>
                    <a:pt x="99" y="717"/>
                    <a:pt x="99" y="717"/>
                  </a:cubicBezTo>
                  <a:cubicBezTo>
                    <a:pt x="99" y="711"/>
                    <a:pt x="99" y="711"/>
                    <a:pt x="99" y="711"/>
                  </a:cubicBezTo>
                  <a:cubicBezTo>
                    <a:pt x="96" y="704"/>
                    <a:pt x="96" y="704"/>
                    <a:pt x="96" y="704"/>
                  </a:cubicBezTo>
                  <a:cubicBezTo>
                    <a:pt x="79" y="703"/>
                    <a:pt x="79" y="703"/>
                    <a:pt x="79" y="703"/>
                  </a:cubicBezTo>
                  <a:cubicBezTo>
                    <a:pt x="72" y="719"/>
                    <a:pt x="72" y="719"/>
                    <a:pt x="72" y="719"/>
                  </a:cubicBezTo>
                  <a:cubicBezTo>
                    <a:pt x="67" y="720"/>
                    <a:pt x="67" y="720"/>
                    <a:pt x="67" y="720"/>
                  </a:cubicBezTo>
                  <a:lnTo>
                    <a:pt x="70" y="728"/>
                  </a:lnTo>
                  <a:close/>
                  <a:moveTo>
                    <a:pt x="11" y="762"/>
                  </a:moveTo>
                  <a:cubicBezTo>
                    <a:pt x="22" y="756"/>
                    <a:pt x="22" y="756"/>
                    <a:pt x="22" y="756"/>
                  </a:cubicBezTo>
                  <a:cubicBezTo>
                    <a:pt x="40" y="754"/>
                    <a:pt x="40" y="754"/>
                    <a:pt x="40" y="754"/>
                  </a:cubicBezTo>
                  <a:cubicBezTo>
                    <a:pt x="45" y="744"/>
                    <a:pt x="45" y="744"/>
                    <a:pt x="45" y="744"/>
                  </a:cubicBezTo>
                  <a:cubicBezTo>
                    <a:pt x="46" y="733"/>
                    <a:pt x="46" y="733"/>
                    <a:pt x="46" y="733"/>
                  </a:cubicBezTo>
                  <a:cubicBezTo>
                    <a:pt x="34" y="739"/>
                    <a:pt x="34" y="739"/>
                    <a:pt x="34" y="739"/>
                  </a:cubicBezTo>
                  <a:cubicBezTo>
                    <a:pt x="33" y="736"/>
                    <a:pt x="33" y="736"/>
                    <a:pt x="33" y="736"/>
                  </a:cubicBezTo>
                  <a:cubicBezTo>
                    <a:pt x="23" y="738"/>
                    <a:pt x="23" y="738"/>
                    <a:pt x="23" y="738"/>
                  </a:cubicBezTo>
                  <a:cubicBezTo>
                    <a:pt x="33" y="746"/>
                    <a:pt x="33" y="746"/>
                    <a:pt x="33" y="746"/>
                  </a:cubicBezTo>
                  <a:cubicBezTo>
                    <a:pt x="12" y="758"/>
                    <a:pt x="12" y="758"/>
                    <a:pt x="12" y="758"/>
                  </a:cubicBezTo>
                  <a:lnTo>
                    <a:pt x="11" y="762"/>
                  </a:lnTo>
                  <a:close/>
                  <a:moveTo>
                    <a:pt x="23" y="522"/>
                  </a:moveTo>
                  <a:cubicBezTo>
                    <a:pt x="29" y="522"/>
                    <a:pt x="29" y="522"/>
                    <a:pt x="29" y="522"/>
                  </a:cubicBezTo>
                  <a:cubicBezTo>
                    <a:pt x="36" y="529"/>
                    <a:pt x="36" y="529"/>
                    <a:pt x="36" y="529"/>
                  </a:cubicBezTo>
                  <a:cubicBezTo>
                    <a:pt x="45" y="529"/>
                    <a:pt x="45" y="529"/>
                    <a:pt x="45" y="529"/>
                  </a:cubicBezTo>
                  <a:cubicBezTo>
                    <a:pt x="48" y="510"/>
                    <a:pt x="48" y="510"/>
                    <a:pt x="48" y="510"/>
                  </a:cubicBezTo>
                  <a:cubicBezTo>
                    <a:pt x="37" y="504"/>
                    <a:pt x="37" y="504"/>
                    <a:pt x="37" y="504"/>
                  </a:cubicBezTo>
                  <a:cubicBezTo>
                    <a:pt x="30" y="511"/>
                    <a:pt x="30" y="511"/>
                    <a:pt x="30" y="511"/>
                  </a:cubicBezTo>
                  <a:cubicBezTo>
                    <a:pt x="17" y="512"/>
                    <a:pt x="17" y="512"/>
                    <a:pt x="17" y="512"/>
                  </a:cubicBezTo>
                  <a:lnTo>
                    <a:pt x="23" y="522"/>
                  </a:lnTo>
                  <a:close/>
                  <a:moveTo>
                    <a:pt x="610" y="601"/>
                  </a:moveTo>
                  <a:cubicBezTo>
                    <a:pt x="618" y="606"/>
                    <a:pt x="618" y="606"/>
                    <a:pt x="618" y="606"/>
                  </a:cubicBezTo>
                  <a:cubicBezTo>
                    <a:pt x="625" y="617"/>
                    <a:pt x="625" y="617"/>
                    <a:pt x="625" y="617"/>
                  </a:cubicBezTo>
                  <a:cubicBezTo>
                    <a:pt x="629" y="610"/>
                    <a:pt x="629" y="610"/>
                    <a:pt x="629" y="610"/>
                  </a:cubicBezTo>
                  <a:cubicBezTo>
                    <a:pt x="640" y="617"/>
                    <a:pt x="640" y="617"/>
                    <a:pt x="640" y="617"/>
                  </a:cubicBezTo>
                  <a:cubicBezTo>
                    <a:pt x="644" y="612"/>
                    <a:pt x="644" y="612"/>
                    <a:pt x="644" y="612"/>
                  </a:cubicBezTo>
                  <a:cubicBezTo>
                    <a:pt x="632" y="602"/>
                    <a:pt x="632" y="602"/>
                    <a:pt x="632" y="602"/>
                  </a:cubicBezTo>
                  <a:cubicBezTo>
                    <a:pt x="641" y="598"/>
                    <a:pt x="641" y="598"/>
                    <a:pt x="641" y="598"/>
                  </a:cubicBezTo>
                  <a:cubicBezTo>
                    <a:pt x="626" y="590"/>
                    <a:pt x="626" y="590"/>
                    <a:pt x="626" y="590"/>
                  </a:cubicBezTo>
                  <a:cubicBezTo>
                    <a:pt x="616" y="590"/>
                    <a:pt x="616" y="590"/>
                    <a:pt x="616" y="590"/>
                  </a:cubicBezTo>
                  <a:lnTo>
                    <a:pt x="610" y="601"/>
                  </a:lnTo>
                  <a:close/>
                  <a:moveTo>
                    <a:pt x="640" y="589"/>
                  </a:moveTo>
                  <a:cubicBezTo>
                    <a:pt x="649" y="600"/>
                    <a:pt x="649" y="600"/>
                    <a:pt x="649" y="600"/>
                  </a:cubicBezTo>
                  <a:cubicBezTo>
                    <a:pt x="649" y="626"/>
                    <a:pt x="649" y="626"/>
                    <a:pt x="649" y="626"/>
                  </a:cubicBezTo>
                  <a:cubicBezTo>
                    <a:pt x="659" y="615"/>
                    <a:pt x="659" y="615"/>
                    <a:pt x="659" y="615"/>
                  </a:cubicBezTo>
                  <a:cubicBezTo>
                    <a:pt x="660" y="608"/>
                    <a:pt x="660" y="608"/>
                    <a:pt x="660" y="608"/>
                  </a:cubicBezTo>
                  <a:cubicBezTo>
                    <a:pt x="656" y="595"/>
                    <a:pt x="656" y="595"/>
                    <a:pt x="656" y="595"/>
                  </a:cubicBezTo>
                  <a:cubicBezTo>
                    <a:pt x="642" y="588"/>
                    <a:pt x="642" y="588"/>
                    <a:pt x="642" y="588"/>
                  </a:cubicBezTo>
                  <a:lnTo>
                    <a:pt x="640" y="589"/>
                  </a:lnTo>
                  <a:close/>
                  <a:moveTo>
                    <a:pt x="662" y="637"/>
                  </a:moveTo>
                  <a:cubicBezTo>
                    <a:pt x="667" y="641"/>
                    <a:pt x="667" y="641"/>
                    <a:pt x="667" y="641"/>
                  </a:cubicBezTo>
                  <a:cubicBezTo>
                    <a:pt x="667" y="650"/>
                    <a:pt x="667" y="650"/>
                    <a:pt x="667" y="650"/>
                  </a:cubicBezTo>
                  <a:cubicBezTo>
                    <a:pt x="677" y="649"/>
                    <a:pt x="677" y="649"/>
                    <a:pt x="677" y="649"/>
                  </a:cubicBezTo>
                  <a:cubicBezTo>
                    <a:pt x="684" y="646"/>
                    <a:pt x="684" y="646"/>
                    <a:pt x="684" y="646"/>
                  </a:cubicBezTo>
                  <a:cubicBezTo>
                    <a:pt x="673" y="634"/>
                    <a:pt x="673" y="634"/>
                    <a:pt x="673" y="634"/>
                  </a:cubicBezTo>
                  <a:cubicBezTo>
                    <a:pt x="664" y="631"/>
                    <a:pt x="664" y="631"/>
                    <a:pt x="664" y="631"/>
                  </a:cubicBezTo>
                  <a:lnTo>
                    <a:pt x="662" y="637"/>
                  </a:lnTo>
                  <a:close/>
                  <a:moveTo>
                    <a:pt x="630" y="623"/>
                  </a:moveTo>
                  <a:cubicBezTo>
                    <a:pt x="635" y="632"/>
                    <a:pt x="635" y="632"/>
                    <a:pt x="635" y="632"/>
                  </a:cubicBezTo>
                  <a:cubicBezTo>
                    <a:pt x="635" y="642"/>
                    <a:pt x="635" y="642"/>
                    <a:pt x="635" y="642"/>
                  </a:cubicBezTo>
                  <a:cubicBezTo>
                    <a:pt x="646" y="657"/>
                    <a:pt x="646" y="657"/>
                    <a:pt x="646" y="657"/>
                  </a:cubicBezTo>
                  <a:cubicBezTo>
                    <a:pt x="646" y="631"/>
                    <a:pt x="646" y="631"/>
                    <a:pt x="646" y="631"/>
                  </a:cubicBezTo>
                  <a:cubicBezTo>
                    <a:pt x="638" y="624"/>
                    <a:pt x="638" y="624"/>
                    <a:pt x="638" y="624"/>
                  </a:cubicBezTo>
                  <a:cubicBezTo>
                    <a:pt x="634" y="618"/>
                    <a:pt x="634" y="618"/>
                    <a:pt x="634" y="618"/>
                  </a:cubicBezTo>
                  <a:lnTo>
                    <a:pt x="630" y="623"/>
                  </a:lnTo>
                  <a:close/>
                  <a:moveTo>
                    <a:pt x="656" y="647"/>
                  </a:moveTo>
                  <a:cubicBezTo>
                    <a:pt x="652" y="657"/>
                    <a:pt x="652" y="657"/>
                    <a:pt x="652" y="657"/>
                  </a:cubicBezTo>
                  <a:cubicBezTo>
                    <a:pt x="658" y="663"/>
                    <a:pt x="658" y="663"/>
                    <a:pt x="658" y="663"/>
                  </a:cubicBezTo>
                  <a:cubicBezTo>
                    <a:pt x="661" y="643"/>
                    <a:pt x="661" y="643"/>
                    <a:pt x="661" y="643"/>
                  </a:cubicBezTo>
                  <a:cubicBezTo>
                    <a:pt x="658" y="633"/>
                    <a:pt x="658" y="633"/>
                    <a:pt x="658" y="633"/>
                  </a:cubicBezTo>
                  <a:cubicBezTo>
                    <a:pt x="650" y="636"/>
                    <a:pt x="650" y="636"/>
                    <a:pt x="650" y="636"/>
                  </a:cubicBezTo>
                  <a:lnTo>
                    <a:pt x="656" y="647"/>
                  </a:lnTo>
                  <a:close/>
                  <a:moveTo>
                    <a:pt x="672" y="672"/>
                  </a:moveTo>
                  <a:cubicBezTo>
                    <a:pt x="673" y="683"/>
                    <a:pt x="673" y="683"/>
                    <a:pt x="673" y="683"/>
                  </a:cubicBezTo>
                  <a:cubicBezTo>
                    <a:pt x="681" y="701"/>
                    <a:pt x="681" y="701"/>
                    <a:pt x="681" y="701"/>
                  </a:cubicBezTo>
                  <a:cubicBezTo>
                    <a:pt x="690" y="686"/>
                    <a:pt x="690" y="686"/>
                    <a:pt x="690" y="686"/>
                  </a:cubicBezTo>
                  <a:cubicBezTo>
                    <a:pt x="682" y="671"/>
                    <a:pt x="682" y="671"/>
                    <a:pt x="682" y="671"/>
                  </a:cubicBezTo>
                  <a:cubicBezTo>
                    <a:pt x="676" y="669"/>
                    <a:pt x="676" y="669"/>
                    <a:pt x="676" y="669"/>
                  </a:cubicBezTo>
                  <a:cubicBezTo>
                    <a:pt x="676" y="662"/>
                    <a:pt x="676" y="662"/>
                    <a:pt x="676" y="662"/>
                  </a:cubicBezTo>
                  <a:cubicBezTo>
                    <a:pt x="668" y="656"/>
                    <a:pt x="668" y="656"/>
                    <a:pt x="668" y="656"/>
                  </a:cubicBezTo>
                  <a:cubicBezTo>
                    <a:pt x="663" y="668"/>
                    <a:pt x="663" y="668"/>
                    <a:pt x="663" y="668"/>
                  </a:cubicBezTo>
                  <a:lnTo>
                    <a:pt x="672" y="672"/>
                  </a:lnTo>
                  <a:close/>
                  <a:moveTo>
                    <a:pt x="724" y="705"/>
                  </a:moveTo>
                  <a:cubicBezTo>
                    <a:pt x="732" y="690"/>
                    <a:pt x="732" y="690"/>
                    <a:pt x="732" y="690"/>
                  </a:cubicBezTo>
                  <a:cubicBezTo>
                    <a:pt x="724" y="670"/>
                    <a:pt x="724" y="670"/>
                    <a:pt x="724" y="670"/>
                  </a:cubicBezTo>
                  <a:cubicBezTo>
                    <a:pt x="717" y="655"/>
                    <a:pt x="717" y="655"/>
                    <a:pt x="717" y="655"/>
                  </a:cubicBezTo>
                  <a:cubicBezTo>
                    <a:pt x="697" y="647"/>
                    <a:pt x="697" y="647"/>
                    <a:pt x="697" y="647"/>
                  </a:cubicBezTo>
                  <a:cubicBezTo>
                    <a:pt x="684" y="620"/>
                    <a:pt x="684" y="620"/>
                    <a:pt x="684" y="620"/>
                  </a:cubicBezTo>
                  <a:cubicBezTo>
                    <a:pt x="644" y="552"/>
                    <a:pt x="644" y="552"/>
                    <a:pt x="644" y="552"/>
                  </a:cubicBezTo>
                  <a:cubicBezTo>
                    <a:pt x="634" y="534"/>
                    <a:pt x="634" y="534"/>
                    <a:pt x="634" y="534"/>
                  </a:cubicBezTo>
                  <a:cubicBezTo>
                    <a:pt x="611" y="532"/>
                    <a:pt x="611" y="532"/>
                    <a:pt x="611" y="532"/>
                  </a:cubicBezTo>
                  <a:cubicBezTo>
                    <a:pt x="591" y="555"/>
                    <a:pt x="591" y="555"/>
                    <a:pt x="591" y="555"/>
                  </a:cubicBezTo>
                  <a:cubicBezTo>
                    <a:pt x="566" y="522"/>
                    <a:pt x="566" y="522"/>
                    <a:pt x="566" y="522"/>
                  </a:cubicBezTo>
                  <a:cubicBezTo>
                    <a:pt x="559" y="519"/>
                    <a:pt x="559" y="519"/>
                    <a:pt x="559" y="519"/>
                  </a:cubicBezTo>
                  <a:cubicBezTo>
                    <a:pt x="554" y="509"/>
                    <a:pt x="554" y="509"/>
                    <a:pt x="554" y="509"/>
                  </a:cubicBezTo>
                  <a:cubicBezTo>
                    <a:pt x="529" y="512"/>
                    <a:pt x="529" y="512"/>
                    <a:pt x="529" y="512"/>
                  </a:cubicBezTo>
                  <a:cubicBezTo>
                    <a:pt x="521" y="502"/>
                    <a:pt x="521" y="502"/>
                    <a:pt x="521" y="502"/>
                  </a:cubicBezTo>
                  <a:cubicBezTo>
                    <a:pt x="516" y="138"/>
                    <a:pt x="516" y="138"/>
                    <a:pt x="516" y="138"/>
                  </a:cubicBezTo>
                  <a:cubicBezTo>
                    <a:pt x="493" y="125"/>
                    <a:pt x="493" y="125"/>
                    <a:pt x="493" y="125"/>
                  </a:cubicBezTo>
                  <a:cubicBezTo>
                    <a:pt x="473" y="115"/>
                    <a:pt x="473" y="115"/>
                    <a:pt x="473" y="115"/>
                  </a:cubicBezTo>
                  <a:cubicBezTo>
                    <a:pt x="454" y="100"/>
                    <a:pt x="454" y="100"/>
                    <a:pt x="454" y="100"/>
                  </a:cubicBezTo>
                  <a:cubicBezTo>
                    <a:pt x="442" y="109"/>
                    <a:pt x="442" y="109"/>
                    <a:pt x="442" y="109"/>
                  </a:cubicBezTo>
                  <a:cubicBezTo>
                    <a:pt x="434" y="101"/>
                    <a:pt x="434" y="101"/>
                    <a:pt x="434" y="101"/>
                  </a:cubicBezTo>
                  <a:cubicBezTo>
                    <a:pt x="412" y="96"/>
                    <a:pt x="412" y="96"/>
                    <a:pt x="412" y="96"/>
                  </a:cubicBezTo>
                  <a:cubicBezTo>
                    <a:pt x="407" y="98"/>
                    <a:pt x="407" y="98"/>
                    <a:pt x="407" y="98"/>
                  </a:cubicBezTo>
                  <a:cubicBezTo>
                    <a:pt x="378" y="86"/>
                    <a:pt x="378" y="86"/>
                    <a:pt x="378" y="86"/>
                  </a:cubicBezTo>
                  <a:cubicBezTo>
                    <a:pt x="370" y="90"/>
                    <a:pt x="370" y="90"/>
                    <a:pt x="370" y="90"/>
                  </a:cubicBezTo>
                  <a:cubicBezTo>
                    <a:pt x="370" y="81"/>
                    <a:pt x="370" y="81"/>
                    <a:pt x="370" y="81"/>
                  </a:cubicBezTo>
                  <a:cubicBezTo>
                    <a:pt x="344" y="79"/>
                    <a:pt x="344" y="79"/>
                    <a:pt x="344" y="79"/>
                  </a:cubicBezTo>
                  <a:cubicBezTo>
                    <a:pt x="328" y="89"/>
                    <a:pt x="328" y="89"/>
                    <a:pt x="328" y="89"/>
                  </a:cubicBezTo>
                  <a:cubicBezTo>
                    <a:pt x="330" y="79"/>
                    <a:pt x="330" y="79"/>
                    <a:pt x="330" y="79"/>
                  </a:cubicBezTo>
                  <a:cubicBezTo>
                    <a:pt x="297" y="61"/>
                    <a:pt x="297" y="61"/>
                    <a:pt x="297" y="61"/>
                  </a:cubicBezTo>
                  <a:cubicBezTo>
                    <a:pt x="294" y="44"/>
                    <a:pt x="294" y="44"/>
                    <a:pt x="294" y="44"/>
                  </a:cubicBezTo>
                  <a:cubicBezTo>
                    <a:pt x="268" y="40"/>
                    <a:pt x="268" y="40"/>
                    <a:pt x="268" y="40"/>
                  </a:cubicBezTo>
                  <a:cubicBezTo>
                    <a:pt x="268" y="22"/>
                    <a:pt x="268" y="22"/>
                    <a:pt x="268" y="22"/>
                  </a:cubicBezTo>
                  <a:cubicBezTo>
                    <a:pt x="257" y="14"/>
                    <a:pt x="257" y="14"/>
                    <a:pt x="257" y="14"/>
                  </a:cubicBezTo>
                  <a:cubicBezTo>
                    <a:pt x="253" y="39"/>
                    <a:pt x="253" y="39"/>
                    <a:pt x="253" y="39"/>
                  </a:cubicBezTo>
                  <a:cubicBezTo>
                    <a:pt x="237" y="43"/>
                    <a:pt x="237" y="43"/>
                    <a:pt x="237" y="43"/>
                  </a:cubicBezTo>
                  <a:cubicBezTo>
                    <a:pt x="235" y="33"/>
                    <a:pt x="235" y="33"/>
                    <a:pt x="235" y="33"/>
                  </a:cubicBezTo>
                  <a:cubicBezTo>
                    <a:pt x="244" y="28"/>
                    <a:pt x="244" y="28"/>
                    <a:pt x="244" y="28"/>
                  </a:cubicBezTo>
                  <a:cubicBezTo>
                    <a:pt x="250" y="15"/>
                    <a:pt x="250" y="15"/>
                    <a:pt x="250" y="15"/>
                  </a:cubicBezTo>
                  <a:cubicBezTo>
                    <a:pt x="239" y="10"/>
                    <a:pt x="239" y="10"/>
                    <a:pt x="239" y="10"/>
                  </a:cubicBezTo>
                  <a:cubicBezTo>
                    <a:pt x="227" y="0"/>
                    <a:pt x="227" y="0"/>
                    <a:pt x="227" y="0"/>
                  </a:cubicBezTo>
                  <a:cubicBezTo>
                    <a:pt x="197" y="39"/>
                    <a:pt x="197" y="39"/>
                    <a:pt x="197" y="39"/>
                  </a:cubicBezTo>
                  <a:cubicBezTo>
                    <a:pt x="175" y="46"/>
                    <a:pt x="175" y="46"/>
                    <a:pt x="175" y="46"/>
                  </a:cubicBezTo>
                  <a:cubicBezTo>
                    <a:pt x="158" y="56"/>
                    <a:pt x="158" y="56"/>
                    <a:pt x="158" y="56"/>
                  </a:cubicBezTo>
                  <a:cubicBezTo>
                    <a:pt x="162" y="69"/>
                    <a:pt x="162" y="69"/>
                    <a:pt x="162" y="69"/>
                  </a:cubicBezTo>
                  <a:cubicBezTo>
                    <a:pt x="154" y="64"/>
                    <a:pt x="154" y="64"/>
                    <a:pt x="154" y="64"/>
                  </a:cubicBezTo>
                  <a:cubicBezTo>
                    <a:pt x="124" y="65"/>
                    <a:pt x="124" y="65"/>
                    <a:pt x="124" y="65"/>
                  </a:cubicBezTo>
                  <a:cubicBezTo>
                    <a:pt x="113" y="87"/>
                    <a:pt x="113" y="87"/>
                    <a:pt x="113" y="87"/>
                  </a:cubicBezTo>
                  <a:cubicBezTo>
                    <a:pt x="109" y="89"/>
                    <a:pt x="109" y="89"/>
                    <a:pt x="109" y="89"/>
                  </a:cubicBezTo>
                  <a:cubicBezTo>
                    <a:pt x="99" y="105"/>
                    <a:pt x="99" y="105"/>
                    <a:pt x="99" y="105"/>
                  </a:cubicBezTo>
                  <a:cubicBezTo>
                    <a:pt x="98" y="122"/>
                    <a:pt x="98" y="122"/>
                    <a:pt x="98" y="122"/>
                  </a:cubicBezTo>
                  <a:cubicBezTo>
                    <a:pt x="94" y="132"/>
                    <a:pt x="94" y="132"/>
                    <a:pt x="94" y="132"/>
                  </a:cubicBezTo>
                  <a:cubicBezTo>
                    <a:pt x="68" y="142"/>
                    <a:pt x="68" y="142"/>
                    <a:pt x="68" y="142"/>
                  </a:cubicBezTo>
                  <a:cubicBezTo>
                    <a:pt x="59" y="150"/>
                    <a:pt x="59" y="150"/>
                    <a:pt x="59" y="150"/>
                  </a:cubicBezTo>
                  <a:cubicBezTo>
                    <a:pt x="37" y="151"/>
                    <a:pt x="37" y="151"/>
                    <a:pt x="37" y="151"/>
                  </a:cubicBezTo>
                  <a:cubicBezTo>
                    <a:pt x="34" y="169"/>
                    <a:pt x="34" y="169"/>
                    <a:pt x="34" y="169"/>
                  </a:cubicBezTo>
                  <a:cubicBezTo>
                    <a:pt x="30" y="176"/>
                    <a:pt x="30" y="176"/>
                    <a:pt x="30" y="176"/>
                  </a:cubicBezTo>
                  <a:cubicBezTo>
                    <a:pt x="39" y="183"/>
                    <a:pt x="39" y="183"/>
                    <a:pt x="39" y="183"/>
                  </a:cubicBezTo>
                  <a:cubicBezTo>
                    <a:pt x="58" y="187"/>
                    <a:pt x="58" y="187"/>
                    <a:pt x="58" y="187"/>
                  </a:cubicBezTo>
                  <a:cubicBezTo>
                    <a:pt x="88" y="210"/>
                    <a:pt x="88" y="210"/>
                    <a:pt x="88" y="210"/>
                  </a:cubicBezTo>
                  <a:cubicBezTo>
                    <a:pt x="89" y="226"/>
                    <a:pt x="89" y="226"/>
                    <a:pt x="89" y="226"/>
                  </a:cubicBezTo>
                  <a:cubicBezTo>
                    <a:pt x="105" y="228"/>
                    <a:pt x="105" y="228"/>
                    <a:pt x="105" y="228"/>
                  </a:cubicBezTo>
                  <a:cubicBezTo>
                    <a:pt x="111" y="232"/>
                    <a:pt x="111" y="232"/>
                    <a:pt x="111" y="232"/>
                  </a:cubicBezTo>
                  <a:cubicBezTo>
                    <a:pt x="110" y="242"/>
                    <a:pt x="110" y="242"/>
                    <a:pt x="110" y="242"/>
                  </a:cubicBezTo>
                  <a:cubicBezTo>
                    <a:pt x="121" y="256"/>
                    <a:pt x="121" y="256"/>
                    <a:pt x="121" y="256"/>
                  </a:cubicBezTo>
                  <a:cubicBezTo>
                    <a:pt x="123" y="264"/>
                    <a:pt x="123" y="264"/>
                    <a:pt x="123" y="264"/>
                  </a:cubicBezTo>
                  <a:cubicBezTo>
                    <a:pt x="131" y="266"/>
                    <a:pt x="131" y="266"/>
                    <a:pt x="131" y="266"/>
                  </a:cubicBezTo>
                  <a:cubicBezTo>
                    <a:pt x="138" y="280"/>
                    <a:pt x="138" y="280"/>
                    <a:pt x="138" y="280"/>
                  </a:cubicBezTo>
                  <a:cubicBezTo>
                    <a:pt x="91" y="281"/>
                    <a:pt x="91" y="281"/>
                    <a:pt x="91" y="281"/>
                  </a:cubicBezTo>
                  <a:cubicBezTo>
                    <a:pt x="93" y="273"/>
                    <a:pt x="93" y="273"/>
                    <a:pt x="93" y="273"/>
                  </a:cubicBezTo>
                  <a:cubicBezTo>
                    <a:pt x="92" y="264"/>
                    <a:pt x="92" y="264"/>
                    <a:pt x="92" y="264"/>
                  </a:cubicBezTo>
                  <a:cubicBezTo>
                    <a:pt x="93" y="259"/>
                    <a:pt x="93" y="259"/>
                    <a:pt x="93" y="259"/>
                  </a:cubicBezTo>
                  <a:cubicBezTo>
                    <a:pt x="93" y="255"/>
                    <a:pt x="93" y="255"/>
                    <a:pt x="93" y="255"/>
                  </a:cubicBezTo>
                  <a:cubicBezTo>
                    <a:pt x="75" y="255"/>
                    <a:pt x="75" y="255"/>
                    <a:pt x="75" y="255"/>
                  </a:cubicBezTo>
                  <a:cubicBezTo>
                    <a:pt x="54" y="269"/>
                    <a:pt x="54" y="269"/>
                    <a:pt x="54" y="269"/>
                  </a:cubicBezTo>
                  <a:cubicBezTo>
                    <a:pt x="53" y="276"/>
                    <a:pt x="53" y="276"/>
                    <a:pt x="53" y="276"/>
                  </a:cubicBezTo>
                  <a:cubicBezTo>
                    <a:pt x="40" y="277"/>
                    <a:pt x="40" y="277"/>
                    <a:pt x="40" y="277"/>
                  </a:cubicBezTo>
                  <a:cubicBezTo>
                    <a:pt x="12" y="291"/>
                    <a:pt x="12" y="291"/>
                    <a:pt x="12" y="291"/>
                  </a:cubicBezTo>
                  <a:cubicBezTo>
                    <a:pt x="0" y="301"/>
                    <a:pt x="0" y="301"/>
                    <a:pt x="0" y="301"/>
                  </a:cubicBezTo>
                  <a:cubicBezTo>
                    <a:pt x="17" y="313"/>
                    <a:pt x="17" y="313"/>
                    <a:pt x="17" y="313"/>
                  </a:cubicBezTo>
                  <a:cubicBezTo>
                    <a:pt x="41" y="315"/>
                    <a:pt x="41" y="315"/>
                    <a:pt x="41" y="315"/>
                  </a:cubicBezTo>
                  <a:cubicBezTo>
                    <a:pt x="46" y="322"/>
                    <a:pt x="46" y="322"/>
                    <a:pt x="46" y="322"/>
                  </a:cubicBezTo>
                  <a:cubicBezTo>
                    <a:pt x="27" y="322"/>
                    <a:pt x="27" y="322"/>
                    <a:pt x="27" y="322"/>
                  </a:cubicBezTo>
                  <a:cubicBezTo>
                    <a:pt x="23" y="326"/>
                    <a:pt x="23" y="326"/>
                    <a:pt x="23" y="326"/>
                  </a:cubicBezTo>
                  <a:cubicBezTo>
                    <a:pt x="35" y="339"/>
                    <a:pt x="35" y="339"/>
                    <a:pt x="35" y="339"/>
                  </a:cubicBezTo>
                  <a:cubicBezTo>
                    <a:pt x="35" y="348"/>
                    <a:pt x="35" y="348"/>
                    <a:pt x="35" y="348"/>
                  </a:cubicBezTo>
                  <a:cubicBezTo>
                    <a:pt x="46" y="358"/>
                    <a:pt x="46" y="358"/>
                    <a:pt x="46" y="358"/>
                  </a:cubicBezTo>
                  <a:cubicBezTo>
                    <a:pt x="83" y="358"/>
                    <a:pt x="83" y="358"/>
                    <a:pt x="83" y="358"/>
                  </a:cubicBezTo>
                  <a:cubicBezTo>
                    <a:pt x="92" y="364"/>
                    <a:pt x="92" y="364"/>
                    <a:pt x="92" y="364"/>
                  </a:cubicBezTo>
                  <a:cubicBezTo>
                    <a:pt x="89" y="356"/>
                    <a:pt x="89" y="356"/>
                    <a:pt x="89" y="356"/>
                  </a:cubicBezTo>
                  <a:cubicBezTo>
                    <a:pt x="94" y="353"/>
                    <a:pt x="94" y="353"/>
                    <a:pt x="94" y="353"/>
                  </a:cubicBezTo>
                  <a:cubicBezTo>
                    <a:pt x="101" y="364"/>
                    <a:pt x="101" y="364"/>
                    <a:pt x="101" y="364"/>
                  </a:cubicBezTo>
                  <a:cubicBezTo>
                    <a:pt x="111" y="351"/>
                    <a:pt x="111" y="351"/>
                    <a:pt x="111" y="351"/>
                  </a:cubicBezTo>
                  <a:cubicBezTo>
                    <a:pt x="141" y="336"/>
                    <a:pt x="141" y="336"/>
                    <a:pt x="141" y="336"/>
                  </a:cubicBezTo>
                  <a:cubicBezTo>
                    <a:pt x="143" y="350"/>
                    <a:pt x="143" y="350"/>
                    <a:pt x="143" y="350"/>
                  </a:cubicBezTo>
                  <a:cubicBezTo>
                    <a:pt x="134" y="353"/>
                    <a:pt x="134" y="353"/>
                    <a:pt x="134" y="353"/>
                  </a:cubicBezTo>
                  <a:cubicBezTo>
                    <a:pt x="131" y="357"/>
                    <a:pt x="131" y="357"/>
                    <a:pt x="131" y="357"/>
                  </a:cubicBezTo>
                  <a:cubicBezTo>
                    <a:pt x="137" y="360"/>
                    <a:pt x="137" y="360"/>
                    <a:pt x="137" y="360"/>
                  </a:cubicBezTo>
                  <a:cubicBezTo>
                    <a:pt x="145" y="391"/>
                    <a:pt x="145" y="391"/>
                    <a:pt x="145" y="391"/>
                  </a:cubicBezTo>
                  <a:cubicBezTo>
                    <a:pt x="131" y="402"/>
                    <a:pt x="131" y="402"/>
                    <a:pt x="131" y="402"/>
                  </a:cubicBezTo>
                  <a:cubicBezTo>
                    <a:pt x="124" y="397"/>
                    <a:pt x="124" y="397"/>
                    <a:pt x="124" y="397"/>
                  </a:cubicBezTo>
                  <a:cubicBezTo>
                    <a:pt x="113" y="410"/>
                    <a:pt x="113" y="410"/>
                    <a:pt x="113" y="410"/>
                  </a:cubicBezTo>
                  <a:cubicBezTo>
                    <a:pt x="94" y="409"/>
                    <a:pt x="94" y="409"/>
                    <a:pt x="94" y="409"/>
                  </a:cubicBezTo>
                  <a:cubicBezTo>
                    <a:pt x="96" y="403"/>
                    <a:pt x="96" y="403"/>
                    <a:pt x="96" y="403"/>
                  </a:cubicBezTo>
                  <a:cubicBezTo>
                    <a:pt x="86" y="402"/>
                    <a:pt x="86" y="402"/>
                    <a:pt x="86" y="402"/>
                  </a:cubicBezTo>
                  <a:cubicBezTo>
                    <a:pt x="80" y="408"/>
                    <a:pt x="80" y="408"/>
                    <a:pt x="80" y="408"/>
                  </a:cubicBezTo>
                  <a:cubicBezTo>
                    <a:pt x="77" y="420"/>
                    <a:pt x="77" y="420"/>
                    <a:pt x="77" y="420"/>
                  </a:cubicBezTo>
                  <a:cubicBezTo>
                    <a:pt x="72" y="427"/>
                    <a:pt x="72" y="427"/>
                    <a:pt x="72" y="427"/>
                  </a:cubicBezTo>
                  <a:cubicBezTo>
                    <a:pt x="72" y="416"/>
                    <a:pt x="72" y="416"/>
                    <a:pt x="72" y="416"/>
                  </a:cubicBezTo>
                  <a:cubicBezTo>
                    <a:pt x="67" y="430"/>
                    <a:pt x="67" y="430"/>
                    <a:pt x="67" y="430"/>
                  </a:cubicBezTo>
                  <a:cubicBezTo>
                    <a:pt x="59" y="436"/>
                    <a:pt x="59" y="436"/>
                    <a:pt x="59" y="436"/>
                  </a:cubicBezTo>
                  <a:cubicBezTo>
                    <a:pt x="49" y="449"/>
                    <a:pt x="49" y="449"/>
                    <a:pt x="49" y="449"/>
                  </a:cubicBezTo>
                  <a:cubicBezTo>
                    <a:pt x="58" y="467"/>
                    <a:pt x="58" y="467"/>
                    <a:pt x="58" y="467"/>
                  </a:cubicBezTo>
                  <a:cubicBezTo>
                    <a:pt x="66" y="467"/>
                    <a:pt x="66" y="467"/>
                    <a:pt x="66" y="467"/>
                  </a:cubicBezTo>
                  <a:cubicBezTo>
                    <a:pt x="65" y="474"/>
                    <a:pt x="65" y="474"/>
                    <a:pt x="65" y="474"/>
                  </a:cubicBezTo>
                  <a:cubicBezTo>
                    <a:pt x="85" y="481"/>
                    <a:pt x="85" y="481"/>
                    <a:pt x="85" y="481"/>
                  </a:cubicBezTo>
                  <a:cubicBezTo>
                    <a:pt x="92" y="497"/>
                    <a:pt x="92" y="497"/>
                    <a:pt x="92" y="497"/>
                  </a:cubicBezTo>
                  <a:cubicBezTo>
                    <a:pt x="85" y="492"/>
                    <a:pt x="85" y="492"/>
                    <a:pt x="85" y="492"/>
                  </a:cubicBezTo>
                  <a:cubicBezTo>
                    <a:pt x="76" y="496"/>
                    <a:pt x="76" y="496"/>
                    <a:pt x="76" y="496"/>
                  </a:cubicBezTo>
                  <a:cubicBezTo>
                    <a:pt x="72" y="515"/>
                    <a:pt x="72" y="515"/>
                    <a:pt x="72" y="515"/>
                  </a:cubicBezTo>
                  <a:cubicBezTo>
                    <a:pt x="78" y="522"/>
                    <a:pt x="78" y="522"/>
                    <a:pt x="78" y="522"/>
                  </a:cubicBezTo>
                  <a:cubicBezTo>
                    <a:pt x="78" y="530"/>
                    <a:pt x="78" y="530"/>
                    <a:pt x="78" y="530"/>
                  </a:cubicBezTo>
                  <a:cubicBezTo>
                    <a:pt x="93" y="531"/>
                    <a:pt x="93" y="531"/>
                    <a:pt x="93" y="531"/>
                  </a:cubicBezTo>
                  <a:cubicBezTo>
                    <a:pt x="98" y="526"/>
                    <a:pt x="98" y="526"/>
                    <a:pt x="98" y="526"/>
                  </a:cubicBezTo>
                  <a:cubicBezTo>
                    <a:pt x="105" y="525"/>
                    <a:pt x="105" y="525"/>
                    <a:pt x="105" y="525"/>
                  </a:cubicBezTo>
                  <a:cubicBezTo>
                    <a:pt x="111" y="520"/>
                    <a:pt x="111" y="520"/>
                    <a:pt x="111" y="520"/>
                  </a:cubicBezTo>
                  <a:cubicBezTo>
                    <a:pt x="124" y="523"/>
                    <a:pt x="124" y="523"/>
                    <a:pt x="124" y="523"/>
                  </a:cubicBezTo>
                  <a:cubicBezTo>
                    <a:pt x="125" y="541"/>
                    <a:pt x="125" y="541"/>
                    <a:pt x="125" y="541"/>
                  </a:cubicBezTo>
                  <a:cubicBezTo>
                    <a:pt x="122" y="551"/>
                    <a:pt x="122" y="551"/>
                    <a:pt x="122" y="551"/>
                  </a:cubicBezTo>
                  <a:cubicBezTo>
                    <a:pt x="125" y="557"/>
                    <a:pt x="125" y="557"/>
                    <a:pt x="125" y="557"/>
                  </a:cubicBezTo>
                  <a:cubicBezTo>
                    <a:pt x="123" y="571"/>
                    <a:pt x="123" y="571"/>
                    <a:pt x="123" y="571"/>
                  </a:cubicBezTo>
                  <a:cubicBezTo>
                    <a:pt x="117" y="579"/>
                    <a:pt x="117" y="579"/>
                    <a:pt x="117" y="579"/>
                  </a:cubicBezTo>
                  <a:cubicBezTo>
                    <a:pt x="128" y="580"/>
                    <a:pt x="128" y="580"/>
                    <a:pt x="128" y="580"/>
                  </a:cubicBezTo>
                  <a:cubicBezTo>
                    <a:pt x="143" y="566"/>
                    <a:pt x="143" y="566"/>
                    <a:pt x="143" y="566"/>
                  </a:cubicBezTo>
                  <a:cubicBezTo>
                    <a:pt x="164" y="562"/>
                    <a:pt x="164" y="562"/>
                    <a:pt x="164" y="562"/>
                  </a:cubicBezTo>
                  <a:cubicBezTo>
                    <a:pt x="173" y="568"/>
                    <a:pt x="173" y="568"/>
                    <a:pt x="173" y="568"/>
                  </a:cubicBezTo>
                  <a:cubicBezTo>
                    <a:pt x="186" y="595"/>
                    <a:pt x="186" y="595"/>
                    <a:pt x="186" y="595"/>
                  </a:cubicBezTo>
                  <a:cubicBezTo>
                    <a:pt x="193" y="598"/>
                    <a:pt x="193" y="598"/>
                    <a:pt x="193" y="598"/>
                  </a:cubicBezTo>
                  <a:cubicBezTo>
                    <a:pt x="194" y="594"/>
                    <a:pt x="194" y="594"/>
                    <a:pt x="194" y="594"/>
                  </a:cubicBezTo>
                  <a:cubicBezTo>
                    <a:pt x="192" y="585"/>
                    <a:pt x="192" y="585"/>
                    <a:pt x="192" y="585"/>
                  </a:cubicBezTo>
                  <a:cubicBezTo>
                    <a:pt x="193" y="568"/>
                    <a:pt x="193" y="568"/>
                    <a:pt x="193" y="568"/>
                  </a:cubicBezTo>
                  <a:cubicBezTo>
                    <a:pt x="198" y="573"/>
                    <a:pt x="198" y="573"/>
                    <a:pt x="198" y="573"/>
                  </a:cubicBezTo>
                  <a:cubicBezTo>
                    <a:pt x="198" y="584"/>
                    <a:pt x="198" y="584"/>
                    <a:pt x="198" y="584"/>
                  </a:cubicBezTo>
                  <a:cubicBezTo>
                    <a:pt x="213" y="579"/>
                    <a:pt x="213" y="579"/>
                    <a:pt x="213" y="579"/>
                  </a:cubicBezTo>
                  <a:cubicBezTo>
                    <a:pt x="226" y="556"/>
                    <a:pt x="226" y="556"/>
                    <a:pt x="226" y="556"/>
                  </a:cubicBezTo>
                  <a:cubicBezTo>
                    <a:pt x="231" y="559"/>
                    <a:pt x="231" y="559"/>
                    <a:pt x="231" y="559"/>
                  </a:cubicBezTo>
                  <a:cubicBezTo>
                    <a:pt x="225" y="571"/>
                    <a:pt x="225" y="571"/>
                    <a:pt x="225" y="571"/>
                  </a:cubicBezTo>
                  <a:cubicBezTo>
                    <a:pt x="223" y="594"/>
                    <a:pt x="223" y="594"/>
                    <a:pt x="223" y="594"/>
                  </a:cubicBezTo>
                  <a:cubicBezTo>
                    <a:pt x="227" y="601"/>
                    <a:pt x="227" y="601"/>
                    <a:pt x="227" y="601"/>
                  </a:cubicBezTo>
                  <a:cubicBezTo>
                    <a:pt x="216" y="622"/>
                    <a:pt x="216" y="622"/>
                    <a:pt x="216" y="622"/>
                  </a:cubicBezTo>
                  <a:cubicBezTo>
                    <a:pt x="199" y="628"/>
                    <a:pt x="199" y="628"/>
                    <a:pt x="199" y="628"/>
                  </a:cubicBezTo>
                  <a:cubicBezTo>
                    <a:pt x="187" y="644"/>
                    <a:pt x="187" y="644"/>
                    <a:pt x="187" y="644"/>
                  </a:cubicBezTo>
                  <a:cubicBezTo>
                    <a:pt x="181" y="643"/>
                    <a:pt x="181" y="643"/>
                    <a:pt x="181" y="643"/>
                  </a:cubicBezTo>
                  <a:cubicBezTo>
                    <a:pt x="160" y="651"/>
                    <a:pt x="160" y="651"/>
                    <a:pt x="160" y="651"/>
                  </a:cubicBezTo>
                  <a:cubicBezTo>
                    <a:pt x="148" y="663"/>
                    <a:pt x="148" y="663"/>
                    <a:pt x="148" y="663"/>
                  </a:cubicBezTo>
                  <a:cubicBezTo>
                    <a:pt x="150" y="674"/>
                    <a:pt x="150" y="674"/>
                    <a:pt x="150" y="674"/>
                  </a:cubicBezTo>
                  <a:cubicBezTo>
                    <a:pt x="142" y="675"/>
                    <a:pt x="142" y="675"/>
                    <a:pt x="142" y="675"/>
                  </a:cubicBezTo>
                  <a:cubicBezTo>
                    <a:pt x="136" y="661"/>
                    <a:pt x="136" y="661"/>
                    <a:pt x="136" y="661"/>
                  </a:cubicBezTo>
                  <a:cubicBezTo>
                    <a:pt x="132" y="661"/>
                    <a:pt x="132" y="661"/>
                    <a:pt x="132" y="661"/>
                  </a:cubicBezTo>
                  <a:cubicBezTo>
                    <a:pt x="110" y="680"/>
                    <a:pt x="110" y="680"/>
                    <a:pt x="110" y="680"/>
                  </a:cubicBezTo>
                  <a:cubicBezTo>
                    <a:pt x="118" y="705"/>
                    <a:pt x="118" y="705"/>
                    <a:pt x="118" y="705"/>
                  </a:cubicBezTo>
                  <a:cubicBezTo>
                    <a:pt x="128" y="700"/>
                    <a:pt x="128" y="700"/>
                    <a:pt x="128" y="700"/>
                  </a:cubicBezTo>
                  <a:cubicBezTo>
                    <a:pt x="129" y="686"/>
                    <a:pt x="129" y="686"/>
                    <a:pt x="129" y="686"/>
                  </a:cubicBezTo>
                  <a:cubicBezTo>
                    <a:pt x="135" y="684"/>
                    <a:pt x="135" y="684"/>
                    <a:pt x="135" y="684"/>
                  </a:cubicBezTo>
                  <a:cubicBezTo>
                    <a:pt x="138" y="696"/>
                    <a:pt x="138" y="696"/>
                    <a:pt x="138" y="696"/>
                  </a:cubicBezTo>
                  <a:cubicBezTo>
                    <a:pt x="164" y="674"/>
                    <a:pt x="164" y="674"/>
                    <a:pt x="164" y="674"/>
                  </a:cubicBezTo>
                  <a:cubicBezTo>
                    <a:pt x="164" y="685"/>
                    <a:pt x="164" y="685"/>
                    <a:pt x="164" y="685"/>
                  </a:cubicBezTo>
                  <a:cubicBezTo>
                    <a:pt x="171" y="680"/>
                    <a:pt x="171" y="680"/>
                    <a:pt x="171" y="680"/>
                  </a:cubicBezTo>
                  <a:cubicBezTo>
                    <a:pt x="174" y="669"/>
                    <a:pt x="174" y="669"/>
                    <a:pt x="174" y="669"/>
                  </a:cubicBezTo>
                  <a:cubicBezTo>
                    <a:pt x="183" y="666"/>
                    <a:pt x="183" y="666"/>
                    <a:pt x="183" y="666"/>
                  </a:cubicBezTo>
                  <a:cubicBezTo>
                    <a:pt x="185" y="671"/>
                    <a:pt x="185" y="671"/>
                    <a:pt x="185" y="671"/>
                  </a:cubicBezTo>
                  <a:cubicBezTo>
                    <a:pt x="201" y="654"/>
                    <a:pt x="201" y="654"/>
                    <a:pt x="201" y="654"/>
                  </a:cubicBezTo>
                  <a:cubicBezTo>
                    <a:pt x="221" y="647"/>
                    <a:pt x="221" y="647"/>
                    <a:pt x="221" y="647"/>
                  </a:cubicBezTo>
                  <a:cubicBezTo>
                    <a:pt x="241" y="637"/>
                    <a:pt x="241" y="637"/>
                    <a:pt x="241" y="637"/>
                  </a:cubicBezTo>
                  <a:cubicBezTo>
                    <a:pt x="251" y="616"/>
                    <a:pt x="251" y="616"/>
                    <a:pt x="251" y="616"/>
                  </a:cubicBezTo>
                  <a:cubicBezTo>
                    <a:pt x="256" y="616"/>
                    <a:pt x="256" y="616"/>
                    <a:pt x="256" y="616"/>
                  </a:cubicBezTo>
                  <a:cubicBezTo>
                    <a:pt x="256" y="611"/>
                    <a:pt x="256" y="611"/>
                    <a:pt x="256" y="611"/>
                  </a:cubicBezTo>
                  <a:cubicBezTo>
                    <a:pt x="265" y="602"/>
                    <a:pt x="265" y="602"/>
                    <a:pt x="265" y="602"/>
                  </a:cubicBezTo>
                  <a:cubicBezTo>
                    <a:pt x="274" y="593"/>
                    <a:pt x="274" y="593"/>
                    <a:pt x="274" y="593"/>
                  </a:cubicBezTo>
                  <a:cubicBezTo>
                    <a:pt x="277" y="584"/>
                    <a:pt x="277" y="584"/>
                    <a:pt x="277" y="584"/>
                  </a:cubicBezTo>
                  <a:cubicBezTo>
                    <a:pt x="286" y="577"/>
                    <a:pt x="286" y="577"/>
                    <a:pt x="286" y="577"/>
                  </a:cubicBezTo>
                  <a:cubicBezTo>
                    <a:pt x="292" y="569"/>
                    <a:pt x="292" y="569"/>
                    <a:pt x="292" y="569"/>
                  </a:cubicBezTo>
                  <a:cubicBezTo>
                    <a:pt x="293" y="559"/>
                    <a:pt x="293" y="559"/>
                    <a:pt x="293" y="559"/>
                  </a:cubicBezTo>
                  <a:cubicBezTo>
                    <a:pt x="286" y="556"/>
                    <a:pt x="286" y="556"/>
                    <a:pt x="286" y="556"/>
                  </a:cubicBezTo>
                  <a:cubicBezTo>
                    <a:pt x="279" y="558"/>
                    <a:pt x="279" y="558"/>
                    <a:pt x="279" y="558"/>
                  </a:cubicBezTo>
                  <a:cubicBezTo>
                    <a:pt x="283" y="537"/>
                    <a:pt x="283" y="537"/>
                    <a:pt x="283" y="537"/>
                  </a:cubicBezTo>
                  <a:cubicBezTo>
                    <a:pt x="292" y="537"/>
                    <a:pt x="292" y="537"/>
                    <a:pt x="292" y="537"/>
                  </a:cubicBezTo>
                  <a:cubicBezTo>
                    <a:pt x="297" y="531"/>
                    <a:pt x="297" y="531"/>
                    <a:pt x="297" y="531"/>
                  </a:cubicBezTo>
                  <a:cubicBezTo>
                    <a:pt x="300" y="515"/>
                    <a:pt x="300" y="515"/>
                    <a:pt x="300" y="515"/>
                  </a:cubicBezTo>
                  <a:cubicBezTo>
                    <a:pt x="318" y="491"/>
                    <a:pt x="318" y="491"/>
                    <a:pt x="318" y="491"/>
                  </a:cubicBezTo>
                  <a:cubicBezTo>
                    <a:pt x="339" y="468"/>
                    <a:pt x="339" y="468"/>
                    <a:pt x="339" y="468"/>
                  </a:cubicBezTo>
                  <a:cubicBezTo>
                    <a:pt x="357" y="468"/>
                    <a:pt x="357" y="468"/>
                    <a:pt x="357" y="468"/>
                  </a:cubicBezTo>
                  <a:cubicBezTo>
                    <a:pt x="375" y="481"/>
                    <a:pt x="375" y="481"/>
                    <a:pt x="375" y="481"/>
                  </a:cubicBezTo>
                  <a:cubicBezTo>
                    <a:pt x="365" y="482"/>
                    <a:pt x="365" y="482"/>
                    <a:pt x="365" y="482"/>
                  </a:cubicBezTo>
                  <a:cubicBezTo>
                    <a:pt x="357" y="476"/>
                    <a:pt x="357" y="476"/>
                    <a:pt x="357" y="476"/>
                  </a:cubicBezTo>
                  <a:cubicBezTo>
                    <a:pt x="340" y="478"/>
                    <a:pt x="340" y="478"/>
                    <a:pt x="340" y="478"/>
                  </a:cubicBezTo>
                  <a:cubicBezTo>
                    <a:pt x="325" y="493"/>
                    <a:pt x="325" y="493"/>
                    <a:pt x="325" y="493"/>
                  </a:cubicBezTo>
                  <a:cubicBezTo>
                    <a:pt x="327" y="505"/>
                    <a:pt x="327" y="505"/>
                    <a:pt x="327" y="505"/>
                  </a:cubicBezTo>
                  <a:cubicBezTo>
                    <a:pt x="316" y="525"/>
                    <a:pt x="316" y="525"/>
                    <a:pt x="316" y="525"/>
                  </a:cubicBezTo>
                  <a:cubicBezTo>
                    <a:pt x="317" y="542"/>
                    <a:pt x="317" y="542"/>
                    <a:pt x="317" y="542"/>
                  </a:cubicBezTo>
                  <a:cubicBezTo>
                    <a:pt x="322" y="540"/>
                    <a:pt x="322" y="540"/>
                    <a:pt x="322" y="540"/>
                  </a:cubicBezTo>
                  <a:cubicBezTo>
                    <a:pt x="327" y="535"/>
                    <a:pt x="327" y="535"/>
                    <a:pt x="327" y="535"/>
                  </a:cubicBezTo>
                  <a:cubicBezTo>
                    <a:pt x="333" y="535"/>
                    <a:pt x="333" y="535"/>
                    <a:pt x="333" y="535"/>
                  </a:cubicBezTo>
                  <a:cubicBezTo>
                    <a:pt x="320" y="549"/>
                    <a:pt x="320" y="549"/>
                    <a:pt x="320" y="549"/>
                  </a:cubicBezTo>
                  <a:cubicBezTo>
                    <a:pt x="315" y="552"/>
                    <a:pt x="315" y="552"/>
                    <a:pt x="315" y="552"/>
                  </a:cubicBezTo>
                  <a:cubicBezTo>
                    <a:pt x="314" y="558"/>
                    <a:pt x="314" y="558"/>
                    <a:pt x="314" y="558"/>
                  </a:cubicBezTo>
                  <a:cubicBezTo>
                    <a:pt x="334" y="556"/>
                    <a:pt x="334" y="556"/>
                    <a:pt x="334" y="556"/>
                  </a:cubicBezTo>
                  <a:cubicBezTo>
                    <a:pt x="344" y="544"/>
                    <a:pt x="344" y="544"/>
                    <a:pt x="344" y="544"/>
                  </a:cubicBezTo>
                  <a:cubicBezTo>
                    <a:pt x="350" y="550"/>
                    <a:pt x="350" y="550"/>
                    <a:pt x="350" y="550"/>
                  </a:cubicBezTo>
                  <a:cubicBezTo>
                    <a:pt x="357" y="546"/>
                    <a:pt x="357" y="546"/>
                    <a:pt x="357" y="546"/>
                  </a:cubicBezTo>
                  <a:cubicBezTo>
                    <a:pt x="365" y="542"/>
                    <a:pt x="365" y="542"/>
                    <a:pt x="365" y="542"/>
                  </a:cubicBezTo>
                  <a:cubicBezTo>
                    <a:pt x="362" y="535"/>
                    <a:pt x="362" y="535"/>
                    <a:pt x="362" y="535"/>
                  </a:cubicBezTo>
                  <a:cubicBezTo>
                    <a:pt x="366" y="527"/>
                    <a:pt x="366" y="527"/>
                    <a:pt x="366" y="527"/>
                  </a:cubicBezTo>
                  <a:cubicBezTo>
                    <a:pt x="370" y="527"/>
                    <a:pt x="370" y="527"/>
                    <a:pt x="370" y="527"/>
                  </a:cubicBezTo>
                  <a:cubicBezTo>
                    <a:pt x="378" y="529"/>
                    <a:pt x="378" y="529"/>
                    <a:pt x="378" y="529"/>
                  </a:cubicBezTo>
                  <a:cubicBezTo>
                    <a:pt x="388" y="520"/>
                    <a:pt x="388" y="520"/>
                    <a:pt x="388" y="520"/>
                  </a:cubicBezTo>
                  <a:cubicBezTo>
                    <a:pt x="387" y="499"/>
                    <a:pt x="387" y="499"/>
                    <a:pt x="387" y="499"/>
                  </a:cubicBezTo>
                  <a:cubicBezTo>
                    <a:pt x="392" y="481"/>
                    <a:pt x="392" y="481"/>
                    <a:pt x="392" y="481"/>
                  </a:cubicBezTo>
                  <a:cubicBezTo>
                    <a:pt x="397" y="492"/>
                    <a:pt x="397" y="492"/>
                    <a:pt x="397" y="492"/>
                  </a:cubicBezTo>
                  <a:cubicBezTo>
                    <a:pt x="414" y="484"/>
                    <a:pt x="414" y="484"/>
                    <a:pt x="414" y="484"/>
                  </a:cubicBezTo>
                  <a:cubicBezTo>
                    <a:pt x="420" y="495"/>
                    <a:pt x="420" y="495"/>
                    <a:pt x="420" y="495"/>
                  </a:cubicBezTo>
                  <a:cubicBezTo>
                    <a:pt x="433" y="505"/>
                    <a:pt x="433" y="505"/>
                    <a:pt x="433" y="505"/>
                  </a:cubicBezTo>
                  <a:cubicBezTo>
                    <a:pt x="448" y="509"/>
                    <a:pt x="448" y="509"/>
                    <a:pt x="448" y="509"/>
                  </a:cubicBezTo>
                  <a:cubicBezTo>
                    <a:pt x="455" y="504"/>
                    <a:pt x="455" y="504"/>
                    <a:pt x="455" y="504"/>
                  </a:cubicBezTo>
                  <a:cubicBezTo>
                    <a:pt x="456" y="513"/>
                    <a:pt x="456" y="513"/>
                    <a:pt x="456" y="513"/>
                  </a:cubicBezTo>
                  <a:cubicBezTo>
                    <a:pt x="461" y="517"/>
                    <a:pt x="461" y="517"/>
                    <a:pt x="461" y="517"/>
                  </a:cubicBezTo>
                  <a:cubicBezTo>
                    <a:pt x="466" y="516"/>
                    <a:pt x="466" y="516"/>
                    <a:pt x="466" y="516"/>
                  </a:cubicBezTo>
                  <a:cubicBezTo>
                    <a:pt x="466" y="523"/>
                    <a:pt x="466" y="523"/>
                    <a:pt x="466" y="523"/>
                  </a:cubicBezTo>
                  <a:cubicBezTo>
                    <a:pt x="471" y="525"/>
                    <a:pt x="471" y="525"/>
                    <a:pt x="471" y="525"/>
                  </a:cubicBezTo>
                  <a:cubicBezTo>
                    <a:pt x="483" y="519"/>
                    <a:pt x="483" y="519"/>
                    <a:pt x="483" y="519"/>
                  </a:cubicBezTo>
                  <a:cubicBezTo>
                    <a:pt x="495" y="522"/>
                    <a:pt x="495" y="522"/>
                    <a:pt x="495" y="522"/>
                  </a:cubicBezTo>
                  <a:cubicBezTo>
                    <a:pt x="512" y="527"/>
                    <a:pt x="512" y="527"/>
                    <a:pt x="512" y="527"/>
                  </a:cubicBezTo>
                  <a:cubicBezTo>
                    <a:pt x="540" y="533"/>
                    <a:pt x="540" y="533"/>
                    <a:pt x="540" y="533"/>
                  </a:cubicBezTo>
                  <a:cubicBezTo>
                    <a:pt x="549" y="525"/>
                    <a:pt x="549" y="525"/>
                    <a:pt x="549" y="525"/>
                  </a:cubicBezTo>
                  <a:cubicBezTo>
                    <a:pt x="555" y="526"/>
                    <a:pt x="555" y="526"/>
                    <a:pt x="555" y="526"/>
                  </a:cubicBezTo>
                  <a:cubicBezTo>
                    <a:pt x="553" y="534"/>
                    <a:pt x="553" y="534"/>
                    <a:pt x="553" y="534"/>
                  </a:cubicBezTo>
                  <a:cubicBezTo>
                    <a:pt x="548" y="544"/>
                    <a:pt x="548" y="544"/>
                    <a:pt x="548" y="544"/>
                  </a:cubicBezTo>
                  <a:cubicBezTo>
                    <a:pt x="550" y="549"/>
                    <a:pt x="550" y="549"/>
                    <a:pt x="550" y="549"/>
                  </a:cubicBezTo>
                  <a:cubicBezTo>
                    <a:pt x="558" y="551"/>
                    <a:pt x="558" y="551"/>
                    <a:pt x="558" y="551"/>
                  </a:cubicBezTo>
                  <a:cubicBezTo>
                    <a:pt x="566" y="558"/>
                    <a:pt x="566" y="558"/>
                    <a:pt x="566" y="558"/>
                  </a:cubicBezTo>
                  <a:cubicBezTo>
                    <a:pt x="571" y="552"/>
                    <a:pt x="571" y="552"/>
                    <a:pt x="571" y="552"/>
                  </a:cubicBezTo>
                  <a:cubicBezTo>
                    <a:pt x="573" y="563"/>
                    <a:pt x="573" y="563"/>
                    <a:pt x="573" y="563"/>
                  </a:cubicBezTo>
                  <a:cubicBezTo>
                    <a:pt x="582" y="566"/>
                    <a:pt x="582" y="566"/>
                    <a:pt x="582" y="566"/>
                  </a:cubicBezTo>
                  <a:cubicBezTo>
                    <a:pt x="594" y="577"/>
                    <a:pt x="594" y="577"/>
                    <a:pt x="594" y="577"/>
                  </a:cubicBezTo>
                  <a:cubicBezTo>
                    <a:pt x="601" y="578"/>
                    <a:pt x="601" y="578"/>
                    <a:pt x="601" y="578"/>
                  </a:cubicBezTo>
                  <a:cubicBezTo>
                    <a:pt x="608" y="582"/>
                    <a:pt x="608" y="582"/>
                    <a:pt x="608" y="582"/>
                  </a:cubicBezTo>
                  <a:cubicBezTo>
                    <a:pt x="618" y="576"/>
                    <a:pt x="618" y="576"/>
                    <a:pt x="618" y="576"/>
                  </a:cubicBezTo>
                  <a:cubicBezTo>
                    <a:pt x="602" y="562"/>
                    <a:pt x="602" y="562"/>
                    <a:pt x="602" y="562"/>
                  </a:cubicBezTo>
                  <a:cubicBezTo>
                    <a:pt x="601" y="553"/>
                    <a:pt x="601" y="553"/>
                    <a:pt x="601" y="553"/>
                  </a:cubicBezTo>
                  <a:cubicBezTo>
                    <a:pt x="613" y="560"/>
                    <a:pt x="613" y="560"/>
                    <a:pt x="613" y="560"/>
                  </a:cubicBezTo>
                  <a:cubicBezTo>
                    <a:pt x="617" y="555"/>
                    <a:pt x="617" y="555"/>
                    <a:pt x="617" y="555"/>
                  </a:cubicBezTo>
                  <a:cubicBezTo>
                    <a:pt x="622" y="566"/>
                    <a:pt x="622" y="566"/>
                    <a:pt x="622" y="566"/>
                  </a:cubicBezTo>
                  <a:cubicBezTo>
                    <a:pt x="624" y="580"/>
                    <a:pt x="624" y="580"/>
                    <a:pt x="624" y="580"/>
                  </a:cubicBezTo>
                  <a:cubicBezTo>
                    <a:pt x="628" y="579"/>
                    <a:pt x="628" y="579"/>
                    <a:pt x="628" y="579"/>
                  </a:cubicBezTo>
                  <a:cubicBezTo>
                    <a:pt x="633" y="584"/>
                    <a:pt x="633" y="584"/>
                    <a:pt x="633" y="584"/>
                  </a:cubicBezTo>
                  <a:cubicBezTo>
                    <a:pt x="636" y="567"/>
                    <a:pt x="636" y="567"/>
                    <a:pt x="636" y="567"/>
                  </a:cubicBezTo>
                  <a:cubicBezTo>
                    <a:pt x="634" y="551"/>
                    <a:pt x="634" y="551"/>
                    <a:pt x="634" y="551"/>
                  </a:cubicBezTo>
                  <a:cubicBezTo>
                    <a:pt x="639" y="557"/>
                    <a:pt x="639" y="557"/>
                    <a:pt x="639" y="557"/>
                  </a:cubicBezTo>
                  <a:cubicBezTo>
                    <a:pt x="652" y="585"/>
                    <a:pt x="652" y="585"/>
                    <a:pt x="652" y="585"/>
                  </a:cubicBezTo>
                  <a:cubicBezTo>
                    <a:pt x="659" y="587"/>
                    <a:pt x="659" y="587"/>
                    <a:pt x="659" y="587"/>
                  </a:cubicBezTo>
                  <a:cubicBezTo>
                    <a:pt x="665" y="602"/>
                    <a:pt x="665" y="602"/>
                    <a:pt x="665" y="602"/>
                  </a:cubicBezTo>
                  <a:cubicBezTo>
                    <a:pt x="669" y="606"/>
                    <a:pt x="669" y="606"/>
                    <a:pt x="669" y="606"/>
                  </a:cubicBezTo>
                  <a:cubicBezTo>
                    <a:pt x="666" y="611"/>
                    <a:pt x="666" y="611"/>
                    <a:pt x="666" y="611"/>
                  </a:cubicBezTo>
                  <a:cubicBezTo>
                    <a:pt x="671" y="623"/>
                    <a:pt x="671" y="623"/>
                    <a:pt x="671" y="623"/>
                  </a:cubicBezTo>
                  <a:cubicBezTo>
                    <a:pt x="690" y="643"/>
                    <a:pt x="690" y="643"/>
                    <a:pt x="690" y="643"/>
                  </a:cubicBezTo>
                  <a:cubicBezTo>
                    <a:pt x="689" y="650"/>
                    <a:pt x="689" y="650"/>
                    <a:pt x="689" y="650"/>
                  </a:cubicBezTo>
                  <a:cubicBezTo>
                    <a:pt x="706" y="663"/>
                    <a:pt x="706" y="663"/>
                    <a:pt x="706" y="663"/>
                  </a:cubicBezTo>
                  <a:cubicBezTo>
                    <a:pt x="701" y="668"/>
                    <a:pt x="701" y="668"/>
                    <a:pt x="701" y="668"/>
                  </a:cubicBezTo>
                  <a:cubicBezTo>
                    <a:pt x="700" y="676"/>
                    <a:pt x="700" y="676"/>
                    <a:pt x="700" y="676"/>
                  </a:cubicBezTo>
                  <a:cubicBezTo>
                    <a:pt x="696" y="681"/>
                    <a:pt x="696" y="681"/>
                    <a:pt x="696" y="681"/>
                  </a:cubicBezTo>
                  <a:cubicBezTo>
                    <a:pt x="700" y="688"/>
                    <a:pt x="700" y="688"/>
                    <a:pt x="700" y="688"/>
                  </a:cubicBezTo>
                  <a:cubicBezTo>
                    <a:pt x="705" y="692"/>
                    <a:pt x="705" y="692"/>
                    <a:pt x="705" y="692"/>
                  </a:cubicBezTo>
                  <a:cubicBezTo>
                    <a:pt x="719" y="695"/>
                    <a:pt x="719" y="695"/>
                    <a:pt x="719" y="695"/>
                  </a:cubicBezTo>
                  <a:lnTo>
                    <a:pt x="724" y="705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85" name="Uruguay">
              <a:extLst>
                <a:ext uri="{FF2B5EF4-FFF2-40B4-BE49-F238E27FC236}">
                  <a16:creationId xmlns="" xmlns:a16="http://schemas.microsoft.com/office/drawing/2014/main" id="{2CA98D6C-D9B2-43A1-AB07-D047520F8DE5}"/>
                </a:ext>
              </a:extLst>
            </p:cNvPr>
            <p:cNvSpPr>
              <a:spLocks/>
            </p:cNvSpPr>
            <p:nvPr/>
          </p:nvSpPr>
          <p:spPr bwMode="gray">
            <a:xfrm>
              <a:off x="3647807" y="5006370"/>
              <a:ext cx="152278" cy="204523"/>
            </a:xfrm>
            <a:custGeom>
              <a:avLst/>
              <a:gdLst/>
              <a:ahLst/>
              <a:cxnLst>
                <a:cxn ang="0">
                  <a:pos x="8" y="181"/>
                </a:cxn>
                <a:cxn ang="0">
                  <a:pos x="0" y="162"/>
                </a:cxn>
                <a:cxn ang="0">
                  <a:pos x="2" y="130"/>
                </a:cxn>
                <a:cxn ang="0">
                  <a:pos x="6" y="94"/>
                </a:cxn>
                <a:cxn ang="0">
                  <a:pos x="12" y="68"/>
                </a:cxn>
                <a:cxn ang="0">
                  <a:pos x="30" y="24"/>
                </a:cxn>
                <a:cxn ang="0">
                  <a:pos x="52" y="0"/>
                </a:cxn>
                <a:cxn ang="0">
                  <a:pos x="70" y="40"/>
                </a:cxn>
                <a:cxn ang="0">
                  <a:pos x="84" y="60"/>
                </a:cxn>
                <a:cxn ang="0">
                  <a:pos x="98" y="52"/>
                </a:cxn>
                <a:cxn ang="0">
                  <a:pos x="120" y="70"/>
                </a:cxn>
                <a:cxn ang="0">
                  <a:pos x="144" y="82"/>
                </a:cxn>
                <a:cxn ang="0">
                  <a:pos x="160" y="100"/>
                </a:cxn>
                <a:cxn ang="0">
                  <a:pos x="174" y="124"/>
                </a:cxn>
                <a:cxn ang="0">
                  <a:pos x="188" y="128"/>
                </a:cxn>
                <a:cxn ang="0">
                  <a:pos x="180" y="148"/>
                </a:cxn>
                <a:cxn ang="0">
                  <a:pos x="178" y="168"/>
                </a:cxn>
                <a:cxn ang="0">
                  <a:pos x="178" y="181"/>
                </a:cxn>
                <a:cxn ang="0">
                  <a:pos x="188" y="191"/>
                </a:cxn>
                <a:cxn ang="0">
                  <a:pos x="178" y="211"/>
                </a:cxn>
                <a:cxn ang="0">
                  <a:pos x="170" y="223"/>
                </a:cxn>
                <a:cxn ang="0">
                  <a:pos x="142" y="239"/>
                </a:cxn>
                <a:cxn ang="0">
                  <a:pos x="126" y="247"/>
                </a:cxn>
                <a:cxn ang="0">
                  <a:pos x="86" y="247"/>
                </a:cxn>
                <a:cxn ang="0">
                  <a:pos x="68" y="243"/>
                </a:cxn>
                <a:cxn ang="0">
                  <a:pos x="42" y="227"/>
                </a:cxn>
                <a:cxn ang="0">
                  <a:pos x="26" y="225"/>
                </a:cxn>
                <a:cxn ang="0">
                  <a:pos x="8" y="209"/>
                </a:cxn>
                <a:cxn ang="0">
                  <a:pos x="8" y="181"/>
                </a:cxn>
              </a:cxnLst>
              <a:rect l="0" t="0" r="r" b="b"/>
              <a:pathLst>
                <a:path w="188" h="247">
                  <a:moveTo>
                    <a:pt x="8" y="181"/>
                  </a:moveTo>
                  <a:lnTo>
                    <a:pt x="0" y="162"/>
                  </a:lnTo>
                  <a:lnTo>
                    <a:pt x="2" y="130"/>
                  </a:lnTo>
                  <a:lnTo>
                    <a:pt x="6" y="94"/>
                  </a:lnTo>
                  <a:lnTo>
                    <a:pt x="12" y="68"/>
                  </a:lnTo>
                  <a:lnTo>
                    <a:pt x="30" y="24"/>
                  </a:lnTo>
                  <a:lnTo>
                    <a:pt x="52" y="0"/>
                  </a:lnTo>
                  <a:lnTo>
                    <a:pt x="70" y="40"/>
                  </a:lnTo>
                  <a:lnTo>
                    <a:pt x="84" y="60"/>
                  </a:lnTo>
                  <a:lnTo>
                    <a:pt x="98" y="52"/>
                  </a:lnTo>
                  <a:lnTo>
                    <a:pt x="120" y="70"/>
                  </a:lnTo>
                  <a:lnTo>
                    <a:pt x="144" y="82"/>
                  </a:lnTo>
                  <a:lnTo>
                    <a:pt x="160" y="100"/>
                  </a:lnTo>
                  <a:lnTo>
                    <a:pt x="174" y="124"/>
                  </a:lnTo>
                  <a:lnTo>
                    <a:pt x="188" y="128"/>
                  </a:lnTo>
                  <a:lnTo>
                    <a:pt x="180" y="148"/>
                  </a:lnTo>
                  <a:lnTo>
                    <a:pt x="178" y="168"/>
                  </a:lnTo>
                  <a:lnTo>
                    <a:pt x="178" y="181"/>
                  </a:lnTo>
                  <a:lnTo>
                    <a:pt x="188" y="191"/>
                  </a:lnTo>
                  <a:lnTo>
                    <a:pt x="178" y="211"/>
                  </a:lnTo>
                  <a:lnTo>
                    <a:pt x="170" y="223"/>
                  </a:lnTo>
                  <a:lnTo>
                    <a:pt x="142" y="239"/>
                  </a:lnTo>
                  <a:lnTo>
                    <a:pt x="126" y="247"/>
                  </a:lnTo>
                  <a:lnTo>
                    <a:pt x="86" y="247"/>
                  </a:lnTo>
                  <a:lnTo>
                    <a:pt x="68" y="243"/>
                  </a:lnTo>
                  <a:lnTo>
                    <a:pt x="42" y="227"/>
                  </a:lnTo>
                  <a:lnTo>
                    <a:pt x="26" y="225"/>
                  </a:lnTo>
                  <a:lnTo>
                    <a:pt x="8" y="209"/>
                  </a:lnTo>
                  <a:lnTo>
                    <a:pt x="8" y="181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  <p:sp>
          <p:nvSpPr>
            <p:cNvPr id="86" name="Venezuela">
              <a:extLst>
                <a:ext uri="{FF2B5EF4-FFF2-40B4-BE49-F238E27FC236}">
                  <a16:creationId xmlns="" xmlns:a16="http://schemas.microsoft.com/office/drawing/2014/main" id="{E704E840-45BB-4809-83FC-13AC2AEFFD32}"/>
                </a:ext>
              </a:extLst>
            </p:cNvPr>
            <p:cNvSpPr>
              <a:spLocks/>
            </p:cNvSpPr>
            <p:nvPr/>
          </p:nvSpPr>
          <p:spPr bwMode="gray">
            <a:xfrm>
              <a:off x="3187063" y="3633711"/>
              <a:ext cx="408031" cy="363814"/>
            </a:xfrm>
            <a:custGeom>
              <a:avLst/>
              <a:gdLst/>
              <a:ahLst/>
              <a:cxnLst>
                <a:cxn ang="0">
                  <a:pos x="222" y="409"/>
                </a:cxn>
                <a:cxn ang="0">
                  <a:pos x="226" y="385"/>
                </a:cxn>
                <a:cxn ang="0">
                  <a:pos x="194" y="365"/>
                </a:cxn>
                <a:cxn ang="0">
                  <a:pos x="216" y="345"/>
                </a:cxn>
                <a:cxn ang="0">
                  <a:pos x="204" y="275"/>
                </a:cxn>
                <a:cxn ang="0">
                  <a:pos x="206" y="235"/>
                </a:cxn>
                <a:cxn ang="0">
                  <a:pos x="106" y="205"/>
                </a:cxn>
                <a:cxn ang="0">
                  <a:pos x="28" y="193"/>
                </a:cxn>
                <a:cxn ang="0">
                  <a:pos x="12" y="124"/>
                </a:cxn>
                <a:cxn ang="0">
                  <a:pos x="2" y="76"/>
                </a:cxn>
                <a:cxn ang="0">
                  <a:pos x="38" y="24"/>
                </a:cxn>
                <a:cxn ang="0">
                  <a:pos x="82" y="8"/>
                </a:cxn>
                <a:cxn ang="0">
                  <a:pos x="54" y="26"/>
                </a:cxn>
                <a:cxn ang="0">
                  <a:pos x="58" y="84"/>
                </a:cxn>
                <a:cxn ang="0">
                  <a:pos x="58" y="116"/>
                </a:cxn>
                <a:cxn ang="0">
                  <a:pos x="82" y="122"/>
                </a:cxn>
                <a:cxn ang="0">
                  <a:pos x="70" y="74"/>
                </a:cxn>
                <a:cxn ang="0">
                  <a:pos x="84" y="54"/>
                </a:cxn>
                <a:cxn ang="0">
                  <a:pos x="118" y="38"/>
                </a:cxn>
                <a:cxn ang="0">
                  <a:pos x="122" y="12"/>
                </a:cxn>
                <a:cxn ang="0">
                  <a:pos x="162" y="38"/>
                </a:cxn>
                <a:cxn ang="0">
                  <a:pos x="184" y="70"/>
                </a:cxn>
                <a:cxn ang="0">
                  <a:pos x="244" y="68"/>
                </a:cxn>
                <a:cxn ang="0">
                  <a:pos x="282" y="86"/>
                </a:cxn>
                <a:cxn ang="0">
                  <a:pos x="336" y="68"/>
                </a:cxn>
                <a:cxn ang="0">
                  <a:pos x="426" y="64"/>
                </a:cxn>
                <a:cxn ang="0">
                  <a:pos x="396" y="72"/>
                </a:cxn>
                <a:cxn ang="0">
                  <a:pos x="450" y="106"/>
                </a:cxn>
                <a:cxn ang="0">
                  <a:pos x="476" y="145"/>
                </a:cxn>
                <a:cxn ang="0">
                  <a:pos x="504" y="149"/>
                </a:cxn>
                <a:cxn ang="0">
                  <a:pos x="482" y="201"/>
                </a:cxn>
                <a:cxn ang="0">
                  <a:pos x="454" y="235"/>
                </a:cxn>
                <a:cxn ang="0">
                  <a:pos x="476" y="275"/>
                </a:cxn>
                <a:cxn ang="0">
                  <a:pos x="442" y="303"/>
                </a:cxn>
                <a:cxn ang="0">
                  <a:pos x="406" y="309"/>
                </a:cxn>
                <a:cxn ang="0">
                  <a:pos x="364" y="323"/>
                </a:cxn>
                <a:cxn ang="0">
                  <a:pos x="312" y="307"/>
                </a:cxn>
                <a:cxn ang="0">
                  <a:pos x="336" y="333"/>
                </a:cxn>
                <a:cxn ang="0">
                  <a:pos x="346" y="381"/>
                </a:cxn>
                <a:cxn ang="0">
                  <a:pos x="374" y="387"/>
                </a:cxn>
                <a:cxn ang="0">
                  <a:pos x="326" y="409"/>
                </a:cxn>
                <a:cxn ang="0">
                  <a:pos x="234" y="419"/>
                </a:cxn>
              </a:cxnLst>
              <a:rect l="0" t="0" r="r" b="b"/>
              <a:pathLst>
                <a:path w="504" h="445">
                  <a:moveTo>
                    <a:pt x="226" y="425"/>
                  </a:moveTo>
                  <a:lnTo>
                    <a:pt x="222" y="409"/>
                  </a:lnTo>
                  <a:lnTo>
                    <a:pt x="230" y="405"/>
                  </a:lnTo>
                  <a:lnTo>
                    <a:pt x="226" y="385"/>
                  </a:lnTo>
                  <a:lnTo>
                    <a:pt x="212" y="365"/>
                  </a:lnTo>
                  <a:lnTo>
                    <a:pt x="194" y="365"/>
                  </a:lnTo>
                  <a:lnTo>
                    <a:pt x="198" y="353"/>
                  </a:lnTo>
                  <a:lnTo>
                    <a:pt x="216" y="345"/>
                  </a:lnTo>
                  <a:lnTo>
                    <a:pt x="206" y="317"/>
                  </a:lnTo>
                  <a:lnTo>
                    <a:pt x="204" y="275"/>
                  </a:lnTo>
                  <a:lnTo>
                    <a:pt x="218" y="245"/>
                  </a:lnTo>
                  <a:lnTo>
                    <a:pt x="206" y="235"/>
                  </a:lnTo>
                  <a:lnTo>
                    <a:pt x="144" y="239"/>
                  </a:lnTo>
                  <a:lnTo>
                    <a:pt x="106" y="205"/>
                  </a:lnTo>
                  <a:lnTo>
                    <a:pt x="56" y="205"/>
                  </a:lnTo>
                  <a:lnTo>
                    <a:pt x="28" y="193"/>
                  </a:lnTo>
                  <a:lnTo>
                    <a:pt x="16" y="163"/>
                  </a:lnTo>
                  <a:lnTo>
                    <a:pt x="12" y="124"/>
                  </a:lnTo>
                  <a:lnTo>
                    <a:pt x="0" y="108"/>
                  </a:lnTo>
                  <a:lnTo>
                    <a:pt x="2" y="76"/>
                  </a:lnTo>
                  <a:lnTo>
                    <a:pt x="32" y="44"/>
                  </a:lnTo>
                  <a:lnTo>
                    <a:pt x="38" y="24"/>
                  </a:lnTo>
                  <a:lnTo>
                    <a:pt x="64" y="0"/>
                  </a:lnTo>
                  <a:lnTo>
                    <a:pt x="82" y="8"/>
                  </a:lnTo>
                  <a:lnTo>
                    <a:pt x="74" y="24"/>
                  </a:lnTo>
                  <a:lnTo>
                    <a:pt x="54" y="26"/>
                  </a:lnTo>
                  <a:lnTo>
                    <a:pt x="62" y="52"/>
                  </a:lnTo>
                  <a:lnTo>
                    <a:pt x="58" y="84"/>
                  </a:lnTo>
                  <a:lnTo>
                    <a:pt x="48" y="106"/>
                  </a:lnTo>
                  <a:lnTo>
                    <a:pt x="58" y="116"/>
                  </a:lnTo>
                  <a:lnTo>
                    <a:pt x="62" y="126"/>
                  </a:lnTo>
                  <a:lnTo>
                    <a:pt x="82" y="122"/>
                  </a:lnTo>
                  <a:lnTo>
                    <a:pt x="86" y="104"/>
                  </a:lnTo>
                  <a:lnTo>
                    <a:pt x="70" y="74"/>
                  </a:lnTo>
                  <a:lnTo>
                    <a:pt x="70" y="54"/>
                  </a:lnTo>
                  <a:lnTo>
                    <a:pt x="84" y="54"/>
                  </a:lnTo>
                  <a:lnTo>
                    <a:pt x="98" y="46"/>
                  </a:lnTo>
                  <a:lnTo>
                    <a:pt x="118" y="38"/>
                  </a:lnTo>
                  <a:lnTo>
                    <a:pt x="108" y="26"/>
                  </a:lnTo>
                  <a:lnTo>
                    <a:pt x="122" y="12"/>
                  </a:lnTo>
                  <a:lnTo>
                    <a:pt x="138" y="36"/>
                  </a:lnTo>
                  <a:lnTo>
                    <a:pt x="162" y="38"/>
                  </a:lnTo>
                  <a:lnTo>
                    <a:pt x="186" y="54"/>
                  </a:lnTo>
                  <a:lnTo>
                    <a:pt x="184" y="70"/>
                  </a:lnTo>
                  <a:lnTo>
                    <a:pt x="200" y="76"/>
                  </a:lnTo>
                  <a:lnTo>
                    <a:pt x="244" y="68"/>
                  </a:lnTo>
                  <a:lnTo>
                    <a:pt x="268" y="68"/>
                  </a:lnTo>
                  <a:lnTo>
                    <a:pt x="282" y="86"/>
                  </a:lnTo>
                  <a:lnTo>
                    <a:pt x="324" y="86"/>
                  </a:lnTo>
                  <a:lnTo>
                    <a:pt x="336" y="68"/>
                  </a:lnTo>
                  <a:lnTo>
                    <a:pt x="390" y="62"/>
                  </a:lnTo>
                  <a:lnTo>
                    <a:pt x="426" y="64"/>
                  </a:lnTo>
                  <a:lnTo>
                    <a:pt x="426" y="70"/>
                  </a:lnTo>
                  <a:lnTo>
                    <a:pt x="396" y="72"/>
                  </a:lnTo>
                  <a:lnTo>
                    <a:pt x="410" y="92"/>
                  </a:lnTo>
                  <a:lnTo>
                    <a:pt x="450" y="106"/>
                  </a:lnTo>
                  <a:lnTo>
                    <a:pt x="472" y="114"/>
                  </a:lnTo>
                  <a:lnTo>
                    <a:pt x="476" y="145"/>
                  </a:lnTo>
                  <a:lnTo>
                    <a:pt x="496" y="140"/>
                  </a:lnTo>
                  <a:lnTo>
                    <a:pt x="504" y="149"/>
                  </a:lnTo>
                  <a:lnTo>
                    <a:pt x="484" y="173"/>
                  </a:lnTo>
                  <a:lnTo>
                    <a:pt x="482" y="201"/>
                  </a:lnTo>
                  <a:lnTo>
                    <a:pt x="456" y="209"/>
                  </a:lnTo>
                  <a:lnTo>
                    <a:pt x="454" y="235"/>
                  </a:lnTo>
                  <a:lnTo>
                    <a:pt x="448" y="251"/>
                  </a:lnTo>
                  <a:lnTo>
                    <a:pt x="476" y="275"/>
                  </a:lnTo>
                  <a:lnTo>
                    <a:pt x="458" y="303"/>
                  </a:lnTo>
                  <a:lnTo>
                    <a:pt x="442" y="303"/>
                  </a:lnTo>
                  <a:lnTo>
                    <a:pt x="418" y="317"/>
                  </a:lnTo>
                  <a:lnTo>
                    <a:pt x="406" y="309"/>
                  </a:lnTo>
                  <a:lnTo>
                    <a:pt x="390" y="329"/>
                  </a:lnTo>
                  <a:lnTo>
                    <a:pt x="364" y="323"/>
                  </a:lnTo>
                  <a:lnTo>
                    <a:pt x="348" y="323"/>
                  </a:lnTo>
                  <a:lnTo>
                    <a:pt x="312" y="307"/>
                  </a:lnTo>
                  <a:lnTo>
                    <a:pt x="312" y="325"/>
                  </a:lnTo>
                  <a:lnTo>
                    <a:pt x="336" y="333"/>
                  </a:lnTo>
                  <a:lnTo>
                    <a:pt x="332" y="365"/>
                  </a:lnTo>
                  <a:lnTo>
                    <a:pt x="346" y="381"/>
                  </a:lnTo>
                  <a:lnTo>
                    <a:pt x="372" y="375"/>
                  </a:lnTo>
                  <a:lnTo>
                    <a:pt x="374" y="387"/>
                  </a:lnTo>
                  <a:lnTo>
                    <a:pt x="336" y="419"/>
                  </a:lnTo>
                  <a:lnTo>
                    <a:pt x="326" y="409"/>
                  </a:lnTo>
                  <a:lnTo>
                    <a:pt x="266" y="445"/>
                  </a:lnTo>
                  <a:lnTo>
                    <a:pt x="234" y="419"/>
                  </a:lnTo>
                  <a:lnTo>
                    <a:pt x="226" y="425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31000"/>
              </a:schemeClr>
            </a:solidFill>
            <a:ln w="6350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/>
            <a:lstStyle/>
            <a:p>
              <a:endParaRPr lang="en-US">
                <a:solidFill>
                  <a:prstClr val="black"/>
                </a:solidFill>
                <a:latin typeface="Candara" panose="020E0502030303020204" pitchFamily="34" charset="0"/>
              </a:endParaRPr>
            </a:p>
          </p:txBody>
        </p:sp>
      </p:grpSp>
      <p:sp>
        <p:nvSpPr>
          <p:cNvPr id="39" name="CuadroTexto 38">
            <a:extLst>
              <a:ext uri="{FF2B5EF4-FFF2-40B4-BE49-F238E27FC236}">
                <a16:creationId xmlns="" xmlns:a16="http://schemas.microsoft.com/office/drawing/2014/main" id="{3AD9D758-F745-4D56-BCEA-5363FCEE54A9}"/>
              </a:ext>
            </a:extLst>
          </p:cNvPr>
          <p:cNvSpPr txBox="1"/>
          <p:nvPr/>
        </p:nvSpPr>
        <p:spPr>
          <a:xfrm>
            <a:off x="460889" y="212076"/>
            <a:ext cx="11383748" cy="14496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s-PE" sz="4000" b="1" spc="-60" dirty="0">
                <a:solidFill>
                  <a:prstClr val="white"/>
                </a:solidFill>
                <a:ea typeface="Tahoma" panose="020B0604030504040204" pitchFamily="34" charset="0"/>
                <a:cs typeface="Tahoma" panose="020B0604030504040204" pitchFamily="34" charset="0"/>
              </a:rPr>
              <a:t>Perú, </a:t>
            </a:r>
            <a:r>
              <a:rPr lang="es-PE" sz="5400" b="1" spc="-60" dirty="0">
                <a:solidFill>
                  <a:prstClr val="white"/>
                </a:solidFill>
                <a:ea typeface="Tahoma" panose="020B0604030504040204" pitchFamily="34" charset="0"/>
                <a:cs typeface="Tahoma" panose="020B0604030504040204" pitchFamily="34" charset="0"/>
              </a:rPr>
              <a:t>1</a:t>
            </a:r>
            <a:r>
              <a:rPr lang="es-PE" sz="4000" b="1" spc="-60" dirty="0">
                <a:solidFill>
                  <a:prstClr val="white"/>
                </a:solidFill>
                <a:ea typeface="Tahoma" panose="020B0604030504040204" pitchFamily="34" charset="0"/>
                <a:cs typeface="Tahoma" panose="020B0604030504040204" pitchFamily="34" charset="0"/>
              </a:rPr>
              <a:t>ero en crecimiento exportador más alto del </a:t>
            </a:r>
            <a:r>
              <a:rPr lang="es-419" sz="4000" b="1" spc="-60" dirty="0">
                <a:solidFill>
                  <a:prstClr val="white"/>
                </a:solidFill>
                <a:ea typeface="Tahoma" panose="020B0604030504040204" pitchFamily="34" charset="0"/>
                <a:cs typeface="Tahoma" panose="020B0604030504040204" pitchFamily="34" charset="0"/>
              </a:rPr>
              <a:t>continente</a:t>
            </a:r>
            <a:r>
              <a:rPr lang="es-419" sz="4000" b="1" spc="-60" dirty="0">
                <a:solidFill>
                  <a:srgbClr val="C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s-419" sz="4000" b="1" spc="-60" dirty="0">
                <a:solidFill>
                  <a:prstClr val="white"/>
                </a:solidFill>
                <a:ea typeface="Tahoma" panose="020B0604030504040204" pitchFamily="34" charset="0"/>
                <a:cs typeface="Tahoma" panose="020B0604030504040204" pitchFamily="34" charset="0"/>
              </a:rPr>
              <a:t>americano 2017</a:t>
            </a:r>
            <a:endParaRPr lang="es-PE" sz="4000" b="1" spc="-60" dirty="0">
              <a:solidFill>
                <a:prstClr val="white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40" name="Gráfico 39">
            <a:extLst>
              <a:ext uri="{FF2B5EF4-FFF2-40B4-BE49-F238E27FC236}">
                <a16:creationId xmlns="" xmlns:a16="http://schemas.microsoft.com/office/drawing/2014/main" id="{0539A431-FBE4-46B5-BE4F-A27DE8487D0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26845220"/>
              </p:ext>
            </p:extLst>
          </p:nvPr>
        </p:nvGraphicFramePr>
        <p:xfrm>
          <a:off x="125638" y="1824274"/>
          <a:ext cx="11609162" cy="47531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3" name="Grupo 2"/>
          <p:cNvGrpSpPr/>
          <p:nvPr/>
        </p:nvGrpSpPr>
        <p:grpSpPr>
          <a:xfrm>
            <a:off x="10494509" y="2310409"/>
            <a:ext cx="768096" cy="737335"/>
            <a:chOff x="10478623" y="2192411"/>
            <a:chExt cx="768096" cy="737335"/>
          </a:xfrm>
        </p:grpSpPr>
        <p:sp>
          <p:nvSpPr>
            <p:cNvPr id="42" name="Elipse 41">
              <a:extLst>
                <a:ext uri="{FF2B5EF4-FFF2-40B4-BE49-F238E27FC236}">
                  <a16:creationId xmlns="" xmlns:a16="http://schemas.microsoft.com/office/drawing/2014/main" id="{A5FC634B-3F8C-4A37-B895-F79FC7CE8F2E}"/>
                </a:ext>
              </a:extLst>
            </p:cNvPr>
            <p:cNvSpPr/>
            <p:nvPr/>
          </p:nvSpPr>
          <p:spPr>
            <a:xfrm>
              <a:off x="10478623" y="2192411"/>
              <a:ext cx="723386" cy="737335"/>
            </a:xfrm>
            <a:prstGeom prst="ellipse">
              <a:avLst/>
            </a:prstGeom>
            <a:solidFill>
              <a:schemeClr val="bg1">
                <a:alpha val="79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PE" dirty="0">
                <a:solidFill>
                  <a:prstClr val="white"/>
                </a:solidFill>
              </a:endParaRPr>
            </a:p>
          </p:txBody>
        </p:sp>
        <p:sp>
          <p:nvSpPr>
            <p:cNvPr id="43" name="CuadroTexto 42">
              <a:extLst>
                <a:ext uri="{FF2B5EF4-FFF2-40B4-BE49-F238E27FC236}">
                  <a16:creationId xmlns="" xmlns:a16="http://schemas.microsoft.com/office/drawing/2014/main" id="{76DC4515-248B-4167-B8D9-7F47209965A9}"/>
                </a:ext>
              </a:extLst>
            </p:cNvPr>
            <p:cNvSpPr txBox="1"/>
            <p:nvPr/>
          </p:nvSpPr>
          <p:spPr>
            <a:xfrm>
              <a:off x="10539474" y="2265291"/>
              <a:ext cx="707245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PE" sz="2800" b="1" dirty="0">
                  <a:solidFill>
                    <a:srgbClr val="C00000"/>
                  </a:solidFill>
                  <a:latin typeface="Candara" panose="020E0502030303020204" pitchFamily="34" charset="0"/>
                </a:rPr>
                <a:t>22%</a:t>
              </a:r>
            </a:p>
          </p:txBody>
        </p:sp>
      </p:grpSp>
      <p:sp>
        <p:nvSpPr>
          <p:cNvPr id="44" name="Elipse 43">
            <a:extLst>
              <a:ext uri="{FF2B5EF4-FFF2-40B4-BE49-F238E27FC236}">
                <a16:creationId xmlns="" xmlns:a16="http://schemas.microsoft.com/office/drawing/2014/main" id="{46B4D4ED-96F9-48A5-A5F8-91826C1E5C2E}"/>
              </a:ext>
            </a:extLst>
          </p:cNvPr>
          <p:cNvSpPr/>
          <p:nvPr/>
        </p:nvSpPr>
        <p:spPr>
          <a:xfrm>
            <a:off x="9483846" y="2882854"/>
            <a:ext cx="723386" cy="730149"/>
          </a:xfrm>
          <a:prstGeom prst="ellipse">
            <a:avLst/>
          </a:prstGeom>
          <a:solidFill>
            <a:schemeClr val="bg1">
              <a:alpha val="79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>
              <a:solidFill>
                <a:prstClr val="white"/>
              </a:solidFill>
            </a:endParaRPr>
          </a:p>
        </p:txBody>
      </p:sp>
      <p:sp>
        <p:nvSpPr>
          <p:cNvPr id="45" name="CuadroTexto 44">
            <a:extLst>
              <a:ext uri="{FF2B5EF4-FFF2-40B4-BE49-F238E27FC236}">
                <a16:creationId xmlns="" xmlns:a16="http://schemas.microsoft.com/office/drawing/2014/main" id="{52570331-B812-4633-AD0A-EF7D3B924A56}"/>
              </a:ext>
            </a:extLst>
          </p:cNvPr>
          <p:cNvSpPr txBox="1"/>
          <p:nvPr/>
        </p:nvSpPr>
        <p:spPr>
          <a:xfrm>
            <a:off x="9585570" y="2983808"/>
            <a:ext cx="70724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2400" b="1" dirty="0">
                <a:solidFill>
                  <a:srgbClr val="C00000"/>
                </a:solidFill>
                <a:latin typeface="Candara" panose="020E0502030303020204" pitchFamily="34" charset="0"/>
              </a:rPr>
              <a:t>19%</a:t>
            </a:r>
          </a:p>
        </p:txBody>
      </p:sp>
      <p:sp>
        <p:nvSpPr>
          <p:cNvPr id="46" name="Elipse 45">
            <a:extLst>
              <a:ext uri="{FF2B5EF4-FFF2-40B4-BE49-F238E27FC236}">
                <a16:creationId xmlns="" xmlns:a16="http://schemas.microsoft.com/office/drawing/2014/main" id="{54B53619-4C16-4A69-8533-22C3BACC6D60}"/>
              </a:ext>
            </a:extLst>
          </p:cNvPr>
          <p:cNvSpPr/>
          <p:nvPr/>
        </p:nvSpPr>
        <p:spPr>
          <a:xfrm>
            <a:off x="8493401" y="3008103"/>
            <a:ext cx="723386" cy="737335"/>
          </a:xfrm>
          <a:prstGeom prst="ellipse">
            <a:avLst/>
          </a:prstGeom>
          <a:solidFill>
            <a:schemeClr val="bg1">
              <a:alpha val="79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>
              <a:solidFill>
                <a:prstClr val="white"/>
              </a:solidFill>
            </a:endParaRPr>
          </a:p>
        </p:txBody>
      </p:sp>
      <p:sp>
        <p:nvSpPr>
          <p:cNvPr id="47" name="CuadroTexto 46">
            <a:extLst>
              <a:ext uri="{FF2B5EF4-FFF2-40B4-BE49-F238E27FC236}">
                <a16:creationId xmlns="" xmlns:a16="http://schemas.microsoft.com/office/drawing/2014/main" id="{8FFC05BA-39B4-4F78-B79A-42C3A96DBDFD}"/>
              </a:ext>
            </a:extLst>
          </p:cNvPr>
          <p:cNvSpPr txBox="1"/>
          <p:nvPr/>
        </p:nvSpPr>
        <p:spPr>
          <a:xfrm>
            <a:off x="8587906" y="3136643"/>
            <a:ext cx="70724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2400" b="1" dirty="0">
                <a:solidFill>
                  <a:srgbClr val="C00000"/>
                </a:solidFill>
                <a:latin typeface="Candara" panose="020E0502030303020204" pitchFamily="34" charset="0"/>
              </a:rPr>
              <a:t>18%</a:t>
            </a:r>
          </a:p>
        </p:txBody>
      </p:sp>
      <p:sp>
        <p:nvSpPr>
          <p:cNvPr id="48" name="Elipse 47">
            <a:extLst>
              <a:ext uri="{FF2B5EF4-FFF2-40B4-BE49-F238E27FC236}">
                <a16:creationId xmlns="" xmlns:a16="http://schemas.microsoft.com/office/drawing/2014/main" id="{297E7C9F-2A9A-49D2-834C-08208643B7C2}"/>
              </a:ext>
            </a:extLst>
          </p:cNvPr>
          <p:cNvSpPr/>
          <p:nvPr/>
        </p:nvSpPr>
        <p:spPr>
          <a:xfrm>
            <a:off x="7498438" y="3249017"/>
            <a:ext cx="723386" cy="737335"/>
          </a:xfrm>
          <a:prstGeom prst="ellipse">
            <a:avLst/>
          </a:prstGeom>
          <a:solidFill>
            <a:schemeClr val="bg1">
              <a:alpha val="79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>
              <a:solidFill>
                <a:prstClr val="white"/>
              </a:solidFill>
            </a:endParaRPr>
          </a:p>
        </p:txBody>
      </p:sp>
      <p:sp>
        <p:nvSpPr>
          <p:cNvPr id="49" name="CuadroTexto 48">
            <a:extLst>
              <a:ext uri="{FF2B5EF4-FFF2-40B4-BE49-F238E27FC236}">
                <a16:creationId xmlns="" xmlns:a16="http://schemas.microsoft.com/office/drawing/2014/main" id="{50C582CF-DCD8-4479-AB3F-D63C8D19B7E3}"/>
              </a:ext>
            </a:extLst>
          </p:cNvPr>
          <p:cNvSpPr txBox="1"/>
          <p:nvPr/>
        </p:nvSpPr>
        <p:spPr>
          <a:xfrm>
            <a:off x="7569497" y="3365834"/>
            <a:ext cx="70724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2400" b="1" dirty="0">
                <a:solidFill>
                  <a:srgbClr val="C00000"/>
                </a:solidFill>
                <a:latin typeface="Candara" panose="020E0502030303020204" pitchFamily="34" charset="0"/>
              </a:rPr>
              <a:t>14%</a:t>
            </a:r>
          </a:p>
        </p:txBody>
      </p:sp>
      <p:sp>
        <p:nvSpPr>
          <p:cNvPr id="50" name="Elipse 49">
            <a:extLst>
              <a:ext uri="{FF2B5EF4-FFF2-40B4-BE49-F238E27FC236}">
                <a16:creationId xmlns="" xmlns:a16="http://schemas.microsoft.com/office/drawing/2014/main" id="{31696505-6023-44EC-AC8A-A7DA009AA50D}"/>
              </a:ext>
            </a:extLst>
          </p:cNvPr>
          <p:cNvSpPr/>
          <p:nvPr/>
        </p:nvSpPr>
        <p:spPr>
          <a:xfrm>
            <a:off x="6496149" y="3282958"/>
            <a:ext cx="723386" cy="737335"/>
          </a:xfrm>
          <a:prstGeom prst="ellipse">
            <a:avLst/>
          </a:prstGeom>
          <a:solidFill>
            <a:schemeClr val="bg1">
              <a:alpha val="79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>
              <a:solidFill>
                <a:prstClr val="white"/>
              </a:solidFill>
            </a:endParaRPr>
          </a:p>
        </p:txBody>
      </p:sp>
      <p:sp>
        <p:nvSpPr>
          <p:cNvPr id="51" name="CuadroTexto 50">
            <a:extLst>
              <a:ext uri="{FF2B5EF4-FFF2-40B4-BE49-F238E27FC236}">
                <a16:creationId xmlns="" xmlns:a16="http://schemas.microsoft.com/office/drawing/2014/main" id="{3ADD85C9-D47D-4D21-AEF2-29F462881257}"/>
              </a:ext>
            </a:extLst>
          </p:cNvPr>
          <p:cNvSpPr txBox="1"/>
          <p:nvPr/>
        </p:nvSpPr>
        <p:spPr>
          <a:xfrm>
            <a:off x="6567208" y="3411498"/>
            <a:ext cx="70724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2400" b="1" dirty="0">
                <a:solidFill>
                  <a:srgbClr val="C00000"/>
                </a:solidFill>
                <a:latin typeface="Candara" panose="020E0502030303020204" pitchFamily="34" charset="0"/>
              </a:rPr>
              <a:t>14%</a:t>
            </a:r>
          </a:p>
        </p:txBody>
      </p:sp>
      <p:sp>
        <p:nvSpPr>
          <p:cNvPr id="52" name="Elipse 51">
            <a:extLst>
              <a:ext uri="{FF2B5EF4-FFF2-40B4-BE49-F238E27FC236}">
                <a16:creationId xmlns="" xmlns:a16="http://schemas.microsoft.com/office/drawing/2014/main" id="{7C397DE7-C9B5-44FD-8229-B3FB92E26CF6}"/>
              </a:ext>
            </a:extLst>
          </p:cNvPr>
          <p:cNvSpPr/>
          <p:nvPr/>
        </p:nvSpPr>
        <p:spPr>
          <a:xfrm>
            <a:off x="5496567" y="3521319"/>
            <a:ext cx="723386" cy="737335"/>
          </a:xfrm>
          <a:prstGeom prst="ellipse">
            <a:avLst/>
          </a:prstGeom>
          <a:solidFill>
            <a:schemeClr val="bg1">
              <a:alpha val="79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>
              <a:solidFill>
                <a:prstClr val="white"/>
              </a:solidFill>
            </a:endParaRPr>
          </a:p>
        </p:txBody>
      </p:sp>
      <p:sp>
        <p:nvSpPr>
          <p:cNvPr id="53" name="CuadroTexto 52">
            <a:extLst>
              <a:ext uri="{FF2B5EF4-FFF2-40B4-BE49-F238E27FC236}">
                <a16:creationId xmlns="" xmlns:a16="http://schemas.microsoft.com/office/drawing/2014/main" id="{65EAD7AB-4DF8-4CC6-895D-E748CC7BE75A}"/>
              </a:ext>
            </a:extLst>
          </p:cNvPr>
          <p:cNvSpPr txBox="1"/>
          <p:nvPr/>
        </p:nvSpPr>
        <p:spPr>
          <a:xfrm>
            <a:off x="5567626" y="3638136"/>
            <a:ext cx="70724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2400" b="1" dirty="0">
                <a:solidFill>
                  <a:srgbClr val="C00000"/>
                </a:solidFill>
                <a:latin typeface="Candara" panose="020E0502030303020204" pitchFamily="34" charset="0"/>
              </a:rPr>
              <a:t>13%</a:t>
            </a:r>
          </a:p>
        </p:txBody>
      </p:sp>
      <p:sp>
        <p:nvSpPr>
          <p:cNvPr id="54" name="Elipse 53">
            <a:extLst>
              <a:ext uri="{FF2B5EF4-FFF2-40B4-BE49-F238E27FC236}">
                <a16:creationId xmlns="" xmlns:a16="http://schemas.microsoft.com/office/drawing/2014/main" id="{6433DDD8-C2D4-4E2D-940E-BF0A2EEEDDC8}"/>
              </a:ext>
            </a:extLst>
          </p:cNvPr>
          <p:cNvSpPr/>
          <p:nvPr/>
        </p:nvSpPr>
        <p:spPr>
          <a:xfrm>
            <a:off x="1540281" y="4525299"/>
            <a:ext cx="723386" cy="737335"/>
          </a:xfrm>
          <a:prstGeom prst="ellipse">
            <a:avLst/>
          </a:prstGeom>
          <a:solidFill>
            <a:schemeClr val="bg1">
              <a:alpha val="79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>
              <a:solidFill>
                <a:prstClr val="white"/>
              </a:solidFill>
            </a:endParaRPr>
          </a:p>
        </p:txBody>
      </p:sp>
      <p:sp>
        <p:nvSpPr>
          <p:cNvPr id="59" name="CuadroTexto 58">
            <a:extLst>
              <a:ext uri="{FF2B5EF4-FFF2-40B4-BE49-F238E27FC236}">
                <a16:creationId xmlns="" xmlns:a16="http://schemas.microsoft.com/office/drawing/2014/main" id="{A04C488C-6FC6-42E9-A796-FB8855F168BB}"/>
              </a:ext>
            </a:extLst>
          </p:cNvPr>
          <p:cNvSpPr txBox="1"/>
          <p:nvPr/>
        </p:nvSpPr>
        <p:spPr>
          <a:xfrm>
            <a:off x="1564448" y="4642116"/>
            <a:ext cx="70724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sz="2400" b="1" dirty="0">
                <a:solidFill>
                  <a:srgbClr val="C00000"/>
                </a:solidFill>
                <a:latin typeface="Candara" panose="020E0502030303020204" pitchFamily="34" charset="0"/>
              </a:rPr>
              <a:t>7%</a:t>
            </a:r>
          </a:p>
        </p:txBody>
      </p:sp>
      <p:sp>
        <p:nvSpPr>
          <p:cNvPr id="64" name="Elipse 63">
            <a:extLst>
              <a:ext uri="{FF2B5EF4-FFF2-40B4-BE49-F238E27FC236}">
                <a16:creationId xmlns="" xmlns:a16="http://schemas.microsoft.com/office/drawing/2014/main" id="{F3674A7F-D5FA-464F-94BA-F15B4C1C2A81}"/>
              </a:ext>
            </a:extLst>
          </p:cNvPr>
          <p:cNvSpPr/>
          <p:nvPr/>
        </p:nvSpPr>
        <p:spPr>
          <a:xfrm>
            <a:off x="539147" y="4697368"/>
            <a:ext cx="723386" cy="737335"/>
          </a:xfrm>
          <a:prstGeom prst="ellipse">
            <a:avLst/>
          </a:prstGeom>
          <a:solidFill>
            <a:schemeClr val="bg1">
              <a:alpha val="79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>
              <a:solidFill>
                <a:prstClr val="white"/>
              </a:solidFill>
            </a:endParaRPr>
          </a:p>
        </p:txBody>
      </p:sp>
      <p:sp>
        <p:nvSpPr>
          <p:cNvPr id="65" name="CuadroTexto 64">
            <a:extLst>
              <a:ext uri="{FF2B5EF4-FFF2-40B4-BE49-F238E27FC236}">
                <a16:creationId xmlns="" xmlns:a16="http://schemas.microsoft.com/office/drawing/2014/main" id="{CE87DEB0-7EB7-4F53-A0EB-C7E7416EEE30}"/>
              </a:ext>
            </a:extLst>
          </p:cNvPr>
          <p:cNvSpPr txBox="1"/>
          <p:nvPr/>
        </p:nvSpPr>
        <p:spPr>
          <a:xfrm>
            <a:off x="551212" y="4814185"/>
            <a:ext cx="70724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sz="2400" b="1" dirty="0">
                <a:solidFill>
                  <a:srgbClr val="C00000"/>
                </a:solidFill>
                <a:latin typeface="Candara" panose="020E0502030303020204" pitchFamily="34" charset="0"/>
              </a:rPr>
              <a:t>6%</a:t>
            </a:r>
          </a:p>
        </p:txBody>
      </p:sp>
      <p:sp>
        <p:nvSpPr>
          <p:cNvPr id="60" name="Elipse 59">
            <a:extLst>
              <a:ext uri="{FF2B5EF4-FFF2-40B4-BE49-F238E27FC236}">
                <a16:creationId xmlns="" xmlns:a16="http://schemas.microsoft.com/office/drawing/2014/main" id="{6433DDD8-C2D4-4E2D-940E-BF0A2EEEDDC8}"/>
              </a:ext>
            </a:extLst>
          </p:cNvPr>
          <p:cNvSpPr/>
          <p:nvPr/>
        </p:nvSpPr>
        <p:spPr>
          <a:xfrm>
            <a:off x="2537838" y="4219680"/>
            <a:ext cx="723386" cy="737335"/>
          </a:xfrm>
          <a:prstGeom prst="ellipse">
            <a:avLst/>
          </a:prstGeom>
          <a:solidFill>
            <a:schemeClr val="bg1">
              <a:alpha val="79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>
              <a:solidFill>
                <a:prstClr val="white"/>
              </a:solidFill>
            </a:endParaRPr>
          </a:p>
        </p:txBody>
      </p:sp>
      <p:sp>
        <p:nvSpPr>
          <p:cNvPr id="61" name="CuadroTexto 60">
            <a:extLst>
              <a:ext uri="{FF2B5EF4-FFF2-40B4-BE49-F238E27FC236}">
                <a16:creationId xmlns="" xmlns:a16="http://schemas.microsoft.com/office/drawing/2014/main" id="{A04C488C-6FC6-42E9-A796-FB8855F168BB}"/>
              </a:ext>
            </a:extLst>
          </p:cNvPr>
          <p:cNvSpPr txBox="1"/>
          <p:nvPr/>
        </p:nvSpPr>
        <p:spPr>
          <a:xfrm>
            <a:off x="2542918" y="4336587"/>
            <a:ext cx="70724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sz="2400" b="1" dirty="0">
                <a:solidFill>
                  <a:srgbClr val="C00000"/>
                </a:solidFill>
                <a:latin typeface="Candara" panose="020E0502030303020204" pitchFamily="34" charset="0"/>
              </a:rPr>
              <a:t>8%</a:t>
            </a:r>
          </a:p>
        </p:txBody>
      </p:sp>
      <p:sp>
        <p:nvSpPr>
          <p:cNvPr id="62" name="Elipse 61">
            <a:extLst>
              <a:ext uri="{FF2B5EF4-FFF2-40B4-BE49-F238E27FC236}">
                <a16:creationId xmlns="" xmlns:a16="http://schemas.microsoft.com/office/drawing/2014/main" id="{6433DDD8-C2D4-4E2D-940E-BF0A2EEEDDC8}"/>
              </a:ext>
            </a:extLst>
          </p:cNvPr>
          <p:cNvSpPr/>
          <p:nvPr/>
        </p:nvSpPr>
        <p:spPr>
          <a:xfrm>
            <a:off x="3511182" y="4118731"/>
            <a:ext cx="723386" cy="737335"/>
          </a:xfrm>
          <a:prstGeom prst="ellipse">
            <a:avLst/>
          </a:prstGeom>
          <a:solidFill>
            <a:schemeClr val="bg1">
              <a:alpha val="79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>
              <a:solidFill>
                <a:prstClr val="white"/>
              </a:solidFill>
            </a:endParaRPr>
          </a:p>
        </p:txBody>
      </p:sp>
      <p:sp>
        <p:nvSpPr>
          <p:cNvPr id="70" name="CuadroTexto 69">
            <a:extLst>
              <a:ext uri="{FF2B5EF4-FFF2-40B4-BE49-F238E27FC236}">
                <a16:creationId xmlns="" xmlns:a16="http://schemas.microsoft.com/office/drawing/2014/main" id="{A04C488C-6FC6-42E9-A796-FB8855F168BB}"/>
              </a:ext>
            </a:extLst>
          </p:cNvPr>
          <p:cNvSpPr txBox="1"/>
          <p:nvPr/>
        </p:nvSpPr>
        <p:spPr>
          <a:xfrm>
            <a:off x="3545758" y="4235638"/>
            <a:ext cx="70724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sz="2400" b="1" dirty="0">
                <a:solidFill>
                  <a:srgbClr val="C00000"/>
                </a:solidFill>
                <a:latin typeface="Candara" panose="020E0502030303020204" pitchFamily="34" charset="0"/>
              </a:rPr>
              <a:t>9%</a:t>
            </a:r>
          </a:p>
        </p:txBody>
      </p:sp>
      <p:sp>
        <p:nvSpPr>
          <p:cNvPr id="69" name="Rectángulo 68">
            <a:extLst>
              <a:ext uri="{FF2B5EF4-FFF2-40B4-BE49-F238E27FC236}">
                <a16:creationId xmlns="" xmlns:a16="http://schemas.microsoft.com/office/drawing/2014/main" id="{30A2F181-B6A2-4EE4-B99D-6A29B091878A}"/>
              </a:ext>
            </a:extLst>
          </p:cNvPr>
          <p:cNvSpPr/>
          <p:nvPr/>
        </p:nvSpPr>
        <p:spPr>
          <a:xfrm>
            <a:off x="10324586" y="2051537"/>
            <a:ext cx="1090452" cy="4312726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>
              <a:solidFill>
                <a:prstClr val="white"/>
              </a:solidFill>
            </a:endParaRPr>
          </a:p>
        </p:txBody>
      </p:sp>
      <p:pic>
        <p:nvPicPr>
          <p:cNvPr id="72" name="Imagen 71">
            <a:extLst>
              <a:ext uri="{FF2B5EF4-FFF2-40B4-BE49-F238E27FC236}">
                <a16:creationId xmlns="" xmlns:a16="http://schemas.microsoft.com/office/drawing/2014/main" id="{1A4E5BF9-7706-4A34-9605-00400BEAE03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13304" y="1343465"/>
            <a:ext cx="930507" cy="930504"/>
          </a:xfrm>
          <a:prstGeom prst="rect">
            <a:avLst/>
          </a:prstGeom>
        </p:spPr>
      </p:pic>
      <p:sp>
        <p:nvSpPr>
          <p:cNvPr id="73" name="CuadroTexto 72"/>
          <p:cNvSpPr txBox="1"/>
          <p:nvPr/>
        </p:nvSpPr>
        <p:spPr>
          <a:xfrm>
            <a:off x="278155" y="6364263"/>
            <a:ext cx="172675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sz="1000" dirty="0">
                <a:solidFill>
                  <a:prstClr val="white"/>
                </a:solidFill>
              </a:rPr>
              <a:t>Fecha de corte al 04/06/2018</a:t>
            </a:r>
          </a:p>
        </p:txBody>
      </p:sp>
    </p:spTree>
    <p:extLst>
      <p:ext uri="{BB962C8B-B14F-4D97-AF65-F5344CB8AC3E}">
        <p14:creationId xmlns:p14="http://schemas.microsoft.com/office/powerpoint/2010/main" val="341845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9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4" name="Imagen 133">
            <a:extLst>
              <a:ext uri="{FF2B5EF4-FFF2-40B4-BE49-F238E27FC236}">
                <a16:creationId xmlns="" xmlns:a16="http://schemas.microsoft.com/office/drawing/2014/main" id="{851B55B6-D9CF-419D-A090-3AA8258EC26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5677" y="4163877"/>
            <a:ext cx="2813522" cy="2599871"/>
          </a:xfrm>
          <a:prstGeom prst="rect">
            <a:avLst/>
          </a:prstGeom>
        </p:spPr>
      </p:pic>
      <p:pic>
        <p:nvPicPr>
          <p:cNvPr id="105" name="Imagen 104">
            <a:extLst>
              <a:ext uri="{FF2B5EF4-FFF2-40B4-BE49-F238E27FC236}">
                <a16:creationId xmlns="" xmlns:a16="http://schemas.microsoft.com/office/drawing/2014/main" id="{8171DAE9-082A-49D6-BED7-5D161BE8C86F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854" t="4808" r="48440" b="49192"/>
          <a:stretch/>
        </p:blipFill>
        <p:spPr>
          <a:xfrm>
            <a:off x="148873" y="1661187"/>
            <a:ext cx="2919918" cy="2502690"/>
          </a:xfrm>
          <a:prstGeom prst="rect">
            <a:avLst/>
          </a:prstGeom>
        </p:spPr>
      </p:pic>
      <p:sp>
        <p:nvSpPr>
          <p:cNvPr id="2" name="Rectángulo 1">
            <a:extLst>
              <a:ext uri="{FF2B5EF4-FFF2-40B4-BE49-F238E27FC236}">
                <a16:creationId xmlns="" xmlns:a16="http://schemas.microsoft.com/office/drawing/2014/main" id="{CB0D5A8F-3E41-4267-85F0-A27A7750DFD5}"/>
              </a:ext>
            </a:extLst>
          </p:cNvPr>
          <p:cNvSpPr/>
          <p:nvPr/>
        </p:nvSpPr>
        <p:spPr>
          <a:xfrm>
            <a:off x="158260" y="1681417"/>
            <a:ext cx="2978875" cy="2548029"/>
          </a:xfrm>
          <a:prstGeom prst="rect">
            <a:avLst/>
          </a:prstGeom>
          <a:solidFill>
            <a:srgbClr val="C00000">
              <a:alpha val="50000"/>
            </a:srgb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>
              <a:solidFill>
                <a:prstClr val="white"/>
              </a:solidFill>
            </a:endParaRPr>
          </a:p>
        </p:txBody>
      </p:sp>
      <p:sp>
        <p:nvSpPr>
          <p:cNvPr id="34" name="CuadroTexto 33"/>
          <p:cNvSpPr txBox="1"/>
          <p:nvPr/>
        </p:nvSpPr>
        <p:spPr>
          <a:xfrm>
            <a:off x="228756" y="2235829"/>
            <a:ext cx="2794000" cy="14388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es-ES" sz="2000" b="1" dirty="0">
                <a:solidFill>
                  <a:prstClr val="white"/>
                </a:solidFill>
                <a:latin typeface="Candara" panose="020E0502030303020204" pitchFamily="34" charset="0"/>
              </a:rPr>
              <a:t>Frijoles secos</a:t>
            </a:r>
          </a:p>
          <a:p>
            <a:pPr algn="ctr">
              <a:spcAft>
                <a:spcPts val="300"/>
              </a:spcAft>
            </a:pPr>
            <a:r>
              <a:rPr lang="es-ES" sz="2000" b="1" dirty="0">
                <a:solidFill>
                  <a:prstClr val="white"/>
                </a:solidFill>
                <a:latin typeface="Candara" panose="020E0502030303020204" pitchFamily="34" charset="0"/>
              </a:rPr>
              <a:t>Quinua</a:t>
            </a:r>
          </a:p>
          <a:p>
            <a:pPr algn="ctr">
              <a:spcAft>
                <a:spcPts val="300"/>
              </a:spcAft>
            </a:pPr>
            <a:r>
              <a:rPr lang="es-ES" sz="2000" b="1" dirty="0">
                <a:solidFill>
                  <a:prstClr val="white"/>
                </a:solidFill>
                <a:latin typeface="Candara" panose="020E0502030303020204" pitchFamily="34" charset="0"/>
              </a:rPr>
              <a:t>Maca</a:t>
            </a:r>
          </a:p>
          <a:p>
            <a:pPr algn="ctr">
              <a:spcAft>
                <a:spcPts val="300"/>
              </a:spcAft>
            </a:pPr>
            <a:r>
              <a:rPr lang="es-ES" sz="2000" b="1" dirty="0">
                <a:solidFill>
                  <a:prstClr val="white"/>
                </a:solidFill>
                <a:latin typeface="Candara" panose="020E0502030303020204" pitchFamily="34" charset="0"/>
              </a:rPr>
              <a:t>Lacas colorantes</a:t>
            </a:r>
          </a:p>
        </p:txBody>
      </p:sp>
      <p:sp>
        <p:nvSpPr>
          <p:cNvPr id="76" name="Rectángulo 75">
            <a:extLst>
              <a:ext uri="{FF2B5EF4-FFF2-40B4-BE49-F238E27FC236}">
                <a16:creationId xmlns="" xmlns:a16="http://schemas.microsoft.com/office/drawing/2014/main" id="{138F5063-7AA1-4691-9CCF-3C8B297F1C80}"/>
              </a:ext>
            </a:extLst>
          </p:cNvPr>
          <p:cNvSpPr/>
          <p:nvPr/>
        </p:nvSpPr>
        <p:spPr>
          <a:xfrm>
            <a:off x="4680536" y="4208135"/>
            <a:ext cx="2990084" cy="2588174"/>
          </a:xfrm>
          <a:prstGeom prst="rect">
            <a:avLst/>
          </a:prstGeom>
          <a:solidFill>
            <a:srgbClr val="FEC61E">
              <a:alpha val="50000"/>
            </a:srgb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>
              <a:solidFill>
                <a:prstClr val="white"/>
              </a:solidFill>
            </a:endParaRPr>
          </a:p>
        </p:txBody>
      </p:sp>
      <p:sp>
        <p:nvSpPr>
          <p:cNvPr id="79" name="Rectángulo 78">
            <a:extLst>
              <a:ext uri="{FF2B5EF4-FFF2-40B4-BE49-F238E27FC236}">
                <a16:creationId xmlns="" xmlns:a16="http://schemas.microsoft.com/office/drawing/2014/main" id="{8EFF46A5-1E7A-4BCD-952E-45FEA3C17174}"/>
              </a:ext>
            </a:extLst>
          </p:cNvPr>
          <p:cNvSpPr/>
          <p:nvPr/>
        </p:nvSpPr>
        <p:spPr>
          <a:xfrm>
            <a:off x="124076" y="93823"/>
            <a:ext cx="11925918" cy="1315654"/>
          </a:xfrm>
          <a:prstGeom prst="rect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5">
                  <a:lumMod val="50000"/>
                </a:schemeClr>
              </a:gs>
              <a:gs pos="100000">
                <a:schemeClr val="accent5">
                  <a:lumMod val="75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>
              <a:solidFill>
                <a:prstClr val="white"/>
              </a:solidFill>
            </a:endParaRPr>
          </a:p>
        </p:txBody>
      </p:sp>
      <p:sp>
        <p:nvSpPr>
          <p:cNvPr id="80" name="Título 1">
            <a:extLst>
              <a:ext uri="{FF2B5EF4-FFF2-40B4-BE49-F238E27FC236}">
                <a16:creationId xmlns="" xmlns:a16="http://schemas.microsoft.com/office/drawing/2014/main" id="{DDC38665-83CF-499F-B269-1EAC891B1B9B}"/>
              </a:ext>
            </a:extLst>
          </p:cNvPr>
          <p:cNvSpPr txBox="1">
            <a:spLocks/>
          </p:cNvSpPr>
          <p:nvPr/>
        </p:nvSpPr>
        <p:spPr>
          <a:xfrm>
            <a:off x="199512" y="405932"/>
            <a:ext cx="12121651" cy="603929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s-ES" sz="3500" b="1" kern="0" dirty="0">
                <a:solidFill>
                  <a:prstClr val="white"/>
                </a:solidFill>
                <a:latin typeface="Candara" panose="020E0502030303020204" pitchFamily="34" charset="0"/>
              </a:rPr>
              <a:t>Perú lidera el ranking mundial de productos No Tradicionales</a:t>
            </a:r>
            <a:endParaRPr lang="es-PE" sz="3500" b="1" kern="0" dirty="0">
              <a:solidFill>
                <a:prstClr val="white"/>
              </a:solidFill>
              <a:latin typeface="Candara" panose="020E0502030303020204" pitchFamily="34" charset="0"/>
            </a:endParaRPr>
          </a:p>
        </p:txBody>
      </p:sp>
      <p:grpSp>
        <p:nvGrpSpPr>
          <p:cNvPr id="5" name="Grupo 4"/>
          <p:cNvGrpSpPr/>
          <p:nvPr/>
        </p:nvGrpSpPr>
        <p:grpSpPr>
          <a:xfrm>
            <a:off x="1139210" y="1131877"/>
            <a:ext cx="860472" cy="797600"/>
            <a:chOff x="1139210" y="1131877"/>
            <a:chExt cx="860472" cy="797600"/>
          </a:xfrm>
        </p:grpSpPr>
        <p:sp>
          <p:nvSpPr>
            <p:cNvPr id="81" name="Elipse 80">
              <a:extLst>
                <a:ext uri="{FF2B5EF4-FFF2-40B4-BE49-F238E27FC236}">
                  <a16:creationId xmlns="" xmlns:a16="http://schemas.microsoft.com/office/drawing/2014/main" id="{A9A712FA-CA59-47C9-A040-90B55AA3D469}"/>
                </a:ext>
              </a:extLst>
            </p:cNvPr>
            <p:cNvSpPr/>
            <p:nvPr/>
          </p:nvSpPr>
          <p:spPr>
            <a:xfrm>
              <a:off x="1162129" y="1160036"/>
              <a:ext cx="815354" cy="769441"/>
            </a:xfrm>
            <a:prstGeom prst="ellipse">
              <a:avLst/>
            </a:prstGeom>
            <a:solidFill>
              <a:srgbClr val="FEC61E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400" b="1" dirty="0">
                <a:ln w="22225">
                  <a:solidFill>
                    <a:srgbClr val="C0504D"/>
                  </a:solidFill>
                  <a:prstDash val="solid"/>
                </a:ln>
                <a:solidFill>
                  <a:srgbClr val="002060"/>
                </a:solidFill>
                <a:latin typeface="Bree Peru Lt" panose="02000503040000020004" pitchFamily="50" charset="0"/>
              </a:endParaRPr>
            </a:p>
          </p:txBody>
        </p:sp>
        <p:sp>
          <p:nvSpPr>
            <p:cNvPr id="82" name="Rectángulo 81">
              <a:extLst>
                <a:ext uri="{FF2B5EF4-FFF2-40B4-BE49-F238E27FC236}">
                  <a16:creationId xmlns="" xmlns:a16="http://schemas.microsoft.com/office/drawing/2014/main" id="{ACB131CA-2EBB-4E45-9FE7-F139CF443AE7}"/>
                </a:ext>
              </a:extLst>
            </p:cNvPr>
            <p:cNvSpPr/>
            <p:nvPr/>
          </p:nvSpPr>
          <p:spPr>
            <a:xfrm>
              <a:off x="1139210" y="1131877"/>
              <a:ext cx="860472" cy="769441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es-ES" sz="4400" dirty="0">
                  <a:ln w="0"/>
                  <a:solidFill>
                    <a:prstClr val="white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latin typeface="Candara" panose="020E0502030303020204" pitchFamily="34" charset="0"/>
                </a:rPr>
                <a:t>1</a:t>
              </a:r>
            </a:p>
          </p:txBody>
        </p:sp>
      </p:grpSp>
      <p:sp>
        <p:nvSpPr>
          <p:cNvPr id="103" name="CuadroTexto 102">
            <a:extLst>
              <a:ext uri="{FF2B5EF4-FFF2-40B4-BE49-F238E27FC236}">
                <a16:creationId xmlns="" xmlns:a16="http://schemas.microsoft.com/office/drawing/2014/main" id="{97BC70D4-688F-4E13-B4ED-B0A3716DC99C}"/>
              </a:ext>
            </a:extLst>
          </p:cNvPr>
          <p:cNvSpPr txBox="1"/>
          <p:nvPr/>
        </p:nvSpPr>
        <p:spPr>
          <a:xfrm>
            <a:off x="4978042" y="4978147"/>
            <a:ext cx="237208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PE"/>
            </a:defPPr>
            <a:lvl1pPr algn="ctr">
              <a:defRPr sz="1600" b="1">
                <a:solidFill>
                  <a:schemeClr val="bg1"/>
                </a:solidFill>
                <a:latin typeface="Candara" panose="020E0502030303020204" pitchFamily="34" charset="0"/>
              </a:defRPr>
            </a:lvl1pPr>
          </a:lstStyle>
          <a:p>
            <a:r>
              <a:rPr lang="es-ES" sz="2000" dirty="0">
                <a:solidFill>
                  <a:prstClr val="white"/>
                </a:solidFill>
              </a:rPr>
              <a:t>Mandarinas frescas</a:t>
            </a:r>
          </a:p>
          <a:p>
            <a:r>
              <a:rPr lang="es-ES" sz="2000" dirty="0">
                <a:solidFill>
                  <a:prstClr val="white"/>
                </a:solidFill>
              </a:rPr>
              <a:t>Pelo fino de Alpaca</a:t>
            </a:r>
          </a:p>
          <a:p>
            <a:r>
              <a:rPr lang="es-ES" sz="2000" dirty="0">
                <a:solidFill>
                  <a:prstClr val="white"/>
                </a:solidFill>
              </a:rPr>
              <a:t>Jibias, globitos, calamares y pota</a:t>
            </a:r>
          </a:p>
        </p:txBody>
      </p:sp>
      <p:pic>
        <p:nvPicPr>
          <p:cNvPr id="4" name="Imagen 3">
            <a:extLst>
              <a:ext uri="{FF2B5EF4-FFF2-40B4-BE49-F238E27FC236}">
                <a16:creationId xmlns="" xmlns:a16="http://schemas.microsoft.com/office/drawing/2014/main" id="{B747B367-9FAC-49AF-AA99-203BE9A714C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5975" y="1696799"/>
            <a:ext cx="2888161" cy="2511336"/>
          </a:xfrm>
          <a:prstGeom prst="rect">
            <a:avLst/>
          </a:prstGeom>
        </p:spPr>
      </p:pic>
      <p:sp>
        <p:nvSpPr>
          <p:cNvPr id="106" name="Rectángulo 105">
            <a:extLst>
              <a:ext uri="{FF2B5EF4-FFF2-40B4-BE49-F238E27FC236}">
                <a16:creationId xmlns="" xmlns:a16="http://schemas.microsoft.com/office/drawing/2014/main" id="{B6E04B14-2057-4065-B9DC-F35B17F4E276}"/>
              </a:ext>
            </a:extLst>
          </p:cNvPr>
          <p:cNvSpPr/>
          <p:nvPr/>
        </p:nvSpPr>
        <p:spPr>
          <a:xfrm>
            <a:off x="3128668" y="1681417"/>
            <a:ext cx="2945899" cy="2575881"/>
          </a:xfrm>
          <a:prstGeom prst="rect">
            <a:avLst/>
          </a:prstGeom>
          <a:solidFill>
            <a:schemeClr val="accent6">
              <a:lumMod val="75000"/>
              <a:alpha val="50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>
              <a:solidFill>
                <a:prstClr val="white"/>
              </a:solidFill>
            </a:endParaRPr>
          </a:p>
        </p:txBody>
      </p:sp>
      <p:grpSp>
        <p:nvGrpSpPr>
          <p:cNvPr id="7" name="Grupo 6"/>
          <p:cNvGrpSpPr/>
          <p:nvPr/>
        </p:nvGrpSpPr>
        <p:grpSpPr>
          <a:xfrm>
            <a:off x="4130062" y="1050725"/>
            <a:ext cx="831131" cy="930674"/>
            <a:chOff x="4130062" y="1050725"/>
            <a:chExt cx="831131" cy="930674"/>
          </a:xfrm>
        </p:grpSpPr>
        <p:sp>
          <p:nvSpPr>
            <p:cNvPr id="107" name="Elipse 106">
              <a:extLst>
                <a:ext uri="{FF2B5EF4-FFF2-40B4-BE49-F238E27FC236}">
                  <a16:creationId xmlns="" xmlns:a16="http://schemas.microsoft.com/office/drawing/2014/main" id="{49B43E1B-C7E4-44D1-8357-5AA8D4611140}"/>
                </a:ext>
              </a:extLst>
            </p:cNvPr>
            <p:cNvSpPr/>
            <p:nvPr/>
          </p:nvSpPr>
          <p:spPr>
            <a:xfrm>
              <a:off x="4130062" y="1165945"/>
              <a:ext cx="831131" cy="815454"/>
            </a:xfrm>
            <a:prstGeom prst="ellipse">
              <a:avLst/>
            </a:prstGeom>
            <a:solidFill>
              <a:srgbClr val="FEC61E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400" b="1" dirty="0">
                <a:ln w="22225">
                  <a:solidFill>
                    <a:srgbClr val="C0504D"/>
                  </a:solidFill>
                  <a:prstDash val="solid"/>
                </a:ln>
                <a:solidFill>
                  <a:srgbClr val="002060"/>
                </a:solidFill>
                <a:latin typeface="Bree Peru Lt" panose="02000503040000020004" pitchFamily="50" charset="0"/>
              </a:endParaRPr>
            </a:p>
          </p:txBody>
        </p:sp>
        <p:sp>
          <p:nvSpPr>
            <p:cNvPr id="108" name="Rectángulo 107">
              <a:extLst>
                <a:ext uri="{FF2B5EF4-FFF2-40B4-BE49-F238E27FC236}">
                  <a16:creationId xmlns="" xmlns:a16="http://schemas.microsoft.com/office/drawing/2014/main" id="{E7F434A4-5840-4BF0-BBFA-9AB6F83F96AF}"/>
                </a:ext>
              </a:extLst>
            </p:cNvPr>
            <p:cNvSpPr/>
            <p:nvPr/>
          </p:nvSpPr>
          <p:spPr>
            <a:xfrm>
              <a:off x="4430114" y="1050725"/>
              <a:ext cx="293754" cy="923330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es-ES" sz="5400" dirty="0">
                  <a:ln w="0"/>
                  <a:solidFill>
                    <a:prstClr val="white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latin typeface="Candara" panose="020E0502030303020204" pitchFamily="34" charset="0"/>
                </a:rPr>
                <a:t>2</a:t>
              </a:r>
            </a:p>
          </p:txBody>
        </p:sp>
      </p:grpSp>
      <p:sp>
        <p:nvSpPr>
          <p:cNvPr id="109" name="CuadroTexto 108">
            <a:extLst>
              <a:ext uri="{FF2B5EF4-FFF2-40B4-BE49-F238E27FC236}">
                <a16:creationId xmlns="" xmlns:a16="http://schemas.microsoft.com/office/drawing/2014/main" id="{651951E1-D440-41F1-A6EF-B24583066314}"/>
              </a:ext>
            </a:extLst>
          </p:cNvPr>
          <p:cNvSpPr txBox="1"/>
          <p:nvPr/>
        </p:nvSpPr>
        <p:spPr>
          <a:xfrm>
            <a:off x="3240654" y="2101176"/>
            <a:ext cx="2646174" cy="1708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es-ES" sz="2000" b="1" dirty="0">
                <a:solidFill>
                  <a:prstClr val="white"/>
                </a:solidFill>
                <a:latin typeface="Candara" panose="020E0502030303020204" pitchFamily="34" charset="0"/>
              </a:rPr>
              <a:t>Mixtura de vegetales en conserva</a:t>
            </a:r>
          </a:p>
          <a:p>
            <a:pPr algn="ctr">
              <a:spcAft>
                <a:spcPts val="300"/>
              </a:spcAft>
            </a:pPr>
            <a:r>
              <a:rPr lang="es-ES" sz="2000" b="1" dirty="0">
                <a:solidFill>
                  <a:prstClr val="white"/>
                </a:solidFill>
                <a:latin typeface="Candara" panose="020E0502030303020204" pitchFamily="34" charset="0"/>
              </a:rPr>
              <a:t>Espárragos frescos y en conserva</a:t>
            </a:r>
          </a:p>
          <a:p>
            <a:pPr algn="ctr">
              <a:spcAft>
                <a:spcPts val="300"/>
              </a:spcAft>
            </a:pPr>
            <a:r>
              <a:rPr lang="es-ES" sz="2000" b="1" dirty="0">
                <a:solidFill>
                  <a:prstClr val="white"/>
                </a:solidFill>
                <a:latin typeface="Candara" panose="020E0502030303020204" pitchFamily="34" charset="0"/>
              </a:rPr>
              <a:t>Nueces del Brasil</a:t>
            </a:r>
            <a:endParaRPr lang="es-ES" sz="1600" b="1" dirty="0">
              <a:solidFill>
                <a:prstClr val="white"/>
              </a:solidFill>
              <a:latin typeface="Candara" panose="020E0502030303020204" pitchFamily="34" charset="0"/>
            </a:endParaRPr>
          </a:p>
        </p:txBody>
      </p:sp>
      <p:pic>
        <p:nvPicPr>
          <p:cNvPr id="8" name="Imagen 7">
            <a:extLst>
              <a:ext uri="{FF2B5EF4-FFF2-40B4-BE49-F238E27FC236}">
                <a16:creationId xmlns="" xmlns:a16="http://schemas.microsoft.com/office/drawing/2014/main" id="{700915AF-25FF-4478-9311-85D61F2ADD3F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204"/>
          <a:stretch/>
        </p:blipFill>
        <p:spPr>
          <a:xfrm>
            <a:off x="6052713" y="1651146"/>
            <a:ext cx="2912768" cy="2544250"/>
          </a:xfrm>
          <a:prstGeom prst="rect">
            <a:avLst/>
          </a:prstGeom>
        </p:spPr>
      </p:pic>
      <p:sp>
        <p:nvSpPr>
          <p:cNvPr id="124" name="Rectángulo 123">
            <a:extLst>
              <a:ext uri="{FF2B5EF4-FFF2-40B4-BE49-F238E27FC236}">
                <a16:creationId xmlns="" xmlns:a16="http://schemas.microsoft.com/office/drawing/2014/main" id="{3B693930-FC8F-41FA-8E12-F4EA61C5734C}"/>
              </a:ext>
            </a:extLst>
          </p:cNvPr>
          <p:cNvSpPr/>
          <p:nvPr/>
        </p:nvSpPr>
        <p:spPr>
          <a:xfrm>
            <a:off x="6092401" y="1681417"/>
            <a:ext cx="2990084" cy="2526717"/>
          </a:xfrm>
          <a:prstGeom prst="rect">
            <a:avLst/>
          </a:prstGeom>
          <a:solidFill>
            <a:schemeClr val="accent3">
              <a:lumMod val="75000"/>
              <a:alpha val="50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>
              <a:solidFill>
                <a:prstClr val="white"/>
              </a:solidFill>
            </a:endParaRPr>
          </a:p>
        </p:txBody>
      </p:sp>
      <p:grpSp>
        <p:nvGrpSpPr>
          <p:cNvPr id="13" name="Grupo 12"/>
          <p:cNvGrpSpPr/>
          <p:nvPr/>
        </p:nvGrpSpPr>
        <p:grpSpPr>
          <a:xfrm>
            <a:off x="7064078" y="1087290"/>
            <a:ext cx="831131" cy="889419"/>
            <a:chOff x="7064078" y="1087290"/>
            <a:chExt cx="831131" cy="889419"/>
          </a:xfrm>
        </p:grpSpPr>
        <p:sp>
          <p:nvSpPr>
            <p:cNvPr id="125" name="Elipse 124">
              <a:extLst>
                <a:ext uri="{FF2B5EF4-FFF2-40B4-BE49-F238E27FC236}">
                  <a16:creationId xmlns="" xmlns:a16="http://schemas.microsoft.com/office/drawing/2014/main" id="{E5F7F485-CDE8-474D-B3D9-44D4222972F4}"/>
                </a:ext>
              </a:extLst>
            </p:cNvPr>
            <p:cNvSpPr/>
            <p:nvPr/>
          </p:nvSpPr>
          <p:spPr>
            <a:xfrm>
              <a:off x="7064078" y="1161255"/>
              <a:ext cx="831131" cy="815454"/>
            </a:xfrm>
            <a:prstGeom prst="ellipse">
              <a:avLst/>
            </a:prstGeom>
            <a:solidFill>
              <a:srgbClr val="FEC61E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400" b="1" dirty="0">
                <a:ln w="22225">
                  <a:solidFill>
                    <a:srgbClr val="C0504D"/>
                  </a:solidFill>
                  <a:prstDash val="solid"/>
                </a:ln>
                <a:solidFill>
                  <a:srgbClr val="002060"/>
                </a:solidFill>
                <a:latin typeface="Bree Peru Lt" panose="02000503040000020004" pitchFamily="50" charset="0"/>
              </a:endParaRPr>
            </a:p>
          </p:txBody>
        </p:sp>
        <p:sp>
          <p:nvSpPr>
            <p:cNvPr id="126" name="Rectángulo 125">
              <a:extLst>
                <a:ext uri="{FF2B5EF4-FFF2-40B4-BE49-F238E27FC236}">
                  <a16:creationId xmlns="" xmlns:a16="http://schemas.microsoft.com/office/drawing/2014/main" id="{89951A3D-2804-4995-9521-74ECCCC7ED51}"/>
                </a:ext>
              </a:extLst>
            </p:cNvPr>
            <p:cNvSpPr/>
            <p:nvPr/>
          </p:nvSpPr>
          <p:spPr>
            <a:xfrm>
              <a:off x="7364307" y="1087290"/>
              <a:ext cx="293754" cy="769441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es-ES" sz="4400" dirty="0">
                  <a:ln w="0"/>
                  <a:solidFill>
                    <a:prstClr val="white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latin typeface="Candara" panose="020E0502030303020204" pitchFamily="34" charset="0"/>
                </a:rPr>
                <a:t>3</a:t>
              </a:r>
            </a:p>
          </p:txBody>
        </p:sp>
      </p:grpSp>
      <p:sp>
        <p:nvSpPr>
          <p:cNvPr id="127" name="CuadroTexto 126">
            <a:extLst>
              <a:ext uri="{FF2B5EF4-FFF2-40B4-BE49-F238E27FC236}">
                <a16:creationId xmlns="" xmlns:a16="http://schemas.microsoft.com/office/drawing/2014/main" id="{B996FEDF-17F7-405A-9CEF-F7FB79579109}"/>
              </a:ext>
            </a:extLst>
          </p:cNvPr>
          <p:cNvSpPr txBox="1"/>
          <p:nvPr/>
        </p:nvSpPr>
        <p:spPr>
          <a:xfrm>
            <a:off x="5991366" y="2087305"/>
            <a:ext cx="3103525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es-ES" sz="2000" b="1" dirty="0">
                <a:solidFill>
                  <a:prstClr val="white"/>
                </a:solidFill>
                <a:latin typeface="Candara" panose="020E0502030303020204" pitchFamily="34" charset="0"/>
              </a:rPr>
              <a:t>Paltas frescas</a:t>
            </a:r>
          </a:p>
          <a:p>
            <a:pPr algn="ctr">
              <a:spcAft>
                <a:spcPts val="300"/>
              </a:spcAft>
            </a:pPr>
            <a:r>
              <a:rPr lang="es-ES" sz="2000" b="1" dirty="0">
                <a:solidFill>
                  <a:prstClr val="white"/>
                </a:solidFill>
                <a:latin typeface="Candara" panose="020E0502030303020204" pitchFamily="34" charset="0"/>
              </a:rPr>
              <a:t>Arándanos frescos</a:t>
            </a:r>
          </a:p>
          <a:p>
            <a:pPr algn="ctr">
              <a:spcAft>
                <a:spcPts val="300"/>
              </a:spcAft>
            </a:pPr>
            <a:r>
              <a:rPr lang="es-ES" sz="2000" b="1" dirty="0">
                <a:solidFill>
                  <a:prstClr val="white"/>
                </a:solidFill>
                <a:latin typeface="Candara" panose="020E0502030303020204" pitchFamily="34" charset="0"/>
              </a:rPr>
              <a:t>Páprika</a:t>
            </a:r>
          </a:p>
          <a:p>
            <a:pPr algn="ctr">
              <a:spcAft>
                <a:spcPts val="300"/>
              </a:spcAft>
            </a:pPr>
            <a:r>
              <a:rPr lang="es-ES" sz="2000" b="1" dirty="0">
                <a:solidFill>
                  <a:prstClr val="white"/>
                </a:solidFill>
                <a:latin typeface="Candara" panose="020E0502030303020204" pitchFamily="34" charset="0"/>
              </a:rPr>
              <a:t>Cortezas de agrios </a:t>
            </a:r>
            <a:r>
              <a:rPr lang="es-ES" sz="1600" b="1" dirty="0">
                <a:solidFill>
                  <a:prstClr val="white"/>
                </a:solidFill>
                <a:latin typeface="Candara" panose="020E0502030303020204" pitchFamily="34" charset="0"/>
              </a:rPr>
              <a:t>(limón</a:t>
            </a:r>
            <a:r>
              <a:rPr lang="es-ES" sz="2000" b="1" dirty="0">
                <a:solidFill>
                  <a:prstClr val="white"/>
                </a:solidFill>
                <a:latin typeface="Candara" panose="020E0502030303020204" pitchFamily="34" charset="0"/>
              </a:rPr>
              <a:t>)</a:t>
            </a:r>
          </a:p>
          <a:p>
            <a:pPr algn="ctr">
              <a:spcAft>
                <a:spcPts val="300"/>
              </a:spcAft>
            </a:pPr>
            <a:r>
              <a:rPr lang="es-ES" sz="2000" b="1" dirty="0">
                <a:solidFill>
                  <a:prstClr val="white"/>
                </a:solidFill>
                <a:latin typeface="Candara" panose="020E0502030303020204" pitchFamily="34" charset="0"/>
              </a:rPr>
              <a:t>Leche evaporada</a:t>
            </a:r>
            <a:endParaRPr lang="es-ES" sz="1200" b="1" dirty="0">
              <a:solidFill>
                <a:srgbClr val="002060"/>
              </a:solidFill>
              <a:latin typeface="Bree Peru Lt" panose="02000503040000020004" pitchFamily="50" charset="0"/>
            </a:endParaRPr>
          </a:p>
        </p:txBody>
      </p:sp>
      <p:pic>
        <p:nvPicPr>
          <p:cNvPr id="128" name="Imagen 127">
            <a:extLst>
              <a:ext uri="{FF2B5EF4-FFF2-40B4-BE49-F238E27FC236}">
                <a16:creationId xmlns="" xmlns:a16="http://schemas.microsoft.com/office/drawing/2014/main" id="{92897028-34E9-485D-8216-936523D21BE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2852" y="1696343"/>
            <a:ext cx="3078498" cy="2479601"/>
          </a:xfrm>
          <a:prstGeom prst="rect">
            <a:avLst/>
          </a:prstGeom>
        </p:spPr>
      </p:pic>
      <p:sp>
        <p:nvSpPr>
          <p:cNvPr id="129" name="Rectángulo 128">
            <a:extLst>
              <a:ext uri="{FF2B5EF4-FFF2-40B4-BE49-F238E27FC236}">
                <a16:creationId xmlns="" xmlns:a16="http://schemas.microsoft.com/office/drawing/2014/main" id="{4D52C0A5-58EC-4F32-B539-75FE33C4B69A}"/>
              </a:ext>
            </a:extLst>
          </p:cNvPr>
          <p:cNvSpPr/>
          <p:nvPr/>
        </p:nvSpPr>
        <p:spPr>
          <a:xfrm>
            <a:off x="9046233" y="1676683"/>
            <a:ext cx="3080134" cy="2538934"/>
          </a:xfrm>
          <a:prstGeom prst="rect">
            <a:avLst/>
          </a:prstGeom>
          <a:solidFill>
            <a:schemeClr val="accent6">
              <a:lumMod val="75000"/>
              <a:alpha val="50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>
              <a:solidFill>
                <a:prstClr val="white"/>
              </a:solidFill>
            </a:endParaRPr>
          </a:p>
        </p:txBody>
      </p:sp>
      <p:grpSp>
        <p:nvGrpSpPr>
          <p:cNvPr id="12" name="Grupo 11"/>
          <p:cNvGrpSpPr/>
          <p:nvPr/>
        </p:nvGrpSpPr>
        <p:grpSpPr>
          <a:xfrm>
            <a:off x="10109725" y="1078823"/>
            <a:ext cx="831131" cy="902576"/>
            <a:chOff x="10109725" y="1078823"/>
            <a:chExt cx="831131" cy="902576"/>
          </a:xfrm>
        </p:grpSpPr>
        <p:sp>
          <p:nvSpPr>
            <p:cNvPr id="130" name="Elipse 129">
              <a:extLst>
                <a:ext uri="{FF2B5EF4-FFF2-40B4-BE49-F238E27FC236}">
                  <a16:creationId xmlns="" xmlns:a16="http://schemas.microsoft.com/office/drawing/2014/main" id="{5CDF28C0-3427-4B25-B64E-781F86013B30}"/>
                </a:ext>
              </a:extLst>
            </p:cNvPr>
            <p:cNvSpPr/>
            <p:nvPr/>
          </p:nvSpPr>
          <p:spPr>
            <a:xfrm>
              <a:off x="10109725" y="1165945"/>
              <a:ext cx="831131" cy="815454"/>
            </a:xfrm>
            <a:prstGeom prst="ellipse">
              <a:avLst/>
            </a:prstGeom>
            <a:solidFill>
              <a:srgbClr val="FEC61E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400" b="1" dirty="0">
                <a:ln w="22225">
                  <a:solidFill>
                    <a:srgbClr val="C0504D"/>
                  </a:solidFill>
                  <a:prstDash val="solid"/>
                </a:ln>
                <a:solidFill>
                  <a:srgbClr val="002060"/>
                </a:solidFill>
                <a:latin typeface="Bree Peru Lt" panose="02000503040000020004" pitchFamily="50" charset="0"/>
              </a:endParaRPr>
            </a:p>
          </p:txBody>
        </p:sp>
        <p:sp>
          <p:nvSpPr>
            <p:cNvPr id="131" name="Rectángulo 130">
              <a:extLst>
                <a:ext uri="{FF2B5EF4-FFF2-40B4-BE49-F238E27FC236}">
                  <a16:creationId xmlns="" xmlns:a16="http://schemas.microsoft.com/office/drawing/2014/main" id="{C9042688-8278-45EC-B503-6C6AB21774E8}"/>
                </a:ext>
              </a:extLst>
            </p:cNvPr>
            <p:cNvSpPr/>
            <p:nvPr/>
          </p:nvSpPr>
          <p:spPr>
            <a:xfrm>
              <a:off x="10363131" y="1078823"/>
              <a:ext cx="293754" cy="769441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es-ES" sz="4400" dirty="0">
                  <a:ln w="0"/>
                  <a:solidFill>
                    <a:prstClr val="white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latin typeface="Candara" panose="020E0502030303020204" pitchFamily="34" charset="0"/>
                </a:rPr>
                <a:t>4</a:t>
              </a:r>
            </a:p>
          </p:txBody>
        </p:sp>
      </p:grpSp>
      <p:sp>
        <p:nvSpPr>
          <p:cNvPr id="132" name="CuadroTexto 131">
            <a:extLst>
              <a:ext uri="{FF2B5EF4-FFF2-40B4-BE49-F238E27FC236}">
                <a16:creationId xmlns="" xmlns:a16="http://schemas.microsoft.com/office/drawing/2014/main" id="{A5454293-E025-4C36-9BCE-976DDB33AEEC}"/>
              </a:ext>
            </a:extLst>
          </p:cNvPr>
          <p:cNvSpPr txBox="1"/>
          <p:nvPr/>
        </p:nvSpPr>
        <p:spPr>
          <a:xfrm>
            <a:off x="9404755" y="2428189"/>
            <a:ext cx="2354324" cy="10541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es-ES" sz="2000" b="1" dirty="0">
                <a:solidFill>
                  <a:prstClr val="white"/>
                </a:solidFill>
                <a:latin typeface="Candara" panose="020E0502030303020204" pitchFamily="34" charset="0"/>
              </a:rPr>
              <a:t>Mangos frescos</a:t>
            </a:r>
          </a:p>
          <a:p>
            <a:pPr algn="ctr">
              <a:spcAft>
                <a:spcPts val="300"/>
              </a:spcAft>
            </a:pPr>
            <a:r>
              <a:rPr lang="es-ES" sz="2000" b="1" dirty="0">
                <a:solidFill>
                  <a:prstClr val="white"/>
                </a:solidFill>
                <a:latin typeface="Candara" panose="020E0502030303020204" pitchFamily="34" charset="0"/>
              </a:rPr>
              <a:t>Palmitos en conserva</a:t>
            </a:r>
            <a:endParaRPr lang="es-ES" sz="1400" b="1" dirty="0">
              <a:solidFill>
                <a:prstClr val="black">
                  <a:lumMod val="75000"/>
                  <a:lumOff val="25000"/>
                </a:prstClr>
              </a:solidFill>
              <a:latin typeface="Candara" panose="020E0502030303020204" pitchFamily="34" charset="0"/>
            </a:endParaRPr>
          </a:p>
        </p:txBody>
      </p:sp>
      <p:grpSp>
        <p:nvGrpSpPr>
          <p:cNvPr id="136" name="Grupo 135">
            <a:extLst>
              <a:ext uri="{FF2B5EF4-FFF2-40B4-BE49-F238E27FC236}">
                <a16:creationId xmlns="" xmlns:a16="http://schemas.microsoft.com/office/drawing/2014/main" id="{91DD6F75-DD65-4ACC-BD3A-22D36E2A5006}"/>
              </a:ext>
            </a:extLst>
          </p:cNvPr>
          <p:cNvGrpSpPr/>
          <p:nvPr/>
        </p:nvGrpSpPr>
        <p:grpSpPr>
          <a:xfrm>
            <a:off x="5670703" y="3841850"/>
            <a:ext cx="831131" cy="815454"/>
            <a:chOff x="-923745" y="2197467"/>
            <a:chExt cx="831131" cy="815454"/>
          </a:xfrm>
        </p:grpSpPr>
        <p:sp>
          <p:nvSpPr>
            <p:cNvPr id="137" name="Elipse 136">
              <a:extLst>
                <a:ext uri="{FF2B5EF4-FFF2-40B4-BE49-F238E27FC236}">
                  <a16:creationId xmlns="" xmlns:a16="http://schemas.microsoft.com/office/drawing/2014/main" id="{2EDF1051-FAD2-465F-A5A6-6E78960EC825}"/>
                </a:ext>
              </a:extLst>
            </p:cNvPr>
            <p:cNvSpPr/>
            <p:nvPr/>
          </p:nvSpPr>
          <p:spPr>
            <a:xfrm>
              <a:off x="-923745" y="2197467"/>
              <a:ext cx="831131" cy="815454"/>
            </a:xfrm>
            <a:prstGeom prst="ellipse">
              <a:avLst/>
            </a:prstGeom>
            <a:solidFill>
              <a:srgbClr val="FEC61E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400" b="1" dirty="0">
                <a:ln w="22225">
                  <a:solidFill>
                    <a:srgbClr val="C0504D"/>
                  </a:solidFill>
                  <a:prstDash val="solid"/>
                </a:ln>
                <a:solidFill>
                  <a:srgbClr val="002060"/>
                </a:solidFill>
                <a:latin typeface="Bree Peru Lt" panose="02000503040000020004" pitchFamily="50" charset="0"/>
              </a:endParaRPr>
            </a:p>
          </p:txBody>
        </p:sp>
        <p:sp>
          <p:nvSpPr>
            <p:cNvPr id="138" name="Rectángulo 137">
              <a:extLst>
                <a:ext uri="{FF2B5EF4-FFF2-40B4-BE49-F238E27FC236}">
                  <a16:creationId xmlns="" xmlns:a16="http://schemas.microsoft.com/office/drawing/2014/main" id="{D11BBD8D-7A8F-4DCA-8CFB-919218DC73B3}"/>
                </a:ext>
              </a:extLst>
            </p:cNvPr>
            <p:cNvSpPr/>
            <p:nvPr/>
          </p:nvSpPr>
          <p:spPr>
            <a:xfrm>
              <a:off x="-646674" y="2245753"/>
              <a:ext cx="293754" cy="707886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es-ES" sz="4000" dirty="0">
                  <a:ln w="0"/>
                  <a:solidFill>
                    <a:prstClr val="white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latin typeface="Candara" panose="020E0502030303020204" pitchFamily="34" charset="0"/>
                </a:rPr>
                <a:t>8</a:t>
              </a:r>
            </a:p>
          </p:txBody>
        </p:sp>
      </p:grpSp>
      <p:pic>
        <p:nvPicPr>
          <p:cNvPr id="142" name="Imagen 141">
            <a:extLst>
              <a:ext uri="{FF2B5EF4-FFF2-40B4-BE49-F238E27FC236}">
                <a16:creationId xmlns="" xmlns:a16="http://schemas.microsoft.com/office/drawing/2014/main" id="{DB5498DE-11DF-4642-A869-F6D8FC2A312F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1768" y="4265676"/>
            <a:ext cx="2945669" cy="2505232"/>
          </a:xfrm>
          <a:prstGeom prst="rect">
            <a:avLst/>
          </a:prstGeom>
        </p:spPr>
      </p:pic>
      <p:sp>
        <p:nvSpPr>
          <p:cNvPr id="143" name="Rectángulo 142">
            <a:extLst>
              <a:ext uri="{FF2B5EF4-FFF2-40B4-BE49-F238E27FC236}">
                <a16:creationId xmlns="" xmlns:a16="http://schemas.microsoft.com/office/drawing/2014/main" id="{B78B82B7-A804-4AC0-9CBC-2A12D2EDCF3B}"/>
              </a:ext>
            </a:extLst>
          </p:cNvPr>
          <p:cNvSpPr/>
          <p:nvPr/>
        </p:nvSpPr>
        <p:spPr>
          <a:xfrm>
            <a:off x="1710971" y="4259717"/>
            <a:ext cx="2982826" cy="2536592"/>
          </a:xfrm>
          <a:prstGeom prst="rect">
            <a:avLst/>
          </a:prstGeom>
          <a:solidFill>
            <a:schemeClr val="tx1">
              <a:lumMod val="65000"/>
              <a:lumOff val="35000"/>
              <a:alpha val="50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>
              <a:solidFill>
                <a:prstClr val="white"/>
              </a:solidFill>
            </a:endParaRPr>
          </a:p>
        </p:txBody>
      </p:sp>
      <p:sp>
        <p:nvSpPr>
          <p:cNvPr id="145" name="CuadroTexto 144">
            <a:extLst>
              <a:ext uri="{FF2B5EF4-FFF2-40B4-BE49-F238E27FC236}">
                <a16:creationId xmlns="" xmlns:a16="http://schemas.microsoft.com/office/drawing/2014/main" id="{E874EF76-CDD1-4777-A5BA-5BE28A18BC6E}"/>
              </a:ext>
            </a:extLst>
          </p:cNvPr>
          <p:cNvSpPr txBox="1"/>
          <p:nvPr/>
        </p:nvSpPr>
        <p:spPr>
          <a:xfrm>
            <a:off x="2152053" y="4841474"/>
            <a:ext cx="1984225" cy="1708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es-ES" sz="2000" b="1" dirty="0">
                <a:solidFill>
                  <a:prstClr val="white"/>
                </a:solidFill>
                <a:latin typeface="Candara" panose="020E0502030303020204" pitchFamily="34" charset="0"/>
              </a:rPr>
              <a:t>Aceitunas conservadas</a:t>
            </a:r>
          </a:p>
          <a:p>
            <a:pPr algn="ctr">
              <a:spcAft>
                <a:spcPts val="300"/>
              </a:spcAft>
            </a:pPr>
            <a:r>
              <a:rPr lang="es-ES" sz="2000" b="1" dirty="0">
                <a:solidFill>
                  <a:prstClr val="white"/>
                </a:solidFill>
                <a:latin typeface="Candara" panose="020E0502030303020204" pitchFamily="34" charset="0"/>
              </a:rPr>
              <a:t>Conchas de abanico</a:t>
            </a:r>
          </a:p>
          <a:p>
            <a:pPr algn="ctr">
              <a:spcAft>
                <a:spcPts val="300"/>
              </a:spcAft>
            </a:pPr>
            <a:r>
              <a:rPr lang="es-ES" sz="2000" b="1" dirty="0">
                <a:solidFill>
                  <a:prstClr val="white"/>
                </a:solidFill>
                <a:latin typeface="Candara" panose="020E0502030303020204" pitchFamily="34" charset="0"/>
              </a:rPr>
              <a:t>Uvas frescas</a:t>
            </a:r>
            <a:endParaRPr lang="es-ES" b="1" dirty="0">
              <a:solidFill>
                <a:srgbClr val="002060"/>
              </a:solidFill>
              <a:latin typeface="Bree Peru Lt" panose="02000503040000020004" pitchFamily="50" charset="0"/>
            </a:endParaRPr>
          </a:p>
        </p:txBody>
      </p:sp>
      <p:grpSp>
        <p:nvGrpSpPr>
          <p:cNvPr id="10" name="Grupo 9"/>
          <p:cNvGrpSpPr/>
          <p:nvPr/>
        </p:nvGrpSpPr>
        <p:grpSpPr>
          <a:xfrm>
            <a:off x="2710903" y="3782025"/>
            <a:ext cx="831131" cy="896302"/>
            <a:chOff x="1154241" y="3722647"/>
            <a:chExt cx="831131" cy="896302"/>
          </a:xfrm>
        </p:grpSpPr>
        <p:sp>
          <p:nvSpPr>
            <p:cNvPr id="146" name="Elipse 145">
              <a:extLst>
                <a:ext uri="{FF2B5EF4-FFF2-40B4-BE49-F238E27FC236}">
                  <a16:creationId xmlns="" xmlns:a16="http://schemas.microsoft.com/office/drawing/2014/main" id="{7D50A268-2BE2-442A-A7BE-CC618AE4D091}"/>
                </a:ext>
              </a:extLst>
            </p:cNvPr>
            <p:cNvSpPr/>
            <p:nvPr/>
          </p:nvSpPr>
          <p:spPr>
            <a:xfrm>
              <a:off x="1154241" y="3803495"/>
              <a:ext cx="831131" cy="815454"/>
            </a:xfrm>
            <a:prstGeom prst="ellipse">
              <a:avLst/>
            </a:prstGeom>
            <a:solidFill>
              <a:srgbClr val="FEC61E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400" b="1" dirty="0">
                <a:ln w="22225">
                  <a:solidFill>
                    <a:srgbClr val="C0504D"/>
                  </a:solidFill>
                  <a:prstDash val="solid"/>
                </a:ln>
                <a:solidFill>
                  <a:srgbClr val="002060"/>
                </a:solidFill>
                <a:latin typeface="Bree Peru Lt" panose="02000503040000020004" pitchFamily="50" charset="0"/>
              </a:endParaRPr>
            </a:p>
          </p:txBody>
        </p:sp>
        <p:sp>
          <p:nvSpPr>
            <p:cNvPr id="147" name="Rectángulo 146">
              <a:extLst>
                <a:ext uri="{FF2B5EF4-FFF2-40B4-BE49-F238E27FC236}">
                  <a16:creationId xmlns="" xmlns:a16="http://schemas.microsoft.com/office/drawing/2014/main" id="{F7EF456F-29DA-4373-B7DB-8C11A89849F0}"/>
                </a:ext>
              </a:extLst>
            </p:cNvPr>
            <p:cNvSpPr/>
            <p:nvPr/>
          </p:nvSpPr>
          <p:spPr>
            <a:xfrm>
              <a:off x="1432218" y="3722647"/>
              <a:ext cx="293754" cy="769441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es-ES" sz="4400" dirty="0">
                  <a:ln w="0"/>
                  <a:solidFill>
                    <a:prstClr val="white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latin typeface="Candara" panose="020E0502030303020204" pitchFamily="34" charset="0"/>
                </a:rPr>
                <a:t>5</a:t>
              </a:r>
            </a:p>
          </p:txBody>
        </p:sp>
      </p:grpSp>
      <p:pic>
        <p:nvPicPr>
          <p:cNvPr id="54" name="Picture 2" descr="Resultado de imagen para cebollas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3602" y="4310376"/>
            <a:ext cx="2857500" cy="2143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5" name="Rectángulo 54">
            <a:extLst>
              <a:ext uri="{FF2B5EF4-FFF2-40B4-BE49-F238E27FC236}">
                <a16:creationId xmlns="" xmlns:a16="http://schemas.microsoft.com/office/drawing/2014/main" id="{78021ADB-277E-460D-A848-3BDDC7A06E5C}"/>
              </a:ext>
            </a:extLst>
          </p:cNvPr>
          <p:cNvSpPr/>
          <p:nvPr/>
        </p:nvSpPr>
        <p:spPr>
          <a:xfrm>
            <a:off x="7689110" y="4215615"/>
            <a:ext cx="2900278" cy="2580693"/>
          </a:xfrm>
          <a:prstGeom prst="rect">
            <a:avLst/>
          </a:prstGeom>
          <a:solidFill>
            <a:schemeClr val="accent4">
              <a:lumMod val="60000"/>
              <a:lumOff val="40000"/>
              <a:alpha val="50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>
              <a:solidFill>
                <a:prstClr val="white"/>
              </a:solidFill>
            </a:endParaRPr>
          </a:p>
        </p:txBody>
      </p:sp>
      <p:sp>
        <p:nvSpPr>
          <p:cNvPr id="56" name="CuadroTexto 55">
            <a:extLst>
              <a:ext uri="{FF2B5EF4-FFF2-40B4-BE49-F238E27FC236}">
                <a16:creationId xmlns="" xmlns:a16="http://schemas.microsoft.com/office/drawing/2014/main" id="{6166BD46-693E-49B2-AD10-0CC0C5701751}"/>
              </a:ext>
            </a:extLst>
          </p:cNvPr>
          <p:cNvSpPr txBox="1"/>
          <p:nvPr/>
        </p:nvSpPr>
        <p:spPr>
          <a:xfrm>
            <a:off x="7955071" y="5181883"/>
            <a:ext cx="237869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PE"/>
            </a:defPPr>
            <a:lvl1pPr algn="ctr">
              <a:defRPr sz="1600" b="1">
                <a:solidFill>
                  <a:schemeClr val="bg1"/>
                </a:solidFill>
                <a:latin typeface="Candara" panose="020E0502030303020204" pitchFamily="34" charset="0"/>
              </a:defRPr>
            </a:lvl1pPr>
          </a:lstStyle>
          <a:p>
            <a:r>
              <a:rPr lang="es-ES" sz="2000" dirty="0">
                <a:solidFill>
                  <a:prstClr val="white"/>
                </a:solidFill>
              </a:rPr>
              <a:t>Cebollas </a:t>
            </a:r>
          </a:p>
        </p:txBody>
      </p:sp>
      <p:grpSp>
        <p:nvGrpSpPr>
          <p:cNvPr id="11" name="Grupo 10"/>
          <p:cNvGrpSpPr/>
          <p:nvPr/>
        </p:nvGrpSpPr>
        <p:grpSpPr>
          <a:xfrm>
            <a:off x="8716350" y="3820104"/>
            <a:ext cx="850416" cy="820144"/>
            <a:chOff x="10109725" y="3832053"/>
            <a:chExt cx="850416" cy="820144"/>
          </a:xfrm>
        </p:grpSpPr>
        <p:sp>
          <p:nvSpPr>
            <p:cNvPr id="139" name="Elipse 138">
              <a:extLst>
                <a:ext uri="{FF2B5EF4-FFF2-40B4-BE49-F238E27FC236}">
                  <a16:creationId xmlns="" xmlns:a16="http://schemas.microsoft.com/office/drawing/2014/main" id="{1979BB1D-F85D-4F3E-9A3E-0562B89DFF2D}"/>
                </a:ext>
              </a:extLst>
            </p:cNvPr>
            <p:cNvSpPr/>
            <p:nvPr/>
          </p:nvSpPr>
          <p:spPr>
            <a:xfrm>
              <a:off x="10109725" y="3836743"/>
              <a:ext cx="831131" cy="815454"/>
            </a:xfrm>
            <a:prstGeom prst="ellipse">
              <a:avLst/>
            </a:prstGeom>
            <a:solidFill>
              <a:srgbClr val="FEC61E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 sz="1400" b="1" dirty="0">
                <a:ln w="22225">
                  <a:solidFill>
                    <a:srgbClr val="C0504D"/>
                  </a:solidFill>
                  <a:prstDash val="solid"/>
                </a:ln>
                <a:solidFill>
                  <a:srgbClr val="002060"/>
                </a:solidFill>
                <a:latin typeface="Bree Peru Lt" panose="02000503040000020004" pitchFamily="50" charset="0"/>
              </a:endParaRPr>
            </a:p>
          </p:txBody>
        </p:sp>
        <p:sp>
          <p:nvSpPr>
            <p:cNvPr id="140" name="Rectángulo 139">
              <a:extLst>
                <a:ext uri="{FF2B5EF4-FFF2-40B4-BE49-F238E27FC236}">
                  <a16:creationId xmlns="" xmlns:a16="http://schemas.microsoft.com/office/drawing/2014/main" id="{378C30AE-743F-4124-800D-B10309AC237C}"/>
                </a:ext>
              </a:extLst>
            </p:cNvPr>
            <p:cNvSpPr/>
            <p:nvPr/>
          </p:nvSpPr>
          <p:spPr>
            <a:xfrm>
              <a:off x="10123494" y="3832053"/>
              <a:ext cx="836647" cy="769441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es-ES" sz="4400" dirty="0">
                  <a:ln w="0"/>
                  <a:solidFill>
                    <a:prstClr val="white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  <a:latin typeface="Candara" panose="020E0502030303020204" pitchFamily="34" charset="0"/>
                </a:rPr>
                <a:t>10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413763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7" presetClass="emph" presetSubtype="0" fill="remove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6" dur="250" autoRev="1" fill="remove"/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7" dur="250" autoRev="1" fill="remove"/>
                                        <p:tgtEl>
                                          <p:spTgt spid="2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8" dur="250" autoRev="1" fill="remove"/>
                                        <p:tgtEl>
                                          <p:spTgt spid="2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9" dur="250" autoRev="1" fill="remove"/>
                                        <p:tgtEl>
                                          <p:spTgt spid="2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27" presetClass="emph" presetSubtype="0" fill="remove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2" dur="250" autoRev="1" fill="remove"/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13" dur="250" autoRev="1" fill="remove"/>
                                        <p:tgtEl>
                                          <p:spTgt spid="10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14" dur="250" autoRev="1" fill="remove"/>
                                        <p:tgtEl>
                                          <p:spTgt spid="10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5" dur="250" autoRev="1" fill="remove"/>
                                        <p:tgtEl>
                                          <p:spTgt spid="106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27" presetClass="emph" presetSubtype="0" fill="remove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8" dur="250" autoRev="1" fill="remove"/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19" dur="250" autoRev="1" fill="remove"/>
                                        <p:tgtEl>
                                          <p:spTgt spid="124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20" dur="250" autoRev="1" fill="remove"/>
                                        <p:tgtEl>
                                          <p:spTgt spid="124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1" dur="250" autoRev="1" fill="remove"/>
                                        <p:tgtEl>
                                          <p:spTgt spid="124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27" presetClass="emph" presetSubtype="0" fill="remove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24" dur="250" autoRev="1" fill="remove"/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25" dur="250" autoRev="1" fill="remove"/>
                                        <p:tgtEl>
                                          <p:spTgt spid="12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26" dur="250" autoRev="1" fill="remove"/>
                                        <p:tgtEl>
                                          <p:spTgt spid="12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7" dur="250" autoRev="1" fill="remove"/>
                                        <p:tgtEl>
                                          <p:spTgt spid="129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000"/>
                            </p:stCondLst>
                            <p:childTnLst>
                              <p:par>
                                <p:cTn id="29" presetID="27" presetClass="emph" presetSubtype="0" fill="remove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30" dur="250" autoRev="1" fill="remove"/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31" dur="250" autoRev="1" fill="remove"/>
                                        <p:tgtEl>
                                          <p:spTgt spid="143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32" dur="250" autoRev="1" fill="remove"/>
                                        <p:tgtEl>
                                          <p:spTgt spid="143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3" dur="250" autoRev="1" fill="remove"/>
                                        <p:tgtEl>
                                          <p:spTgt spid="143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2500"/>
                            </p:stCondLst>
                            <p:childTnLst>
                              <p:par>
                                <p:cTn id="35" presetID="27" presetClass="emph" presetSubtype="0" fill="remove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36" dur="250" autoRev="1" fill="remove"/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37" dur="250" autoRev="1" fill="remove"/>
                                        <p:tgtEl>
                                          <p:spTgt spid="7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38" dur="250" autoRev="1" fill="remove"/>
                                        <p:tgtEl>
                                          <p:spTgt spid="7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9" dur="250" autoRev="1" fill="remove"/>
                                        <p:tgtEl>
                                          <p:spTgt spid="76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3000"/>
                            </p:stCondLst>
                            <p:childTnLst>
                              <p:par>
                                <p:cTn id="41" presetID="27" presetClass="emph" presetSubtype="0" fill="remove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42" dur="250" autoRev="1" fill="remove"/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43" dur="250" autoRev="1" fill="remove"/>
                                        <p:tgtEl>
                                          <p:spTgt spid="55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44" dur="250" autoRev="1" fill="remove"/>
                                        <p:tgtEl>
                                          <p:spTgt spid="55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5" dur="250" autoRev="1" fill="remove"/>
                                        <p:tgtEl>
                                          <p:spTgt spid="55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76" grpId="0" animBg="1"/>
      <p:bldP spid="106" grpId="0" animBg="1"/>
      <p:bldP spid="124" grpId="0" animBg="1"/>
      <p:bldP spid="129" grpId="0" animBg="1"/>
      <p:bldP spid="143" grpId="0" animBg="1"/>
      <p:bldP spid="55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08" name="Grupo 607"/>
          <p:cNvGrpSpPr/>
          <p:nvPr/>
        </p:nvGrpSpPr>
        <p:grpSpPr>
          <a:xfrm>
            <a:off x="2120030" y="1142979"/>
            <a:ext cx="8942539" cy="5080497"/>
            <a:chOff x="1624730" y="1142979"/>
            <a:chExt cx="8942539" cy="5080497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609" name="Freeform 5"/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>
              <a:off x="1624730" y="1501377"/>
              <a:ext cx="934945" cy="535693"/>
            </a:xfrm>
            <a:custGeom>
              <a:avLst/>
              <a:gdLst>
                <a:gd name="T0" fmla="*/ 605085 w 1808"/>
                <a:gd name="T1" fmla="*/ 423521 h 850"/>
                <a:gd name="T2" fmla="*/ 604651 w 1808"/>
                <a:gd name="T3" fmla="*/ 395181 h 850"/>
                <a:gd name="T4" fmla="*/ 595543 w 1808"/>
                <a:gd name="T5" fmla="*/ 340076 h 850"/>
                <a:gd name="T6" fmla="*/ 573855 w 1808"/>
                <a:gd name="T7" fmla="*/ 336403 h 850"/>
                <a:gd name="T8" fmla="*/ 548263 w 1808"/>
                <a:gd name="T9" fmla="*/ 335353 h 850"/>
                <a:gd name="T10" fmla="*/ 491876 w 1808"/>
                <a:gd name="T11" fmla="*/ 305439 h 850"/>
                <a:gd name="T12" fmla="*/ 422041 w 1808"/>
                <a:gd name="T13" fmla="*/ 281823 h 850"/>
                <a:gd name="T14" fmla="*/ 409029 w 1808"/>
                <a:gd name="T15" fmla="*/ 264504 h 850"/>
                <a:gd name="T16" fmla="*/ 390811 w 1808"/>
                <a:gd name="T17" fmla="*/ 270802 h 850"/>
                <a:gd name="T18" fmla="*/ 368256 w 1808"/>
                <a:gd name="T19" fmla="*/ 299141 h 850"/>
                <a:gd name="T20" fmla="*/ 292783 w 1808"/>
                <a:gd name="T21" fmla="*/ 324857 h 850"/>
                <a:gd name="T22" fmla="*/ 294084 w 1808"/>
                <a:gd name="T23" fmla="*/ 303340 h 850"/>
                <a:gd name="T24" fmla="*/ 312736 w 1808"/>
                <a:gd name="T25" fmla="*/ 287596 h 850"/>
                <a:gd name="T26" fmla="*/ 340930 w 1808"/>
                <a:gd name="T27" fmla="*/ 286021 h 850"/>
                <a:gd name="T28" fmla="*/ 314037 w 1808"/>
                <a:gd name="T29" fmla="*/ 277099 h 850"/>
                <a:gd name="T30" fmla="*/ 250709 w 1808"/>
                <a:gd name="T31" fmla="*/ 309113 h 850"/>
                <a:gd name="T32" fmla="*/ 237263 w 1808"/>
                <a:gd name="T33" fmla="*/ 328006 h 850"/>
                <a:gd name="T34" fmla="*/ 228154 w 1808"/>
                <a:gd name="T35" fmla="*/ 341126 h 850"/>
                <a:gd name="T36" fmla="*/ 196056 w 1808"/>
                <a:gd name="T37" fmla="*/ 343225 h 850"/>
                <a:gd name="T38" fmla="*/ 166127 w 1808"/>
                <a:gd name="T39" fmla="*/ 368416 h 850"/>
                <a:gd name="T40" fmla="*/ 109306 w 1808"/>
                <a:gd name="T41" fmla="*/ 393607 h 850"/>
                <a:gd name="T42" fmla="*/ 45544 w 1808"/>
                <a:gd name="T43" fmla="*/ 423521 h 850"/>
                <a:gd name="T44" fmla="*/ 1735 w 1808"/>
                <a:gd name="T45" fmla="*/ 426670 h 850"/>
                <a:gd name="T46" fmla="*/ 6073 w 1808"/>
                <a:gd name="T47" fmla="*/ 414075 h 850"/>
                <a:gd name="T48" fmla="*/ 55087 w 1808"/>
                <a:gd name="T49" fmla="*/ 399380 h 850"/>
                <a:gd name="T50" fmla="*/ 114944 w 1808"/>
                <a:gd name="T51" fmla="*/ 365267 h 850"/>
                <a:gd name="T52" fmla="*/ 130126 w 1808"/>
                <a:gd name="T53" fmla="*/ 328531 h 850"/>
                <a:gd name="T54" fmla="*/ 109739 w 1808"/>
                <a:gd name="T55" fmla="*/ 344800 h 850"/>
                <a:gd name="T56" fmla="*/ 65063 w 1808"/>
                <a:gd name="T57" fmla="*/ 337452 h 850"/>
                <a:gd name="T58" fmla="*/ 74605 w 1808"/>
                <a:gd name="T59" fmla="*/ 320134 h 850"/>
                <a:gd name="T60" fmla="*/ 104101 w 1808"/>
                <a:gd name="T61" fmla="*/ 287071 h 850"/>
                <a:gd name="T62" fmla="*/ 65930 w 1808"/>
                <a:gd name="T63" fmla="*/ 301765 h 850"/>
                <a:gd name="T64" fmla="*/ 62027 w 1808"/>
                <a:gd name="T65" fmla="*/ 281298 h 850"/>
                <a:gd name="T66" fmla="*/ 150078 w 1808"/>
                <a:gd name="T67" fmla="*/ 199428 h 850"/>
                <a:gd name="T68" fmla="*/ 192586 w 1808"/>
                <a:gd name="T69" fmla="*/ 200477 h 850"/>
                <a:gd name="T70" fmla="*/ 246805 w 1808"/>
                <a:gd name="T71" fmla="*/ 183158 h 850"/>
                <a:gd name="T72" fmla="*/ 256782 w 1808"/>
                <a:gd name="T73" fmla="*/ 160592 h 850"/>
                <a:gd name="T74" fmla="*/ 219479 w 1808"/>
                <a:gd name="T75" fmla="*/ 173712 h 850"/>
                <a:gd name="T76" fmla="*/ 189984 w 1808"/>
                <a:gd name="T77" fmla="*/ 166889 h 850"/>
                <a:gd name="T78" fmla="*/ 204731 w 1808"/>
                <a:gd name="T79" fmla="*/ 150620 h 850"/>
                <a:gd name="T80" fmla="*/ 308398 w 1808"/>
                <a:gd name="T81" fmla="*/ 124905 h 850"/>
                <a:gd name="T82" fmla="*/ 324881 w 1808"/>
                <a:gd name="T83" fmla="*/ 110210 h 850"/>
                <a:gd name="T84" fmla="*/ 296687 w 1808"/>
                <a:gd name="T85" fmla="*/ 92366 h 850"/>
                <a:gd name="T86" fmla="*/ 320543 w 1808"/>
                <a:gd name="T87" fmla="*/ 57204 h 850"/>
                <a:gd name="T88" fmla="*/ 428548 w 1808"/>
                <a:gd name="T89" fmla="*/ 14170 h 850"/>
                <a:gd name="T90" fmla="*/ 501852 w 1808"/>
                <a:gd name="T91" fmla="*/ 4723 h 850"/>
                <a:gd name="T92" fmla="*/ 553902 w 1808"/>
                <a:gd name="T93" fmla="*/ 1050 h 850"/>
                <a:gd name="T94" fmla="*/ 587301 w 1808"/>
                <a:gd name="T95" fmla="*/ 5248 h 850"/>
                <a:gd name="T96" fmla="*/ 657569 w 1808"/>
                <a:gd name="T97" fmla="*/ 17844 h 850"/>
                <a:gd name="T98" fmla="*/ 763839 w 1808"/>
                <a:gd name="T99" fmla="*/ 21517 h 850"/>
                <a:gd name="T100" fmla="*/ 558240 w 1808"/>
                <a:gd name="T101" fmla="*/ 283397 h 850"/>
                <a:gd name="T102" fmla="*/ 572987 w 1808"/>
                <a:gd name="T103" fmla="*/ 299666 h 850"/>
                <a:gd name="T104" fmla="*/ 575590 w 1808"/>
                <a:gd name="T105" fmla="*/ 315410 h 850"/>
                <a:gd name="T106" fmla="*/ 599446 w 1808"/>
                <a:gd name="T107" fmla="*/ 314361 h 850"/>
                <a:gd name="T108" fmla="*/ 619833 w 1808"/>
                <a:gd name="T109" fmla="*/ 302815 h 850"/>
                <a:gd name="T110" fmla="*/ 639785 w 1808"/>
                <a:gd name="T111" fmla="*/ 350048 h 850"/>
                <a:gd name="T112" fmla="*/ 634147 w 1808"/>
                <a:gd name="T113" fmla="*/ 370515 h 850"/>
                <a:gd name="T114" fmla="*/ 628508 w 1808"/>
                <a:gd name="T115" fmla="*/ 389409 h 850"/>
                <a:gd name="T116" fmla="*/ 640653 w 1808"/>
                <a:gd name="T117" fmla="*/ 410926 h 850"/>
                <a:gd name="T118" fmla="*/ 640653 w 1808"/>
                <a:gd name="T119" fmla="*/ 425620 h 850"/>
                <a:gd name="T120" fmla="*/ 618531 w 1808"/>
                <a:gd name="T121" fmla="*/ 445038 h 85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808" h="850">
                  <a:moveTo>
                    <a:pt x="1410" y="842"/>
                  </a:moveTo>
                  <a:lnTo>
                    <a:pt x="1405" y="841"/>
                  </a:lnTo>
                  <a:lnTo>
                    <a:pt x="1403" y="838"/>
                  </a:lnTo>
                  <a:lnTo>
                    <a:pt x="1401" y="834"/>
                  </a:lnTo>
                  <a:lnTo>
                    <a:pt x="1399" y="830"/>
                  </a:lnTo>
                  <a:lnTo>
                    <a:pt x="1396" y="819"/>
                  </a:lnTo>
                  <a:lnTo>
                    <a:pt x="1395" y="807"/>
                  </a:lnTo>
                  <a:lnTo>
                    <a:pt x="1396" y="795"/>
                  </a:lnTo>
                  <a:lnTo>
                    <a:pt x="1398" y="784"/>
                  </a:lnTo>
                  <a:lnTo>
                    <a:pt x="1400" y="775"/>
                  </a:lnTo>
                  <a:lnTo>
                    <a:pt x="1402" y="769"/>
                  </a:lnTo>
                  <a:lnTo>
                    <a:pt x="1399" y="764"/>
                  </a:lnTo>
                  <a:lnTo>
                    <a:pt x="1396" y="760"/>
                  </a:lnTo>
                  <a:lnTo>
                    <a:pt x="1394" y="753"/>
                  </a:lnTo>
                  <a:lnTo>
                    <a:pt x="1392" y="746"/>
                  </a:lnTo>
                  <a:lnTo>
                    <a:pt x="1390" y="729"/>
                  </a:lnTo>
                  <a:lnTo>
                    <a:pt x="1389" y="708"/>
                  </a:lnTo>
                  <a:lnTo>
                    <a:pt x="1389" y="670"/>
                  </a:lnTo>
                  <a:lnTo>
                    <a:pt x="1389" y="645"/>
                  </a:lnTo>
                  <a:lnTo>
                    <a:pt x="1382" y="647"/>
                  </a:lnTo>
                  <a:lnTo>
                    <a:pt x="1373" y="648"/>
                  </a:lnTo>
                  <a:lnTo>
                    <a:pt x="1362" y="648"/>
                  </a:lnTo>
                  <a:lnTo>
                    <a:pt x="1351" y="648"/>
                  </a:lnTo>
                  <a:lnTo>
                    <a:pt x="1340" y="647"/>
                  </a:lnTo>
                  <a:lnTo>
                    <a:pt x="1332" y="645"/>
                  </a:lnTo>
                  <a:lnTo>
                    <a:pt x="1327" y="644"/>
                  </a:lnTo>
                  <a:lnTo>
                    <a:pt x="1325" y="642"/>
                  </a:lnTo>
                  <a:lnTo>
                    <a:pt x="1323" y="641"/>
                  </a:lnTo>
                  <a:lnTo>
                    <a:pt x="1323" y="638"/>
                  </a:lnTo>
                  <a:lnTo>
                    <a:pt x="1290" y="682"/>
                  </a:lnTo>
                  <a:lnTo>
                    <a:pt x="1284" y="668"/>
                  </a:lnTo>
                  <a:lnTo>
                    <a:pt x="1279" y="659"/>
                  </a:lnTo>
                  <a:lnTo>
                    <a:pt x="1273" y="650"/>
                  </a:lnTo>
                  <a:lnTo>
                    <a:pt x="1268" y="645"/>
                  </a:lnTo>
                  <a:lnTo>
                    <a:pt x="1264" y="639"/>
                  </a:lnTo>
                  <a:lnTo>
                    <a:pt x="1259" y="631"/>
                  </a:lnTo>
                  <a:lnTo>
                    <a:pt x="1257" y="622"/>
                  </a:lnTo>
                  <a:lnTo>
                    <a:pt x="1256" y="608"/>
                  </a:lnTo>
                  <a:lnTo>
                    <a:pt x="1226" y="602"/>
                  </a:lnTo>
                  <a:lnTo>
                    <a:pt x="1195" y="595"/>
                  </a:lnTo>
                  <a:lnTo>
                    <a:pt x="1165" y="588"/>
                  </a:lnTo>
                  <a:lnTo>
                    <a:pt x="1134" y="582"/>
                  </a:lnTo>
                  <a:lnTo>
                    <a:pt x="1104" y="576"/>
                  </a:lnTo>
                  <a:lnTo>
                    <a:pt x="1074" y="569"/>
                  </a:lnTo>
                  <a:lnTo>
                    <a:pt x="1045" y="561"/>
                  </a:lnTo>
                  <a:lnTo>
                    <a:pt x="1018" y="553"/>
                  </a:lnTo>
                  <a:lnTo>
                    <a:pt x="984" y="553"/>
                  </a:lnTo>
                  <a:lnTo>
                    <a:pt x="977" y="546"/>
                  </a:lnTo>
                  <a:lnTo>
                    <a:pt x="973" y="537"/>
                  </a:lnTo>
                  <a:lnTo>
                    <a:pt x="969" y="528"/>
                  </a:lnTo>
                  <a:lnTo>
                    <a:pt x="966" y="521"/>
                  </a:lnTo>
                  <a:lnTo>
                    <a:pt x="962" y="514"/>
                  </a:lnTo>
                  <a:lnTo>
                    <a:pt x="956" y="508"/>
                  </a:lnTo>
                  <a:lnTo>
                    <a:pt x="952" y="506"/>
                  </a:lnTo>
                  <a:lnTo>
                    <a:pt x="948" y="505"/>
                  </a:lnTo>
                  <a:lnTo>
                    <a:pt x="943" y="504"/>
                  </a:lnTo>
                  <a:lnTo>
                    <a:pt x="937" y="503"/>
                  </a:lnTo>
                  <a:lnTo>
                    <a:pt x="929" y="504"/>
                  </a:lnTo>
                  <a:lnTo>
                    <a:pt x="922" y="505"/>
                  </a:lnTo>
                  <a:lnTo>
                    <a:pt x="916" y="507"/>
                  </a:lnTo>
                  <a:lnTo>
                    <a:pt x="910" y="509"/>
                  </a:lnTo>
                  <a:lnTo>
                    <a:pt x="906" y="512"/>
                  </a:lnTo>
                  <a:lnTo>
                    <a:pt x="901" y="516"/>
                  </a:lnTo>
                  <a:lnTo>
                    <a:pt x="898" y="519"/>
                  </a:lnTo>
                  <a:lnTo>
                    <a:pt x="895" y="523"/>
                  </a:lnTo>
                  <a:lnTo>
                    <a:pt x="886" y="539"/>
                  </a:lnTo>
                  <a:lnTo>
                    <a:pt x="877" y="553"/>
                  </a:lnTo>
                  <a:lnTo>
                    <a:pt x="870" y="559"/>
                  </a:lnTo>
                  <a:lnTo>
                    <a:pt x="861" y="564"/>
                  </a:lnTo>
                  <a:lnTo>
                    <a:pt x="849" y="570"/>
                  </a:lnTo>
                  <a:lnTo>
                    <a:pt x="835" y="576"/>
                  </a:lnTo>
                  <a:lnTo>
                    <a:pt x="806" y="587"/>
                  </a:lnTo>
                  <a:lnTo>
                    <a:pt x="772" y="597"/>
                  </a:lnTo>
                  <a:lnTo>
                    <a:pt x="738" y="607"/>
                  </a:lnTo>
                  <a:lnTo>
                    <a:pt x="705" y="614"/>
                  </a:lnTo>
                  <a:lnTo>
                    <a:pt x="689" y="617"/>
                  </a:lnTo>
                  <a:lnTo>
                    <a:pt x="675" y="619"/>
                  </a:lnTo>
                  <a:lnTo>
                    <a:pt x="663" y="620"/>
                  </a:lnTo>
                  <a:lnTo>
                    <a:pt x="652" y="620"/>
                  </a:lnTo>
                  <a:lnTo>
                    <a:pt x="656" y="614"/>
                  </a:lnTo>
                  <a:lnTo>
                    <a:pt x="667" y="597"/>
                  </a:lnTo>
                  <a:lnTo>
                    <a:pt x="673" y="589"/>
                  </a:lnTo>
                  <a:lnTo>
                    <a:pt x="677" y="581"/>
                  </a:lnTo>
                  <a:lnTo>
                    <a:pt x="678" y="578"/>
                  </a:lnTo>
                  <a:lnTo>
                    <a:pt x="679" y="575"/>
                  </a:lnTo>
                  <a:lnTo>
                    <a:pt x="679" y="572"/>
                  </a:lnTo>
                  <a:lnTo>
                    <a:pt x="678" y="571"/>
                  </a:lnTo>
                  <a:lnTo>
                    <a:pt x="689" y="562"/>
                  </a:lnTo>
                  <a:lnTo>
                    <a:pt x="700" y="555"/>
                  </a:lnTo>
                  <a:lnTo>
                    <a:pt x="711" y="551"/>
                  </a:lnTo>
                  <a:lnTo>
                    <a:pt x="721" y="548"/>
                  </a:lnTo>
                  <a:lnTo>
                    <a:pt x="732" y="546"/>
                  </a:lnTo>
                  <a:lnTo>
                    <a:pt x="742" y="546"/>
                  </a:lnTo>
                  <a:lnTo>
                    <a:pt x="751" y="546"/>
                  </a:lnTo>
                  <a:lnTo>
                    <a:pt x="761" y="546"/>
                  </a:lnTo>
                  <a:lnTo>
                    <a:pt x="769" y="546"/>
                  </a:lnTo>
                  <a:lnTo>
                    <a:pt x="778" y="546"/>
                  </a:lnTo>
                  <a:lnTo>
                    <a:pt x="786" y="545"/>
                  </a:lnTo>
                  <a:lnTo>
                    <a:pt x="794" y="543"/>
                  </a:lnTo>
                  <a:lnTo>
                    <a:pt x="800" y="538"/>
                  </a:lnTo>
                  <a:lnTo>
                    <a:pt x="807" y="533"/>
                  </a:lnTo>
                  <a:lnTo>
                    <a:pt x="812" y="525"/>
                  </a:lnTo>
                  <a:lnTo>
                    <a:pt x="818" y="515"/>
                  </a:lnTo>
                  <a:lnTo>
                    <a:pt x="744" y="515"/>
                  </a:lnTo>
                  <a:lnTo>
                    <a:pt x="724" y="528"/>
                  </a:lnTo>
                  <a:lnTo>
                    <a:pt x="705" y="540"/>
                  </a:lnTo>
                  <a:lnTo>
                    <a:pt x="685" y="551"/>
                  </a:lnTo>
                  <a:lnTo>
                    <a:pt x="664" y="560"/>
                  </a:lnTo>
                  <a:lnTo>
                    <a:pt x="643" y="568"/>
                  </a:lnTo>
                  <a:lnTo>
                    <a:pt x="622" y="575"/>
                  </a:lnTo>
                  <a:lnTo>
                    <a:pt x="600" y="582"/>
                  </a:lnTo>
                  <a:lnTo>
                    <a:pt x="578" y="589"/>
                  </a:lnTo>
                  <a:lnTo>
                    <a:pt x="573" y="592"/>
                  </a:lnTo>
                  <a:lnTo>
                    <a:pt x="567" y="594"/>
                  </a:lnTo>
                  <a:lnTo>
                    <a:pt x="564" y="599"/>
                  </a:lnTo>
                  <a:lnTo>
                    <a:pt x="560" y="602"/>
                  </a:lnTo>
                  <a:lnTo>
                    <a:pt x="554" y="609"/>
                  </a:lnTo>
                  <a:lnTo>
                    <a:pt x="550" y="617"/>
                  </a:lnTo>
                  <a:lnTo>
                    <a:pt x="547" y="625"/>
                  </a:lnTo>
                  <a:lnTo>
                    <a:pt x="543" y="633"/>
                  </a:lnTo>
                  <a:lnTo>
                    <a:pt x="541" y="636"/>
                  </a:lnTo>
                  <a:lnTo>
                    <a:pt x="539" y="639"/>
                  </a:lnTo>
                  <a:lnTo>
                    <a:pt x="536" y="642"/>
                  </a:lnTo>
                  <a:lnTo>
                    <a:pt x="532" y="645"/>
                  </a:lnTo>
                  <a:lnTo>
                    <a:pt x="529" y="648"/>
                  </a:lnTo>
                  <a:lnTo>
                    <a:pt x="526" y="650"/>
                  </a:lnTo>
                  <a:lnTo>
                    <a:pt x="521" y="652"/>
                  </a:lnTo>
                  <a:lnTo>
                    <a:pt x="517" y="654"/>
                  </a:lnTo>
                  <a:lnTo>
                    <a:pt x="507" y="655"/>
                  </a:lnTo>
                  <a:lnTo>
                    <a:pt x="496" y="655"/>
                  </a:lnTo>
                  <a:lnTo>
                    <a:pt x="474" y="652"/>
                  </a:lnTo>
                  <a:lnTo>
                    <a:pt x="459" y="651"/>
                  </a:lnTo>
                  <a:lnTo>
                    <a:pt x="452" y="654"/>
                  </a:lnTo>
                  <a:lnTo>
                    <a:pt x="444" y="657"/>
                  </a:lnTo>
                  <a:lnTo>
                    <a:pt x="438" y="661"/>
                  </a:lnTo>
                  <a:lnTo>
                    <a:pt x="430" y="665"/>
                  </a:lnTo>
                  <a:lnTo>
                    <a:pt x="417" y="674"/>
                  </a:lnTo>
                  <a:lnTo>
                    <a:pt x="405" y="684"/>
                  </a:lnTo>
                  <a:lnTo>
                    <a:pt x="394" y="694"/>
                  </a:lnTo>
                  <a:lnTo>
                    <a:pt x="383" y="702"/>
                  </a:lnTo>
                  <a:lnTo>
                    <a:pt x="374" y="708"/>
                  </a:lnTo>
                  <a:lnTo>
                    <a:pt x="367" y="713"/>
                  </a:lnTo>
                  <a:lnTo>
                    <a:pt x="335" y="722"/>
                  </a:lnTo>
                  <a:lnTo>
                    <a:pt x="309" y="729"/>
                  </a:lnTo>
                  <a:lnTo>
                    <a:pt x="287" y="737"/>
                  </a:lnTo>
                  <a:lnTo>
                    <a:pt x="270" y="743"/>
                  </a:lnTo>
                  <a:lnTo>
                    <a:pt x="252" y="750"/>
                  </a:lnTo>
                  <a:lnTo>
                    <a:pt x="235" y="757"/>
                  </a:lnTo>
                  <a:lnTo>
                    <a:pt x="216" y="766"/>
                  </a:lnTo>
                  <a:lnTo>
                    <a:pt x="193" y="775"/>
                  </a:lnTo>
                  <a:lnTo>
                    <a:pt x="168" y="786"/>
                  </a:lnTo>
                  <a:lnTo>
                    <a:pt x="145" y="795"/>
                  </a:lnTo>
                  <a:lnTo>
                    <a:pt x="124" y="802"/>
                  </a:lnTo>
                  <a:lnTo>
                    <a:pt x="105" y="807"/>
                  </a:lnTo>
                  <a:lnTo>
                    <a:pt x="87" y="812"/>
                  </a:lnTo>
                  <a:lnTo>
                    <a:pt x="68" y="818"/>
                  </a:lnTo>
                  <a:lnTo>
                    <a:pt x="48" y="826"/>
                  </a:lnTo>
                  <a:lnTo>
                    <a:pt x="27" y="836"/>
                  </a:lnTo>
                  <a:lnTo>
                    <a:pt x="1" y="824"/>
                  </a:lnTo>
                  <a:lnTo>
                    <a:pt x="4" y="817"/>
                  </a:lnTo>
                  <a:lnTo>
                    <a:pt x="4" y="813"/>
                  </a:lnTo>
                  <a:lnTo>
                    <a:pt x="3" y="810"/>
                  </a:lnTo>
                  <a:lnTo>
                    <a:pt x="2" y="808"/>
                  </a:lnTo>
                  <a:lnTo>
                    <a:pt x="0" y="806"/>
                  </a:lnTo>
                  <a:lnTo>
                    <a:pt x="0" y="803"/>
                  </a:lnTo>
                  <a:lnTo>
                    <a:pt x="2" y="799"/>
                  </a:lnTo>
                  <a:lnTo>
                    <a:pt x="7" y="793"/>
                  </a:lnTo>
                  <a:lnTo>
                    <a:pt x="14" y="789"/>
                  </a:lnTo>
                  <a:lnTo>
                    <a:pt x="21" y="785"/>
                  </a:lnTo>
                  <a:lnTo>
                    <a:pt x="28" y="782"/>
                  </a:lnTo>
                  <a:lnTo>
                    <a:pt x="36" y="779"/>
                  </a:lnTo>
                  <a:lnTo>
                    <a:pt x="52" y="774"/>
                  </a:lnTo>
                  <a:lnTo>
                    <a:pt x="70" y="771"/>
                  </a:lnTo>
                  <a:lnTo>
                    <a:pt x="102" y="766"/>
                  </a:lnTo>
                  <a:lnTo>
                    <a:pt x="127" y="761"/>
                  </a:lnTo>
                  <a:lnTo>
                    <a:pt x="143" y="757"/>
                  </a:lnTo>
                  <a:lnTo>
                    <a:pt x="158" y="751"/>
                  </a:lnTo>
                  <a:lnTo>
                    <a:pt x="173" y="746"/>
                  </a:lnTo>
                  <a:lnTo>
                    <a:pt x="188" y="739"/>
                  </a:lnTo>
                  <a:lnTo>
                    <a:pt x="215" y="726"/>
                  </a:lnTo>
                  <a:lnTo>
                    <a:pt x="240" y="712"/>
                  </a:lnTo>
                  <a:lnTo>
                    <a:pt x="265" y="696"/>
                  </a:lnTo>
                  <a:lnTo>
                    <a:pt x="291" y="681"/>
                  </a:lnTo>
                  <a:lnTo>
                    <a:pt x="315" y="666"/>
                  </a:lnTo>
                  <a:lnTo>
                    <a:pt x="339" y="651"/>
                  </a:lnTo>
                  <a:lnTo>
                    <a:pt x="327" y="643"/>
                  </a:lnTo>
                  <a:lnTo>
                    <a:pt x="317" y="636"/>
                  </a:lnTo>
                  <a:lnTo>
                    <a:pt x="308" y="631"/>
                  </a:lnTo>
                  <a:lnTo>
                    <a:pt x="300" y="626"/>
                  </a:lnTo>
                  <a:lnTo>
                    <a:pt x="292" y="629"/>
                  </a:lnTo>
                  <a:lnTo>
                    <a:pt x="285" y="634"/>
                  </a:lnTo>
                  <a:lnTo>
                    <a:pt x="280" y="639"/>
                  </a:lnTo>
                  <a:lnTo>
                    <a:pt x="273" y="644"/>
                  </a:lnTo>
                  <a:lnTo>
                    <a:pt x="267" y="649"/>
                  </a:lnTo>
                  <a:lnTo>
                    <a:pt x="260" y="654"/>
                  </a:lnTo>
                  <a:lnTo>
                    <a:pt x="253" y="657"/>
                  </a:lnTo>
                  <a:lnTo>
                    <a:pt x="247" y="658"/>
                  </a:lnTo>
                  <a:lnTo>
                    <a:pt x="225" y="657"/>
                  </a:lnTo>
                  <a:lnTo>
                    <a:pt x="192" y="652"/>
                  </a:lnTo>
                  <a:lnTo>
                    <a:pt x="174" y="650"/>
                  </a:lnTo>
                  <a:lnTo>
                    <a:pt x="160" y="646"/>
                  </a:lnTo>
                  <a:lnTo>
                    <a:pt x="155" y="645"/>
                  </a:lnTo>
                  <a:lnTo>
                    <a:pt x="150" y="643"/>
                  </a:lnTo>
                  <a:lnTo>
                    <a:pt x="148" y="641"/>
                  </a:lnTo>
                  <a:lnTo>
                    <a:pt x="147" y="638"/>
                  </a:lnTo>
                  <a:lnTo>
                    <a:pt x="148" y="635"/>
                  </a:lnTo>
                  <a:lnTo>
                    <a:pt x="150" y="631"/>
                  </a:lnTo>
                  <a:lnTo>
                    <a:pt x="155" y="626"/>
                  </a:lnTo>
                  <a:lnTo>
                    <a:pt x="159" y="621"/>
                  </a:lnTo>
                  <a:lnTo>
                    <a:pt x="172" y="610"/>
                  </a:lnTo>
                  <a:lnTo>
                    <a:pt x="189" y="597"/>
                  </a:lnTo>
                  <a:lnTo>
                    <a:pt x="204" y="584"/>
                  </a:lnTo>
                  <a:lnTo>
                    <a:pt x="219" y="571"/>
                  </a:lnTo>
                  <a:lnTo>
                    <a:pt x="226" y="565"/>
                  </a:lnTo>
                  <a:lnTo>
                    <a:pt x="231" y="559"/>
                  </a:lnTo>
                  <a:lnTo>
                    <a:pt x="237" y="553"/>
                  </a:lnTo>
                  <a:lnTo>
                    <a:pt x="240" y="547"/>
                  </a:lnTo>
                  <a:lnTo>
                    <a:pt x="223" y="550"/>
                  </a:lnTo>
                  <a:lnTo>
                    <a:pt x="207" y="556"/>
                  </a:lnTo>
                  <a:lnTo>
                    <a:pt x="191" y="562"/>
                  </a:lnTo>
                  <a:lnTo>
                    <a:pt x="175" y="568"/>
                  </a:lnTo>
                  <a:lnTo>
                    <a:pt x="168" y="571"/>
                  </a:lnTo>
                  <a:lnTo>
                    <a:pt x="160" y="573"/>
                  </a:lnTo>
                  <a:lnTo>
                    <a:pt x="152" y="575"/>
                  </a:lnTo>
                  <a:lnTo>
                    <a:pt x="144" y="576"/>
                  </a:lnTo>
                  <a:lnTo>
                    <a:pt x="135" y="576"/>
                  </a:lnTo>
                  <a:lnTo>
                    <a:pt x="126" y="575"/>
                  </a:lnTo>
                  <a:lnTo>
                    <a:pt x="116" y="574"/>
                  </a:lnTo>
                  <a:lnTo>
                    <a:pt x="107" y="571"/>
                  </a:lnTo>
                  <a:lnTo>
                    <a:pt x="107" y="565"/>
                  </a:lnTo>
                  <a:lnTo>
                    <a:pt x="143" y="536"/>
                  </a:lnTo>
                  <a:lnTo>
                    <a:pt x="182" y="508"/>
                  </a:lnTo>
                  <a:lnTo>
                    <a:pt x="223" y="476"/>
                  </a:lnTo>
                  <a:lnTo>
                    <a:pt x="267" y="442"/>
                  </a:lnTo>
                  <a:lnTo>
                    <a:pt x="286" y="426"/>
                  </a:lnTo>
                  <a:lnTo>
                    <a:pt x="306" y="411"/>
                  </a:lnTo>
                  <a:lnTo>
                    <a:pt x="326" y="395"/>
                  </a:lnTo>
                  <a:lnTo>
                    <a:pt x="346" y="380"/>
                  </a:lnTo>
                  <a:lnTo>
                    <a:pt x="386" y="411"/>
                  </a:lnTo>
                  <a:lnTo>
                    <a:pt x="393" y="405"/>
                  </a:lnTo>
                  <a:lnTo>
                    <a:pt x="399" y="400"/>
                  </a:lnTo>
                  <a:lnTo>
                    <a:pt x="406" y="396"/>
                  </a:lnTo>
                  <a:lnTo>
                    <a:pt x="414" y="393"/>
                  </a:lnTo>
                  <a:lnTo>
                    <a:pt x="428" y="386"/>
                  </a:lnTo>
                  <a:lnTo>
                    <a:pt x="444" y="382"/>
                  </a:lnTo>
                  <a:lnTo>
                    <a:pt x="476" y="374"/>
                  </a:lnTo>
                  <a:lnTo>
                    <a:pt x="509" y="370"/>
                  </a:lnTo>
                  <a:lnTo>
                    <a:pt x="524" y="367"/>
                  </a:lnTo>
                  <a:lnTo>
                    <a:pt x="539" y="363"/>
                  </a:lnTo>
                  <a:lnTo>
                    <a:pt x="552" y="359"/>
                  </a:lnTo>
                  <a:lnTo>
                    <a:pt x="563" y="353"/>
                  </a:lnTo>
                  <a:lnTo>
                    <a:pt x="569" y="349"/>
                  </a:lnTo>
                  <a:lnTo>
                    <a:pt x="574" y="345"/>
                  </a:lnTo>
                  <a:lnTo>
                    <a:pt x="578" y="340"/>
                  </a:lnTo>
                  <a:lnTo>
                    <a:pt x="582" y="335"/>
                  </a:lnTo>
                  <a:lnTo>
                    <a:pt x="585" y="329"/>
                  </a:lnTo>
                  <a:lnTo>
                    <a:pt x="588" y="322"/>
                  </a:lnTo>
                  <a:lnTo>
                    <a:pt x="590" y="314"/>
                  </a:lnTo>
                  <a:lnTo>
                    <a:pt x="592" y="306"/>
                  </a:lnTo>
                  <a:lnTo>
                    <a:pt x="559" y="306"/>
                  </a:lnTo>
                  <a:lnTo>
                    <a:pt x="548" y="312"/>
                  </a:lnTo>
                  <a:lnTo>
                    <a:pt x="535" y="321"/>
                  </a:lnTo>
                  <a:lnTo>
                    <a:pt x="528" y="325"/>
                  </a:lnTo>
                  <a:lnTo>
                    <a:pt x="520" y="328"/>
                  </a:lnTo>
                  <a:lnTo>
                    <a:pt x="513" y="330"/>
                  </a:lnTo>
                  <a:lnTo>
                    <a:pt x="506" y="331"/>
                  </a:lnTo>
                  <a:lnTo>
                    <a:pt x="495" y="330"/>
                  </a:lnTo>
                  <a:lnTo>
                    <a:pt x="485" y="327"/>
                  </a:lnTo>
                  <a:lnTo>
                    <a:pt x="474" y="324"/>
                  </a:lnTo>
                  <a:lnTo>
                    <a:pt x="463" y="321"/>
                  </a:lnTo>
                  <a:lnTo>
                    <a:pt x="453" y="318"/>
                  </a:lnTo>
                  <a:lnTo>
                    <a:pt x="443" y="317"/>
                  </a:lnTo>
                  <a:lnTo>
                    <a:pt x="438" y="318"/>
                  </a:lnTo>
                  <a:lnTo>
                    <a:pt x="433" y="319"/>
                  </a:lnTo>
                  <a:lnTo>
                    <a:pt x="430" y="322"/>
                  </a:lnTo>
                  <a:lnTo>
                    <a:pt x="426" y="325"/>
                  </a:lnTo>
                  <a:lnTo>
                    <a:pt x="432" y="316"/>
                  </a:lnTo>
                  <a:lnTo>
                    <a:pt x="443" y="307"/>
                  </a:lnTo>
                  <a:lnTo>
                    <a:pt x="457" y="297"/>
                  </a:lnTo>
                  <a:lnTo>
                    <a:pt x="472" y="287"/>
                  </a:lnTo>
                  <a:lnTo>
                    <a:pt x="506" y="265"/>
                  </a:lnTo>
                  <a:lnTo>
                    <a:pt x="539" y="244"/>
                  </a:lnTo>
                  <a:lnTo>
                    <a:pt x="698" y="250"/>
                  </a:lnTo>
                  <a:lnTo>
                    <a:pt x="701" y="246"/>
                  </a:lnTo>
                  <a:lnTo>
                    <a:pt x="704" y="243"/>
                  </a:lnTo>
                  <a:lnTo>
                    <a:pt x="708" y="240"/>
                  </a:lnTo>
                  <a:lnTo>
                    <a:pt x="711" y="238"/>
                  </a:lnTo>
                  <a:lnTo>
                    <a:pt x="719" y="236"/>
                  </a:lnTo>
                  <a:lnTo>
                    <a:pt x="728" y="234"/>
                  </a:lnTo>
                  <a:lnTo>
                    <a:pt x="745" y="234"/>
                  </a:lnTo>
                  <a:lnTo>
                    <a:pt x="758" y="232"/>
                  </a:lnTo>
                  <a:lnTo>
                    <a:pt x="756" y="224"/>
                  </a:lnTo>
                  <a:lnTo>
                    <a:pt x="753" y="216"/>
                  </a:lnTo>
                  <a:lnTo>
                    <a:pt x="749" y="210"/>
                  </a:lnTo>
                  <a:lnTo>
                    <a:pt x="742" y="204"/>
                  </a:lnTo>
                  <a:lnTo>
                    <a:pt x="737" y="199"/>
                  </a:lnTo>
                  <a:lnTo>
                    <a:pt x="729" y="195"/>
                  </a:lnTo>
                  <a:lnTo>
                    <a:pt x="721" y="191"/>
                  </a:lnTo>
                  <a:lnTo>
                    <a:pt x="713" y="188"/>
                  </a:lnTo>
                  <a:lnTo>
                    <a:pt x="698" y="182"/>
                  </a:lnTo>
                  <a:lnTo>
                    <a:pt x="684" y="176"/>
                  </a:lnTo>
                  <a:lnTo>
                    <a:pt x="678" y="172"/>
                  </a:lnTo>
                  <a:lnTo>
                    <a:pt x="673" y="168"/>
                  </a:lnTo>
                  <a:lnTo>
                    <a:pt x="668" y="164"/>
                  </a:lnTo>
                  <a:lnTo>
                    <a:pt x="665" y="159"/>
                  </a:lnTo>
                  <a:lnTo>
                    <a:pt x="687" y="143"/>
                  </a:lnTo>
                  <a:lnTo>
                    <a:pt x="712" y="127"/>
                  </a:lnTo>
                  <a:lnTo>
                    <a:pt x="739" y="109"/>
                  </a:lnTo>
                  <a:lnTo>
                    <a:pt x="765" y="90"/>
                  </a:lnTo>
                  <a:lnTo>
                    <a:pt x="812" y="78"/>
                  </a:lnTo>
                  <a:lnTo>
                    <a:pt x="858" y="65"/>
                  </a:lnTo>
                  <a:lnTo>
                    <a:pt x="902" y="52"/>
                  </a:lnTo>
                  <a:lnTo>
                    <a:pt x="945" y="38"/>
                  </a:lnTo>
                  <a:lnTo>
                    <a:pt x="966" y="33"/>
                  </a:lnTo>
                  <a:lnTo>
                    <a:pt x="988" y="27"/>
                  </a:lnTo>
                  <a:lnTo>
                    <a:pt x="1010" y="22"/>
                  </a:lnTo>
                  <a:lnTo>
                    <a:pt x="1033" y="18"/>
                  </a:lnTo>
                  <a:lnTo>
                    <a:pt x="1056" y="15"/>
                  </a:lnTo>
                  <a:lnTo>
                    <a:pt x="1080" y="12"/>
                  </a:lnTo>
                  <a:lnTo>
                    <a:pt x="1104" y="11"/>
                  </a:lnTo>
                  <a:lnTo>
                    <a:pt x="1130" y="10"/>
                  </a:lnTo>
                  <a:lnTo>
                    <a:pt x="1157" y="9"/>
                  </a:lnTo>
                  <a:lnTo>
                    <a:pt x="1176" y="7"/>
                  </a:lnTo>
                  <a:lnTo>
                    <a:pt x="1192" y="5"/>
                  </a:lnTo>
                  <a:lnTo>
                    <a:pt x="1216" y="4"/>
                  </a:lnTo>
                  <a:lnTo>
                    <a:pt x="1241" y="3"/>
                  </a:lnTo>
                  <a:lnTo>
                    <a:pt x="1262" y="0"/>
                  </a:lnTo>
                  <a:lnTo>
                    <a:pt x="1270" y="0"/>
                  </a:lnTo>
                  <a:lnTo>
                    <a:pt x="1277" y="2"/>
                  </a:lnTo>
                  <a:lnTo>
                    <a:pt x="1280" y="3"/>
                  </a:lnTo>
                  <a:lnTo>
                    <a:pt x="1281" y="5"/>
                  </a:lnTo>
                  <a:lnTo>
                    <a:pt x="1282" y="7"/>
                  </a:lnTo>
                  <a:lnTo>
                    <a:pt x="1283" y="10"/>
                  </a:lnTo>
                  <a:lnTo>
                    <a:pt x="1306" y="10"/>
                  </a:lnTo>
                  <a:lnTo>
                    <a:pt x="1333" y="10"/>
                  </a:lnTo>
                  <a:lnTo>
                    <a:pt x="1354" y="10"/>
                  </a:lnTo>
                  <a:lnTo>
                    <a:pt x="1362" y="10"/>
                  </a:lnTo>
                  <a:lnTo>
                    <a:pt x="1380" y="11"/>
                  </a:lnTo>
                  <a:lnTo>
                    <a:pt x="1399" y="12"/>
                  </a:lnTo>
                  <a:lnTo>
                    <a:pt x="1417" y="15"/>
                  </a:lnTo>
                  <a:lnTo>
                    <a:pt x="1437" y="18"/>
                  </a:lnTo>
                  <a:lnTo>
                    <a:pt x="1475" y="26"/>
                  </a:lnTo>
                  <a:lnTo>
                    <a:pt x="1516" y="34"/>
                  </a:lnTo>
                  <a:lnTo>
                    <a:pt x="1557" y="44"/>
                  </a:lnTo>
                  <a:lnTo>
                    <a:pt x="1597" y="52"/>
                  </a:lnTo>
                  <a:lnTo>
                    <a:pt x="1617" y="55"/>
                  </a:lnTo>
                  <a:lnTo>
                    <a:pt x="1637" y="58"/>
                  </a:lnTo>
                  <a:lnTo>
                    <a:pt x="1656" y="59"/>
                  </a:lnTo>
                  <a:lnTo>
                    <a:pt x="1675" y="60"/>
                  </a:lnTo>
                  <a:lnTo>
                    <a:pt x="1761" y="41"/>
                  </a:lnTo>
                  <a:lnTo>
                    <a:pt x="1772" y="46"/>
                  </a:lnTo>
                  <a:lnTo>
                    <a:pt x="1784" y="51"/>
                  </a:lnTo>
                  <a:lnTo>
                    <a:pt x="1797" y="55"/>
                  </a:lnTo>
                  <a:lnTo>
                    <a:pt x="1808" y="60"/>
                  </a:lnTo>
                  <a:lnTo>
                    <a:pt x="1223" y="540"/>
                  </a:lnTo>
                  <a:lnTo>
                    <a:pt x="1258" y="540"/>
                  </a:lnTo>
                  <a:lnTo>
                    <a:pt x="1287" y="540"/>
                  </a:lnTo>
                  <a:lnTo>
                    <a:pt x="1309" y="540"/>
                  </a:lnTo>
                  <a:lnTo>
                    <a:pt x="1329" y="540"/>
                  </a:lnTo>
                  <a:lnTo>
                    <a:pt x="1328" y="547"/>
                  </a:lnTo>
                  <a:lnTo>
                    <a:pt x="1327" y="553"/>
                  </a:lnTo>
                  <a:lnTo>
                    <a:pt x="1325" y="559"/>
                  </a:lnTo>
                  <a:lnTo>
                    <a:pt x="1323" y="565"/>
                  </a:lnTo>
                  <a:lnTo>
                    <a:pt x="1321" y="571"/>
                  </a:lnTo>
                  <a:lnTo>
                    <a:pt x="1318" y="576"/>
                  </a:lnTo>
                  <a:lnTo>
                    <a:pt x="1316" y="583"/>
                  </a:lnTo>
                  <a:lnTo>
                    <a:pt x="1316" y="589"/>
                  </a:lnTo>
                  <a:lnTo>
                    <a:pt x="1317" y="592"/>
                  </a:lnTo>
                  <a:lnTo>
                    <a:pt x="1320" y="595"/>
                  </a:lnTo>
                  <a:lnTo>
                    <a:pt x="1323" y="599"/>
                  </a:lnTo>
                  <a:lnTo>
                    <a:pt x="1327" y="601"/>
                  </a:lnTo>
                  <a:lnTo>
                    <a:pt x="1336" y="606"/>
                  </a:lnTo>
                  <a:lnTo>
                    <a:pt x="1343" y="608"/>
                  </a:lnTo>
                  <a:lnTo>
                    <a:pt x="1351" y="608"/>
                  </a:lnTo>
                  <a:lnTo>
                    <a:pt x="1358" y="607"/>
                  </a:lnTo>
                  <a:lnTo>
                    <a:pt x="1365" y="605"/>
                  </a:lnTo>
                  <a:lnTo>
                    <a:pt x="1371" y="604"/>
                  </a:lnTo>
                  <a:lnTo>
                    <a:pt x="1382" y="599"/>
                  </a:lnTo>
                  <a:lnTo>
                    <a:pt x="1391" y="592"/>
                  </a:lnTo>
                  <a:lnTo>
                    <a:pt x="1400" y="587"/>
                  </a:lnTo>
                  <a:lnTo>
                    <a:pt x="1409" y="582"/>
                  </a:lnTo>
                  <a:lnTo>
                    <a:pt x="1413" y="580"/>
                  </a:lnTo>
                  <a:lnTo>
                    <a:pt x="1417" y="578"/>
                  </a:lnTo>
                  <a:lnTo>
                    <a:pt x="1423" y="577"/>
                  </a:lnTo>
                  <a:lnTo>
                    <a:pt x="1429" y="577"/>
                  </a:lnTo>
                  <a:lnTo>
                    <a:pt x="1441" y="596"/>
                  </a:lnTo>
                  <a:lnTo>
                    <a:pt x="1457" y="617"/>
                  </a:lnTo>
                  <a:lnTo>
                    <a:pt x="1465" y="629"/>
                  </a:lnTo>
                  <a:lnTo>
                    <a:pt x="1470" y="643"/>
                  </a:lnTo>
                  <a:lnTo>
                    <a:pt x="1472" y="650"/>
                  </a:lnTo>
                  <a:lnTo>
                    <a:pt x="1474" y="659"/>
                  </a:lnTo>
                  <a:lnTo>
                    <a:pt x="1475" y="667"/>
                  </a:lnTo>
                  <a:lnTo>
                    <a:pt x="1475" y="676"/>
                  </a:lnTo>
                  <a:lnTo>
                    <a:pt x="1475" y="681"/>
                  </a:lnTo>
                  <a:lnTo>
                    <a:pt x="1474" y="686"/>
                  </a:lnTo>
                  <a:lnTo>
                    <a:pt x="1473" y="690"/>
                  </a:lnTo>
                  <a:lnTo>
                    <a:pt x="1471" y="694"/>
                  </a:lnTo>
                  <a:lnTo>
                    <a:pt x="1467" y="700"/>
                  </a:lnTo>
                  <a:lnTo>
                    <a:pt x="1462" y="706"/>
                  </a:lnTo>
                  <a:lnTo>
                    <a:pt x="1457" y="713"/>
                  </a:lnTo>
                  <a:lnTo>
                    <a:pt x="1454" y="719"/>
                  </a:lnTo>
                  <a:lnTo>
                    <a:pt x="1451" y="723"/>
                  </a:lnTo>
                  <a:lnTo>
                    <a:pt x="1450" y="727"/>
                  </a:lnTo>
                  <a:lnTo>
                    <a:pt x="1449" y="732"/>
                  </a:lnTo>
                  <a:lnTo>
                    <a:pt x="1449" y="737"/>
                  </a:lnTo>
                  <a:lnTo>
                    <a:pt x="1449" y="742"/>
                  </a:lnTo>
                  <a:lnTo>
                    <a:pt x="1450" y="746"/>
                  </a:lnTo>
                  <a:lnTo>
                    <a:pt x="1452" y="750"/>
                  </a:lnTo>
                  <a:lnTo>
                    <a:pt x="1455" y="754"/>
                  </a:lnTo>
                  <a:lnTo>
                    <a:pt x="1459" y="761"/>
                  </a:lnTo>
                  <a:lnTo>
                    <a:pt x="1466" y="769"/>
                  </a:lnTo>
                  <a:lnTo>
                    <a:pt x="1471" y="775"/>
                  </a:lnTo>
                  <a:lnTo>
                    <a:pt x="1477" y="783"/>
                  </a:lnTo>
                  <a:lnTo>
                    <a:pt x="1479" y="786"/>
                  </a:lnTo>
                  <a:lnTo>
                    <a:pt x="1481" y="790"/>
                  </a:lnTo>
                  <a:lnTo>
                    <a:pt x="1482" y="794"/>
                  </a:lnTo>
                  <a:lnTo>
                    <a:pt x="1482" y="799"/>
                  </a:lnTo>
                  <a:lnTo>
                    <a:pt x="1482" y="802"/>
                  </a:lnTo>
                  <a:lnTo>
                    <a:pt x="1480" y="807"/>
                  </a:lnTo>
                  <a:lnTo>
                    <a:pt x="1477" y="811"/>
                  </a:lnTo>
                  <a:lnTo>
                    <a:pt x="1473" y="816"/>
                  </a:lnTo>
                  <a:lnTo>
                    <a:pt x="1463" y="826"/>
                  </a:lnTo>
                  <a:lnTo>
                    <a:pt x="1452" y="835"/>
                  </a:lnTo>
                  <a:lnTo>
                    <a:pt x="1446" y="839"/>
                  </a:lnTo>
                  <a:lnTo>
                    <a:pt x="1439" y="843"/>
                  </a:lnTo>
                  <a:lnTo>
                    <a:pt x="1433" y="846"/>
                  </a:lnTo>
                  <a:lnTo>
                    <a:pt x="1426" y="848"/>
                  </a:lnTo>
                  <a:lnTo>
                    <a:pt x="1419" y="850"/>
                  </a:lnTo>
                  <a:lnTo>
                    <a:pt x="1414" y="850"/>
                  </a:lnTo>
                  <a:lnTo>
                    <a:pt x="1407" y="850"/>
                  </a:lnTo>
                  <a:lnTo>
                    <a:pt x="1402" y="848"/>
                  </a:lnTo>
                  <a:lnTo>
                    <a:pt x="1410" y="842"/>
                  </a:lnTo>
                </a:path>
              </a:pathLst>
            </a:custGeom>
            <a:solidFill>
              <a:schemeClr val="accent2">
                <a:lumMod val="5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610" name="Freeform 6"/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2173584" y="2241052"/>
              <a:ext cx="1646563" cy="924594"/>
            </a:xfrm>
            <a:custGeom>
              <a:avLst/>
              <a:gdLst>
                <a:gd name="T0" fmla="*/ 1273680 w 3175"/>
                <a:gd name="T1" fmla="*/ 184639 h 1472"/>
                <a:gd name="T2" fmla="*/ 1259760 w 3175"/>
                <a:gd name="T3" fmla="*/ 230145 h 1472"/>
                <a:gd name="T4" fmla="*/ 1236705 w 3175"/>
                <a:gd name="T5" fmla="*/ 241652 h 1472"/>
                <a:gd name="T6" fmla="*/ 1160145 w 3175"/>
                <a:gd name="T7" fmla="*/ 296050 h 1472"/>
                <a:gd name="T8" fmla="*/ 1128825 w 3175"/>
                <a:gd name="T9" fmla="*/ 305988 h 1472"/>
                <a:gd name="T10" fmla="*/ 1117950 w 3175"/>
                <a:gd name="T11" fmla="*/ 354109 h 1472"/>
                <a:gd name="T12" fmla="*/ 1093590 w 3175"/>
                <a:gd name="T13" fmla="*/ 324818 h 1472"/>
                <a:gd name="T14" fmla="*/ 1087065 w 3175"/>
                <a:gd name="T15" fmla="*/ 360908 h 1472"/>
                <a:gd name="T16" fmla="*/ 1072275 w 3175"/>
                <a:gd name="T17" fmla="*/ 389153 h 1472"/>
                <a:gd name="T18" fmla="*/ 1074885 w 3175"/>
                <a:gd name="T19" fmla="*/ 430475 h 1472"/>
                <a:gd name="T20" fmla="*/ 1014420 w 3175"/>
                <a:gd name="T21" fmla="*/ 485396 h 1472"/>
                <a:gd name="T22" fmla="*/ 941775 w 3175"/>
                <a:gd name="T23" fmla="*/ 546593 h 1472"/>
                <a:gd name="T24" fmla="*/ 918720 w 3175"/>
                <a:gd name="T25" fmla="*/ 625052 h 1472"/>
                <a:gd name="T26" fmla="*/ 914805 w 3175"/>
                <a:gd name="T27" fmla="*/ 762092 h 1472"/>
                <a:gd name="T28" fmla="*/ 881310 w 3175"/>
                <a:gd name="T29" fmla="*/ 739601 h 1472"/>
                <a:gd name="T30" fmla="*/ 866955 w 3175"/>
                <a:gd name="T31" fmla="*/ 693572 h 1472"/>
                <a:gd name="T32" fmla="*/ 852165 w 3175"/>
                <a:gd name="T33" fmla="*/ 619298 h 1472"/>
                <a:gd name="T34" fmla="*/ 796920 w 3175"/>
                <a:gd name="T35" fmla="*/ 610929 h 1472"/>
                <a:gd name="T36" fmla="*/ 719055 w 3175"/>
                <a:gd name="T37" fmla="*/ 597853 h 1472"/>
                <a:gd name="T38" fmla="*/ 702960 w 3175"/>
                <a:gd name="T39" fmla="*/ 620344 h 1472"/>
                <a:gd name="T40" fmla="*/ 673380 w 3175"/>
                <a:gd name="T41" fmla="*/ 647543 h 1472"/>
                <a:gd name="T42" fmla="*/ 624660 w 3175"/>
                <a:gd name="T43" fmla="*/ 623482 h 1472"/>
                <a:gd name="T44" fmla="*/ 535485 w 3175"/>
                <a:gd name="T45" fmla="*/ 665327 h 1472"/>
                <a:gd name="T46" fmla="*/ 504600 w 3175"/>
                <a:gd name="T47" fmla="*/ 728094 h 1472"/>
                <a:gd name="T48" fmla="*/ 469800 w 3175"/>
                <a:gd name="T49" fmla="*/ 722863 h 1472"/>
                <a:gd name="T50" fmla="*/ 451095 w 3175"/>
                <a:gd name="T51" fmla="*/ 641789 h 1472"/>
                <a:gd name="T52" fmla="*/ 408900 w 3175"/>
                <a:gd name="T53" fmla="*/ 622436 h 1472"/>
                <a:gd name="T54" fmla="*/ 377145 w 3175"/>
                <a:gd name="T55" fmla="*/ 637605 h 1472"/>
                <a:gd name="T56" fmla="*/ 340170 w 3175"/>
                <a:gd name="T57" fmla="*/ 568562 h 1472"/>
                <a:gd name="T58" fmla="*/ 291450 w 3175"/>
                <a:gd name="T59" fmla="*/ 557054 h 1472"/>
                <a:gd name="T60" fmla="*/ 200970 w 3175"/>
                <a:gd name="T61" fmla="*/ 557054 h 1472"/>
                <a:gd name="T62" fmla="*/ 95700 w 3175"/>
                <a:gd name="T63" fmla="*/ 531425 h 1472"/>
                <a:gd name="T64" fmla="*/ 38280 w 3175"/>
                <a:gd name="T65" fmla="*/ 481211 h 1472"/>
                <a:gd name="T66" fmla="*/ 16965 w 3175"/>
                <a:gd name="T67" fmla="*/ 443551 h 1472"/>
                <a:gd name="T68" fmla="*/ 12615 w 3175"/>
                <a:gd name="T69" fmla="*/ 346263 h 1472"/>
                <a:gd name="T70" fmla="*/ 0 w 3175"/>
                <a:gd name="T71" fmla="*/ 315926 h 1472"/>
                <a:gd name="T72" fmla="*/ 61335 w 3175"/>
                <a:gd name="T73" fmla="*/ 175747 h 1472"/>
                <a:gd name="T74" fmla="*/ 107445 w 3175"/>
                <a:gd name="T75" fmla="*/ 92058 h 1472"/>
                <a:gd name="T76" fmla="*/ 154425 w 3175"/>
                <a:gd name="T77" fmla="*/ 53352 h 1472"/>
                <a:gd name="T78" fmla="*/ 163560 w 3175"/>
                <a:gd name="T79" fmla="*/ 62767 h 1472"/>
                <a:gd name="T80" fmla="*/ 794745 w 3175"/>
                <a:gd name="T81" fmla="*/ 0 h 1472"/>
                <a:gd name="T82" fmla="*/ 837810 w 3175"/>
                <a:gd name="T83" fmla="*/ 28768 h 1472"/>
                <a:gd name="T84" fmla="*/ 876525 w 3175"/>
                <a:gd name="T85" fmla="*/ 36091 h 1472"/>
                <a:gd name="T86" fmla="*/ 839115 w 3175"/>
                <a:gd name="T87" fmla="*/ 66951 h 1472"/>
                <a:gd name="T88" fmla="*/ 859995 w 3175"/>
                <a:gd name="T89" fmla="*/ 86827 h 1472"/>
                <a:gd name="T90" fmla="*/ 910890 w 3175"/>
                <a:gd name="T91" fmla="*/ 81074 h 1472"/>
                <a:gd name="T92" fmla="*/ 993540 w 3175"/>
                <a:gd name="T93" fmla="*/ 100950 h 1472"/>
                <a:gd name="T94" fmla="*/ 964395 w 3175"/>
                <a:gd name="T95" fmla="*/ 106703 h 1472"/>
                <a:gd name="T96" fmla="*/ 907845 w 3175"/>
                <a:gd name="T97" fmla="*/ 138087 h 1472"/>
                <a:gd name="T98" fmla="*/ 879135 w 3175"/>
                <a:gd name="T99" fmla="*/ 185685 h 1472"/>
                <a:gd name="T100" fmla="*/ 875220 w 3175"/>
                <a:gd name="T101" fmla="*/ 235898 h 1472"/>
                <a:gd name="T102" fmla="*/ 903060 w 3175"/>
                <a:gd name="T103" fmla="*/ 218114 h 1472"/>
                <a:gd name="T104" fmla="*/ 959175 w 3175"/>
                <a:gd name="T105" fmla="*/ 131810 h 1472"/>
                <a:gd name="T106" fmla="*/ 986145 w 3175"/>
                <a:gd name="T107" fmla="*/ 158486 h 1472"/>
                <a:gd name="T108" fmla="*/ 1000065 w 3175"/>
                <a:gd name="T109" fmla="*/ 206084 h 1472"/>
                <a:gd name="T110" fmla="*/ 959610 w 3175"/>
                <a:gd name="T111" fmla="*/ 237467 h 1472"/>
                <a:gd name="T112" fmla="*/ 1007895 w 3175"/>
                <a:gd name="T113" fmla="*/ 239036 h 1472"/>
                <a:gd name="T114" fmla="*/ 1117950 w 3175"/>
                <a:gd name="T115" fmla="*/ 195100 h 1472"/>
                <a:gd name="T116" fmla="*/ 1187550 w 3175"/>
                <a:gd name="T117" fmla="*/ 131810 h 1472"/>
                <a:gd name="T118" fmla="*/ 1311960 w 3175"/>
                <a:gd name="T119" fmla="*/ 106180 h 1472"/>
                <a:gd name="T120" fmla="*/ 1364160 w 3175"/>
                <a:gd name="T121" fmla="*/ 61721 h 1472"/>
                <a:gd name="T122" fmla="*/ 1369815 w 3175"/>
                <a:gd name="T123" fmla="*/ 96242 h 147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3175" h="1472">
                  <a:moveTo>
                    <a:pt x="3155" y="258"/>
                  </a:moveTo>
                  <a:lnTo>
                    <a:pt x="3129" y="270"/>
                  </a:lnTo>
                  <a:lnTo>
                    <a:pt x="3104" y="281"/>
                  </a:lnTo>
                  <a:lnTo>
                    <a:pt x="3079" y="291"/>
                  </a:lnTo>
                  <a:lnTo>
                    <a:pt x="3055" y="300"/>
                  </a:lnTo>
                  <a:lnTo>
                    <a:pt x="3032" y="309"/>
                  </a:lnTo>
                  <a:lnTo>
                    <a:pt x="3008" y="317"/>
                  </a:lnTo>
                  <a:lnTo>
                    <a:pt x="2983" y="326"/>
                  </a:lnTo>
                  <a:lnTo>
                    <a:pt x="2956" y="333"/>
                  </a:lnTo>
                  <a:lnTo>
                    <a:pt x="2948" y="337"/>
                  </a:lnTo>
                  <a:lnTo>
                    <a:pt x="2940" y="341"/>
                  </a:lnTo>
                  <a:lnTo>
                    <a:pt x="2933" y="347"/>
                  </a:lnTo>
                  <a:lnTo>
                    <a:pt x="2928" y="353"/>
                  </a:lnTo>
                  <a:lnTo>
                    <a:pt x="2917" y="366"/>
                  </a:lnTo>
                  <a:lnTo>
                    <a:pt x="2909" y="382"/>
                  </a:lnTo>
                  <a:lnTo>
                    <a:pt x="2900" y="397"/>
                  </a:lnTo>
                  <a:lnTo>
                    <a:pt x="2894" y="410"/>
                  </a:lnTo>
                  <a:lnTo>
                    <a:pt x="2889" y="416"/>
                  </a:lnTo>
                  <a:lnTo>
                    <a:pt x="2885" y="422"/>
                  </a:lnTo>
                  <a:lnTo>
                    <a:pt x="2881" y="427"/>
                  </a:lnTo>
                  <a:lnTo>
                    <a:pt x="2876" y="431"/>
                  </a:lnTo>
                  <a:lnTo>
                    <a:pt x="2876" y="436"/>
                  </a:lnTo>
                  <a:lnTo>
                    <a:pt x="2877" y="440"/>
                  </a:lnTo>
                  <a:lnTo>
                    <a:pt x="2880" y="445"/>
                  </a:lnTo>
                  <a:lnTo>
                    <a:pt x="2883" y="450"/>
                  </a:lnTo>
                  <a:lnTo>
                    <a:pt x="2896" y="440"/>
                  </a:lnTo>
                  <a:lnTo>
                    <a:pt x="2909" y="431"/>
                  </a:lnTo>
                  <a:lnTo>
                    <a:pt x="2910" y="438"/>
                  </a:lnTo>
                  <a:lnTo>
                    <a:pt x="2910" y="443"/>
                  </a:lnTo>
                  <a:lnTo>
                    <a:pt x="2909" y="448"/>
                  </a:lnTo>
                  <a:lnTo>
                    <a:pt x="2907" y="451"/>
                  </a:lnTo>
                  <a:lnTo>
                    <a:pt x="2905" y="455"/>
                  </a:lnTo>
                  <a:lnTo>
                    <a:pt x="2902" y="457"/>
                  </a:lnTo>
                  <a:lnTo>
                    <a:pt x="2898" y="459"/>
                  </a:lnTo>
                  <a:lnTo>
                    <a:pt x="2894" y="460"/>
                  </a:lnTo>
                  <a:lnTo>
                    <a:pt x="2883" y="462"/>
                  </a:lnTo>
                  <a:lnTo>
                    <a:pt x="2871" y="462"/>
                  </a:lnTo>
                  <a:lnTo>
                    <a:pt x="2858" y="462"/>
                  </a:lnTo>
                  <a:lnTo>
                    <a:pt x="2843" y="462"/>
                  </a:lnTo>
                  <a:lnTo>
                    <a:pt x="2820" y="463"/>
                  </a:lnTo>
                  <a:lnTo>
                    <a:pt x="2796" y="466"/>
                  </a:lnTo>
                  <a:lnTo>
                    <a:pt x="2773" y="470"/>
                  </a:lnTo>
                  <a:lnTo>
                    <a:pt x="2750" y="476"/>
                  </a:lnTo>
                  <a:lnTo>
                    <a:pt x="2728" y="483"/>
                  </a:lnTo>
                  <a:lnTo>
                    <a:pt x="2708" y="491"/>
                  </a:lnTo>
                  <a:lnTo>
                    <a:pt x="2691" y="498"/>
                  </a:lnTo>
                  <a:lnTo>
                    <a:pt x="2678" y="505"/>
                  </a:lnTo>
                  <a:lnTo>
                    <a:pt x="2678" y="542"/>
                  </a:lnTo>
                  <a:lnTo>
                    <a:pt x="2675" y="549"/>
                  </a:lnTo>
                  <a:lnTo>
                    <a:pt x="2673" y="555"/>
                  </a:lnTo>
                  <a:lnTo>
                    <a:pt x="2670" y="561"/>
                  </a:lnTo>
                  <a:lnTo>
                    <a:pt x="2667" y="566"/>
                  </a:lnTo>
                  <a:lnTo>
                    <a:pt x="2658" y="575"/>
                  </a:lnTo>
                  <a:lnTo>
                    <a:pt x="2649" y="584"/>
                  </a:lnTo>
                  <a:lnTo>
                    <a:pt x="2639" y="592"/>
                  </a:lnTo>
                  <a:lnTo>
                    <a:pt x="2628" y="602"/>
                  </a:lnTo>
                  <a:lnTo>
                    <a:pt x="2619" y="611"/>
                  </a:lnTo>
                  <a:lnTo>
                    <a:pt x="2611" y="622"/>
                  </a:lnTo>
                  <a:lnTo>
                    <a:pt x="2611" y="613"/>
                  </a:lnTo>
                  <a:lnTo>
                    <a:pt x="2611" y="604"/>
                  </a:lnTo>
                  <a:lnTo>
                    <a:pt x="2606" y="603"/>
                  </a:lnTo>
                  <a:lnTo>
                    <a:pt x="2602" y="600"/>
                  </a:lnTo>
                  <a:lnTo>
                    <a:pt x="2598" y="595"/>
                  </a:lnTo>
                  <a:lnTo>
                    <a:pt x="2596" y="590"/>
                  </a:lnTo>
                  <a:lnTo>
                    <a:pt x="2595" y="585"/>
                  </a:lnTo>
                  <a:lnTo>
                    <a:pt x="2595" y="580"/>
                  </a:lnTo>
                  <a:lnTo>
                    <a:pt x="2595" y="576"/>
                  </a:lnTo>
                  <a:lnTo>
                    <a:pt x="2597" y="573"/>
                  </a:lnTo>
                  <a:lnTo>
                    <a:pt x="2578" y="573"/>
                  </a:lnTo>
                  <a:lnTo>
                    <a:pt x="2575" y="587"/>
                  </a:lnTo>
                  <a:lnTo>
                    <a:pt x="2574" y="600"/>
                  </a:lnTo>
                  <a:lnTo>
                    <a:pt x="2574" y="610"/>
                  </a:lnTo>
                  <a:lnTo>
                    <a:pt x="2574" y="619"/>
                  </a:lnTo>
                  <a:lnTo>
                    <a:pt x="2577" y="633"/>
                  </a:lnTo>
                  <a:lnTo>
                    <a:pt x="2578" y="646"/>
                  </a:lnTo>
                  <a:lnTo>
                    <a:pt x="2577" y="658"/>
                  </a:lnTo>
                  <a:lnTo>
                    <a:pt x="2574" y="668"/>
                  </a:lnTo>
                  <a:lnTo>
                    <a:pt x="2570" y="677"/>
                  </a:lnTo>
                  <a:lnTo>
                    <a:pt x="2564" y="685"/>
                  </a:lnTo>
                  <a:lnTo>
                    <a:pt x="2559" y="693"/>
                  </a:lnTo>
                  <a:lnTo>
                    <a:pt x="2552" y="700"/>
                  </a:lnTo>
                  <a:lnTo>
                    <a:pt x="2545" y="707"/>
                  </a:lnTo>
                  <a:lnTo>
                    <a:pt x="2537" y="715"/>
                  </a:lnTo>
                  <a:lnTo>
                    <a:pt x="2538" y="684"/>
                  </a:lnTo>
                  <a:lnTo>
                    <a:pt x="2538" y="657"/>
                  </a:lnTo>
                  <a:lnTo>
                    <a:pt x="2540" y="630"/>
                  </a:lnTo>
                  <a:lnTo>
                    <a:pt x="2544" y="604"/>
                  </a:lnTo>
                  <a:lnTo>
                    <a:pt x="2535" y="607"/>
                  </a:lnTo>
                  <a:lnTo>
                    <a:pt x="2527" y="611"/>
                  </a:lnTo>
                  <a:lnTo>
                    <a:pt x="2519" y="615"/>
                  </a:lnTo>
                  <a:lnTo>
                    <a:pt x="2514" y="621"/>
                  </a:lnTo>
                  <a:lnTo>
                    <a:pt x="2510" y="628"/>
                  </a:lnTo>
                  <a:lnTo>
                    <a:pt x="2506" y="635"/>
                  </a:lnTo>
                  <a:lnTo>
                    <a:pt x="2505" y="643"/>
                  </a:lnTo>
                  <a:lnTo>
                    <a:pt x="2504" y="653"/>
                  </a:lnTo>
                  <a:lnTo>
                    <a:pt x="2491" y="653"/>
                  </a:lnTo>
                  <a:lnTo>
                    <a:pt x="2478" y="653"/>
                  </a:lnTo>
                  <a:lnTo>
                    <a:pt x="2478" y="658"/>
                  </a:lnTo>
                  <a:lnTo>
                    <a:pt x="2479" y="662"/>
                  </a:lnTo>
                  <a:lnTo>
                    <a:pt x="2480" y="666"/>
                  </a:lnTo>
                  <a:lnTo>
                    <a:pt x="2482" y="670"/>
                  </a:lnTo>
                  <a:lnTo>
                    <a:pt x="2486" y="678"/>
                  </a:lnTo>
                  <a:lnTo>
                    <a:pt x="2493" y="684"/>
                  </a:lnTo>
                  <a:lnTo>
                    <a:pt x="2499" y="690"/>
                  </a:lnTo>
                  <a:lnTo>
                    <a:pt x="2505" y="695"/>
                  </a:lnTo>
                  <a:lnTo>
                    <a:pt x="2512" y="699"/>
                  </a:lnTo>
                  <a:lnTo>
                    <a:pt x="2517" y="702"/>
                  </a:lnTo>
                  <a:lnTo>
                    <a:pt x="2517" y="727"/>
                  </a:lnTo>
                  <a:lnTo>
                    <a:pt x="2496" y="730"/>
                  </a:lnTo>
                  <a:lnTo>
                    <a:pt x="2479" y="730"/>
                  </a:lnTo>
                  <a:lnTo>
                    <a:pt x="2472" y="730"/>
                  </a:lnTo>
                  <a:lnTo>
                    <a:pt x="2466" y="730"/>
                  </a:lnTo>
                  <a:lnTo>
                    <a:pt x="2458" y="731"/>
                  </a:lnTo>
                  <a:lnTo>
                    <a:pt x="2451" y="733"/>
                  </a:lnTo>
                  <a:lnTo>
                    <a:pt x="2455" y="737"/>
                  </a:lnTo>
                  <a:lnTo>
                    <a:pt x="2459" y="741"/>
                  </a:lnTo>
                  <a:lnTo>
                    <a:pt x="2465" y="744"/>
                  </a:lnTo>
                  <a:lnTo>
                    <a:pt x="2471" y="747"/>
                  </a:lnTo>
                  <a:lnTo>
                    <a:pt x="2483" y="750"/>
                  </a:lnTo>
                  <a:lnTo>
                    <a:pt x="2491" y="751"/>
                  </a:lnTo>
                  <a:lnTo>
                    <a:pt x="2492" y="756"/>
                  </a:lnTo>
                  <a:lnTo>
                    <a:pt x="2493" y="760"/>
                  </a:lnTo>
                  <a:lnTo>
                    <a:pt x="2495" y="765"/>
                  </a:lnTo>
                  <a:lnTo>
                    <a:pt x="2499" y="769"/>
                  </a:lnTo>
                  <a:lnTo>
                    <a:pt x="2505" y="777"/>
                  </a:lnTo>
                  <a:lnTo>
                    <a:pt x="2511" y="782"/>
                  </a:lnTo>
                  <a:lnTo>
                    <a:pt x="2500" y="792"/>
                  </a:lnTo>
                  <a:lnTo>
                    <a:pt x="2489" y="802"/>
                  </a:lnTo>
                  <a:lnTo>
                    <a:pt x="2480" y="812"/>
                  </a:lnTo>
                  <a:lnTo>
                    <a:pt x="2471" y="823"/>
                  </a:lnTo>
                  <a:lnTo>
                    <a:pt x="2456" y="841"/>
                  </a:lnTo>
                  <a:lnTo>
                    <a:pt x="2441" y="859"/>
                  </a:lnTo>
                  <a:lnTo>
                    <a:pt x="2434" y="867"/>
                  </a:lnTo>
                  <a:lnTo>
                    <a:pt x="2425" y="876"/>
                  </a:lnTo>
                  <a:lnTo>
                    <a:pt x="2416" y="884"/>
                  </a:lnTo>
                  <a:lnTo>
                    <a:pt x="2406" y="892"/>
                  </a:lnTo>
                  <a:lnTo>
                    <a:pt x="2395" y="899"/>
                  </a:lnTo>
                  <a:lnTo>
                    <a:pt x="2382" y="905"/>
                  </a:lnTo>
                  <a:lnTo>
                    <a:pt x="2368" y="912"/>
                  </a:lnTo>
                  <a:lnTo>
                    <a:pt x="2351" y="917"/>
                  </a:lnTo>
                  <a:lnTo>
                    <a:pt x="2346" y="919"/>
                  </a:lnTo>
                  <a:lnTo>
                    <a:pt x="2339" y="923"/>
                  </a:lnTo>
                  <a:lnTo>
                    <a:pt x="2332" y="928"/>
                  </a:lnTo>
                  <a:lnTo>
                    <a:pt x="2324" y="935"/>
                  </a:lnTo>
                  <a:lnTo>
                    <a:pt x="2307" y="950"/>
                  </a:lnTo>
                  <a:lnTo>
                    <a:pt x="2289" y="967"/>
                  </a:lnTo>
                  <a:lnTo>
                    <a:pt x="2271" y="984"/>
                  </a:lnTo>
                  <a:lnTo>
                    <a:pt x="2255" y="999"/>
                  </a:lnTo>
                  <a:lnTo>
                    <a:pt x="2248" y="1006"/>
                  </a:lnTo>
                  <a:lnTo>
                    <a:pt x="2242" y="1011"/>
                  </a:lnTo>
                  <a:lnTo>
                    <a:pt x="2236" y="1014"/>
                  </a:lnTo>
                  <a:lnTo>
                    <a:pt x="2232" y="1016"/>
                  </a:lnTo>
                  <a:lnTo>
                    <a:pt x="2208" y="1025"/>
                  </a:lnTo>
                  <a:lnTo>
                    <a:pt x="2186" y="1034"/>
                  </a:lnTo>
                  <a:lnTo>
                    <a:pt x="2175" y="1039"/>
                  </a:lnTo>
                  <a:lnTo>
                    <a:pt x="2165" y="1045"/>
                  </a:lnTo>
                  <a:lnTo>
                    <a:pt x="2156" y="1051"/>
                  </a:lnTo>
                  <a:lnTo>
                    <a:pt x="2147" y="1057"/>
                  </a:lnTo>
                  <a:lnTo>
                    <a:pt x="2140" y="1064"/>
                  </a:lnTo>
                  <a:lnTo>
                    <a:pt x="2133" y="1072"/>
                  </a:lnTo>
                  <a:lnTo>
                    <a:pt x="2126" y="1080"/>
                  </a:lnTo>
                  <a:lnTo>
                    <a:pt x="2122" y="1090"/>
                  </a:lnTo>
                  <a:lnTo>
                    <a:pt x="2118" y="1101"/>
                  </a:lnTo>
                  <a:lnTo>
                    <a:pt x="2114" y="1113"/>
                  </a:lnTo>
                  <a:lnTo>
                    <a:pt x="2113" y="1125"/>
                  </a:lnTo>
                  <a:lnTo>
                    <a:pt x="2112" y="1139"/>
                  </a:lnTo>
                  <a:lnTo>
                    <a:pt x="2112" y="1151"/>
                  </a:lnTo>
                  <a:lnTo>
                    <a:pt x="2112" y="1174"/>
                  </a:lnTo>
                  <a:lnTo>
                    <a:pt x="2112" y="1195"/>
                  </a:lnTo>
                  <a:lnTo>
                    <a:pt x="2112" y="1207"/>
                  </a:lnTo>
                  <a:lnTo>
                    <a:pt x="2114" y="1223"/>
                  </a:lnTo>
                  <a:lnTo>
                    <a:pt x="2118" y="1240"/>
                  </a:lnTo>
                  <a:lnTo>
                    <a:pt x="2120" y="1249"/>
                  </a:lnTo>
                  <a:lnTo>
                    <a:pt x="2121" y="1259"/>
                  </a:lnTo>
                  <a:lnTo>
                    <a:pt x="2121" y="1270"/>
                  </a:lnTo>
                  <a:lnTo>
                    <a:pt x="2119" y="1281"/>
                  </a:lnTo>
                  <a:lnTo>
                    <a:pt x="2132" y="1343"/>
                  </a:lnTo>
                  <a:lnTo>
                    <a:pt x="2126" y="1379"/>
                  </a:lnTo>
                  <a:lnTo>
                    <a:pt x="2118" y="1417"/>
                  </a:lnTo>
                  <a:lnTo>
                    <a:pt x="2112" y="1435"/>
                  </a:lnTo>
                  <a:lnTo>
                    <a:pt x="2105" y="1450"/>
                  </a:lnTo>
                  <a:lnTo>
                    <a:pt x="2103" y="1457"/>
                  </a:lnTo>
                  <a:lnTo>
                    <a:pt x="2100" y="1463"/>
                  </a:lnTo>
                  <a:lnTo>
                    <a:pt x="2096" y="1468"/>
                  </a:lnTo>
                  <a:lnTo>
                    <a:pt x="2092" y="1472"/>
                  </a:lnTo>
                  <a:lnTo>
                    <a:pt x="2059" y="1472"/>
                  </a:lnTo>
                  <a:lnTo>
                    <a:pt x="2058" y="1464"/>
                  </a:lnTo>
                  <a:lnTo>
                    <a:pt x="2057" y="1456"/>
                  </a:lnTo>
                  <a:lnTo>
                    <a:pt x="2055" y="1450"/>
                  </a:lnTo>
                  <a:lnTo>
                    <a:pt x="2053" y="1445"/>
                  </a:lnTo>
                  <a:lnTo>
                    <a:pt x="2047" y="1437"/>
                  </a:lnTo>
                  <a:lnTo>
                    <a:pt x="2040" y="1430"/>
                  </a:lnTo>
                  <a:lnTo>
                    <a:pt x="2033" y="1425"/>
                  </a:lnTo>
                  <a:lnTo>
                    <a:pt x="2029" y="1418"/>
                  </a:lnTo>
                  <a:lnTo>
                    <a:pt x="2026" y="1414"/>
                  </a:lnTo>
                  <a:lnTo>
                    <a:pt x="2025" y="1410"/>
                  </a:lnTo>
                  <a:lnTo>
                    <a:pt x="2025" y="1405"/>
                  </a:lnTo>
                  <a:lnTo>
                    <a:pt x="2026" y="1398"/>
                  </a:lnTo>
                  <a:lnTo>
                    <a:pt x="2026" y="1373"/>
                  </a:lnTo>
                  <a:lnTo>
                    <a:pt x="2022" y="1373"/>
                  </a:lnTo>
                  <a:lnTo>
                    <a:pt x="2019" y="1372"/>
                  </a:lnTo>
                  <a:lnTo>
                    <a:pt x="2015" y="1370"/>
                  </a:lnTo>
                  <a:lnTo>
                    <a:pt x="2012" y="1367"/>
                  </a:lnTo>
                  <a:lnTo>
                    <a:pt x="2007" y="1361"/>
                  </a:lnTo>
                  <a:lnTo>
                    <a:pt x="2002" y="1353"/>
                  </a:lnTo>
                  <a:lnTo>
                    <a:pt x="1998" y="1344"/>
                  </a:lnTo>
                  <a:lnTo>
                    <a:pt x="1995" y="1335"/>
                  </a:lnTo>
                  <a:lnTo>
                    <a:pt x="1993" y="1326"/>
                  </a:lnTo>
                  <a:lnTo>
                    <a:pt x="1992" y="1318"/>
                  </a:lnTo>
                  <a:lnTo>
                    <a:pt x="1992" y="1298"/>
                  </a:lnTo>
                  <a:lnTo>
                    <a:pt x="1992" y="1281"/>
                  </a:lnTo>
                  <a:lnTo>
                    <a:pt x="1992" y="1265"/>
                  </a:lnTo>
                  <a:lnTo>
                    <a:pt x="1992" y="1244"/>
                  </a:lnTo>
                  <a:lnTo>
                    <a:pt x="1991" y="1234"/>
                  </a:lnTo>
                  <a:lnTo>
                    <a:pt x="1989" y="1224"/>
                  </a:lnTo>
                  <a:lnTo>
                    <a:pt x="1985" y="1212"/>
                  </a:lnTo>
                  <a:lnTo>
                    <a:pt x="1978" y="1201"/>
                  </a:lnTo>
                  <a:lnTo>
                    <a:pt x="1974" y="1196"/>
                  </a:lnTo>
                  <a:lnTo>
                    <a:pt x="1969" y="1191"/>
                  </a:lnTo>
                  <a:lnTo>
                    <a:pt x="1964" y="1187"/>
                  </a:lnTo>
                  <a:lnTo>
                    <a:pt x="1959" y="1184"/>
                  </a:lnTo>
                  <a:lnTo>
                    <a:pt x="1953" y="1181"/>
                  </a:lnTo>
                  <a:lnTo>
                    <a:pt x="1947" y="1178"/>
                  </a:lnTo>
                  <a:lnTo>
                    <a:pt x="1940" y="1177"/>
                  </a:lnTo>
                  <a:lnTo>
                    <a:pt x="1933" y="1177"/>
                  </a:lnTo>
                  <a:lnTo>
                    <a:pt x="1918" y="1177"/>
                  </a:lnTo>
                  <a:lnTo>
                    <a:pt x="1906" y="1177"/>
                  </a:lnTo>
                  <a:lnTo>
                    <a:pt x="1897" y="1177"/>
                  </a:lnTo>
                  <a:lnTo>
                    <a:pt x="1894" y="1177"/>
                  </a:lnTo>
                  <a:lnTo>
                    <a:pt x="1880" y="1176"/>
                  </a:lnTo>
                  <a:lnTo>
                    <a:pt x="1869" y="1175"/>
                  </a:lnTo>
                  <a:lnTo>
                    <a:pt x="1857" y="1173"/>
                  </a:lnTo>
                  <a:lnTo>
                    <a:pt x="1845" y="1171"/>
                  </a:lnTo>
                  <a:lnTo>
                    <a:pt x="1832" y="1168"/>
                  </a:lnTo>
                  <a:lnTo>
                    <a:pt x="1818" y="1166"/>
                  </a:lnTo>
                  <a:lnTo>
                    <a:pt x="1804" y="1165"/>
                  </a:lnTo>
                  <a:lnTo>
                    <a:pt x="1787" y="1164"/>
                  </a:lnTo>
                  <a:lnTo>
                    <a:pt x="1773" y="1164"/>
                  </a:lnTo>
                  <a:lnTo>
                    <a:pt x="1762" y="1162"/>
                  </a:lnTo>
                  <a:lnTo>
                    <a:pt x="1753" y="1159"/>
                  </a:lnTo>
                  <a:lnTo>
                    <a:pt x="1745" y="1155"/>
                  </a:lnTo>
                  <a:lnTo>
                    <a:pt x="1738" y="1151"/>
                  </a:lnTo>
                  <a:lnTo>
                    <a:pt x="1731" y="1148"/>
                  </a:lnTo>
                  <a:lnTo>
                    <a:pt x="1722" y="1146"/>
                  </a:lnTo>
                  <a:lnTo>
                    <a:pt x="1713" y="1145"/>
                  </a:lnTo>
                  <a:lnTo>
                    <a:pt x="1688" y="1144"/>
                  </a:lnTo>
                  <a:lnTo>
                    <a:pt x="1653" y="1143"/>
                  </a:lnTo>
                  <a:lnTo>
                    <a:pt x="1644" y="1144"/>
                  </a:lnTo>
                  <a:lnTo>
                    <a:pt x="1636" y="1144"/>
                  </a:lnTo>
                  <a:lnTo>
                    <a:pt x="1628" y="1146"/>
                  </a:lnTo>
                  <a:lnTo>
                    <a:pt x="1621" y="1148"/>
                  </a:lnTo>
                  <a:lnTo>
                    <a:pt x="1616" y="1151"/>
                  </a:lnTo>
                  <a:lnTo>
                    <a:pt x="1611" y="1155"/>
                  </a:lnTo>
                  <a:lnTo>
                    <a:pt x="1608" y="1159"/>
                  </a:lnTo>
                  <a:lnTo>
                    <a:pt x="1607" y="1164"/>
                  </a:lnTo>
                  <a:lnTo>
                    <a:pt x="1608" y="1169"/>
                  </a:lnTo>
                  <a:lnTo>
                    <a:pt x="1608" y="1173"/>
                  </a:lnTo>
                  <a:lnTo>
                    <a:pt x="1610" y="1176"/>
                  </a:lnTo>
                  <a:lnTo>
                    <a:pt x="1611" y="1180"/>
                  </a:lnTo>
                  <a:lnTo>
                    <a:pt x="1616" y="1186"/>
                  </a:lnTo>
                  <a:lnTo>
                    <a:pt x="1621" y="1192"/>
                  </a:lnTo>
                  <a:lnTo>
                    <a:pt x="1627" y="1197"/>
                  </a:lnTo>
                  <a:lnTo>
                    <a:pt x="1632" y="1204"/>
                  </a:lnTo>
                  <a:lnTo>
                    <a:pt x="1638" y="1212"/>
                  </a:lnTo>
                  <a:lnTo>
                    <a:pt x="1641" y="1220"/>
                  </a:lnTo>
                  <a:lnTo>
                    <a:pt x="1628" y="1221"/>
                  </a:lnTo>
                  <a:lnTo>
                    <a:pt x="1615" y="1223"/>
                  </a:lnTo>
                  <a:lnTo>
                    <a:pt x="1601" y="1226"/>
                  </a:lnTo>
                  <a:lnTo>
                    <a:pt x="1589" y="1229"/>
                  </a:lnTo>
                  <a:lnTo>
                    <a:pt x="1577" y="1232"/>
                  </a:lnTo>
                  <a:lnTo>
                    <a:pt x="1565" y="1235"/>
                  </a:lnTo>
                  <a:lnTo>
                    <a:pt x="1555" y="1237"/>
                  </a:lnTo>
                  <a:lnTo>
                    <a:pt x="1548" y="1238"/>
                  </a:lnTo>
                  <a:lnTo>
                    <a:pt x="1544" y="1237"/>
                  </a:lnTo>
                  <a:lnTo>
                    <a:pt x="1539" y="1233"/>
                  </a:lnTo>
                  <a:lnTo>
                    <a:pt x="1533" y="1228"/>
                  </a:lnTo>
                  <a:lnTo>
                    <a:pt x="1528" y="1222"/>
                  </a:lnTo>
                  <a:lnTo>
                    <a:pt x="1516" y="1210"/>
                  </a:lnTo>
                  <a:lnTo>
                    <a:pt x="1508" y="1201"/>
                  </a:lnTo>
                  <a:lnTo>
                    <a:pt x="1474" y="1214"/>
                  </a:lnTo>
                  <a:lnTo>
                    <a:pt x="1468" y="1213"/>
                  </a:lnTo>
                  <a:lnTo>
                    <a:pt x="1461" y="1210"/>
                  </a:lnTo>
                  <a:lnTo>
                    <a:pt x="1454" y="1205"/>
                  </a:lnTo>
                  <a:lnTo>
                    <a:pt x="1448" y="1201"/>
                  </a:lnTo>
                  <a:lnTo>
                    <a:pt x="1441" y="1196"/>
                  </a:lnTo>
                  <a:lnTo>
                    <a:pt x="1436" y="1192"/>
                  </a:lnTo>
                  <a:lnTo>
                    <a:pt x="1428" y="1190"/>
                  </a:lnTo>
                  <a:lnTo>
                    <a:pt x="1421" y="1189"/>
                  </a:lnTo>
                  <a:lnTo>
                    <a:pt x="1406" y="1190"/>
                  </a:lnTo>
                  <a:lnTo>
                    <a:pt x="1390" y="1192"/>
                  </a:lnTo>
                  <a:lnTo>
                    <a:pt x="1372" y="1197"/>
                  </a:lnTo>
                  <a:lnTo>
                    <a:pt x="1354" y="1203"/>
                  </a:lnTo>
                  <a:lnTo>
                    <a:pt x="1337" y="1211"/>
                  </a:lnTo>
                  <a:lnTo>
                    <a:pt x="1318" y="1219"/>
                  </a:lnTo>
                  <a:lnTo>
                    <a:pt x="1301" y="1228"/>
                  </a:lnTo>
                  <a:lnTo>
                    <a:pt x="1283" y="1238"/>
                  </a:lnTo>
                  <a:lnTo>
                    <a:pt x="1265" y="1249"/>
                  </a:lnTo>
                  <a:lnTo>
                    <a:pt x="1248" y="1259"/>
                  </a:lnTo>
                  <a:lnTo>
                    <a:pt x="1231" y="1272"/>
                  </a:lnTo>
                  <a:lnTo>
                    <a:pt x="1217" y="1283"/>
                  </a:lnTo>
                  <a:lnTo>
                    <a:pt x="1203" y="1294"/>
                  </a:lnTo>
                  <a:lnTo>
                    <a:pt x="1190" y="1304"/>
                  </a:lnTo>
                  <a:lnTo>
                    <a:pt x="1179" y="1314"/>
                  </a:lnTo>
                  <a:lnTo>
                    <a:pt x="1169" y="1325"/>
                  </a:lnTo>
                  <a:lnTo>
                    <a:pt x="1166" y="1328"/>
                  </a:lnTo>
                  <a:lnTo>
                    <a:pt x="1163" y="1333"/>
                  </a:lnTo>
                  <a:lnTo>
                    <a:pt x="1162" y="1337"/>
                  </a:lnTo>
                  <a:lnTo>
                    <a:pt x="1161" y="1342"/>
                  </a:lnTo>
                  <a:lnTo>
                    <a:pt x="1161" y="1354"/>
                  </a:lnTo>
                  <a:lnTo>
                    <a:pt x="1161" y="1366"/>
                  </a:lnTo>
                  <a:lnTo>
                    <a:pt x="1161" y="1379"/>
                  </a:lnTo>
                  <a:lnTo>
                    <a:pt x="1160" y="1392"/>
                  </a:lnTo>
                  <a:lnTo>
                    <a:pt x="1159" y="1399"/>
                  </a:lnTo>
                  <a:lnTo>
                    <a:pt x="1157" y="1405"/>
                  </a:lnTo>
                  <a:lnTo>
                    <a:pt x="1153" y="1411"/>
                  </a:lnTo>
                  <a:lnTo>
                    <a:pt x="1149" y="1417"/>
                  </a:lnTo>
                  <a:lnTo>
                    <a:pt x="1143" y="1416"/>
                  </a:lnTo>
                  <a:lnTo>
                    <a:pt x="1136" y="1415"/>
                  </a:lnTo>
                  <a:lnTo>
                    <a:pt x="1129" y="1414"/>
                  </a:lnTo>
                  <a:lnTo>
                    <a:pt x="1124" y="1412"/>
                  </a:lnTo>
                  <a:lnTo>
                    <a:pt x="1111" y="1408"/>
                  </a:lnTo>
                  <a:lnTo>
                    <a:pt x="1100" y="1401"/>
                  </a:lnTo>
                  <a:lnTo>
                    <a:pt x="1090" y="1394"/>
                  </a:lnTo>
                  <a:lnTo>
                    <a:pt x="1082" y="1386"/>
                  </a:lnTo>
                  <a:lnTo>
                    <a:pt x="1080" y="1382"/>
                  </a:lnTo>
                  <a:lnTo>
                    <a:pt x="1078" y="1377"/>
                  </a:lnTo>
                  <a:lnTo>
                    <a:pt x="1077" y="1372"/>
                  </a:lnTo>
                  <a:lnTo>
                    <a:pt x="1076" y="1367"/>
                  </a:lnTo>
                  <a:lnTo>
                    <a:pt x="1076" y="1356"/>
                  </a:lnTo>
                  <a:lnTo>
                    <a:pt x="1074" y="1344"/>
                  </a:lnTo>
                  <a:lnTo>
                    <a:pt x="1072" y="1330"/>
                  </a:lnTo>
                  <a:lnTo>
                    <a:pt x="1070" y="1315"/>
                  </a:lnTo>
                  <a:lnTo>
                    <a:pt x="1066" y="1300"/>
                  </a:lnTo>
                  <a:lnTo>
                    <a:pt x="1061" y="1285"/>
                  </a:lnTo>
                  <a:lnTo>
                    <a:pt x="1057" y="1270"/>
                  </a:lnTo>
                  <a:lnTo>
                    <a:pt x="1051" y="1254"/>
                  </a:lnTo>
                  <a:lnTo>
                    <a:pt x="1044" y="1240"/>
                  </a:lnTo>
                  <a:lnTo>
                    <a:pt x="1037" y="1227"/>
                  </a:lnTo>
                  <a:lnTo>
                    <a:pt x="1028" y="1215"/>
                  </a:lnTo>
                  <a:lnTo>
                    <a:pt x="1020" y="1203"/>
                  </a:lnTo>
                  <a:lnTo>
                    <a:pt x="1015" y="1199"/>
                  </a:lnTo>
                  <a:lnTo>
                    <a:pt x="1010" y="1195"/>
                  </a:lnTo>
                  <a:lnTo>
                    <a:pt x="1005" y="1191"/>
                  </a:lnTo>
                  <a:lnTo>
                    <a:pt x="1000" y="1188"/>
                  </a:lnTo>
                  <a:lnTo>
                    <a:pt x="994" y="1186"/>
                  </a:lnTo>
                  <a:lnTo>
                    <a:pt x="988" y="1184"/>
                  </a:lnTo>
                  <a:lnTo>
                    <a:pt x="982" y="1183"/>
                  </a:lnTo>
                  <a:lnTo>
                    <a:pt x="977" y="1183"/>
                  </a:lnTo>
                  <a:lnTo>
                    <a:pt x="964" y="1183"/>
                  </a:lnTo>
                  <a:lnTo>
                    <a:pt x="951" y="1186"/>
                  </a:lnTo>
                  <a:lnTo>
                    <a:pt x="940" y="1190"/>
                  </a:lnTo>
                  <a:lnTo>
                    <a:pt x="931" y="1195"/>
                  </a:lnTo>
                  <a:lnTo>
                    <a:pt x="926" y="1199"/>
                  </a:lnTo>
                  <a:lnTo>
                    <a:pt x="922" y="1202"/>
                  </a:lnTo>
                  <a:lnTo>
                    <a:pt x="919" y="1206"/>
                  </a:lnTo>
                  <a:lnTo>
                    <a:pt x="915" y="1212"/>
                  </a:lnTo>
                  <a:lnTo>
                    <a:pt x="913" y="1216"/>
                  </a:lnTo>
                  <a:lnTo>
                    <a:pt x="911" y="1221"/>
                  </a:lnTo>
                  <a:lnTo>
                    <a:pt x="910" y="1227"/>
                  </a:lnTo>
                  <a:lnTo>
                    <a:pt x="910" y="1232"/>
                  </a:lnTo>
                  <a:lnTo>
                    <a:pt x="883" y="1232"/>
                  </a:lnTo>
                  <a:lnTo>
                    <a:pt x="878" y="1229"/>
                  </a:lnTo>
                  <a:lnTo>
                    <a:pt x="872" y="1225"/>
                  </a:lnTo>
                  <a:lnTo>
                    <a:pt x="867" y="1219"/>
                  </a:lnTo>
                  <a:lnTo>
                    <a:pt x="861" y="1212"/>
                  </a:lnTo>
                  <a:lnTo>
                    <a:pt x="850" y="1196"/>
                  </a:lnTo>
                  <a:lnTo>
                    <a:pt x="839" y="1179"/>
                  </a:lnTo>
                  <a:lnTo>
                    <a:pt x="830" y="1161"/>
                  </a:lnTo>
                  <a:lnTo>
                    <a:pt x="821" y="1144"/>
                  </a:lnTo>
                  <a:lnTo>
                    <a:pt x="814" y="1131"/>
                  </a:lnTo>
                  <a:lnTo>
                    <a:pt x="810" y="1121"/>
                  </a:lnTo>
                  <a:lnTo>
                    <a:pt x="805" y="1120"/>
                  </a:lnTo>
                  <a:lnTo>
                    <a:pt x="801" y="1118"/>
                  </a:lnTo>
                  <a:lnTo>
                    <a:pt x="798" y="1115"/>
                  </a:lnTo>
                  <a:lnTo>
                    <a:pt x="794" y="1111"/>
                  </a:lnTo>
                  <a:lnTo>
                    <a:pt x="789" y="1100"/>
                  </a:lnTo>
                  <a:lnTo>
                    <a:pt x="782" y="1087"/>
                  </a:lnTo>
                  <a:lnTo>
                    <a:pt x="779" y="1081"/>
                  </a:lnTo>
                  <a:lnTo>
                    <a:pt x="775" y="1075"/>
                  </a:lnTo>
                  <a:lnTo>
                    <a:pt x="770" y="1069"/>
                  </a:lnTo>
                  <a:lnTo>
                    <a:pt x="765" y="1064"/>
                  </a:lnTo>
                  <a:lnTo>
                    <a:pt x="757" y="1060"/>
                  </a:lnTo>
                  <a:lnTo>
                    <a:pt x="749" y="1056"/>
                  </a:lnTo>
                  <a:lnTo>
                    <a:pt x="741" y="1054"/>
                  </a:lnTo>
                  <a:lnTo>
                    <a:pt x="731" y="1054"/>
                  </a:lnTo>
                  <a:lnTo>
                    <a:pt x="718" y="1054"/>
                  </a:lnTo>
                  <a:lnTo>
                    <a:pt x="706" y="1055"/>
                  </a:lnTo>
                  <a:lnTo>
                    <a:pt x="696" y="1057"/>
                  </a:lnTo>
                  <a:lnTo>
                    <a:pt x="687" y="1059"/>
                  </a:lnTo>
                  <a:lnTo>
                    <a:pt x="670" y="1065"/>
                  </a:lnTo>
                  <a:lnTo>
                    <a:pt x="656" y="1072"/>
                  </a:lnTo>
                  <a:lnTo>
                    <a:pt x="642" y="1078"/>
                  </a:lnTo>
                  <a:lnTo>
                    <a:pt x="624" y="1084"/>
                  </a:lnTo>
                  <a:lnTo>
                    <a:pt x="615" y="1087"/>
                  </a:lnTo>
                  <a:lnTo>
                    <a:pt x="604" y="1088"/>
                  </a:lnTo>
                  <a:lnTo>
                    <a:pt x="591" y="1089"/>
                  </a:lnTo>
                  <a:lnTo>
                    <a:pt x="577" y="1090"/>
                  </a:lnTo>
                  <a:lnTo>
                    <a:pt x="555" y="1089"/>
                  </a:lnTo>
                  <a:lnTo>
                    <a:pt x="533" y="1086"/>
                  </a:lnTo>
                  <a:lnTo>
                    <a:pt x="514" y="1083"/>
                  </a:lnTo>
                  <a:lnTo>
                    <a:pt x="496" y="1078"/>
                  </a:lnTo>
                  <a:lnTo>
                    <a:pt x="478" y="1072"/>
                  </a:lnTo>
                  <a:lnTo>
                    <a:pt x="462" y="1065"/>
                  </a:lnTo>
                  <a:lnTo>
                    <a:pt x="445" y="1058"/>
                  </a:lnTo>
                  <a:lnTo>
                    <a:pt x="430" y="1051"/>
                  </a:lnTo>
                  <a:lnTo>
                    <a:pt x="415" y="1043"/>
                  </a:lnTo>
                  <a:lnTo>
                    <a:pt x="398" y="1035"/>
                  </a:lnTo>
                  <a:lnTo>
                    <a:pt x="383" y="1028"/>
                  </a:lnTo>
                  <a:lnTo>
                    <a:pt x="366" y="1023"/>
                  </a:lnTo>
                  <a:lnTo>
                    <a:pt x="350" y="1017"/>
                  </a:lnTo>
                  <a:lnTo>
                    <a:pt x="331" y="1014"/>
                  </a:lnTo>
                  <a:lnTo>
                    <a:pt x="312" y="1011"/>
                  </a:lnTo>
                  <a:lnTo>
                    <a:pt x="292" y="1010"/>
                  </a:lnTo>
                  <a:lnTo>
                    <a:pt x="263" y="1012"/>
                  </a:lnTo>
                  <a:lnTo>
                    <a:pt x="234" y="1015"/>
                  </a:lnTo>
                  <a:lnTo>
                    <a:pt x="220" y="1016"/>
                  </a:lnTo>
                  <a:lnTo>
                    <a:pt x="205" y="1015"/>
                  </a:lnTo>
                  <a:lnTo>
                    <a:pt x="189" y="1014"/>
                  </a:lnTo>
                  <a:lnTo>
                    <a:pt x="172" y="1010"/>
                  </a:lnTo>
                  <a:lnTo>
                    <a:pt x="173" y="998"/>
                  </a:lnTo>
                  <a:lnTo>
                    <a:pt x="175" y="988"/>
                  </a:lnTo>
                  <a:lnTo>
                    <a:pt x="175" y="982"/>
                  </a:lnTo>
                  <a:lnTo>
                    <a:pt x="175" y="979"/>
                  </a:lnTo>
                  <a:lnTo>
                    <a:pt x="174" y="975"/>
                  </a:lnTo>
                  <a:lnTo>
                    <a:pt x="172" y="973"/>
                  </a:lnTo>
                  <a:lnTo>
                    <a:pt x="141" y="952"/>
                  </a:lnTo>
                  <a:lnTo>
                    <a:pt x="107" y="931"/>
                  </a:lnTo>
                  <a:lnTo>
                    <a:pt x="97" y="925"/>
                  </a:lnTo>
                  <a:lnTo>
                    <a:pt x="88" y="920"/>
                  </a:lnTo>
                  <a:lnTo>
                    <a:pt x="79" y="916"/>
                  </a:lnTo>
                  <a:lnTo>
                    <a:pt x="69" y="912"/>
                  </a:lnTo>
                  <a:lnTo>
                    <a:pt x="59" y="909"/>
                  </a:lnTo>
                  <a:lnTo>
                    <a:pt x="48" y="907"/>
                  </a:lnTo>
                  <a:lnTo>
                    <a:pt x="37" y="906"/>
                  </a:lnTo>
                  <a:lnTo>
                    <a:pt x="26" y="905"/>
                  </a:lnTo>
                  <a:lnTo>
                    <a:pt x="27" y="899"/>
                  </a:lnTo>
                  <a:lnTo>
                    <a:pt x="28" y="893"/>
                  </a:lnTo>
                  <a:lnTo>
                    <a:pt x="30" y="888"/>
                  </a:lnTo>
                  <a:lnTo>
                    <a:pt x="32" y="883"/>
                  </a:lnTo>
                  <a:lnTo>
                    <a:pt x="37" y="874"/>
                  </a:lnTo>
                  <a:lnTo>
                    <a:pt x="39" y="868"/>
                  </a:lnTo>
                  <a:lnTo>
                    <a:pt x="39" y="848"/>
                  </a:lnTo>
                  <a:lnTo>
                    <a:pt x="36" y="826"/>
                  </a:lnTo>
                  <a:lnTo>
                    <a:pt x="32" y="801"/>
                  </a:lnTo>
                  <a:lnTo>
                    <a:pt x="29" y="777"/>
                  </a:lnTo>
                  <a:lnTo>
                    <a:pt x="24" y="752"/>
                  </a:lnTo>
                  <a:lnTo>
                    <a:pt x="19" y="729"/>
                  </a:lnTo>
                  <a:lnTo>
                    <a:pt x="16" y="707"/>
                  </a:lnTo>
                  <a:lnTo>
                    <a:pt x="13" y="690"/>
                  </a:lnTo>
                  <a:lnTo>
                    <a:pt x="17" y="687"/>
                  </a:lnTo>
                  <a:lnTo>
                    <a:pt x="25" y="680"/>
                  </a:lnTo>
                  <a:lnTo>
                    <a:pt x="28" y="675"/>
                  </a:lnTo>
                  <a:lnTo>
                    <a:pt x="29" y="669"/>
                  </a:lnTo>
                  <a:lnTo>
                    <a:pt x="30" y="666"/>
                  </a:lnTo>
                  <a:lnTo>
                    <a:pt x="29" y="662"/>
                  </a:lnTo>
                  <a:lnTo>
                    <a:pt x="28" y="658"/>
                  </a:lnTo>
                  <a:lnTo>
                    <a:pt x="26" y="653"/>
                  </a:lnTo>
                  <a:lnTo>
                    <a:pt x="21" y="658"/>
                  </a:lnTo>
                  <a:lnTo>
                    <a:pt x="16" y="663"/>
                  </a:lnTo>
                  <a:lnTo>
                    <a:pt x="12" y="669"/>
                  </a:lnTo>
                  <a:lnTo>
                    <a:pt x="6" y="677"/>
                  </a:lnTo>
                  <a:lnTo>
                    <a:pt x="4" y="672"/>
                  </a:lnTo>
                  <a:lnTo>
                    <a:pt x="3" y="667"/>
                  </a:lnTo>
                  <a:lnTo>
                    <a:pt x="2" y="660"/>
                  </a:lnTo>
                  <a:lnTo>
                    <a:pt x="1" y="653"/>
                  </a:lnTo>
                  <a:lnTo>
                    <a:pt x="0" y="639"/>
                  </a:lnTo>
                  <a:lnTo>
                    <a:pt x="0" y="628"/>
                  </a:lnTo>
                  <a:lnTo>
                    <a:pt x="0" y="604"/>
                  </a:lnTo>
                  <a:lnTo>
                    <a:pt x="2" y="581"/>
                  </a:lnTo>
                  <a:lnTo>
                    <a:pt x="3" y="570"/>
                  </a:lnTo>
                  <a:lnTo>
                    <a:pt x="5" y="558"/>
                  </a:lnTo>
                  <a:lnTo>
                    <a:pt x="8" y="545"/>
                  </a:lnTo>
                  <a:lnTo>
                    <a:pt x="13" y="529"/>
                  </a:lnTo>
                  <a:lnTo>
                    <a:pt x="26" y="514"/>
                  </a:lnTo>
                  <a:lnTo>
                    <a:pt x="38" y="499"/>
                  </a:lnTo>
                  <a:lnTo>
                    <a:pt x="50" y="482"/>
                  </a:lnTo>
                  <a:lnTo>
                    <a:pt x="61" y="467"/>
                  </a:lnTo>
                  <a:lnTo>
                    <a:pt x="81" y="434"/>
                  </a:lnTo>
                  <a:lnTo>
                    <a:pt x="101" y="401"/>
                  </a:lnTo>
                  <a:lnTo>
                    <a:pt x="119" y="368"/>
                  </a:lnTo>
                  <a:lnTo>
                    <a:pt x="141" y="336"/>
                  </a:lnTo>
                  <a:lnTo>
                    <a:pt x="152" y="321"/>
                  </a:lnTo>
                  <a:lnTo>
                    <a:pt x="164" y="305"/>
                  </a:lnTo>
                  <a:lnTo>
                    <a:pt x="177" y="291"/>
                  </a:lnTo>
                  <a:lnTo>
                    <a:pt x="193" y="277"/>
                  </a:lnTo>
                  <a:lnTo>
                    <a:pt x="198" y="271"/>
                  </a:lnTo>
                  <a:lnTo>
                    <a:pt x="204" y="265"/>
                  </a:lnTo>
                  <a:lnTo>
                    <a:pt x="208" y="257"/>
                  </a:lnTo>
                  <a:lnTo>
                    <a:pt x="213" y="250"/>
                  </a:lnTo>
                  <a:lnTo>
                    <a:pt x="219" y="234"/>
                  </a:lnTo>
                  <a:lnTo>
                    <a:pt x="227" y="218"/>
                  </a:lnTo>
                  <a:lnTo>
                    <a:pt x="233" y="200"/>
                  </a:lnTo>
                  <a:lnTo>
                    <a:pt x="242" y="184"/>
                  </a:lnTo>
                  <a:lnTo>
                    <a:pt x="247" y="176"/>
                  </a:lnTo>
                  <a:lnTo>
                    <a:pt x="252" y="169"/>
                  </a:lnTo>
                  <a:lnTo>
                    <a:pt x="259" y="161"/>
                  </a:lnTo>
                  <a:lnTo>
                    <a:pt x="265" y="154"/>
                  </a:lnTo>
                  <a:lnTo>
                    <a:pt x="266" y="131"/>
                  </a:lnTo>
                  <a:lnTo>
                    <a:pt x="270" y="109"/>
                  </a:lnTo>
                  <a:lnTo>
                    <a:pt x="274" y="89"/>
                  </a:lnTo>
                  <a:lnTo>
                    <a:pt x="278" y="73"/>
                  </a:lnTo>
                  <a:lnTo>
                    <a:pt x="299" y="74"/>
                  </a:lnTo>
                  <a:lnTo>
                    <a:pt x="326" y="77"/>
                  </a:lnTo>
                  <a:lnTo>
                    <a:pt x="349" y="79"/>
                  </a:lnTo>
                  <a:lnTo>
                    <a:pt x="359" y="80"/>
                  </a:lnTo>
                  <a:lnTo>
                    <a:pt x="357" y="91"/>
                  </a:lnTo>
                  <a:lnTo>
                    <a:pt x="355" y="102"/>
                  </a:lnTo>
                  <a:lnTo>
                    <a:pt x="352" y="112"/>
                  </a:lnTo>
                  <a:lnTo>
                    <a:pt x="349" y="121"/>
                  </a:lnTo>
                  <a:lnTo>
                    <a:pt x="344" y="130"/>
                  </a:lnTo>
                  <a:lnTo>
                    <a:pt x="341" y="138"/>
                  </a:lnTo>
                  <a:lnTo>
                    <a:pt x="339" y="146"/>
                  </a:lnTo>
                  <a:lnTo>
                    <a:pt x="339" y="154"/>
                  </a:lnTo>
                  <a:lnTo>
                    <a:pt x="343" y="153"/>
                  </a:lnTo>
                  <a:lnTo>
                    <a:pt x="348" y="150"/>
                  </a:lnTo>
                  <a:lnTo>
                    <a:pt x="352" y="147"/>
                  </a:lnTo>
                  <a:lnTo>
                    <a:pt x="356" y="144"/>
                  </a:lnTo>
                  <a:lnTo>
                    <a:pt x="364" y="137"/>
                  </a:lnTo>
                  <a:lnTo>
                    <a:pt x="371" y="129"/>
                  </a:lnTo>
                  <a:lnTo>
                    <a:pt x="376" y="120"/>
                  </a:lnTo>
                  <a:lnTo>
                    <a:pt x="381" y="110"/>
                  </a:lnTo>
                  <a:lnTo>
                    <a:pt x="385" y="99"/>
                  </a:lnTo>
                  <a:lnTo>
                    <a:pt x="388" y="87"/>
                  </a:lnTo>
                  <a:lnTo>
                    <a:pt x="394" y="66"/>
                  </a:lnTo>
                  <a:lnTo>
                    <a:pt x="396" y="48"/>
                  </a:lnTo>
                  <a:lnTo>
                    <a:pt x="398" y="35"/>
                  </a:lnTo>
                  <a:lnTo>
                    <a:pt x="398" y="30"/>
                  </a:lnTo>
                  <a:lnTo>
                    <a:pt x="1827" y="30"/>
                  </a:lnTo>
                  <a:lnTo>
                    <a:pt x="1825" y="21"/>
                  </a:lnTo>
                  <a:lnTo>
                    <a:pt x="1823" y="13"/>
                  </a:lnTo>
                  <a:lnTo>
                    <a:pt x="1821" y="5"/>
                  </a:lnTo>
                  <a:lnTo>
                    <a:pt x="1820" y="0"/>
                  </a:lnTo>
                  <a:lnTo>
                    <a:pt x="1827" y="0"/>
                  </a:lnTo>
                  <a:lnTo>
                    <a:pt x="1853" y="0"/>
                  </a:lnTo>
                  <a:lnTo>
                    <a:pt x="1854" y="11"/>
                  </a:lnTo>
                  <a:lnTo>
                    <a:pt x="1856" y="21"/>
                  </a:lnTo>
                  <a:lnTo>
                    <a:pt x="1861" y="30"/>
                  </a:lnTo>
                  <a:lnTo>
                    <a:pt x="1866" y="38"/>
                  </a:lnTo>
                  <a:lnTo>
                    <a:pt x="1873" y="46"/>
                  </a:lnTo>
                  <a:lnTo>
                    <a:pt x="1881" y="51"/>
                  </a:lnTo>
                  <a:lnTo>
                    <a:pt x="1886" y="53"/>
                  </a:lnTo>
                  <a:lnTo>
                    <a:pt x="1890" y="54"/>
                  </a:lnTo>
                  <a:lnTo>
                    <a:pt x="1895" y="55"/>
                  </a:lnTo>
                  <a:lnTo>
                    <a:pt x="1900" y="55"/>
                  </a:lnTo>
                  <a:lnTo>
                    <a:pt x="1910" y="55"/>
                  </a:lnTo>
                  <a:lnTo>
                    <a:pt x="1926" y="55"/>
                  </a:lnTo>
                  <a:lnTo>
                    <a:pt x="1935" y="56"/>
                  </a:lnTo>
                  <a:lnTo>
                    <a:pt x="1944" y="58"/>
                  </a:lnTo>
                  <a:lnTo>
                    <a:pt x="1952" y="61"/>
                  </a:lnTo>
                  <a:lnTo>
                    <a:pt x="1958" y="64"/>
                  </a:lnTo>
                  <a:lnTo>
                    <a:pt x="1965" y="68"/>
                  </a:lnTo>
                  <a:lnTo>
                    <a:pt x="1972" y="71"/>
                  </a:lnTo>
                  <a:lnTo>
                    <a:pt x="1979" y="73"/>
                  </a:lnTo>
                  <a:lnTo>
                    <a:pt x="1986" y="73"/>
                  </a:lnTo>
                  <a:lnTo>
                    <a:pt x="1992" y="72"/>
                  </a:lnTo>
                  <a:lnTo>
                    <a:pt x="1999" y="67"/>
                  </a:lnTo>
                  <a:lnTo>
                    <a:pt x="2003" y="63"/>
                  </a:lnTo>
                  <a:lnTo>
                    <a:pt x="2006" y="61"/>
                  </a:lnTo>
                  <a:lnTo>
                    <a:pt x="2015" y="69"/>
                  </a:lnTo>
                  <a:lnTo>
                    <a:pt x="2024" y="75"/>
                  </a:lnTo>
                  <a:lnTo>
                    <a:pt x="2035" y="81"/>
                  </a:lnTo>
                  <a:lnTo>
                    <a:pt x="2046" y="86"/>
                  </a:lnTo>
                  <a:lnTo>
                    <a:pt x="2038" y="93"/>
                  </a:lnTo>
                  <a:lnTo>
                    <a:pt x="2031" y="100"/>
                  </a:lnTo>
                  <a:lnTo>
                    <a:pt x="2021" y="104"/>
                  </a:lnTo>
                  <a:lnTo>
                    <a:pt x="2011" y="108"/>
                  </a:lnTo>
                  <a:lnTo>
                    <a:pt x="1989" y="114"/>
                  </a:lnTo>
                  <a:lnTo>
                    <a:pt x="1967" y="118"/>
                  </a:lnTo>
                  <a:lnTo>
                    <a:pt x="1956" y="120"/>
                  </a:lnTo>
                  <a:lnTo>
                    <a:pt x="1946" y="122"/>
                  </a:lnTo>
                  <a:lnTo>
                    <a:pt x="1937" y="125"/>
                  </a:lnTo>
                  <a:lnTo>
                    <a:pt x="1929" y="128"/>
                  </a:lnTo>
                  <a:lnTo>
                    <a:pt x="1922" y="133"/>
                  </a:lnTo>
                  <a:lnTo>
                    <a:pt x="1918" y="138"/>
                  </a:lnTo>
                  <a:lnTo>
                    <a:pt x="1916" y="141"/>
                  </a:lnTo>
                  <a:lnTo>
                    <a:pt x="1914" y="145"/>
                  </a:lnTo>
                  <a:lnTo>
                    <a:pt x="1913" y="149"/>
                  </a:lnTo>
                  <a:lnTo>
                    <a:pt x="1913" y="154"/>
                  </a:lnTo>
                  <a:lnTo>
                    <a:pt x="1926" y="155"/>
                  </a:lnTo>
                  <a:lnTo>
                    <a:pt x="1937" y="156"/>
                  </a:lnTo>
                  <a:lnTo>
                    <a:pt x="1946" y="158"/>
                  </a:lnTo>
                  <a:lnTo>
                    <a:pt x="1954" y="160"/>
                  </a:lnTo>
                  <a:lnTo>
                    <a:pt x="1962" y="162"/>
                  </a:lnTo>
                  <a:lnTo>
                    <a:pt x="1969" y="164"/>
                  </a:lnTo>
                  <a:lnTo>
                    <a:pt x="1977" y="166"/>
                  </a:lnTo>
                  <a:lnTo>
                    <a:pt x="1986" y="166"/>
                  </a:lnTo>
                  <a:lnTo>
                    <a:pt x="1996" y="165"/>
                  </a:lnTo>
                  <a:lnTo>
                    <a:pt x="2011" y="161"/>
                  </a:lnTo>
                  <a:lnTo>
                    <a:pt x="2028" y="155"/>
                  </a:lnTo>
                  <a:lnTo>
                    <a:pt x="2047" y="147"/>
                  </a:lnTo>
                  <a:lnTo>
                    <a:pt x="2067" y="140"/>
                  </a:lnTo>
                  <a:lnTo>
                    <a:pt x="2087" y="135"/>
                  </a:lnTo>
                  <a:lnTo>
                    <a:pt x="2104" y="130"/>
                  </a:lnTo>
                  <a:lnTo>
                    <a:pt x="2119" y="129"/>
                  </a:lnTo>
                  <a:lnTo>
                    <a:pt x="2109" y="140"/>
                  </a:lnTo>
                  <a:lnTo>
                    <a:pt x="2101" y="147"/>
                  </a:lnTo>
                  <a:lnTo>
                    <a:pt x="2097" y="151"/>
                  </a:lnTo>
                  <a:lnTo>
                    <a:pt x="2094" y="155"/>
                  </a:lnTo>
                  <a:lnTo>
                    <a:pt x="2093" y="160"/>
                  </a:lnTo>
                  <a:lnTo>
                    <a:pt x="2092" y="166"/>
                  </a:lnTo>
                  <a:lnTo>
                    <a:pt x="2102" y="166"/>
                  </a:lnTo>
                  <a:lnTo>
                    <a:pt x="2112" y="166"/>
                  </a:lnTo>
                  <a:lnTo>
                    <a:pt x="2121" y="167"/>
                  </a:lnTo>
                  <a:lnTo>
                    <a:pt x="2138" y="169"/>
                  </a:lnTo>
                  <a:lnTo>
                    <a:pt x="2163" y="172"/>
                  </a:lnTo>
                  <a:lnTo>
                    <a:pt x="2191" y="175"/>
                  </a:lnTo>
                  <a:lnTo>
                    <a:pt x="2221" y="179"/>
                  </a:lnTo>
                  <a:lnTo>
                    <a:pt x="2248" y="182"/>
                  </a:lnTo>
                  <a:lnTo>
                    <a:pt x="2270" y="184"/>
                  </a:lnTo>
                  <a:lnTo>
                    <a:pt x="2286" y="184"/>
                  </a:lnTo>
                  <a:lnTo>
                    <a:pt x="2284" y="193"/>
                  </a:lnTo>
                  <a:lnTo>
                    <a:pt x="2282" y="199"/>
                  </a:lnTo>
                  <a:lnTo>
                    <a:pt x="2279" y="205"/>
                  </a:lnTo>
                  <a:lnTo>
                    <a:pt x="2275" y="210"/>
                  </a:lnTo>
                  <a:lnTo>
                    <a:pt x="2269" y="212"/>
                  </a:lnTo>
                  <a:lnTo>
                    <a:pt x="2262" y="214"/>
                  </a:lnTo>
                  <a:lnTo>
                    <a:pt x="2255" y="215"/>
                  </a:lnTo>
                  <a:lnTo>
                    <a:pt x="2245" y="216"/>
                  </a:lnTo>
                  <a:lnTo>
                    <a:pt x="2238" y="215"/>
                  </a:lnTo>
                  <a:lnTo>
                    <a:pt x="2233" y="214"/>
                  </a:lnTo>
                  <a:lnTo>
                    <a:pt x="2228" y="212"/>
                  </a:lnTo>
                  <a:lnTo>
                    <a:pt x="2225" y="210"/>
                  </a:lnTo>
                  <a:lnTo>
                    <a:pt x="2222" y="206"/>
                  </a:lnTo>
                  <a:lnTo>
                    <a:pt x="2217" y="204"/>
                  </a:lnTo>
                  <a:lnTo>
                    <a:pt x="2212" y="203"/>
                  </a:lnTo>
                  <a:lnTo>
                    <a:pt x="2205" y="203"/>
                  </a:lnTo>
                  <a:lnTo>
                    <a:pt x="2194" y="203"/>
                  </a:lnTo>
                  <a:lnTo>
                    <a:pt x="2185" y="205"/>
                  </a:lnTo>
                  <a:lnTo>
                    <a:pt x="2175" y="209"/>
                  </a:lnTo>
                  <a:lnTo>
                    <a:pt x="2166" y="213"/>
                  </a:lnTo>
                  <a:lnTo>
                    <a:pt x="2149" y="223"/>
                  </a:lnTo>
                  <a:lnTo>
                    <a:pt x="2135" y="234"/>
                  </a:lnTo>
                  <a:lnTo>
                    <a:pt x="2121" y="245"/>
                  </a:lnTo>
                  <a:lnTo>
                    <a:pt x="2108" y="255"/>
                  </a:lnTo>
                  <a:lnTo>
                    <a:pt x="2100" y="258"/>
                  </a:lnTo>
                  <a:lnTo>
                    <a:pt x="2093" y="261"/>
                  </a:lnTo>
                  <a:lnTo>
                    <a:pt x="2087" y="264"/>
                  </a:lnTo>
                  <a:lnTo>
                    <a:pt x="2079" y="265"/>
                  </a:lnTo>
                  <a:lnTo>
                    <a:pt x="2073" y="266"/>
                  </a:lnTo>
                  <a:lnTo>
                    <a:pt x="2068" y="268"/>
                  </a:lnTo>
                  <a:lnTo>
                    <a:pt x="2066" y="271"/>
                  </a:lnTo>
                  <a:lnTo>
                    <a:pt x="2064" y="276"/>
                  </a:lnTo>
                  <a:lnTo>
                    <a:pt x="2063" y="285"/>
                  </a:lnTo>
                  <a:lnTo>
                    <a:pt x="2059" y="295"/>
                  </a:lnTo>
                  <a:lnTo>
                    <a:pt x="2056" y="304"/>
                  </a:lnTo>
                  <a:lnTo>
                    <a:pt x="2053" y="312"/>
                  </a:lnTo>
                  <a:lnTo>
                    <a:pt x="2048" y="321"/>
                  </a:lnTo>
                  <a:lnTo>
                    <a:pt x="2043" y="328"/>
                  </a:lnTo>
                  <a:lnTo>
                    <a:pt x="2032" y="342"/>
                  </a:lnTo>
                  <a:lnTo>
                    <a:pt x="2021" y="355"/>
                  </a:lnTo>
                  <a:lnTo>
                    <a:pt x="2015" y="362"/>
                  </a:lnTo>
                  <a:lnTo>
                    <a:pt x="2010" y="369"/>
                  </a:lnTo>
                  <a:lnTo>
                    <a:pt x="2006" y="378"/>
                  </a:lnTo>
                  <a:lnTo>
                    <a:pt x="2001" y="386"/>
                  </a:lnTo>
                  <a:lnTo>
                    <a:pt x="1998" y="394"/>
                  </a:lnTo>
                  <a:lnTo>
                    <a:pt x="1995" y="404"/>
                  </a:lnTo>
                  <a:lnTo>
                    <a:pt x="1993" y="414"/>
                  </a:lnTo>
                  <a:lnTo>
                    <a:pt x="1992" y="424"/>
                  </a:lnTo>
                  <a:lnTo>
                    <a:pt x="1993" y="432"/>
                  </a:lnTo>
                  <a:lnTo>
                    <a:pt x="1997" y="438"/>
                  </a:lnTo>
                  <a:lnTo>
                    <a:pt x="2001" y="443"/>
                  </a:lnTo>
                  <a:lnTo>
                    <a:pt x="2007" y="447"/>
                  </a:lnTo>
                  <a:lnTo>
                    <a:pt x="2012" y="451"/>
                  </a:lnTo>
                  <a:lnTo>
                    <a:pt x="2018" y="453"/>
                  </a:lnTo>
                  <a:lnTo>
                    <a:pt x="2022" y="455"/>
                  </a:lnTo>
                  <a:lnTo>
                    <a:pt x="2026" y="456"/>
                  </a:lnTo>
                  <a:lnTo>
                    <a:pt x="2032" y="455"/>
                  </a:lnTo>
                  <a:lnTo>
                    <a:pt x="2037" y="454"/>
                  </a:lnTo>
                  <a:lnTo>
                    <a:pt x="2043" y="453"/>
                  </a:lnTo>
                  <a:lnTo>
                    <a:pt x="2047" y="451"/>
                  </a:lnTo>
                  <a:lnTo>
                    <a:pt x="2052" y="448"/>
                  </a:lnTo>
                  <a:lnTo>
                    <a:pt x="2056" y="445"/>
                  </a:lnTo>
                  <a:lnTo>
                    <a:pt x="2060" y="441"/>
                  </a:lnTo>
                  <a:lnTo>
                    <a:pt x="2064" y="437"/>
                  </a:lnTo>
                  <a:lnTo>
                    <a:pt x="2070" y="427"/>
                  </a:lnTo>
                  <a:lnTo>
                    <a:pt x="2076" y="417"/>
                  </a:lnTo>
                  <a:lnTo>
                    <a:pt x="2080" y="405"/>
                  </a:lnTo>
                  <a:lnTo>
                    <a:pt x="2085" y="393"/>
                  </a:lnTo>
                  <a:lnTo>
                    <a:pt x="2092" y="368"/>
                  </a:lnTo>
                  <a:lnTo>
                    <a:pt x="2100" y="344"/>
                  </a:lnTo>
                  <a:lnTo>
                    <a:pt x="2103" y="333"/>
                  </a:lnTo>
                  <a:lnTo>
                    <a:pt x="2108" y="323"/>
                  </a:lnTo>
                  <a:lnTo>
                    <a:pt x="2113" y="314"/>
                  </a:lnTo>
                  <a:lnTo>
                    <a:pt x="2119" y="307"/>
                  </a:lnTo>
                  <a:lnTo>
                    <a:pt x="2135" y="295"/>
                  </a:lnTo>
                  <a:lnTo>
                    <a:pt x="2152" y="283"/>
                  </a:lnTo>
                  <a:lnTo>
                    <a:pt x="2169" y="273"/>
                  </a:lnTo>
                  <a:lnTo>
                    <a:pt x="2188" y="262"/>
                  </a:lnTo>
                  <a:lnTo>
                    <a:pt x="2205" y="252"/>
                  </a:lnTo>
                  <a:lnTo>
                    <a:pt x="2223" y="243"/>
                  </a:lnTo>
                  <a:lnTo>
                    <a:pt x="2238" y="233"/>
                  </a:lnTo>
                  <a:lnTo>
                    <a:pt x="2251" y="222"/>
                  </a:lnTo>
                  <a:lnTo>
                    <a:pt x="2266" y="237"/>
                  </a:lnTo>
                  <a:lnTo>
                    <a:pt x="2278" y="249"/>
                  </a:lnTo>
                  <a:lnTo>
                    <a:pt x="2283" y="255"/>
                  </a:lnTo>
                  <a:lnTo>
                    <a:pt x="2288" y="261"/>
                  </a:lnTo>
                  <a:lnTo>
                    <a:pt x="2293" y="269"/>
                  </a:lnTo>
                  <a:lnTo>
                    <a:pt x="2299" y="277"/>
                  </a:lnTo>
                  <a:lnTo>
                    <a:pt x="2289" y="284"/>
                  </a:lnTo>
                  <a:lnTo>
                    <a:pt x="2281" y="290"/>
                  </a:lnTo>
                  <a:lnTo>
                    <a:pt x="2273" y="296"/>
                  </a:lnTo>
                  <a:lnTo>
                    <a:pt x="2267" y="303"/>
                  </a:lnTo>
                  <a:lnTo>
                    <a:pt x="2260" y="310"/>
                  </a:lnTo>
                  <a:lnTo>
                    <a:pt x="2255" y="318"/>
                  </a:lnTo>
                  <a:lnTo>
                    <a:pt x="2250" y="328"/>
                  </a:lnTo>
                  <a:lnTo>
                    <a:pt x="2245" y="339"/>
                  </a:lnTo>
                  <a:lnTo>
                    <a:pt x="2259" y="338"/>
                  </a:lnTo>
                  <a:lnTo>
                    <a:pt x="2271" y="336"/>
                  </a:lnTo>
                  <a:lnTo>
                    <a:pt x="2284" y="334"/>
                  </a:lnTo>
                  <a:lnTo>
                    <a:pt x="2299" y="333"/>
                  </a:lnTo>
                  <a:lnTo>
                    <a:pt x="2299" y="347"/>
                  </a:lnTo>
                  <a:lnTo>
                    <a:pt x="2299" y="363"/>
                  </a:lnTo>
                  <a:lnTo>
                    <a:pt x="2299" y="380"/>
                  </a:lnTo>
                  <a:lnTo>
                    <a:pt x="2299" y="394"/>
                  </a:lnTo>
                  <a:lnTo>
                    <a:pt x="2293" y="399"/>
                  </a:lnTo>
                  <a:lnTo>
                    <a:pt x="2288" y="404"/>
                  </a:lnTo>
                  <a:lnTo>
                    <a:pt x="2281" y="411"/>
                  </a:lnTo>
                  <a:lnTo>
                    <a:pt x="2276" y="418"/>
                  </a:lnTo>
                  <a:lnTo>
                    <a:pt x="2250" y="426"/>
                  </a:lnTo>
                  <a:lnTo>
                    <a:pt x="2228" y="435"/>
                  </a:lnTo>
                  <a:lnTo>
                    <a:pt x="2219" y="439"/>
                  </a:lnTo>
                  <a:lnTo>
                    <a:pt x="2212" y="443"/>
                  </a:lnTo>
                  <a:lnTo>
                    <a:pt x="2206" y="446"/>
                  </a:lnTo>
                  <a:lnTo>
                    <a:pt x="2205" y="450"/>
                  </a:lnTo>
                  <a:lnTo>
                    <a:pt x="2205" y="452"/>
                  </a:lnTo>
                  <a:lnTo>
                    <a:pt x="2206" y="454"/>
                  </a:lnTo>
                  <a:lnTo>
                    <a:pt x="2209" y="456"/>
                  </a:lnTo>
                  <a:lnTo>
                    <a:pt x="2212" y="458"/>
                  </a:lnTo>
                  <a:lnTo>
                    <a:pt x="2219" y="463"/>
                  </a:lnTo>
                  <a:lnTo>
                    <a:pt x="2227" y="466"/>
                  </a:lnTo>
                  <a:lnTo>
                    <a:pt x="2236" y="469"/>
                  </a:lnTo>
                  <a:lnTo>
                    <a:pt x="2245" y="472"/>
                  </a:lnTo>
                  <a:lnTo>
                    <a:pt x="2253" y="473"/>
                  </a:lnTo>
                  <a:lnTo>
                    <a:pt x="2258" y="474"/>
                  </a:lnTo>
                  <a:lnTo>
                    <a:pt x="2265" y="473"/>
                  </a:lnTo>
                  <a:lnTo>
                    <a:pt x="2273" y="472"/>
                  </a:lnTo>
                  <a:lnTo>
                    <a:pt x="2283" y="469"/>
                  </a:lnTo>
                  <a:lnTo>
                    <a:pt x="2293" y="466"/>
                  </a:lnTo>
                  <a:lnTo>
                    <a:pt x="2317" y="457"/>
                  </a:lnTo>
                  <a:lnTo>
                    <a:pt x="2343" y="447"/>
                  </a:lnTo>
                  <a:lnTo>
                    <a:pt x="2369" y="436"/>
                  </a:lnTo>
                  <a:lnTo>
                    <a:pt x="2393" y="425"/>
                  </a:lnTo>
                  <a:lnTo>
                    <a:pt x="2415" y="415"/>
                  </a:lnTo>
                  <a:lnTo>
                    <a:pt x="2433" y="408"/>
                  </a:lnTo>
                  <a:lnTo>
                    <a:pt x="2439" y="407"/>
                  </a:lnTo>
                  <a:lnTo>
                    <a:pt x="2446" y="405"/>
                  </a:lnTo>
                  <a:lnTo>
                    <a:pt x="2452" y="403"/>
                  </a:lnTo>
                  <a:lnTo>
                    <a:pt x="2458" y="400"/>
                  </a:lnTo>
                  <a:lnTo>
                    <a:pt x="2530" y="382"/>
                  </a:lnTo>
                  <a:lnTo>
                    <a:pt x="2544" y="380"/>
                  </a:lnTo>
                  <a:lnTo>
                    <a:pt x="2557" y="378"/>
                  </a:lnTo>
                  <a:lnTo>
                    <a:pt x="2570" y="373"/>
                  </a:lnTo>
                  <a:lnTo>
                    <a:pt x="2583" y="369"/>
                  </a:lnTo>
                  <a:lnTo>
                    <a:pt x="2597" y="364"/>
                  </a:lnTo>
                  <a:lnTo>
                    <a:pt x="2611" y="357"/>
                  </a:lnTo>
                  <a:lnTo>
                    <a:pt x="2625" y="350"/>
                  </a:lnTo>
                  <a:lnTo>
                    <a:pt x="2638" y="342"/>
                  </a:lnTo>
                  <a:lnTo>
                    <a:pt x="2651" y="334"/>
                  </a:lnTo>
                  <a:lnTo>
                    <a:pt x="2664" y="324"/>
                  </a:lnTo>
                  <a:lnTo>
                    <a:pt x="2676" y="313"/>
                  </a:lnTo>
                  <a:lnTo>
                    <a:pt x="2689" y="303"/>
                  </a:lnTo>
                  <a:lnTo>
                    <a:pt x="2701" y="291"/>
                  </a:lnTo>
                  <a:lnTo>
                    <a:pt x="2710" y="279"/>
                  </a:lnTo>
                  <a:lnTo>
                    <a:pt x="2721" y="266"/>
                  </a:lnTo>
                  <a:lnTo>
                    <a:pt x="2730" y="252"/>
                  </a:lnTo>
                  <a:lnTo>
                    <a:pt x="2817" y="252"/>
                  </a:lnTo>
                  <a:lnTo>
                    <a:pt x="2850" y="248"/>
                  </a:lnTo>
                  <a:lnTo>
                    <a:pt x="2880" y="246"/>
                  </a:lnTo>
                  <a:lnTo>
                    <a:pt x="2906" y="244"/>
                  </a:lnTo>
                  <a:lnTo>
                    <a:pt x="2931" y="241"/>
                  </a:lnTo>
                  <a:lnTo>
                    <a:pt x="2942" y="239"/>
                  </a:lnTo>
                  <a:lnTo>
                    <a:pt x="2954" y="237"/>
                  </a:lnTo>
                  <a:lnTo>
                    <a:pt x="2965" y="234"/>
                  </a:lnTo>
                  <a:lnTo>
                    <a:pt x="2975" y="230"/>
                  </a:lnTo>
                  <a:lnTo>
                    <a:pt x="2986" y="225"/>
                  </a:lnTo>
                  <a:lnTo>
                    <a:pt x="2996" y="219"/>
                  </a:lnTo>
                  <a:lnTo>
                    <a:pt x="3006" y="212"/>
                  </a:lnTo>
                  <a:lnTo>
                    <a:pt x="3016" y="203"/>
                  </a:lnTo>
                  <a:lnTo>
                    <a:pt x="3028" y="190"/>
                  </a:lnTo>
                  <a:lnTo>
                    <a:pt x="3038" y="177"/>
                  </a:lnTo>
                  <a:lnTo>
                    <a:pt x="3048" y="162"/>
                  </a:lnTo>
                  <a:lnTo>
                    <a:pt x="3059" y="148"/>
                  </a:lnTo>
                  <a:lnTo>
                    <a:pt x="3064" y="142"/>
                  </a:lnTo>
                  <a:lnTo>
                    <a:pt x="3070" y="136"/>
                  </a:lnTo>
                  <a:lnTo>
                    <a:pt x="3075" y="130"/>
                  </a:lnTo>
                  <a:lnTo>
                    <a:pt x="3082" y="126"/>
                  </a:lnTo>
                  <a:lnTo>
                    <a:pt x="3089" y="122"/>
                  </a:lnTo>
                  <a:lnTo>
                    <a:pt x="3097" y="119"/>
                  </a:lnTo>
                  <a:lnTo>
                    <a:pt x="3106" y="117"/>
                  </a:lnTo>
                  <a:lnTo>
                    <a:pt x="3116" y="117"/>
                  </a:lnTo>
                  <a:lnTo>
                    <a:pt x="3136" y="118"/>
                  </a:lnTo>
                  <a:lnTo>
                    <a:pt x="3153" y="119"/>
                  </a:lnTo>
                  <a:lnTo>
                    <a:pt x="3160" y="120"/>
                  </a:lnTo>
                  <a:lnTo>
                    <a:pt x="3165" y="119"/>
                  </a:lnTo>
                  <a:lnTo>
                    <a:pt x="3171" y="119"/>
                  </a:lnTo>
                  <a:lnTo>
                    <a:pt x="3175" y="117"/>
                  </a:lnTo>
                  <a:lnTo>
                    <a:pt x="3175" y="125"/>
                  </a:lnTo>
                  <a:lnTo>
                    <a:pt x="3172" y="134"/>
                  </a:lnTo>
                  <a:lnTo>
                    <a:pt x="3168" y="144"/>
                  </a:lnTo>
                  <a:lnTo>
                    <a:pt x="3164" y="156"/>
                  </a:lnTo>
                  <a:lnTo>
                    <a:pt x="3160" y="165"/>
                  </a:lnTo>
                  <a:lnTo>
                    <a:pt x="3155" y="174"/>
                  </a:lnTo>
                  <a:lnTo>
                    <a:pt x="3152" y="181"/>
                  </a:lnTo>
                  <a:lnTo>
                    <a:pt x="3149" y="184"/>
                  </a:lnTo>
                  <a:lnTo>
                    <a:pt x="3149" y="252"/>
                  </a:lnTo>
                  <a:lnTo>
                    <a:pt x="3155" y="258"/>
                  </a:lnTo>
                </a:path>
              </a:pathLst>
            </a:custGeom>
            <a:solidFill>
              <a:schemeClr val="accent2">
                <a:lumMod val="50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611" name="Freeform 7"/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3167199" y="4103584"/>
              <a:ext cx="405017" cy="709173"/>
            </a:xfrm>
            <a:custGeom>
              <a:avLst/>
              <a:gdLst>
                <a:gd name="T0" fmla="*/ 252627 w 784"/>
                <a:gd name="T1" fmla="*/ 145020 h 1128"/>
                <a:gd name="T2" fmla="*/ 237894 w 784"/>
                <a:gd name="T3" fmla="*/ 154443 h 1128"/>
                <a:gd name="T4" fmla="*/ 209728 w 784"/>
                <a:gd name="T5" fmla="*/ 202609 h 1128"/>
                <a:gd name="T6" fmla="*/ 201495 w 784"/>
                <a:gd name="T7" fmla="*/ 239257 h 1128"/>
                <a:gd name="T8" fmla="*/ 208428 w 784"/>
                <a:gd name="T9" fmla="*/ 273286 h 1128"/>
                <a:gd name="T10" fmla="*/ 229661 w 784"/>
                <a:gd name="T11" fmla="*/ 309411 h 1128"/>
                <a:gd name="T12" fmla="*/ 250894 w 784"/>
                <a:gd name="T13" fmla="*/ 322499 h 1128"/>
                <a:gd name="T14" fmla="*/ 270827 w 784"/>
                <a:gd name="T15" fmla="*/ 314122 h 1128"/>
                <a:gd name="T16" fmla="*/ 283393 w 784"/>
                <a:gd name="T17" fmla="*/ 341870 h 1128"/>
                <a:gd name="T18" fmla="*/ 291193 w 784"/>
                <a:gd name="T19" fmla="*/ 357576 h 1128"/>
                <a:gd name="T20" fmla="*/ 309392 w 784"/>
                <a:gd name="T21" fmla="*/ 359670 h 1128"/>
                <a:gd name="T22" fmla="*/ 324559 w 784"/>
                <a:gd name="T23" fmla="*/ 372759 h 1128"/>
                <a:gd name="T24" fmla="*/ 333658 w 784"/>
                <a:gd name="T25" fmla="*/ 395794 h 1128"/>
                <a:gd name="T26" fmla="*/ 329759 w 784"/>
                <a:gd name="T27" fmla="*/ 413594 h 1128"/>
                <a:gd name="T28" fmla="*/ 329325 w 784"/>
                <a:gd name="T29" fmla="*/ 431918 h 1128"/>
                <a:gd name="T30" fmla="*/ 334525 w 784"/>
                <a:gd name="T31" fmla="*/ 461760 h 1128"/>
                <a:gd name="T32" fmla="*/ 328459 w 784"/>
                <a:gd name="T33" fmla="*/ 487937 h 1128"/>
                <a:gd name="T34" fmla="*/ 333658 w 784"/>
                <a:gd name="T35" fmla="*/ 520396 h 1128"/>
                <a:gd name="T36" fmla="*/ 330625 w 784"/>
                <a:gd name="T37" fmla="*/ 551808 h 1128"/>
                <a:gd name="T38" fmla="*/ 299426 w 784"/>
                <a:gd name="T39" fmla="*/ 587409 h 1128"/>
                <a:gd name="T40" fmla="*/ 280793 w 784"/>
                <a:gd name="T41" fmla="*/ 577462 h 1128"/>
                <a:gd name="T42" fmla="*/ 260860 w 784"/>
                <a:gd name="T43" fmla="*/ 552855 h 1128"/>
                <a:gd name="T44" fmla="*/ 200628 w 784"/>
                <a:gd name="T45" fmla="*/ 522490 h 1128"/>
                <a:gd name="T46" fmla="*/ 184162 w 784"/>
                <a:gd name="T47" fmla="*/ 506261 h 1128"/>
                <a:gd name="T48" fmla="*/ 143430 w 784"/>
                <a:gd name="T49" fmla="*/ 468042 h 1128"/>
                <a:gd name="T50" fmla="*/ 137797 w 784"/>
                <a:gd name="T51" fmla="*/ 453907 h 1128"/>
                <a:gd name="T52" fmla="*/ 142130 w 784"/>
                <a:gd name="T53" fmla="*/ 426683 h 1128"/>
                <a:gd name="T54" fmla="*/ 125664 w 784"/>
                <a:gd name="T55" fmla="*/ 407312 h 1128"/>
                <a:gd name="T56" fmla="*/ 112231 w 784"/>
                <a:gd name="T57" fmla="*/ 390035 h 1128"/>
                <a:gd name="T58" fmla="*/ 105297 w 784"/>
                <a:gd name="T59" fmla="*/ 360717 h 1128"/>
                <a:gd name="T60" fmla="*/ 66298 w 784"/>
                <a:gd name="T61" fmla="*/ 277475 h 1128"/>
                <a:gd name="T62" fmla="*/ 51999 w 784"/>
                <a:gd name="T63" fmla="*/ 254963 h 1128"/>
                <a:gd name="T64" fmla="*/ 38999 w 784"/>
                <a:gd name="T65" fmla="*/ 226168 h 1128"/>
                <a:gd name="T66" fmla="*/ 9533 w 784"/>
                <a:gd name="T67" fmla="*/ 207844 h 1128"/>
                <a:gd name="T68" fmla="*/ 0 w 784"/>
                <a:gd name="T69" fmla="*/ 190044 h 1128"/>
                <a:gd name="T70" fmla="*/ 5633 w 784"/>
                <a:gd name="T71" fmla="*/ 144496 h 1128"/>
                <a:gd name="T72" fmla="*/ 12133 w 784"/>
                <a:gd name="T73" fmla="*/ 128790 h 1128"/>
                <a:gd name="T74" fmla="*/ 31199 w 784"/>
                <a:gd name="T75" fmla="*/ 116225 h 1128"/>
                <a:gd name="T76" fmla="*/ 41166 w 784"/>
                <a:gd name="T77" fmla="*/ 142402 h 1128"/>
                <a:gd name="T78" fmla="*/ 68465 w 784"/>
                <a:gd name="T79" fmla="*/ 160726 h 1128"/>
                <a:gd name="T80" fmla="*/ 79731 w 784"/>
                <a:gd name="T81" fmla="*/ 141879 h 1128"/>
                <a:gd name="T82" fmla="*/ 87098 w 784"/>
                <a:gd name="T83" fmla="*/ 117796 h 1128"/>
                <a:gd name="T84" fmla="*/ 116997 w 784"/>
                <a:gd name="T85" fmla="*/ 89001 h 1128"/>
                <a:gd name="T86" fmla="*/ 149063 w 784"/>
                <a:gd name="T87" fmla="*/ 62824 h 1128"/>
                <a:gd name="T88" fmla="*/ 154696 w 784"/>
                <a:gd name="T89" fmla="*/ 36648 h 1128"/>
                <a:gd name="T90" fmla="*/ 150363 w 784"/>
                <a:gd name="T91" fmla="*/ 2618 h 1128"/>
                <a:gd name="T92" fmla="*/ 182862 w 784"/>
                <a:gd name="T93" fmla="*/ 27747 h 1128"/>
                <a:gd name="T94" fmla="*/ 202362 w 784"/>
                <a:gd name="T95" fmla="*/ 56018 h 1128"/>
                <a:gd name="T96" fmla="*/ 219261 w 784"/>
                <a:gd name="T97" fmla="*/ 80625 h 1128"/>
                <a:gd name="T98" fmla="*/ 243094 w 784"/>
                <a:gd name="T99" fmla="*/ 82195 h 1128"/>
                <a:gd name="T100" fmla="*/ 267360 w 784"/>
                <a:gd name="T101" fmla="*/ 78007 h 1128"/>
                <a:gd name="T102" fmla="*/ 277327 w 784"/>
                <a:gd name="T103" fmla="*/ 81672 h 1128"/>
                <a:gd name="T104" fmla="*/ 283393 w 784"/>
                <a:gd name="T105" fmla="*/ 101043 h 1128"/>
                <a:gd name="T106" fmla="*/ 271693 w 784"/>
                <a:gd name="T107" fmla="*/ 109943 h 1128"/>
                <a:gd name="T108" fmla="*/ 271693 w 784"/>
                <a:gd name="T109" fmla="*/ 125649 h 112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784" h="1128">
                  <a:moveTo>
                    <a:pt x="644" y="259"/>
                  </a:moveTo>
                  <a:lnTo>
                    <a:pt x="632" y="265"/>
                  </a:lnTo>
                  <a:lnTo>
                    <a:pt x="621" y="270"/>
                  </a:lnTo>
                  <a:lnTo>
                    <a:pt x="611" y="273"/>
                  </a:lnTo>
                  <a:lnTo>
                    <a:pt x="602" y="275"/>
                  </a:lnTo>
                  <a:lnTo>
                    <a:pt x="583" y="277"/>
                  </a:lnTo>
                  <a:lnTo>
                    <a:pt x="564" y="278"/>
                  </a:lnTo>
                  <a:lnTo>
                    <a:pt x="560" y="278"/>
                  </a:lnTo>
                  <a:lnTo>
                    <a:pt x="557" y="280"/>
                  </a:lnTo>
                  <a:lnTo>
                    <a:pt x="554" y="284"/>
                  </a:lnTo>
                  <a:lnTo>
                    <a:pt x="552" y="287"/>
                  </a:lnTo>
                  <a:lnTo>
                    <a:pt x="549" y="295"/>
                  </a:lnTo>
                  <a:lnTo>
                    <a:pt x="545" y="302"/>
                  </a:lnTo>
                  <a:lnTo>
                    <a:pt x="529" y="318"/>
                  </a:lnTo>
                  <a:lnTo>
                    <a:pt x="515" y="335"/>
                  </a:lnTo>
                  <a:lnTo>
                    <a:pt x="502" y="354"/>
                  </a:lnTo>
                  <a:lnTo>
                    <a:pt x="490" y="376"/>
                  </a:lnTo>
                  <a:lnTo>
                    <a:pt x="484" y="387"/>
                  </a:lnTo>
                  <a:lnTo>
                    <a:pt x="480" y="398"/>
                  </a:lnTo>
                  <a:lnTo>
                    <a:pt x="475" y="410"/>
                  </a:lnTo>
                  <a:lnTo>
                    <a:pt x="471" y="422"/>
                  </a:lnTo>
                  <a:lnTo>
                    <a:pt x="469" y="434"/>
                  </a:lnTo>
                  <a:lnTo>
                    <a:pt x="467" y="445"/>
                  </a:lnTo>
                  <a:lnTo>
                    <a:pt x="465" y="457"/>
                  </a:lnTo>
                  <a:lnTo>
                    <a:pt x="464" y="468"/>
                  </a:lnTo>
                  <a:lnTo>
                    <a:pt x="465" y="478"/>
                  </a:lnTo>
                  <a:lnTo>
                    <a:pt x="468" y="488"/>
                  </a:lnTo>
                  <a:lnTo>
                    <a:pt x="471" y="498"/>
                  </a:lnTo>
                  <a:lnTo>
                    <a:pt x="475" y="510"/>
                  </a:lnTo>
                  <a:lnTo>
                    <a:pt x="481" y="522"/>
                  </a:lnTo>
                  <a:lnTo>
                    <a:pt x="486" y="535"/>
                  </a:lnTo>
                  <a:lnTo>
                    <a:pt x="494" y="547"/>
                  </a:lnTo>
                  <a:lnTo>
                    <a:pt x="502" y="559"/>
                  </a:lnTo>
                  <a:lnTo>
                    <a:pt x="510" y="570"/>
                  </a:lnTo>
                  <a:lnTo>
                    <a:pt x="520" y="581"/>
                  </a:lnTo>
                  <a:lnTo>
                    <a:pt x="530" y="591"/>
                  </a:lnTo>
                  <a:lnTo>
                    <a:pt x="540" y="600"/>
                  </a:lnTo>
                  <a:lnTo>
                    <a:pt x="551" y="607"/>
                  </a:lnTo>
                  <a:lnTo>
                    <a:pt x="562" y="612"/>
                  </a:lnTo>
                  <a:lnTo>
                    <a:pt x="568" y="614"/>
                  </a:lnTo>
                  <a:lnTo>
                    <a:pt x="573" y="615"/>
                  </a:lnTo>
                  <a:lnTo>
                    <a:pt x="579" y="616"/>
                  </a:lnTo>
                  <a:lnTo>
                    <a:pt x="584" y="616"/>
                  </a:lnTo>
                  <a:lnTo>
                    <a:pt x="594" y="615"/>
                  </a:lnTo>
                  <a:lnTo>
                    <a:pt x="602" y="613"/>
                  </a:lnTo>
                  <a:lnTo>
                    <a:pt x="610" y="609"/>
                  </a:lnTo>
                  <a:lnTo>
                    <a:pt x="617" y="604"/>
                  </a:lnTo>
                  <a:lnTo>
                    <a:pt x="625" y="600"/>
                  </a:lnTo>
                  <a:lnTo>
                    <a:pt x="632" y="596"/>
                  </a:lnTo>
                  <a:lnTo>
                    <a:pt x="641" y="593"/>
                  </a:lnTo>
                  <a:lnTo>
                    <a:pt x="651" y="592"/>
                  </a:lnTo>
                  <a:lnTo>
                    <a:pt x="653" y="614"/>
                  </a:lnTo>
                  <a:lnTo>
                    <a:pt x="654" y="645"/>
                  </a:lnTo>
                  <a:lnTo>
                    <a:pt x="654" y="653"/>
                  </a:lnTo>
                  <a:lnTo>
                    <a:pt x="655" y="660"/>
                  </a:lnTo>
                  <a:lnTo>
                    <a:pt x="658" y="667"/>
                  </a:lnTo>
                  <a:lnTo>
                    <a:pt x="660" y="672"/>
                  </a:lnTo>
                  <a:lnTo>
                    <a:pt x="663" y="677"/>
                  </a:lnTo>
                  <a:lnTo>
                    <a:pt x="666" y="681"/>
                  </a:lnTo>
                  <a:lnTo>
                    <a:pt x="672" y="683"/>
                  </a:lnTo>
                  <a:lnTo>
                    <a:pt x="677" y="684"/>
                  </a:lnTo>
                  <a:lnTo>
                    <a:pt x="687" y="684"/>
                  </a:lnTo>
                  <a:lnTo>
                    <a:pt x="697" y="684"/>
                  </a:lnTo>
                  <a:lnTo>
                    <a:pt x="703" y="684"/>
                  </a:lnTo>
                  <a:lnTo>
                    <a:pt x="708" y="685"/>
                  </a:lnTo>
                  <a:lnTo>
                    <a:pt x="714" y="687"/>
                  </a:lnTo>
                  <a:lnTo>
                    <a:pt x="720" y="689"/>
                  </a:lnTo>
                  <a:lnTo>
                    <a:pt x="726" y="692"/>
                  </a:lnTo>
                  <a:lnTo>
                    <a:pt x="732" y="696"/>
                  </a:lnTo>
                  <a:lnTo>
                    <a:pt x="738" y="701"/>
                  </a:lnTo>
                  <a:lnTo>
                    <a:pt x="743" y="706"/>
                  </a:lnTo>
                  <a:lnTo>
                    <a:pt x="749" y="712"/>
                  </a:lnTo>
                  <a:lnTo>
                    <a:pt x="754" y="717"/>
                  </a:lnTo>
                  <a:lnTo>
                    <a:pt x="759" y="724"/>
                  </a:lnTo>
                  <a:lnTo>
                    <a:pt x="763" y="731"/>
                  </a:lnTo>
                  <a:lnTo>
                    <a:pt x="765" y="738"/>
                  </a:lnTo>
                  <a:lnTo>
                    <a:pt x="769" y="746"/>
                  </a:lnTo>
                  <a:lnTo>
                    <a:pt x="770" y="756"/>
                  </a:lnTo>
                  <a:lnTo>
                    <a:pt x="771" y="765"/>
                  </a:lnTo>
                  <a:lnTo>
                    <a:pt x="770" y="773"/>
                  </a:lnTo>
                  <a:lnTo>
                    <a:pt x="769" y="779"/>
                  </a:lnTo>
                  <a:lnTo>
                    <a:pt x="766" y="784"/>
                  </a:lnTo>
                  <a:lnTo>
                    <a:pt x="764" y="787"/>
                  </a:lnTo>
                  <a:lnTo>
                    <a:pt x="761" y="790"/>
                  </a:lnTo>
                  <a:lnTo>
                    <a:pt x="759" y="794"/>
                  </a:lnTo>
                  <a:lnTo>
                    <a:pt x="758" y="797"/>
                  </a:lnTo>
                  <a:lnTo>
                    <a:pt x="758" y="801"/>
                  </a:lnTo>
                  <a:lnTo>
                    <a:pt x="758" y="809"/>
                  </a:lnTo>
                  <a:lnTo>
                    <a:pt x="759" y="818"/>
                  </a:lnTo>
                  <a:lnTo>
                    <a:pt x="760" y="825"/>
                  </a:lnTo>
                  <a:lnTo>
                    <a:pt x="761" y="831"/>
                  </a:lnTo>
                  <a:lnTo>
                    <a:pt x="765" y="844"/>
                  </a:lnTo>
                  <a:lnTo>
                    <a:pt x="771" y="856"/>
                  </a:lnTo>
                  <a:lnTo>
                    <a:pt x="774" y="866"/>
                  </a:lnTo>
                  <a:lnTo>
                    <a:pt x="777" y="875"/>
                  </a:lnTo>
                  <a:lnTo>
                    <a:pt x="772" y="882"/>
                  </a:lnTo>
                  <a:lnTo>
                    <a:pt x="769" y="889"/>
                  </a:lnTo>
                  <a:lnTo>
                    <a:pt x="765" y="897"/>
                  </a:lnTo>
                  <a:lnTo>
                    <a:pt x="762" y="904"/>
                  </a:lnTo>
                  <a:lnTo>
                    <a:pt x="760" y="912"/>
                  </a:lnTo>
                  <a:lnTo>
                    <a:pt x="759" y="922"/>
                  </a:lnTo>
                  <a:lnTo>
                    <a:pt x="758" y="932"/>
                  </a:lnTo>
                  <a:lnTo>
                    <a:pt x="758" y="943"/>
                  </a:lnTo>
                  <a:lnTo>
                    <a:pt x="758" y="956"/>
                  </a:lnTo>
                  <a:lnTo>
                    <a:pt x="760" y="967"/>
                  </a:lnTo>
                  <a:lnTo>
                    <a:pt x="762" y="978"/>
                  </a:lnTo>
                  <a:lnTo>
                    <a:pt x="765" y="986"/>
                  </a:lnTo>
                  <a:lnTo>
                    <a:pt x="770" y="994"/>
                  </a:lnTo>
                  <a:lnTo>
                    <a:pt x="774" y="1000"/>
                  </a:lnTo>
                  <a:lnTo>
                    <a:pt x="778" y="1006"/>
                  </a:lnTo>
                  <a:lnTo>
                    <a:pt x="784" y="1011"/>
                  </a:lnTo>
                  <a:lnTo>
                    <a:pt x="775" y="1026"/>
                  </a:lnTo>
                  <a:lnTo>
                    <a:pt x="769" y="1041"/>
                  </a:lnTo>
                  <a:lnTo>
                    <a:pt x="763" y="1054"/>
                  </a:lnTo>
                  <a:lnTo>
                    <a:pt x="759" y="1067"/>
                  </a:lnTo>
                  <a:lnTo>
                    <a:pt x="753" y="1080"/>
                  </a:lnTo>
                  <a:lnTo>
                    <a:pt x="747" y="1095"/>
                  </a:lnTo>
                  <a:lnTo>
                    <a:pt x="737" y="1110"/>
                  </a:lnTo>
                  <a:lnTo>
                    <a:pt x="723" y="1128"/>
                  </a:lnTo>
                  <a:lnTo>
                    <a:pt x="691" y="1122"/>
                  </a:lnTo>
                  <a:lnTo>
                    <a:pt x="681" y="1121"/>
                  </a:lnTo>
                  <a:lnTo>
                    <a:pt x="673" y="1119"/>
                  </a:lnTo>
                  <a:lnTo>
                    <a:pt x="665" y="1116"/>
                  </a:lnTo>
                  <a:lnTo>
                    <a:pt x="659" y="1113"/>
                  </a:lnTo>
                  <a:lnTo>
                    <a:pt x="653" y="1108"/>
                  </a:lnTo>
                  <a:lnTo>
                    <a:pt x="648" y="1103"/>
                  </a:lnTo>
                  <a:lnTo>
                    <a:pt x="642" y="1098"/>
                  </a:lnTo>
                  <a:lnTo>
                    <a:pt x="638" y="1092"/>
                  </a:lnTo>
                  <a:lnTo>
                    <a:pt x="627" y="1079"/>
                  </a:lnTo>
                  <a:lnTo>
                    <a:pt x="616" y="1067"/>
                  </a:lnTo>
                  <a:lnTo>
                    <a:pt x="609" y="1061"/>
                  </a:lnTo>
                  <a:lnTo>
                    <a:pt x="602" y="1056"/>
                  </a:lnTo>
                  <a:lnTo>
                    <a:pt x="594" y="1052"/>
                  </a:lnTo>
                  <a:lnTo>
                    <a:pt x="584" y="1048"/>
                  </a:lnTo>
                  <a:lnTo>
                    <a:pt x="554" y="1038"/>
                  </a:lnTo>
                  <a:lnTo>
                    <a:pt x="507" y="1018"/>
                  </a:lnTo>
                  <a:lnTo>
                    <a:pt x="483" y="1008"/>
                  </a:lnTo>
                  <a:lnTo>
                    <a:pt x="463" y="998"/>
                  </a:lnTo>
                  <a:lnTo>
                    <a:pt x="456" y="993"/>
                  </a:lnTo>
                  <a:lnTo>
                    <a:pt x="450" y="988"/>
                  </a:lnTo>
                  <a:lnTo>
                    <a:pt x="446" y="984"/>
                  </a:lnTo>
                  <a:lnTo>
                    <a:pt x="445" y="980"/>
                  </a:lnTo>
                  <a:lnTo>
                    <a:pt x="436" y="975"/>
                  </a:lnTo>
                  <a:lnTo>
                    <a:pt x="425" y="967"/>
                  </a:lnTo>
                  <a:lnTo>
                    <a:pt x="413" y="956"/>
                  </a:lnTo>
                  <a:lnTo>
                    <a:pt x="398" y="944"/>
                  </a:lnTo>
                  <a:lnTo>
                    <a:pt x="383" y="931"/>
                  </a:lnTo>
                  <a:lnTo>
                    <a:pt x="367" y="916"/>
                  </a:lnTo>
                  <a:lnTo>
                    <a:pt x="349" y="904"/>
                  </a:lnTo>
                  <a:lnTo>
                    <a:pt x="331" y="894"/>
                  </a:lnTo>
                  <a:lnTo>
                    <a:pt x="326" y="890"/>
                  </a:lnTo>
                  <a:lnTo>
                    <a:pt x="323" y="886"/>
                  </a:lnTo>
                  <a:lnTo>
                    <a:pt x="319" y="882"/>
                  </a:lnTo>
                  <a:lnTo>
                    <a:pt x="318" y="877"/>
                  </a:lnTo>
                  <a:lnTo>
                    <a:pt x="318" y="872"/>
                  </a:lnTo>
                  <a:lnTo>
                    <a:pt x="318" y="867"/>
                  </a:lnTo>
                  <a:lnTo>
                    <a:pt x="319" y="860"/>
                  </a:lnTo>
                  <a:lnTo>
                    <a:pt x="321" y="854"/>
                  </a:lnTo>
                  <a:lnTo>
                    <a:pt x="324" y="842"/>
                  </a:lnTo>
                  <a:lnTo>
                    <a:pt x="327" y="829"/>
                  </a:lnTo>
                  <a:lnTo>
                    <a:pt x="328" y="822"/>
                  </a:lnTo>
                  <a:lnTo>
                    <a:pt x="328" y="815"/>
                  </a:lnTo>
                  <a:lnTo>
                    <a:pt x="327" y="808"/>
                  </a:lnTo>
                  <a:lnTo>
                    <a:pt x="325" y="801"/>
                  </a:lnTo>
                  <a:lnTo>
                    <a:pt x="318" y="795"/>
                  </a:lnTo>
                  <a:lnTo>
                    <a:pt x="310" y="789"/>
                  </a:lnTo>
                  <a:lnTo>
                    <a:pt x="300" y="784"/>
                  </a:lnTo>
                  <a:lnTo>
                    <a:pt x="290" y="778"/>
                  </a:lnTo>
                  <a:lnTo>
                    <a:pt x="279" y="772"/>
                  </a:lnTo>
                  <a:lnTo>
                    <a:pt x="270" y="765"/>
                  </a:lnTo>
                  <a:lnTo>
                    <a:pt x="266" y="761"/>
                  </a:lnTo>
                  <a:lnTo>
                    <a:pt x="263" y="757"/>
                  </a:lnTo>
                  <a:lnTo>
                    <a:pt x="260" y="751"/>
                  </a:lnTo>
                  <a:lnTo>
                    <a:pt x="259" y="745"/>
                  </a:lnTo>
                  <a:lnTo>
                    <a:pt x="255" y="735"/>
                  </a:lnTo>
                  <a:lnTo>
                    <a:pt x="251" y="725"/>
                  </a:lnTo>
                  <a:lnTo>
                    <a:pt x="249" y="716"/>
                  </a:lnTo>
                  <a:lnTo>
                    <a:pt x="248" y="707"/>
                  </a:lnTo>
                  <a:lnTo>
                    <a:pt x="246" y="697"/>
                  </a:lnTo>
                  <a:lnTo>
                    <a:pt x="243" y="689"/>
                  </a:lnTo>
                  <a:lnTo>
                    <a:pt x="238" y="681"/>
                  </a:lnTo>
                  <a:lnTo>
                    <a:pt x="232" y="672"/>
                  </a:lnTo>
                  <a:lnTo>
                    <a:pt x="211" y="635"/>
                  </a:lnTo>
                  <a:lnTo>
                    <a:pt x="192" y="603"/>
                  </a:lnTo>
                  <a:lnTo>
                    <a:pt x="174" y="570"/>
                  </a:lnTo>
                  <a:lnTo>
                    <a:pt x="153" y="530"/>
                  </a:lnTo>
                  <a:lnTo>
                    <a:pt x="146" y="521"/>
                  </a:lnTo>
                  <a:lnTo>
                    <a:pt x="138" y="513"/>
                  </a:lnTo>
                  <a:lnTo>
                    <a:pt x="134" y="508"/>
                  </a:lnTo>
                  <a:lnTo>
                    <a:pt x="129" y="502"/>
                  </a:lnTo>
                  <a:lnTo>
                    <a:pt x="124" y="496"/>
                  </a:lnTo>
                  <a:lnTo>
                    <a:pt x="120" y="487"/>
                  </a:lnTo>
                  <a:lnTo>
                    <a:pt x="116" y="478"/>
                  </a:lnTo>
                  <a:lnTo>
                    <a:pt x="113" y="467"/>
                  </a:lnTo>
                  <a:lnTo>
                    <a:pt x="109" y="458"/>
                  </a:lnTo>
                  <a:lnTo>
                    <a:pt x="103" y="448"/>
                  </a:lnTo>
                  <a:lnTo>
                    <a:pt x="98" y="440"/>
                  </a:lnTo>
                  <a:lnTo>
                    <a:pt x="90" y="432"/>
                  </a:lnTo>
                  <a:lnTo>
                    <a:pt x="82" y="425"/>
                  </a:lnTo>
                  <a:lnTo>
                    <a:pt x="72" y="419"/>
                  </a:lnTo>
                  <a:lnTo>
                    <a:pt x="52" y="411"/>
                  </a:lnTo>
                  <a:lnTo>
                    <a:pt x="31" y="403"/>
                  </a:lnTo>
                  <a:lnTo>
                    <a:pt x="26" y="400"/>
                  </a:lnTo>
                  <a:lnTo>
                    <a:pt x="22" y="397"/>
                  </a:lnTo>
                  <a:lnTo>
                    <a:pt x="17" y="393"/>
                  </a:lnTo>
                  <a:lnTo>
                    <a:pt x="13" y="389"/>
                  </a:lnTo>
                  <a:lnTo>
                    <a:pt x="9" y="384"/>
                  </a:lnTo>
                  <a:lnTo>
                    <a:pt x="5" y="378"/>
                  </a:lnTo>
                  <a:lnTo>
                    <a:pt x="2" y="372"/>
                  </a:lnTo>
                  <a:lnTo>
                    <a:pt x="0" y="363"/>
                  </a:lnTo>
                  <a:lnTo>
                    <a:pt x="20" y="345"/>
                  </a:lnTo>
                  <a:lnTo>
                    <a:pt x="15" y="331"/>
                  </a:lnTo>
                  <a:lnTo>
                    <a:pt x="14" y="317"/>
                  </a:lnTo>
                  <a:lnTo>
                    <a:pt x="13" y="301"/>
                  </a:lnTo>
                  <a:lnTo>
                    <a:pt x="13" y="284"/>
                  </a:lnTo>
                  <a:lnTo>
                    <a:pt x="13" y="276"/>
                  </a:lnTo>
                  <a:lnTo>
                    <a:pt x="14" y="270"/>
                  </a:lnTo>
                  <a:lnTo>
                    <a:pt x="16" y="264"/>
                  </a:lnTo>
                  <a:lnTo>
                    <a:pt x="19" y="259"/>
                  </a:lnTo>
                  <a:lnTo>
                    <a:pt x="21" y="254"/>
                  </a:lnTo>
                  <a:lnTo>
                    <a:pt x="24" y="249"/>
                  </a:lnTo>
                  <a:lnTo>
                    <a:pt x="28" y="246"/>
                  </a:lnTo>
                  <a:lnTo>
                    <a:pt x="32" y="243"/>
                  </a:lnTo>
                  <a:lnTo>
                    <a:pt x="41" y="237"/>
                  </a:lnTo>
                  <a:lnTo>
                    <a:pt x="49" y="231"/>
                  </a:lnTo>
                  <a:lnTo>
                    <a:pt x="58" y="224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9" y="228"/>
                  </a:lnTo>
                  <a:lnTo>
                    <a:pt x="83" y="235"/>
                  </a:lnTo>
                  <a:lnTo>
                    <a:pt x="86" y="240"/>
                  </a:lnTo>
                  <a:lnTo>
                    <a:pt x="86" y="252"/>
                  </a:lnTo>
                  <a:lnTo>
                    <a:pt x="86" y="265"/>
                  </a:lnTo>
                  <a:lnTo>
                    <a:pt x="95" y="272"/>
                  </a:lnTo>
                  <a:lnTo>
                    <a:pt x="116" y="287"/>
                  </a:lnTo>
                  <a:lnTo>
                    <a:pt x="128" y="294"/>
                  </a:lnTo>
                  <a:lnTo>
                    <a:pt x="139" y="301"/>
                  </a:lnTo>
                  <a:lnTo>
                    <a:pt x="148" y="306"/>
                  </a:lnTo>
                  <a:lnTo>
                    <a:pt x="153" y="308"/>
                  </a:lnTo>
                  <a:lnTo>
                    <a:pt x="158" y="307"/>
                  </a:lnTo>
                  <a:lnTo>
                    <a:pt x="164" y="303"/>
                  </a:lnTo>
                  <a:lnTo>
                    <a:pt x="169" y="298"/>
                  </a:lnTo>
                  <a:lnTo>
                    <a:pt x="174" y="291"/>
                  </a:lnTo>
                  <a:lnTo>
                    <a:pt x="179" y="284"/>
                  </a:lnTo>
                  <a:lnTo>
                    <a:pt x="182" y="277"/>
                  </a:lnTo>
                  <a:lnTo>
                    <a:pt x="184" y="271"/>
                  </a:lnTo>
                  <a:lnTo>
                    <a:pt x="185" y="265"/>
                  </a:lnTo>
                  <a:lnTo>
                    <a:pt x="187" y="259"/>
                  </a:lnTo>
                  <a:lnTo>
                    <a:pt x="188" y="251"/>
                  </a:lnTo>
                  <a:lnTo>
                    <a:pt x="190" y="244"/>
                  </a:lnTo>
                  <a:lnTo>
                    <a:pt x="193" y="238"/>
                  </a:lnTo>
                  <a:lnTo>
                    <a:pt x="201" y="225"/>
                  </a:lnTo>
                  <a:lnTo>
                    <a:pt x="212" y="213"/>
                  </a:lnTo>
                  <a:lnTo>
                    <a:pt x="222" y="202"/>
                  </a:lnTo>
                  <a:lnTo>
                    <a:pt x="234" y="192"/>
                  </a:lnTo>
                  <a:lnTo>
                    <a:pt x="244" y="184"/>
                  </a:lnTo>
                  <a:lnTo>
                    <a:pt x="252" y="179"/>
                  </a:lnTo>
                  <a:lnTo>
                    <a:pt x="270" y="170"/>
                  </a:lnTo>
                  <a:lnTo>
                    <a:pt x="289" y="160"/>
                  </a:lnTo>
                  <a:lnTo>
                    <a:pt x="306" y="150"/>
                  </a:lnTo>
                  <a:lnTo>
                    <a:pt x="323" y="138"/>
                  </a:lnTo>
                  <a:lnTo>
                    <a:pt x="330" y="133"/>
                  </a:lnTo>
                  <a:lnTo>
                    <a:pt x="337" y="126"/>
                  </a:lnTo>
                  <a:lnTo>
                    <a:pt x="344" y="120"/>
                  </a:lnTo>
                  <a:lnTo>
                    <a:pt x="348" y="113"/>
                  </a:lnTo>
                  <a:lnTo>
                    <a:pt x="352" y="106"/>
                  </a:lnTo>
                  <a:lnTo>
                    <a:pt x="356" y="98"/>
                  </a:lnTo>
                  <a:lnTo>
                    <a:pt x="358" y="90"/>
                  </a:lnTo>
                  <a:lnTo>
                    <a:pt x="358" y="80"/>
                  </a:lnTo>
                  <a:lnTo>
                    <a:pt x="357" y="70"/>
                  </a:lnTo>
                  <a:lnTo>
                    <a:pt x="355" y="58"/>
                  </a:lnTo>
                  <a:lnTo>
                    <a:pt x="350" y="46"/>
                  </a:lnTo>
                  <a:lnTo>
                    <a:pt x="345" y="34"/>
                  </a:lnTo>
                  <a:lnTo>
                    <a:pt x="336" y="12"/>
                  </a:lnTo>
                  <a:lnTo>
                    <a:pt x="331" y="0"/>
                  </a:lnTo>
                  <a:lnTo>
                    <a:pt x="347" y="5"/>
                  </a:lnTo>
                  <a:lnTo>
                    <a:pt x="360" y="11"/>
                  </a:lnTo>
                  <a:lnTo>
                    <a:pt x="374" y="18"/>
                  </a:lnTo>
                  <a:lnTo>
                    <a:pt x="386" y="26"/>
                  </a:lnTo>
                  <a:lnTo>
                    <a:pt x="398" y="35"/>
                  </a:lnTo>
                  <a:lnTo>
                    <a:pt x="411" y="44"/>
                  </a:lnTo>
                  <a:lnTo>
                    <a:pt x="422" y="53"/>
                  </a:lnTo>
                  <a:lnTo>
                    <a:pt x="431" y="62"/>
                  </a:lnTo>
                  <a:lnTo>
                    <a:pt x="438" y="68"/>
                  </a:lnTo>
                  <a:lnTo>
                    <a:pt x="445" y="75"/>
                  </a:lnTo>
                  <a:lnTo>
                    <a:pt x="451" y="82"/>
                  </a:lnTo>
                  <a:lnTo>
                    <a:pt x="457" y="91"/>
                  </a:lnTo>
                  <a:lnTo>
                    <a:pt x="467" y="107"/>
                  </a:lnTo>
                  <a:lnTo>
                    <a:pt x="476" y="123"/>
                  </a:lnTo>
                  <a:lnTo>
                    <a:pt x="481" y="130"/>
                  </a:lnTo>
                  <a:lnTo>
                    <a:pt x="486" y="137"/>
                  </a:lnTo>
                  <a:lnTo>
                    <a:pt x="493" y="144"/>
                  </a:lnTo>
                  <a:lnTo>
                    <a:pt x="498" y="150"/>
                  </a:lnTo>
                  <a:lnTo>
                    <a:pt x="506" y="154"/>
                  </a:lnTo>
                  <a:lnTo>
                    <a:pt x="513" y="158"/>
                  </a:lnTo>
                  <a:lnTo>
                    <a:pt x="521" y="160"/>
                  </a:lnTo>
                  <a:lnTo>
                    <a:pt x="531" y="161"/>
                  </a:lnTo>
                  <a:lnTo>
                    <a:pt x="541" y="160"/>
                  </a:lnTo>
                  <a:lnTo>
                    <a:pt x="551" y="159"/>
                  </a:lnTo>
                  <a:lnTo>
                    <a:pt x="561" y="157"/>
                  </a:lnTo>
                  <a:lnTo>
                    <a:pt x="571" y="155"/>
                  </a:lnTo>
                  <a:lnTo>
                    <a:pt x="581" y="152"/>
                  </a:lnTo>
                  <a:lnTo>
                    <a:pt x="591" y="150"/>
                  </a:lnTo>
                  <a:lnTo>
                    <a:pt x="601" y="149"/>
                  </a:lnTo>
                  <a:lnTo>
                    <a:pt x="610" y="148"/>
                  </a:lnTo>
                  <a:lnTo>
                    <a:pt x="617" y="149"/>
                  </a:lnTo>
                  <a:lnTo>
                    <a:pt x="624" y="151"/>
                  </a:lnTo>
                  <a:lnTo>
                    <a:pt x="628" y="151"/>
                  </a:lnTo>
                  <a:lnTo>
                    <a:pt x="631" y="151"/>
                  </a:lnTo>
                  <a:lnTo>
                    <a:pt x="635" y="150"/>
                  </a:lnTo>
                  <a:lnTo>
                    <a:pt x="638" y="148"/>
                  </a:lnTo>
                  <a:lnTo>
                    <a:pt x="640" y="156"/>
                  </a:lnTo>
                  <a:lnTo>
                    <a:pt x="648" y="167"/>
                  </a:lnTo>
                  <a:lnTo>
                    <a:pt x="654" y="177"/>
                  </a:lnTo>
                  <a:lnTo>
                    <a:pt x="658" y="185"/>
                  </a:lnTo>
                  <a:lnTo>
                    <a:pt x="657" y="188"/>
                  </a:lnTo>
                  <a:lnTo>
                    <a:pt x="655" y="191"/>
                  </a:lnTo>
                  <a:lnTo>
                    <a:pt x="654" y="193"/>
                  </a:lnTo>
                  <a:lnTo>
                    <a:pt x="652" y="195"/>
                  </a:lnTo>
                  <a:lnTo>
                    <a:pt x="647" y="200"/>
                  </a:lnTo>
                  <a:lnTo>
                    <a:pt x="641" y="203"/>
                  </a:lnTo>
                  <a:lnTo>
                    <a:pt x="635" y="206"/>
                  </a:lnTo>
                  <a:lnTo>
                    <a:pt x="629" y="209"/>
                  </a:lnTo>
                  <a:lnTo>
                    <a:pt x="627" y="210"/>
                  </a:lnTo>
                  <a:lnTo>
                    <a:pt x="626" y="212"/>
                  </a:lnTo>
                  <a:lnTo>
                    <a:pt x="625" y="214"/>
                  </a:lnTo>
                  <a:lnTo>
                    <a:pt x="624" y="216"/>
                  </a:lnTo>
                  <a:lnTo>
                    <a:pt x="625" y="226"/>
                  </a:lnTo>
                  <a:lnTo>
                    <a:pt x="626" y="234"/>
                  </a:lnTo>
                  <a:lnTo>
                    <a:pt x="627" y="240"/>
                  </a:lnTo>
                  <a:lnTo>
                    <a:pt x="629" y="244"/>
                  </a:lnTo>
                  <a:lnTo>
                    <a:pt x="636" y="251"/>
                  </a:lnTo>
                  <a:lnTo>
                    <a:pt x="644" y="25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PE" sz="1400" b="1">
                <a:solidFill>
                  <a:srgbClr val="00B050"/>
                </a:solidFill>
              </a:endParaRPr>
            </a:p>
          </p:txBody>
        </p:sp>
        <p:sp>
          <p:nvSpPr>
            <p:cNvPr id="612" name="Freeform 8"/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3524901" y="4780347"/>
              <a:ext cx="312279" cy="1357341"/>
            </a:xfrm>
            <a:custGeom>
              <a:avLst/>
              <a:gdLst>
                <a:gd name="T0" fmla="*/ 183093 w 598"/>
                <a:gd name="T1" fmla="*/ 1058543 h 2158"/>
                <a:gd name="T2" fmla="*/ 149803 w 598"/>
                <a:gd name="T3" fmla="*/ 1023974 h 2158"/>
                <a:gd name="T4" fmla="*/ 148489 w 598"/>
                <a:gd name="T5" fmla="*/ 991500 h 2158"/>
                <a:gd name="T6" fmla="*/ 151118 w 598"/>
                <a:gd name="T7" fmla="*/ 965312 h 2158"/>
                <a:gd name="T8" fmla="*/ 158564 w 598"/>
                <a:gd name="T9" fmla="*/ 938076 h 2158"/>
                <a:gd name="T10" fmla="*/ 155060 w 598"/>
                <a:gd name="T11" fmla="*/ 911363 h 2158"/>
                <a:gd name="T12" fmla="*/ 145423 w 598"/>
                <a:gd name="T13" fmla="*/ 881508 h 2158"/>
                <a:gd name="T14" fmla="*/ 132721 w 598"/>
                <a:gd name="T15" fmla="*/ 828084 h 2158"/>
                <a:gd name="T16" fmla="*/ 98993 w 598"/>
                <a:gd name="T17" fmla="*/ 764707 h 2158"/>
                <a:gd name="T18" fmla="*/ 90232 w 598"/>
                <a:gd name="T19" fmla="*/ 723329 h 2158"/>
                <a:gd name="T20" fmla="*/ 95051 w 598"/>
                <a:gd name="T21" fmla="*/ 680380 h 2158"/>
                <a:gd name="T22" fmla="*/ 91109 w 598"/>
                <a:gd name="T23" fmla="*/ 646858 h 2158"/>
                <a:gd name="T24" fmla="*/ 81034 w 598"/>
                <a:gd name="T25" fmla="*/ 610194 h 2158"/>
                <a:gd name="T26" fmla="*/ 92423 w 598"/>
                <a:gd name="T27" fmla="*/ 588196 h 2158"/>
                <a:gd name="T28" fmla="*/ 85414 w 598"/>
                <a:gd name="T29" fmla="*/ 566721 h 2158"/>
                <a:gd name="T30" fmla="*/ 92423 w 598"/>
                <a:gd name="T31" fmla="*/ 536866 h 2158"/>
                <a:gd name="T32" fmla="*/ 91985 w 598"/>
                <a:gd name="T33" fmla="*/ 520106 h 2158"/>
                <a:gd name="T34" fmla="*/ 81910 w 598"/>
                <a:gd name="T35" fmla="*/ 485537 h 2158"/>
                <a:gd name="T36" fmla="*/ 59571 w 598"/>
                <a:gd name="T37" fmla="*/ 446254 h 2158"/>
                <a:gd name="T38" fmla="*/ 58695 w 598"/>
                <a:gd name="T39" fmla="*/ 359308 h 2158"/>
                <a:gd name="T40" fmla="*/ 80158 w 598"/>
                <a:gd name="T41" fmla="*/ 305883 h 2158"/>
                <a:gd name="T42" fmla="*/ 82786 w 598"/>
                <a:gd name="T43" fmla="*/ 273409 h 2158"/>
                <a:gd name="T44" fmla="*/ 70083 w 598"/>
                <a:gd name="T45" fmla="*/ 240411 h 2158"/>
                <a:gd name="T46" fmla="*/ 79720 w 598"/>
                <a:gd name="T47" fmla="*/ 212651 h 2158"/>
                <a:gd name="T48" fmla="*/ 100307 w 598"/>
                <a:gd name="T49" fmla="*/ 181225 h 2158"/>
                <a:gd name="T50" fmla="*/ 87604 w 598"/>
                <a:gd name="T51" fmla="*/ 161322 h 2158"/>
                <a:gd name="T52" fmla="*/ 64827 w 598"/>
                <a:gd name="T53" fmla="*/ 116277 h 2158"/>
                <a:gd name="T54" fmla="*/ 56505 w 598"/>
                <a:gd name="T55" fmla="*/ 65472 h 2158"/>
                <a:gd name="T56" fmla="*/ 39860 w 598"/>
                <a:gd name="T57" fmla="*/ 19380 h 2158"/>
                <a:gd name="T58" fmla="*/ 0 w 598"/>
                <a:gd name="T59" fmla="*/ 23046 h 2158"/>
                <a:gd name="T60" fmla="*/ 13579 w 598"/>
                <a:gd name="T61" fmla="*/ 104754 h 2158"/>
                <a:gd name="T62" fmla="*/ 18397 w 598"/>
                <a:gd name="T63" fmla="*/ 159227 h 2158"/>
                <a:gd name="T64" fmla="*/ 11827 w 598"/>
                <a:gd name="T65" fmla="*/ 195891 h 2158"/>
                <a:gd name="T66" fmla="*/ 22777 w 598"/>
                <a:gd name="T67" fmla="*/ 274457 h 2158"/>
                <a:gd name="T68" fmla="*/ 20149 w 598"/>
                <a:gd name="T69" fmla="*/ 339928 h 2158"/>
                <a:gd name="T70" fmla="*/ 15769 w 598"/>
                <a:gd name="T71" fmla="*/ 376068 h 2158"/>
                <a:gd name="T72" fmla="*/ 22777 w 598"/>
                <a:gd name="T73" fmla="*/ 401733 h 2158"/>
                <a:gd name="T74" fmla="*/ 28033 w 598"/>
                <a:gd name="T75" fmla="*/ 456205 h 2158"/>
                <a:gd name="T76" fmla="*/ 35480 w 598"/>
                <a:gd name="T77" fmla="*/ 478204 h 2158"/>
                <a:gd name="T78" fmla="*/ 31976 w 598"/>
                <a:gd name="T79" fmla="*/ 547342 h 2158"/>
                <a:gd name="T80" fmla="*/ 27595 w 598"/>
                <a:gd name="T81" fmla="*/ 603385 h 2158"/>
                <a:gd name="T82" fmla="*/ 17521 w 598"/>
                <a:gd name="T83" fmla="*/ 622241 h 2158"/>
                <a:gd name="T84" fmla="*/ 26281 w 598"/>
                <a:gd name="T85" fmla="*/ 658905 h 2158"/>
                <a:gd name="T86" fmla="*/ 46430 w 598"/>
                <a:gd name="T87" fmla="*/ 703426 h 2158"/>
                <a:gd name="T88" fmla="*/ 40736 w 598"/>
                <a:gd name="T89" fmla="*/ 731186 h 2158"/>
                <a:gd name="T90" fmla="*/ 46430 w 598"/>
                <a:gd name="T91" fmla="*/ 758946 h 2158"/>
                <a:gd name="T92" fmla="*/ 71836 w 598"/>
                <a:gd name="T93" fmla="*/ 768374 h 2158"/>
                <a:gd name="T94" fmla="*/ 91547 w 598"/>
                <a:gd name="T95" fmla="*/ 849034 h 2158"/>
                <a:gd name="T96" fmla="*/ 99431 w 598"/>
                <a:gd name="T97" fmla="*/ 895126 h 2158"/>
                <a:gd name="T98" fmla="*/ 66141 w 598"/>
                <a:gd name="T99" fmla="*/ 916077 h 2158"/>
                <a:gd name="T100" fmla="*/ 90671 w 598"/>
                <a:gd name="T101" fmla="*/ 930219 h 2158"/>
                <a:gd name="T102" fmla="*/ 109505 w 598"/>
                <a:gd name="T103" fmla="*/ 953265 h 2158"/>
                <a:gd name="T104" fmla="*/ 120456 w 598"/>
                <a:gd name="T105" fmla="*/ 979977 h 2158"/>
                <a:gd name="T106" fmla="*/ 134911 w 598"/>
                <a:gd name="T107" fmla="*/ 1027117 h 2158"/>
                <a:gd name="T108" fmla="*/ 157250 w 598"/>
                <a:gd name="T109" fmla="*/ 1054353 h 2158"/>
                <a:gd name="T110" fmla="*/ 172143 w 598"/>
                <a:gd name="T111" fmla="*/ 1072685 h 2158"/>
                <a:gd name="T112" fmla="*/ 185721 w 598"/>
                <a:gd name="T113" fmla="*/ 1086303 h 2158"/>
                <a:gd name="T114" fmla="*/ 203680 w 598"/>
                <a:gd name="T115" fmla="*/ 1105159 h 2158"/>
                <a:gd name="T116" fmla="*/ 227333 w 598"/>
                <a:gd name="T117" fmla="*/ 1120872 h 2158"/>
                <a:gd name="T118" fmla="*/ 235656 w 598"/>
                <a:gd name="T119" fmla="*/ 1126634 h 2158"/>
                <a:gd name="T120" fmla="*/ 256681 w 598"/>
                <a:gd name="T121" fmla="*/ 1098874 h 2158"/>
                <a:gd name="T122" fmla="*/ 258871 w 598"/>
                <a:gd name="T123" fmla="*/ 1084732 h 215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598" h="2158">
                  <a:moveTo>
                    <a:pt x="491" y="2046"/>
                  </a:moveTo>
                  <a:lnTo>
                    <a:pt x="480" y="2045"/>
                  </a:lnTo>
                  <a:lnTo>
                    <a:pt x="469" y="2043"/>
                  </a:lnTo>
                  <a:lnTo>
                    <a:pt x="456" y="2039"/>
                  </a:lnTo>
                  <a:lnTo>
                    <a:pt x="444" y="2034"/>
                  </a:lnTo>
                  <a:lnTo>
                    <a:pt x="431" y="2028"/>
                  </a:lnTo>
                  <a:lnTo>
                    <a:pt x="418" y="2021"/>
                  </a:lnTo>
                  <a:lnTo>
                    <a:pt x="405" y="2013"/>
                  </a:lnTo>
                  <a:lnTo>
                    <a:pt x="392" y="2003"/>
                  </a:lnTo>
                  <a:lnTo>
                    <a:pt x="379" y="1994"/>
                  </a:lnTo>
                  <a:lnTo>
                    <a:pt x="368" y="1985"/>
                  </a:lnTo>
                  <a:lnTo>
                    <a:pt x="357" y="1976"/>
                  </a:lnTo>
                  <a:lnTo>
                    <a:pt x="349" y="1966"/>
                  </a:lnTo>
                  <a:lnTo>
                    <a:pt x="342" y="1955"/>
                  </a:lnTo>
                  <a:lnTo>
                    <a:pt x="337" y="1946"/>
                  </a:lnTo>
                  <a:lnTo>
                    <a:pt x="333" y="1937"/>
                  </a:lnTo>
                  <a:lnTo>
                    <a:pt x="332" y="1929"/>
                  </a:lnTo>
                  <a:lnTo>
                    <a:pt x="332" y="1919"/>
                  </a:lnTo>
                  <a:lnTo>
                    <a:pt x="333" y="1909"/>
                  </a:lnTo>
                  <a:lnTo>
                    <a:pt x="336" y="1900"/>
                  </a:lnTo>
                  <a:lnTo>
                    <a:pt x="339" y="1893"/>
                  </a:lnTo>
                  <a:lnTo>
                    <a:pt x="341" y="1887"/>
                  </a:lnTo>
                  <a:lnTo>
                    <a:pt x="343" y="1880"/>
                  </a:lnTo>
                  <a:lnTo>
                    <a:pt x="344" y="1874"/>
                  </a:lnTo>
                  <a:lnTo>
                    <a:pt x="345" y="1868"/>
                  </a:lnTo>
                  <a:lnTo>
                    <a:pt x="345" y="1863"/>
                  </a:lnTo>
                  <a:lnTo>
                    <a:pt x="345" y="1855"/>
                  </a:lnTo>
                  <a:lnTo>
                    <a:pt x="345" y="1843"/>
                  </a:lnTo>
                  <a:lnTo>
                    <a:pt x="345" y="1824"/>
                  </a:lnTo>
                  <a:lnTo>
                    <a:pt x="345" y="1818"/>
                  </a:lnTo>
                  <a:lnTo>
                    <a:pt x="348" y="1812"/>
                  </a:lnTo>
                  <a:lnTo>
                    <a:pt x="351" y="1807"/>
                  </a:lnTo>
                  <a:lnTo>
                    <a:pt x="355" y="1802"/>
                  </a:lnTo>
                  <a:lnTo>
                    <a:pt x="359" y="1797"/>
                  </a:lnTo>
                  <a:lnTo>
                    <a:pt x="362" y="1791"/>
                  </a:lnTo>
                  <a:lnTo>
                    <a:pt x="364" y="1783"/>
                  </a:lnTo>
                  <a:lnTo>
                    <a:pt x="365" y="1775"/>
                  </a:lnTo>
                  <a:lnTo>
                    <a:pt x="364" y="1768"/>
                  </a:lnTo>
                  <a:lnTo>
                    <a:pt x="363" y="1762"/>
                  </a:lnTo>
                  <a:lnTo>
                    <a:pt x="362" y="1756"/>
                  </a:lnTo>
                  <a:lnTo>
                    <a:pt x="360" y="1750"/>
                  </a:lnTo>
                  <a:lnTo>
                    <a:pt x="354" y="1740"/>
                  </a:lnTo>
                  <a:lnTo>
                    <a:pt x="349" y="1728"/>
                  </a:lnTo>
                  <a:lnTo>
                    <a:pt x="342" y="1718"/>
                  </a:lnTo>
                  <a:lnTo>
                    <a:pt x="337" y="1707"/>
                  </a:lnTo>
                  <a:lnTo>
                    <a:pt x="334" y="1702"/>
                  </a:lnTo>
                  <a:lnTo>
                    <a:pt x="333" y="1696"/>
                  </a:lnTo>
                  <a:lnTo>
                    <a:pt x="332" y="1690"/>
                  </a:lnTo>
                  <a:lnTo>
                    <a:pt x="332" y="1683"/>
                  </a:lnTo>
                  <a:lnTo>
                    <a:pt x="331" y="1670"/>
                  </a:lnTo>
                  <a:lnTo>
                    <a:pt x="330" y="1659"/>
                  </a:lnTo>
                  <a:lnTo>
                    <a:pt x="329" y="1648"/>
                  </a:lnTo>
                  <a:lnTo>
                    <a:pt x="327" y="1638"/>
                  </a:lnTo>
                  <a:lnTo>
                    <a:pt x="320" y="1617"/>
                  </a:lnTo>
                  <a:lnTo>
                    <a:pt x="312" y="1599"/>
                  </a:lnTo>
                  <a:lnTo>
                    <a:pt x="303" y="1581"/>
                  </a:lnTo>
                  <a:lnTo>
                    <a:pt x="292" y="1563"/>
                  </a:lnTo>
                  <a:lnTo>
                    <a:pt x="281" y="1547"/>
                  </a:lnTo>
                  <a:lnTo>
                    <a:pt x="269" y="1530"/>
                  </a:lnTo>
                  <a:lnTo>
                    <a:pt x="256" y="1514"/>
                  </a:lnTo>
                  <a:lnTo>
                    <a:pt x="245" y="1496"/>
                  </a:lnTo>
                  <a:lnTo>
                    <a:pt x="235" y="1478"/>
                  </a:lnTo>
                  <a:lnTo>
                    <a:pt x="226" y="1460"/>
                  </a:lnTo>
                  <a:lnTo>
                    <a:pt x="221" y="1449"/>
                  </a:lnTo>
                  <a:lnTo>
                    <a:pt x="217" y="1439"/>
                  </a:lnTo>
                  <a:lnTo>
                    <a:pt x="214" y="1428"/>
                  </a:lnTo>
                  <a:lnTo>
                    <a:pt x="210" y="1417"/>
                  </a:lnTo>
                  <a:lnTo>
                    <a:pt x="208" y="1406"/>
                  </a:lnTo>
                  <a:lnTo>
                    <a:pt x="207" y="1393"/>
                  </a:lnTo>
                  <a:lnTo>
                    <a:pt x="206" y="1381"/>
                  </a:lnTo>
                  <a:lnTo>
                    <a:pt x="206" y="1368"/>
                  </a:lnTo>
                  <a:lnTo>
                    <a:pt x="206" y="1355"/>
                  </a:lnTo>
                  <a:lnTo>
                    <a:pt x="207" y="1342"/>
                  </a:lnTo>
                  <a:lnTo>
                    <a:pt x="209" y="1331"/>
                  </a:lnTo>
                  <a:lnTo>
                    <a:pt x="213" y="1320"/>
                  </a:lnTo>
                  <a:lnTo>
                    <a:pt x="215" y="1309"/>
                  </a:lnTo>
                  <a:lnTo>
                    <a:pt x="217" y="1299"/>
                  </a:lnTo>
                  <a:lnTo>
                    <a:pt x="218" y="1287"/>
                  </a:lnTo>
                  <a:lnTo>
                    <a:pt x="219" y="1276"/>
                  </a:lnTo>
                  <a:lnTo>
                    <a:pt x="218" y="1268"/>
                  </a:lnTo>
                  <a:lnTo>
                    <a:pt x="217" y="1261"/>
                  </a:lnTo>
                  <a:lnTo>
                    <a:pt x="216" y="1254"/>
                  </a:lnTo>
                  <a:lnTo>
                    <a:pt x="214" y="1248"/>
                  </a:lnTo>
                  <a:lnTo>
                    <a:pt x="208" y="1235"/>
                  </a:lnTo>
                  <a:lnTo>
                    <a:pt x="203" y="1223"/>
                  </a:lnTo>
                  <a:lnTo>
                    <a:pt x="196" y="1210"/>
                  </a:lnTo>
                  <a:lnTo>
                    <a:pt x="191" y="1197"/>
                  </a:lnTo>
                  <a:lnTo>
                    <a:pt x="188" y="1190"/>
                  </a:lnTo>
                  <a:lnTo>
                    <a:pt x="187" y="1183"/>
                  </a:lnTo>
                  <a:lnTo>
                    <a:pt x="186" y="1174"/>
                  </a:lnTo>
                  <a:lnTo>
                    <a:pt x="185" y="1165"/>
                  </a:lnTo>
                  <a:lnTo>
                    <a:pt x="186" y="1158"/>
                  </a:lnTo>
                  <a:lnTo>
                    <a:pt x="189" y="1152"/>
                  </a:lnTo>
                  <a:lnTo>
                    <a:pt x="194" y="1146"/>
                  </a:lnTo>
                  <a:lnTo>
                    <a:pt x="199" y="1141"/>
                  </a:lnTo>
                  <a:lnTo>
                    <a:pt x="204" y="1135"/>
                  </a:lnTo>
                  <a:lnTo>
                    <a:pt x="208" y="1129"/>
                  </a:lnTo>
                  <a:lnTo>
                    <a:pt x="211" y="1123"/>
                  </a:lnTo>
                  <a:lnTo>
                    <a:pt x="213" y="1115"/>
                  </a:lnTo>
                  <a:lnTo>
                    <a:pt x="211" y="1109"/>
                  </a:lnTo>
                  <a:lnTo>
                    <a:pt x="209" y="1103"/>
                  </a:lnTo>
                  <a:lnTo>
                    <a:pt x="206" y="1097"/>
                  </a:lnTo>
                  <a:lnTo>
                    <a:pt x="203" y="1092"/>
                  </a:lnTo>
                  <a:lnTo>
                    <a:pt x="198" y="1087"/>
                  </a:lnTo>
                  <a:lnTo>
                    <a:pt x="195" y="1082"/>
                  </a:lnTo>
                  <a:lnTo>
                    <a:pt x="193" y="1078"/>
                  </a:lnTo>
                  <a:lnTo>
                    <a:pt x="192" y="1073"/>
                  </a:lnTo>
                  <a:lnTo>
                    <a:pt x="195" y="1064"/>
                  </a:lnTo>
                  <a:lnTo>
                    <a:pt x="203" y="1049"/>
                  </a:lnTo>
                  <a:lnTo>
                    <a:pt x="206" y="1041"/>
                  </a:lnTo>
                  <a:lnTo>
                    <a:pt x="209" y="1033"/>
                  </a:lnTo>
                  <a:lnTo>
                    <a:pt x="211" y="1025"/>
                  </a:lnTo>
                  <a:lnTo>
                    <a:pt x="213" y="1018"/>
                  </a:lnTo>
                  <a:lnTo>
                    <a:pt x="203" y="1018"/>
                  </a:lnTo>
                  <a:lnTo>
                    <a:pt x="192" y="1018"/>
                  </a:lnTo>
                  <a:lnTo>
                    <a:pt x="198" y="1012"/>
                  </a:lnTo>
                  <a:lnTo>
                    <a:pt x="205" y="1003"/>
                  </a:lnTo>
                  <a:lnTo>
                    <a:pt x="207" y="998"/>
                  </a:lnTo>
                  <a:lnTo>
                    <a:pt x="210" y="993"/>
                  </a:lnTo>
                  <a:lnTo>
                    <a:pt x="211" y="987"/>
                  </a:lnTo>
                  <a:lnTo>
                    <a:pt x="213" y="980"/>
                  </a:lnTo>
                  <a:lnTo>
                    <a:pt x="211" y="970"/>
                  </a:lnTo>
                  <a:lnTo>
                    <a:pt x="208" y="961"/>
                  </a:lnTo>
                  <a:lnTo>
                    <a:pt x="205" y="951"/>
                  </a:lnTo>
                  <a:lnTo>
                    <a:pt x="199" y="943"/>
                  </a:lnTo>
                  <a:lnTo>
                    <a:pt x="187" y="927"/>
                  </a:lnTo>
                  <a:lnTo>
                    <a:pt x="172" y="910"/>
                  </a:lnTo>
                  <a:lnTo>
                    <a:pt x="165" y="902"/>
                  </a:lnTo>
                  <a:lnTo>
                    <a:pt x="158" y="892"/>
                  </a:lnTo>
                  <a:lnTo>
                    <a:pt x="151" y="883"/>
                  </a:lnTo>
                  <a:lnTo>
                    <a:pt x="144" y="874"/>
                  </a:lnTo>
                  <a:lnTo>
                    <a:pt x="140" y="863"/>
                  </a:lnTo>
                  <a:lnTo>
                    <a:pt x="136" y="852"/>
                  </a:lnTo>
                  <a:lnTo>
                    <a:pt x="134" y="839"/>
                  </a:lnTo>
                  <a:lnTo>
                    <a:pt x="132" y="826"/>
                  </a:lnTo>
                  <a:lnTo>
                    <a:pt x="132" y="794"/>
                  </a:lnTo>
                  <a:lnTo>
                    <a:pt x="132" y="766"/>
                  </a:lnTo>
                  <a:lnTo>
                    <a:pt x="132" y="736"/>
                  </a:lnTo>
                  <a:lnTo>
                    <a:pt x="132" y="697"/>
                  </a:lnTo>
                  <a:lnTo>
                    <a:pt x="134" y="686"/>
                  </a:lnTo>
                  <a:lnTo>
                    <a:pt x="135" y="675"/>
                  </a:lnTo>
                  <a:lnTo>
                    <a:pt x="138" y="665"/>
                  </a:lnTo>
                  <a:lnTo>
                    <a:pt x="141" y="655"/>
                  </a:lnTo>
                  <a:lnTo>
                    <a:pt x="151" y="637"/>
                  </a:lnTo>
                  <a:lnTo>
                    <a:pt x="162" y="619"/>
                  </a:lnTo>
                  <a:lnTo>
                    <a:pt x="173" y="602"/>
                  </a:lnTo>
                  <a:lnTo>
                    <a:pt x="183" y="584"/>
                  </a:lnTo>
                  <a:lnTo>
                    <a:pt x="186" y="575"/>
                  </a:lnTo>
                  <a:lnTo>
                    <a:pt x="189" y="564"/>
                  </a:lnTo>
                  <a:lnTo>
                    <a:pt x="192" y="554"/>
                  </a:lnTo>
                  <a:lnTo>
                    <a:pt x="192" y="543"/>
                  </a:lnTo>
                  <a:lnTo>
                    <a:pt x="192" y="535"/>
                  </a:lnTo>
                  <a:lnTo>
                    <a:pt x="191" y="528"/>
                  </a:lnTo>
                  <a:lnTo>
                    <a:pt x="189" y="522"/>
                  </a:lnTo>
                  <a:lnTo>
                    <a:pt x="187" y="516"/>
                  </a:lnTo>
                  <a:lnTo>
                    <a:pt x="182" y="504"/>
                  </a:lnTo>
                  <a:lnTo>
                    <a:pt x="175" y="493"/>
                  </a:lnTo>
                  <a:lnTo>
                    <a:pt x="170" y="483"/>
                  </a:lnTo>
                  <a:lnTo>
                    <a:pt x="164" y="472"/>
                  </a:lnTo>
                  <a:lnTo>
                    <a:pt x="162" y="466"/>
                  </a:lnTo>
                  <a:lnTo>
                    <a:pt x="160" y="459"/>
                  </a:lnTo>
                  <a:lnTo>
                    <a:pt x="160" y="451"/>
                  </a:lnTo>
                  <a:lnTo>
                    <a:pt x="159" y="444"/>
                  </a:lnTo>
                  <a:lnTo>
                    <a:pt x="160" y="436"/>
                  </a:lnTo>
                  <a:lnTo>
                    <a:pt x="162" y="429"/>
                  </a:lnTo>
                  <a:lnTo>
                    <a:pt x="165" y="423"/>
                  </a:lnTo>
                  <a:lnTo>
                    <a:pt x="171" y="417"/>
                  </a:lnTo>
                  <a:lnTo>
                    <a:pt x="182" y="406"/>
                  </a:lnTo>
                  <a:lnTo>
                    <a:pt x="195" y="394"/>
                  </a:lnTo>
                  <a:lnTo>
                    <a:pt x="203" y="388"/>
                  </a:lnTo>
                  <a:lnTo>
                    <a:pt x="209" y="381"/>
                  </a:lnTo>
                  <a:lnTo>
                    <a:pt x="215" y="374"/>
                  </a:lnTo>
                  <a:lnTo>
                    <a:pt x="220" y="365"/>
                  </a:lnTo>
                  <a:lnTo>
                    <a:pt x="226" y="356"/>
                  </a:lnTo>
                  <a:lnTo>
                    <a:pt x="229" y="346"/>
                  </a:lnTo>
                  <a:lnTo>
                    <a:pt x="231" y="334"/>
                  </a:lnTo>
                  <a:lnTo>
                    <a:pt x="232" y="321"/>
                  </a:lnTo>
                  <a:lnTo>
                    <a:pt x="227" y="320"/>
                  </a:lnTo>
                  <a:lnTo>
                    <a:pt x="221" y="319"/>
                  </a:lnTo>
                  <a:lnTo>
                    <a:pt x="216" y="318"/>
                  </a:lnTo>
                  <a:lnTo>
                    <a:pt x="210" y="315"/>
                  </a:lnTo>
                  <a:lnTo>
                    <a:pt x="200" y="308"/>
                  </a:lnTo>
                  <a:lnTo>
                    <a:pt x="192" y="300"/>
                  </a:lnTo>
                  <a:lnTo>
                    <a:pt x="183" y="289"/>
                  </a:lnTo>
                  <a:lnTo>
                    <a:pt x="174" y="276"/>
                  </a:lnTo>
                  <a:lnTo>
                    <a:pt x="166" y="264"/>
                  </a:lnTo>
                  <a:lnTo>
                    <a:pt x="160" y="250"/>
                  </a:lnTo>
                  <a:lnTo>
                    <a:pt x="153" y="237"/>
                  </a:lnTo>
                  <a:lnTo>
                    <a:pt x="148" y="222"/>
                  </a:lnTo>
                  <a:lnTo>
                    <a:pt x="143" y="209"/>
                  </a:lnTo>
                  <a:lnTo>
                    <a:pt x="140" y="196"/>
                  </a:lnTo>
                  <a:lnTo>
                    <a:pt x="135" y="174"/>
                  </a:lnTo>
                  <a:lnTo>
                    <a:pt x="132" y="160"/>
                  </a:lnTo>
                  <a:lnTo>
                    <a:pt x="132" y="148"/>
                  </a:lnTo>
                  <a:lnTo>
                    <a:pt x="131" y="137"/>
                  </a:lnTo>
                  <a:lnTo>
                    <a:pt x="129" y="125"/>
                  </a:lnTo>
                  <a:lnTo>
                    <a:pt x="128" y="114"/>
                  </a:lnTo>
                  <a:lnTo>
                    <a:pt x="125" y="103"/>
                  </a:lnTo>
                  <a:lnTo>
                    <a:pt x="121" y="93"/>
                  </a:lnTo>
                  <a:lnTo>
                    <a:pt x="118" y="84"/>
                  </a:lnTo>
                  <a:lnTo>
                    <a:pt x="114" y="74"/>
                  </a:lnTo>
                  <a:lnTo>
                    <a:pt x="103" y="55"/>
                  </a:lnTo>
                  <a:lnTo>
                    <a:pt x="91" y="37"/>
                  </a:lnTo>
                  <a:lnTo>
                    <a:pt x="75" y="19"/>
                  </a:lnTo>
                  <a:lnTo>
                    <a:pt x="59" y="0"/>
                  </a:lnTo>
                  <a:lnTo>
                    <a:pt x="54" y="14"/>
                  </a:lnTo>
                  <a:lnTo>
                    <a:pt x="49" y="25"/>
                  </a:lnTo>
                  <a:lnTo>
                    <a:pt x="41" y="37"/>
                  </a:lnTo>
                  <a:lnTo>
                    <a:pt x="32" y="50"/>
                  </a:lnTo>
                  <a:lnTo>
                    <a:pt x="0" y="44"/>
                  </a:lnTo>
                  <a:lnTo>
                    <a:pt x="0" y="62"/>
                  </a:lnTo>
                  <a:lnTo>
                    <a:pt x="2" y="81"/>
                  </a:lnTo>
                  <a:lnTo>
                    <a:pt x="4" y="98"/>
                  </a:lnTo>
                  <a:lnTo>
                    <a:pt x="7" y="114"/>
                  </a:lnTo>
                  <a:lnTo>
                    <a:pt x="14" y="145"/>
                  </a:lnTo>
                  <a:lnTo>
                    <a:pt x="23" y="173"/>
                  </a:lnTo>
                  <a:lnTo>
                    <a:pt x="31" y="200"/>
                  </a:lnTo>
                  <a:lnTo>
                    <a:pt x="39" y="227"/>
                  </a:lnTo>
                  <a:lnTo>
                    <a:pt x="41" y="241"/>
                  </a:lnTo>
                  <a:lnTo>
                    <a:pt x="45" y="255"/>
                  </a:lnTo>
                  <a:lnTo>
                    <a:pt x="46" y="269"/>
                  </a:lnTo>
                  <a:lnTo>
                    <a:pt x="46" y="283"/>
                  </a:lnTo>
                  <a:lnTo>
                    <a:pt x="46" y="295"/>
                  </a:lnTo>
                  <a:lnTo>
                    <a:pt x="42" y="304"/>
                  </a:lnTo>
                  <a:lnTo>
                    <a:pt x="40" y="313"/>
                  </a:lnTo>
                  <a:lnTo>
                    <a:pt x="36" y="320"/>
                  </a:lnTo>
                  <a:lnTo>
                    <a:pt x="32" y="327"/>
                  </a:lnTo>
                  <a:lnTo>
                    <a:pt x="29" y="335"/>
                  </a:lnTo>
                  <a:lnTo>
                    <a:pt x="27" y="342"/>
                  </a:lnTo>
                  <a:lnTo>
                    <a:pt x="26" y="352"/>
                  </a:lnTo>
                  <a:lnTo>
                    <a:pt x="27" y="374"/>
                  </a:lnTo>
                  <a:lnTo>
                    <a:pt x="30" y="395"/>
                  </a:lnTo>
                  <a:lnTo>
                    <a:pt x="35" y="416"/>
                  </a:lnTo>
                  <a:lnTo>
                    <a:pt x="39" y="435"/>
                  </a:lnTo>
                  <a:lnTo>
                    <a:pt x="45" y="457"/>
                  </a:lnTo>
                  <a:lnTo>
                    <a:pt x="49" y="477"/>
                  </a:lnTo>
                  <a:lnTo>
                    <a:pt x="51" y="500"/>
                  </a:lnTo>
                  <a:lnTo>
                    <a:pt x="52" y="524"/>
                  </a:lnTo>
                  <a:lnTo>
                    <a:pt x="51" y="553"/>
                  </a:lnTo>
                  <a:lnTo>
                    <a:pt x="49" y="572"/>
                  </a:lnTo>
                  <a:lnTo>
                    <a:pt x="47" y="588"/>
                  </a:lnTo>
                  <a:lnTo>
                    <a:pt x="46" y="610"/>
                  </a:lnTo>
                  <a:lnTo>
                    <a:pt x="46" y="622"/>
                  </a:lnTo>
                  <a:lnTo>
                    <a:pt x="46" y="635"/>
                  </a:lnTo>
                  <a:lnTo>
                    <a:pt x="46" y="649"/>
                  </a:lnTo>
                  <a:lnTo>
                    <a:pt x="46" y="660"/>
                  </a:lnTo>
                  <a:lnTo>
                    <a:pt x="41" y="666"/>
                  </a:lnTo>
                  <a:lnTo>
                    <a:pt x="37" y="675"/>
                  </a:lnTo>
                  <a:lnTo>
                    <a:pt x="34" y="687"/>
                  </a:lnTo>
                  <a:lnTo>
                    <a:pt x="32" y="697"/>
                  </a:lnTo>
                  <a:lnTo>
                    <a:pt x="34" y="709"/>
                  </a:lnTo>
                  <a:lnTo>
                    <a:pt x="36" y="718"/>
                  </a:lnTo>
                  <a:lnTo>
                    <a:pt x="39" y="725"/>
                  </a:lnTo>
                  <a:lnTo>
                    <a:pt x="42" y="731"/>
                  </a:lnTo>
                  <a:lnTo>
                    <a:pt x="47" y="737"/>
                  </a:lnTo>
                  <a:lnTo>
                    <a:pt x="50" y="741"/>
                  </a:lnTo>
                  <a:lnTo>
                    <a:pt x="52" y="746"/>
                  </a:lnTo>
                  <a:lnTo>
                    <a:pt x="52" y="752"/>
                  </a:lnTo>
                  <a:lnTo>
                    <a:pt x="52" y="767"/>
                  </a:lnTo>
                  <a:lnTo>
                    <a:pt x="52" y="782"/>
                  </a:lnTo>
                  <a:lnTo>
                    <a:pt x="52" y="797"/>
                  </a:lnTo>
                  <a:lnTo>
                    <a:pt x="52" y="808"/>
                  </a:lnTo>
                  <a:lnTo>
                    <a:pt x="53" y="822"/>
                  </a:lnTo>
                  <a:lnTo>
                    <a:pt x="58" y="847"/>
                  </a:lnTo>
                  <a:lnTo>
                    <a:pt x="60" y="860"/>
                  </a:lnTo>
                  <a:lnTo>
                    <a:pt x="64" y="871"/>
                  </a:lnTo>
                  <a:lnTo>
                    <a:pt x="65" y="875"/>
                  </a:lnTo>
                  <a:lnTo>
                    <a:pt x="68" y="879"/>
                  </a:lnTo>
                  <a:lnTo>
                    <a:pt x="70" y="881"/>
                  </a:lnTo>
                  <a:lnTo>
                    <a:pt x="73" y="881"/>
                  </a:lnTo>
                  <a:lnTo>
                    <a:pt x="76" y="894"/>
                  </a:lnTo>
                  <a:lnTo>
                    <a:pt x="80" y="905"/>
                  </a:lnTo>
                  <a:lnTo>
                    <a:pt x="81" y="913"/>
                  </a:lnTo>
                  <a:lnTo>
                    <a:pt x="81" y="921"/>
                  </a:lnTo>
                  <a:lnTo>
                    <a:pt x="80" y="936"/>
                  </a:lnTo>
                  <a:lnTo>
                    <a:pt x="80" y="956"/>
                  </a:lnTo>
                  <a:lnTo>
                    <a:pt x="79" y="980"/>
                  </a:lnTo>
                  <a:lnTo>
                    <a:pt x="78" y="1002"/>
                  </a:lnTo>
                  <a:lnTo>
                    <a:pt x="75" y="1024"/>
                  </a:lnTo>
                  <a:lnTo>
                    <a:pt x="73" y="1045"/>
                  </a:lnTo>
                  <a:lnTo>
                    <a:pt x="70" y="1065"/>
                  </a:lnTo>
                  <a:lnTo>
                    <a:pt x="68" y="1087"/>
                  </a:lnTo>
                  <a:lnTo>
                    <a:pt x="67" y="1110"/>
                  </a:lnTo>
                  <a:lnTo>
                    <a:pt x="67" y="1135"/>
                  </a:lnTo>
                  <a:lnTo>
                    <a:pt x="65" y="1141"/>
                  </a:lnTo>
                  <a:lnTo>
                    <a:pt x="64" y="1147"/>
                  </a:lnTo>
                  <a:lnTo>
                    <a:pt x="63" y="1152"/>
                  </a:lnTo>
                  <a:lnTo>
                    <a:pt x="62" y="1156"/>
                  </a:lnTo>
                  <a:lnTo>
                    <a:pt x="58" y="1163"/>
                  </a:lnTo>
                  <a:lnTo>
                    <a:pt x="52" y="1169"/>
                  </a:lnTo>
                  <a:lnTo>
                    <a:pt x="48" y="1175"/>
                  </a:lnTo>
                  <a:lnTo>
                    <a:pt x="43" y="1181"/>
                  </a:lnTo>
                  <a:lnTo>
                    <a:pt x="41" y="1185"/>
                  </a:lnTo>
                  <a:lnTo>
                    <a:pt x="40" y="1188"/>
                  </a:lnTo>
                  <a:lnTo>
                    <a:pt x="40" y="1192"/>
                  </a:lnTo>
                  <a:lnTo>
                    <a:pt x="39" y="1196"/>
                  </a:lnTo>
                  <a:lnTo>
                    <a:pt x="40" y="1205"/>
                  </a:lnTo>
                  <a:lnTo>
                    <a:pt x="42" y="1215"/>
                  </a:lnTo>
                  <a:lnTo>
                    <a:pt x="46" y="1225"/>
                  </a:lnTo>
                  <a:lnTo>
                    <a:pt x="50" y="1237"/>
                  </a:lnTo>
                  <a:lnTo>
                    <a:pt x="60" y="1258"/>
                  </a:lnTo>
                  <a:lnTo>
                    <a:pt x="73" y="1279"/>
                  </a:lnTo>
                  <a:lnTo>
                    <a:pt x="85" y="1299"/>
                  </a:lnTo>
                  <a:lnTo>
                    <a:pt x="95" y="1317"/>
                  </a:lnTo>
                  <a:lnTo>
                    <a:pt x="99" y="1325"/>
                  </a:lnTo>
                  <a:lnTo>
                    <a:pt x="103" y="1332"/>
                  </a:lnTo>
                  <a:lnTo>
                    <a:pt x="105" y="1338"/>
                  </a:lnTo>
                  <a:lnTo>
                    <a:pt x="106" y="1343"/>
                  </a:lnTo>
                  <a:lnTo>
                    <a:pt x="105" y="1351"/>
                  </a:lnTo>
                  <a:lnTo>
                    <a:pt x="104" y="1358"/>
                  </a:lnTo>
                  <a:lnTo>
                    <a:pt x="102" y="1365"/>
                  </a:lnTo>
                  <a:lnTo>
                    <a:pt x="99" y="1372"/>
                  </a:lnTo>
                  <a:lnTo>
                    <a:pt x="97" y="1380"/>
                  </a:lnTo>
                  <a:lnTo>
                    <a:pt x="95" y="1388"/>
                  </a:lnTo>
                  <a:lnTo>
                    <a:pt x="93" y="1396"/>
                  </a:lnTo>
                  <a:lnTo>
                    <a:pt x="93" y="1406"/>
                  </a:lnTo>
                  <a:lnTo>
                    <a:pt x="93" y="1415"/>
                  </a:lnTo>
                  <a:lnTo>
                    <a:pt x="94" y="1424"/>
                  </a:lnTo>
                  <a:lnTo>
                    <a:pt x="96" y="1432"/>
                  </a:lnTo>
                  <a:lnTo>
                    <a:pt x="98" y="1438"/>
                  </a:lnTo>
                  <a:lnTo>
                    <a:pt x="102" y="1444"/>
                  </a:lnTo>
                  <a:lnTo>
                    <a:pt x="106" y="1449"/>
                  </a:lnTo>
                  <a:lnTo>
                    <a:pt x="112" y="1453"/>
                  </a:lnTo>
                  <a:lnTo>
                    <a:pt x="117" y="1457"/>
                  </a:lnTo>
                  <a:lnTo>
                    <a:pt x="123" y="1460"/>
                  </a:lnTo>
                  <a:lnTo>
                    <a:pt x="130" y="1463"/>
                  </a:lnTo>
                  <a:lnTo>
                    <a:pt x="138" y="1464"/>
                  </a:lnTo>
                  <a:lnTo>
                    <a:pt x="146" y="1465"/>
                  </a:lnTo>
                  <a:lnTo>
                    <a:pt x="164" y="1467"/>
                  </a:lnTo>
                  <a:lnTo>
                    <a:pt x="185" y="1467"/>
                  </a:lnTo>
                  <a:lnTo>
                    <a:pt x="191" y="1501"/>
                  </a:lnTo>
                  <a:lnTo>
                    <a:pt x="195" y="1531"/>
                  </a:lnTo>
                  <a:lnTo>
                    <a:pt x="197" y="1559"/>
                  </a:lnTo>
                  <a:lnTo>
                    <a:pt x="199" y="1590"/>
                  </a:lnTo>
                  <a:lnTo>
                    <a:pt x="202" y="1602"/>
                  </a:lnTo>
                  <a:lnTo>
                    <a:pt x="209" y="1621"/>
                  </a:lnTo>
                  <a:lnTo>
                    <a:pt x="216" y="1643"/>
                  </a:lnTo>
                  <a:lnTo>
                    <a:pt x="219" y="1658"/>
                  </a:lnTo>
                  <a:lnTo>
                    <a:pt x="219" y="1668"/>
                  </a:lnTo>
                  <a:lnTo>
                    <a:pt x="220" y="1679"/>
                  </a:lnTo>
                  <a:lnTo>
                    <a:pt x="221" y="1687"/>
                  </a:lnTo>
                  <a:lnTo>
                    <a:pt x="222" y="1694"/>
                  </a:lnTo>
                  <a:lnTo>
                    <a:pt x="227" y="1709"/>
                  </a:lnTo>
                  <a:lnTo>
                    <a:pt x="232" y="1725"/>
                  </a:lnTo>
                  <a:lnTo>
                    <a:pt x="202" y="1732"/>
                  </a:lnTo>
                  <a:lnTo>
                    <a:pt x="173" y="1739"/>
                  </a:lnTo>
                  <a:lnTo>
                    <a:pt x="166" y="1740"/>
                  </a:lnTo>
                  <a:lnTo>
                    <a:pt x="161" y="1743"/>
                  </a:lnTo>
                  <a:lnTo>
                    <a:pt x="155" y="1745"/>
                  </a:lnTo>
                  <a:lnTo>
                    <a:pt x="151" y="1749"/>
                  </a:lnTo>
                  <a:lnTo>
                    <a:pt x="147" y="1752"/>
                  </a:lnTo>
                  <a:lnTo>
                    <a:pt x="143" y="1757"/>
                  </a:lnTo>
                  <a:lnTo>
                    <a:pt x="141" y="1762"/>
                  </a:lnTo>
                  <a:lnTo>
                    <a:pt x="139" y="1769"/>
                  </a:lnTo>
                  <a:lnTo>
                    <a:pt x="164" y="1770"/>
                  </a:lnTo>
                  <a:lnTo>
                    <a:pt x="193" y="1773"/>
                  </a:lnTo>
                  <a:lnTo>
                    <a:pt x="207" y="1776"/>
                  </a:lnTo>
                  <a:lnTo>
                    <a:pt x="218" y="1779"/>
                  </a:lnTo>
                  <a:lnTo>
                    <a:pt x="224" y="1781"/>
                  </a:lnTo>
                  <a:lnTo>
                    <a:pt x="227" y="1783"/>
                  </a:lnTo>
                  <a:lnTo>
                    <a:pt x="230" y="1785"/>
                  </a:lnTo>
                  <a:lnTo>
                    <a:pt x="232" y="1787"/>
                  </a:lnTo>
                  <a:lnTo>
                    <a:pt x="243" y="1807"/>
                  </a:lnTo>
                  <a:lnTo>
                    <a:pt x="250" y="1820"/>
                  </a:lnTo>
                  <a:lnTo>
                    <a:pt x="253" y="1825"/>
                  </a:lnTo>
                  <a:lnTo>
                    <a:pt x="258" y="1828"/>
                  </a:lnTo>
                  <a:lnTo>
                    <a:pt x="263" y="1830"/>
                  </a:lnTo>
                  <a:lnTo>
                    <a:pt x="272" y="1830"/>
                  </a:lnTo>
                  <a:lnTo>
                    <a:pt x="272" y="1843"/>
                  </a:lnTo>
                  <a:lnTo>
                    <a:pt x="273" y="1857"/>
                  </a:lnTo>
                  <a:lnTo>
                    <a:pt x="275" y="1871"/>
                  </a:lnTo>
                  <a:lnTo>
                    <a:pt x="278" y="1884"/>
                  </a:lnTo>
                  <a:lnTo>
                    <a:pt x="282" y="1898"/>
                  </a:lnTo>
                  <a:lnTo>
                    <a:pt x="285" y="1912"/>
                  </a:lnTo>
                  <a:lnTo>
                    <a:pt x="289" y="1925"/>
                  </a:lnTo>
                  <a:lnTo>
                    <a:pt x="295" y="1937"/>
                  </a:lnTo>
                  <a:lnTo>
                    <a:pt x="301" y="1949"/>
                  </a:lnTo>
                  <a:lnTo>
                    <a:pt x="308" y="1961"/>
                  </a:lnTo>
                  <a:lnTo>
                    <a:pt x="315" y="1971"/>
                  </a:lnTo>
                  <a:lnTo>
                    <a:pt x="322" y="1980"/>
                  </a:lnTo>
                  <a:lnTo>
                    <a:pt x="330" y="1988"/>
                  </a:lnTo>
                  <a:lnTo>
                    <a:pt x="339" y="1995"/>
                  </a:lnTo>
                  <a:lnTo>
                    <a:pt x="349" y="2000"/>
                  </a:lnTo>
                  <a:lnTo>
                    <a:pt x="359" y="2003"/>
                  </a:lnTo>
                  <a:lnTo>
                    <a:pt x="359" y="2013"/>
                  </a:lnTo>
                  <a:lnTo>
                    <a:pt x="361" y="2021"/>
                  </a:lnTo>
                  <a:lnTo>
                    <a:pt x="364" y="2028"/>
                  </a:lnTo>
                  <a:lnTo>
                    <a:pt x="368" y="2034"/>
                  </a:lnTo>
                  <a:lnTo>
                    <a:pt x="374" y="2038"/>
                  </a:lnTo>
                  <a:lnTo>
                    <a:pt x="379" y="2042"/>
                  </a:lnTo>
                  <a:lnTo>
                    <a:pt x="386" y="2046"/>
                  </a:lnTo>
                  <a:lnTo>
                    <a:pt x="393" y="2048"/>
                  </a:lnTo>
                  <a:lnTo>
                    <a:pt x="407" y="2053"/>
                  </a:lnTo>
                  <a:lnTo>
                    <a:pt x="420" y="2057"/>
                  </a:lnTo>
                  <a:lnTo>
                    <a:pt x="426" y="2060"/>
                  </a:lnTo>
                  <a:lnTo>
                    <a:pt x="431" y="2063"/>
                  </a:lnTo>
                  <a:lnTo>
                    <a:pt x="435" y="2066"/>
                  </a:lnTo>
                  <a:lnTo>
                    <a:pt x="438" y="2071"/>
                  </a:lnTo>
                  <a:lnTo>
                    <a:pt x="424" y="2074"/>
                  </a:lnTo>
                  <a:lnTo>
                    <a:pt x="411" y="2077"/>
                  </a:lnTo>
                  <a:lnTo>
                    <a:pt x="415" y="2084"/>
                  </a:lnTo>
                  <a:lnTo>
                    <a:pt x="421" y="2091"/>
                  </a:lnTo>
                  <a:lnTo>
                    <a:pt x="429" y="2097"/>
                  </a:lnTo>
                  <a:lnTo>
                    <a:pt x="440" y="2102"/>
                  </a:lnTo>
                  <a:lnTo>
                    <a:pt x="452" y="2107"/>
                  </a:lnTo>
                  <a:lnTo>
                    <a:pt x="465" y="2110"/>
                  </a:lnTo>
                  <a:lnTo>
                    <a:pt x="480" y="2113"/>
                  </a:lnTo>
                  <a:lnTo>
                    <a:pt x="498" y="2114"/>
                  </a:lnTo>
                  <a:lnTo>
                    <a:pt x="502" y="2117"/>
                  </a:lnTo>
                  <a:lnTo>
                    <a:pt x="507" y="2121"/>
                  </a:lnTo>
                  <a:lnTo>
                    <a:pt x="510" y="2127"/>
                  </a:lnTo>
                  <a:lnTo>
                    <a:pt x="513" y="2131"/>
                  </a:lnTo>
                  <a:lnTo>
                    <a:pt x="519" y="2140"/>
                  </a:lnTo>
                  <a:lnTo>
                    <a:pt x="522" y="2149"/>
                  </a:lnTo>
                  <a:lnTo>
                    <a:pt x="527" y="2155"/>
                  </a:lnTo>
                  <a:lnTo>
                    <a:pt x="530" y="2158"/>
                  </a:lnTo>
                  <a:lnTo>
                    <a:pt x="531" y="2158"/>
                  </a:lnTo>
                  <a:lnTo>
                    <a:pt x="533" y="2157"/>
                  </a:lnTo>
                  <a:lnTo>
                    <a:pt x="535" y="2155"/>
                  </a:lnTo>
                  <a:lnTo>
                    <a:pt x="538" y="2151"/>
                  </a:lnTo>
                  <a:lnTo>
                    <a:pt x="543" y="2137"/>
                  </a:lnTo>
                  <a:lnTo>
                    <a:pt x="547" y="2125"/>
                  </a:lnTo>
                  <a:lnTo>
                    <a:pt x="554" y="2116"/>
                  </a:lnTo>
                  <a:lnTo>
                    <a:pt x="561" y="2109"/>
                  </a:lnTo>
                  <a:lnTo>
                    <a:pt x="567" y="2104"/>
                  </a:lnTo>
                  <a:lnTo>
                    <a:pt x="576" y="2101"/>
                  </a:lnTo>
                  <a:lnTo>
                    <a:pt x="586" y="2098"/>
                  </a:lnTo>
                  <a:lnTo>
                    <a:pt x="598" y="2095"/>
                  </a:lnTo>
                  <a:lnTo>
                    <a:pt x="592" y="2087"/>
                  </a:lnTo>
                  <a:lnTo>
                    <a:pt x="589" y="2081"/>
                  </a:lnTo>
                  <a:lnTo>
                    <a:pt x="588" y="2078"/>
                  </a:lnTo>
                  <a:lnTo>
                    <a:pt x="588" y="2076"/>
                  </a:lnTo>
                  <a:lnTo>
                    <a:pt x="589" y="2074"/>
                  </a:lnTo>
                  <a:lnTo>
                    <a:pt x="591" y="2071"/>
                  </a:lnTo>
                  <a:lnTo>
                    <a:pt x="491" y="2046"/>
                  </a:lnTo>
                </a:path>
              </a:pathLst>
            </a:custGeom>
            <a:solidFill>
              <a:schemeClr val="accent2">
                <a:lumMod val="5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613" name="Freeform 9"/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3411345" y="3918665"/>
              <a:ext cx="1152593" cy="1445035"/>
            </a:xfrm>
            <a:custGeom>
              <a:avLst/>
              <a:gdLst>
                <a:gd name="T0" fmla="*/ 191099 w 2226"/>
                <a:gd name="T1" fmla="*/ 470410 h 2292"/>
                <a:gd name="T2" fmla="*/ 219329 w 2226"/>
                <a:gd name="T3" fmla="*/ 517136 h 2292"/>
                <a:gd name="T4" fmla="*/ 248429 w 2226"/>
                <a:gd name="T5" fmla="*/ 553361 h 2292"/>
                <a:gd name="T6" fmla="*/ 310970 w 2226"/>
                <a:gd name="T7" fmla="*/ 576462 h 2292"/>
                <a:gd name="T8" fmla="*/ 346584 w 2226"/>
                <a:gd name="T9" fmla="*/ 632113 h 2292"/>
                <a:gd name="T10" fmla="*/ 367431 w 2226"/>
                <a:gd name="T11" fmla="*/ 678314 h 2292"/>
                <a:gd name="T12" fmla="*/ 407823 w 2226"/>
                <a:gd name="T13" fmla="*/ 711390 h 2292"/>
                <a:gd name="T14" fmla="*/ 415640 w 2226"/>
                <a:gd name="T15" fmla="*/ 769666 h 2292"/>
                <a:gd name="T16" fmla="*/ 423892 w 2226"/>
                <a:gd name="T17" fmla="*/ 809042 h 2292"/>
                <a:gd name="T18" fmla="*/ 430841 w 2226"/>
                <a:gd name="T19" fmla="*/ 856818 h 2292"/>
                <a:gd name="T20" fmla="*/ 491211 w 2226"/>
                <a:gd name="T21" fmla="*/ 891469 h 2292"/>
                <a:gd name="T22" fmla="*/ 518139 w 2226"/>
                <a:gd name="T23" fmla="*/ 947645 h 2292"/>
                <a:gd name="T24" fmla="*/ 539855 w 2226"/>
                <a:gd name="T25" fmla="*/ 978620 h 2292"/>
                <a:gd name="T26" fmla="*/ 513796 w 2226"/>
                <a:gd name="T27" fmla="*/ 1051597 h 2292"/>
                <a:gd name="T28" fmla="*/ 470798 w 2226"/>
                <a:gd name="T29" fmla="*/ 1117223 h 2292"/>
                <a:gd name="T30" fmla="*/ 512493 w 2226"/>
                <a:gd name="T31" fmla="*/ 1134549 h 2292"/>
                <a:gd name="T32" fmla="*/ 562873 w 2226"/>
                <a:gd name="T33" fmla="*/ 1172874 h 2292"/>
                <a:gd name="T34" fmla="*/ 616294 w 2226"/>
                <a:gd name="T35" fmla="*/ 1153974 h 2292"/>
                <a:gd name="T36" fmla="*/ 659291 w 2226"/>
                <a:gd name="T37" fmla="*/ 1068922 h 2292"/>
                <a:gd name="T38" fmla="*/ 656686 w 2226"/>
                <a:gd name="T39" fmla="*/ 1006971 h 2292"/>
                <a:gd name="T40" fmla="*/ 677967 w 2226"/>
                <a:gd name="T41" fmla="*/ 941345 h 2292"/>
                <a:gd name="T42" fmla="*/ 740943 w 2226"/>
                <a:gd name="T43" fmla="*/ 906694 h 2292"/>
                <a:gd name="T44" fmla="*/ 780900 w 2226"/>
                <a:gd name="T45" fmla="*/ 882543 h 2292"/>
                <a:gd name="T46" fmla="*/ 823897 w 2226"/>
                <a:gd name="T47" fmla="*/ 861543 h 2292"/>
                <a:gd name="T48" fmla="*/ 860814 w 2226"/>
                <a:gd name="T49" fmla="*/ 735015 h 2292"/>
                <a:gd name="T50" fmla="*/ 874712 w 2226"/>
                <a:gd name="T51" fmla="*/ 676214 h 2292"/>
                <a:gd name="T52" fmla="*/ 869500 w 2226"/>
                <a:gd name="T53" fmla="*/ 572262 h 2292"/>
                <a:gd name="T54" fmla="*/ 900337 w 2226"/>
                <a:gd name="T55" fmla="*/ 529736 h 2292"/>
                <a:gd name="T56" fmla="*/ 951152 w 2226"/>
                <a:gd name="T57" fmla="*/ 460435 h 2292"/>
                <a:gd name="T58" fmla="*/ 965050 w 2226"/>
                <a:gd name="T59" fmla="*/ 384308 h 2292"/>
                <a:gd name="T60" fmla="*/ 936819 w 2226"/>
                <a:gd name="T61" fmla="*/ 314482 h 2292"/>
                <a:gd name="T62" fmla="*/ 894256 w 2226"/>
                <a:gd name="T63" fmla="*/ 295581 h 2292"/>
                <a:gd name="T64" fmla="*/ 834321 w 2226"/>
                <a:gd name="T65" fmla="*/ 242555 h 2292"/>
                <a:gd name="T66" fmla="*/ 756578 w 2226"/>
                <a:gd name="T67" fmla="*/ 236255 h 2292"/>
                <a:gd name="T68" fmla="*/ 725307 w 2226"/>
                <a:gd name="T69" fmla="*/ 234680 h 2292"/>
                <a:gd name="T70" fmla="*/ 710541 w 2226"/>
                <a:gd name="T71" fmla="*/ 206854 h 2292"/>
                <a:gd name="T72" fmla="*/ 656686 w 2226"/>
                <a:gd name="T73" fmla="*/ 182704 h 2292"/>
                <a:gd name="T74" fmla="*/ 612820 w 2226"/>
                <a:gd name="T75" fmla="*/ 214729 h 2292"/>
                <a:gd name="T76" fmla="*/ 581115 w 2226"/>
                <a:gd name="T77" fmla="*/ 212629 h 2292"/>
                <a:gd name="T78" fmla="*/ 541592 w 2226"/>
                <a:gd name="T79" fmla="*/ 201604 h 2292"/>
                <a:gd name="T80" fmla="*/ 571994 w 2226"/>
                <a:gd name="T81" fmla="*/ 140703 h 2292"/>
                <a:gd name="T82" fmla="*/ 581115 w 2226"/>
                <a:gd name="T83" fmla="*/ 96602 h 2292"/>
                <a:gd name="T84" fmla="*/ 560702 w 2226"/>
                <a:gd name="T85" fmla="*/ 35701 h 2292"/>
                <a:gd name="T86" fmla="*/ 488171 w 2226"/>
                <a:gd name="T87" fmla="*/ 70876 h 2292"/>
                <a:gd name="T88" fmla="*/ 435619 w 2226"/>
                <a:gd name="T89" fmla="*/ 89252 h 2292"/>
                <a:gd name="T90" fmla="*/ 416943 w 2226"/>
                <a:gd name="T91" fmla="*/ 98177 h 2292"/>
                <a:gd name="T92" fmla="*/ 352664 w 2226"/>
                <a:gd name="T93" fmla="*/ 92402 h 2292"/>
                <a:gd name="T94" fmla="*/ 352230 w 2226"/>
                <a:gd name="T95" fmla="*/ 35176 h 2292"/>
                <a:gd name="T96" fmla="*/ 323565 w 2226"/>
                <a:gd name="T97" fmla="*/ 0 h 2292"/>
                <a:gd name="T98" fmla="*/ 304021 w 2226"/>
                <a:gd name="T99" fmla="*/ 16275 h 2292"/>
                <a:gd name="T100" fmla="*/ 255812 w 2226"/>
                <a:gd name="T101" fmla="*/ 36751 h 2292"/>
                <a:gd name="T102" fmla="*/ 243217 w 2226"/>
                <a:gd name="T103" fmla="*/ 103952 h 2292"/>
                <a:gd name="T104" fmla="*/ 196745 w 2226"/>
                <a:gd name="T105" fmla="*/ 135453 h 2292"/>
                <a:gd name="T106" fmla="*/ 124214 w 2226"/>
                <a:gd name="T107" fmla="*/ 103427 h 2292"/>
                <a:gd name="T108" fmla="*/ 109882 w 2226"/>
                <a:gd name="T109" fmla="*/ 126003 h 2292"/>
                <a:gd name="T110" fmla="*/ 85995 w 2226"/>
                <a:gd name="T111" fmla="*/ 163278 h 2292"/>
                <a:gd name="T112" fmla="*/ 106842 w 2226"/>
                <a:gd name="T113" fmla="*/ 203704 h 2292"/>
                <a:gd name="T114" fmla="*/ 84257 w 2226"/>
                <a:gd name="T115" fmla="*/ 294006 h 2292"/>
                <a:gd name="T116" fmla="*/ 43432 w 2226"/>
                <a:gd name="T117" fmla="*/ 297681 h 2292"/>
                <a:gd name="T118" fmla="*/ 6949 w 2226"/>
                <a:gd name="T119" fmla="*/ 360682 h 2292"/>
                <a:gd name="T120" fmla="*/ 9555 w 2226"/>
                <a:gd name="T121" fmla="*/ 432609 h 2292"/>
                <a:gd name="T122" fmla="*/ 52118 w 2226"/>
                <a:gd name="T123" fmla="*/ 475135 h 2292"/>
                <a:gd name="T124" fmla="*/ 82954 w 2226"/>
                <a:gd name="T125" fmla="*/ 498235 h 229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2226" h="2292">
                  <a:moveTo>
                    <a:pt x="233" y="973"/>
                  </a:moveTo>
                  <a:lnTo>
                    <a:pt x="313" y="967"/>
                  </a:lnTo>
                  <a:lnTo>
                    <a:pt x="323" y="963"/>
                  </a:lnTo>
                  <a:lnTo>
                    <a:pt x="332" y="959"/>
                  </a:lnTo>
                  <a:lnTo>
                    <a:pt x="342" y="953"/>
                  </a:lnTo>
                  <a:lnTo>
                    <a:pt x="351" y="948"/>
                  </a:lnTo>
                  <a:lnTo>
                    <a:pt x="368" y="936"/>
                  </a:lnTo>
                  <a:lnTo>
                    <a:pt x="386" y="923"/>
                  </a:lnTo>
                  <a:lnTo>
                    <a:pt x="403" y="911"/>
                  </a:lnTo>
                  <a:lnTo>
                    <a:pt x="421" y="902"/>
                  </a:lnTo>
                  <a:lnTo>
                    <a:pt x="431" y="898"/>
                  </a:lnTo>
                  <a:lnTo>
                    <a:pt x="440" y="896"/>
                  </a:lnTo>
                  <a:lnTo>
                    <a:pt x="449" y="894"/>
                  </a:lnTo>
                  <a:lnTo>
                    <a:pt x="459" y="893"/>
                  </a:lnTo>
                  <a:lnTo>
                    <a:pt x="467" y="894"/>
                  </a:lnTo>
                  <a:lnTo>
                    <a:pt x="474" y="896"/>
                  </a:lnTo>
                  <a:lnTo>
                    <a:pt x="480" y="899"/>
                  </a:lnTo>
                  <a:lnTo>
                    <a:pt x="485" y="902"/>
                  </a:lnTo>
                  <a:lnTo>
                    <a:pt x="489" y="907"/>
                  </a:lnTo>
                  <a:lnTo>
                    <a:pt x="492" y="912"/>
                  </a:lnTo>
                  <a:lnTo>
                    <a:pt x="496" y="918"/>
                  </a:lnTo>
                  <a:lnTo>
                    <a:pt x="498" y="925"/>
                  </a:lnTo>
                  <a:lnTo>
                    <a:pt x="502" y="956"/>
                  </a:lnTo>
                  <a:lnTo>
                    <a:pt x="505" y="985"/>
                  </a:lnTo>
                  <a:lnTo>
                    <a:pt x="509" y="994"/>
                  </a:lnTo>
                  <a:lnTo>
                    <a:pt x="512" y="1001"/>
                  </a:lnTo>
                  <a:lnTo>
                    <a:pt x="515" y="1008"/>
                  </a:lnTo>
                  <a:lnTo>
                    <a:pt x="520" y="1015"/>
                  </a:lnTo>
                  <a:lnTo>
                    <a:pt x="525" y="1022"/>
                  </a:lnTo>
                  <a:lnTo>
                    <a:pt x="531" y="1028"/>
                  </a:lnTo>
                  <a:lnTo>
                    <a:pt x="536" y="1033"/>
                  </a:lnTo>
                  <a:lnTo>
                    <a:pt x="543" y="1038"/>
                  </a:lnTo>
                  <a:lnTo>
                    <a:pt x="549" y="1044"/>
                  </a:lnTo>
                  <a:lnTo>
                    <a:pt x="557" y="1048"/>
                  </a:lnTo>
                  <a:lnTo>
                    <a:pt x="564" y="1051"/>
                  </a:lnTo>
                  <a:lnTo>
                    <a:pt x="572" y="1054"/>
                  </a:lnTo>
                  <a:lnTo>
                    <a:pt x="580" y="1057"/>
                  </a:lnTo>
                  <a:lnTo>
                    <a:pt x="588" y="1058"/>
                  </a:lnTo>
                  <a:lnTo>
                    <a:pt x="597" y="1059"/>
                  </a:lnTo>
                  <a:lnTo>
                    <a:pt x="605" y="1060"/>
                  </a:lnTo>
                  <a:lnTo>
                    <a:pt x="614" y="1060"/>
                  </a:lnTo>
                  <a:lnTo>
                    <a:pt x="625" y="1063"/>
                  </a:lnTo>
                  <a:lnTo>
                    <a:pt x="638" y="1066"/>
                  </a:lnTo>
                  <a:lnTo>
                    <a:pt x="653" y="1071"/>
                  </a:lnTo>
                  <a:lnTo>
                    <a:pt x="668" y="1076"/>
                  </a:lnTo>
                  <a:lnTo>
                    <a:pt x="683" y="1083"/>
                  </a:lnTo>
                  <a:lnTo>
                    <a:pt x="700" y="1090"/>
                  </a:lnTo>
                  <a:lnTo>
                    <a:pt x="716" y="1098"/>
                  </a:lnTo>
                  <a:lnTo>
                    <a:pt x="733" y="1108"/>
                  </a:lnTo>
                  <a:lnTo>
                    <a:pt x="747" y="1116"/>
                  </a:lnTo>
                  <a:lnTo>
                    <a:pt x="761" y="1126"/>
                  </a:lnTo>
                  <a:lnTo>
                    <a:pt x="773" y="1135"/>
                  </a:lnTo>
                  <a:lnTo>
                    <a:pt x="783" y="1144"/>
                  </a:lnTo>
                  <a:lnTo>
                    <a:pt x="791" y="1153"/>
                  </a:lnTo>
                  <a:lnTo>
                    <a:pt x="794" y="1158"/>
                  </a:lnTo>
                  <a:lnTo>
                    <a:pt x="796" y="1162"/>
                  </a:lnTo>
                  <a:lnTo>
                    <a:pt x="798" y="1167"/>
                  </a:lnTo>
                  <a:lnTo>
                    <a:pt x="798" y="1171"/>
                  </a:lnTo>
                  <a:lnTo>
                    <a:pt x="798" y="1190"/>
                  </a:lnTo>
                  <a:lnTo>
                    <a:pt x="798" y="1204"/>
                  </a:lnTo>
                  <a:lnTo>
                    <a:pt x="798" y="1214"/>
                  </a:lnTo>
                  <a:lnTo>
                    <a:pt x="798" y="1220"/>
                  </a:lnTo>
                  <a:lnTo>
                    <a:pt x="799" y="1229"/>
                  </a:lnTo>
                  <a:lnTo>
                    <a:pt x="803" y="1242"/>
                  </a:lnTo>
                  <a:lnTo>
                    <a:pt x="806" y="1249"/>
                  </a:lnTo>
                  <a:lnTo>
                    <a:pt x="810" y="1256"/>
                  </a:lnTo>
                  <a:lnTo>
                    <a:pt x="814" y="1263"/>
                  </a:lnTo>
                  <a:lnTo>
                    <a:pt x="818" y="1271"/>
                  </a:lnTo>
                  <a:lnTo>
                    <a:pt x="824" y="1277"/>
                  </a:lnTo>
                  <a:lnTo>
                    <a:pt x="830" y="1283"/>
                  </a:lnTo>
                  <a:lnTo>
                    <a:pt x="838" y="1288"/>
                  </a:lnTo>
                  <a:lnTo>
                    <a:pt x="846" y="1292"/>
                  </a:lnTo>
                  <a:lnTo>
                    <a:pt x="854" y="1295"/>
                  </a:lnTo>
                  <a:lnTo>
                    <a:pt x="863" y="1296"/>
                  </a:lnTo>
                  <a:lnTo>
                    <a:pt x="873" y="1296"/>
                  </a:lnTo>
                  <a:lnTo>
                    <a:pt x="884" y="1294"/>
                  </a:lnTo>
                  <a:lnTo>
                    <a:pt x="917" y="1294"/>
                  </a:lnTo>
                  <a:lnTo>
                    <a:pt x="918" y="1306"/>
                  </a:lnTo>
                  <a:lnTo>
                    <a:pt x="919" y="1317"/>
                  </a:lnTo>
                  <a:lnTo>
                    <a:pt x="923" y="1328"/>
                  </a:lnTo>
                  <a:lnTo>
                    <a:pt x="926" y="1336"/>
                  </a:lnTo>
                  <a:lnTo>
                    <a:pt x="929" y="1343"/>
                  </a:lnTo>
                  <a:lnTo>
                    <a:pt x="935" y="1349"/>
                  </a:lnTo>
                  <a:lnTo>
                    <a:pt x="939" y="1355"/>
                  </a:lnTo>
                  <a:lnTo>
                    <a:pt x="944" y="1360"/>
                  </a:lnTo>
                  <a:lnTo>
                    <a:pt x="953" y="1371"/>
                  </a:lnTo>
                  <a:lnTo>
                    <a:pt x="962" y="1385"/>
                  </a:lnTo>
                  <a:lnTo>
                    <a:pt x="965" y="1392"/>
                  </a:lnTo>
                  <a:lnTo>
                    <a:pt x="969" y="1401"/>
                  </a:lnTo>
                  <a:lnTo>
                    <a:pt x="970" y="1411"/>
                  </a:lnTo>
                  <a:lnTo>
                    <a:pt x="971" y="1423"/>
                  </a:lnTo>
                  <a:lnTo>
                    <a:pt x="970" y="1434"/>
                  </a:lnTo>
                  <a:lnTo>
                    <a:pt x="968" y="1443"/>
                  </a:lnTo>
                  <a:lnTo>
                    <a:pt x="964" y="1452"/>
                  </a:lnTo>
                  <a:lnTo>
                    <a:pt x="961" y="1459"/>
                  </a:lnTo>
                  <a:lnTo>
                    <a:pt x="957" y="1466"/>
                  </a:lnTo>
                  <a:lnTo>
                    <a:pt x="953" y="1474"/>
                  </a:lnTo>
                  <a:lnTo>
                    <a:pt x="951" y="1482"/>
                  </a:lnTo>
                  <a:lnTo>
                    <a:pt x="951" y="1491"/>
                  </a:lnTo>
                  <a:lnTo>
                    <a:pt x="951" y="1498"/>
                  </a:lnTo>
                  <a:lnTo>
                    <a:pt x="952" y="1503"/>
                  </a:lnTo>
                  <a:lnTo>
                    <a:pt x="953" y="1509"/>
                  </a:lnTo>
                  <a:lnTo>
                    <a:pt x="955" y="1513"/>
                  </a:lnTo>
                  <a:lnTo>
                    <a:pt x="959" y="1521"/>
                  </a:lnTo>
                  <a:lnTo>
                    <a:pt x="964" y="1527"/>
                  </a:lnTo>
                  <a:lnTo>
                    <a:pt x="969" y="1533"/>
                  </a:lnTo>
                  <a:lnTo>
                    <a:pt x="973" y="1537"/>
                  </a:lnTo>
                  <a:lnTo>
                    <a:pt x="976" y="1541"/>
                  </a:lnTo>
                  <a:lnTo>
                    <a:pt x="978" y="1547"/>
                  </a:lnTo>
                  <a:lnTo>
                    <a:pt x="979" y="1555"/>
                  </a:lnTo>
                  <a:lnTo>
                    <a:pt x="979" y="1564"/>
                  </a:lnTo>
                  <a:lnTo>
                    <a:pt x="979" y="1572"/>
                  </a:lnTo>
                  <a:lnTo>
                    <a:pt x="978" y="1580"/>
                  </a:lnTo>
                  <a:lnTo>
                    <a:pt x="976" y="1588"/>
                  </a:lnTo>
                  <a:lnTo>
                    <a:pt x="975" y="1596"/>
                  </a:lnTo>
                  <a:lnTo>
                    <a:pt x="975" y="1605"/>
                  </a:lnTo>
                  <a:lnTo>
                    <a:pt x="978" y="1614"/>
                  </a:lnTo>
                  <a:lnTo>
                    <a:pt x="981" y="1621"/>
                  </a:lnTo>
                  <a:lnTo>
                    <a:pt x="985" y="1627"/>
                  </a:lnTo>
                  <a:lnTo>
                    <a:pt x="992" y="1632"/>
                  </a:lnTo>
                  <a:lnTo>
                    <a:pt x="998" y="1637"/>
                  </a:lnTo>
                  <a:lnTo>
                    <a:pt x="1016" y="1645"/>
                  </a:lnTo>
                  <a:lnTo>
                    <a:pt x="1036" y="1653"/>
                  </a:lnTo>
                  <a:lnTo>
                    <a:pt x="1057" y="1661"/>
                  </a:lnTo>
                  <a:lnTo>
                    <a:pt x="1077" y="1669"/>
                  </a:lnTo>
                  <a:lnTo>
                    <a:pt x="1086" y="1673"/>
                  </a:lnTo>
                  <a:lnTo>
                    <a:pt x="1095" y="1678"/>
                  </a:lnTo>
                  <a:lnTo>
                    <a:pt x="1104" y="1682"/>
                  </a:lnTo>
                  <a:lnTo>
                    <a:pt x="1110" y="1688"/>
                  </a:lnTo>
                  <a:lnTo>
                    <a:pt x="1116" y="1692"/>
                  </a:lnTo>
                  <a:lnTo>
                    <a:pt x="1124" y="1695"/>
                  </a:lnTo>
                  <a:lnTo>
                    <a:pt x="1131" y="1698"/>
                  </a:lnTo>
                  <a:lnTo>
                    <a:pt x="1140" y="1700"/>
                  </a:lnTo>
                  <a:lnTo>
                    <a:pt x="1149" y="1702"/>
                  </a:lnTo>
                  <a:lnTo>
                    <a:pt x="1157" y="1705"/>
                  </a:lnTo>
                  <a:lnTo>
                    <a:pt x="1164" y="1708"/>
                  </a:lnTo>
                  <a:lnTo>
                    <a:pt x="1170" y="1713"/>
                  </a:lnTo>
                  <a:lnTo>
                    <a:pt x="1176" y="1721"/>
                  </a:lnTo>
                  <a:lnTo>
                    <a:pt x="1181" y="1729"/>
                  </a:lnTo>
                  <a:lnTo>
                    <a:pt x="1185" y="1739"/>
                  </a:lnTo>
                  <a:lnTo>
                    <a:pt x="1187" y="1749"/>
                  </a:lnTo>
                  <a:lnTo>
                    <a:pt x="1189" y="1772"/>
                  </a:lnTo>
                  <a:lnTo>
                    <a:pt x="1192" y="1794"/>
                  </a:lnTo>
                  <a:lnTo>
                    <a:pt x="1193" y="1805"/>
                  </a:lnTo>
                  <a:lnTo>
                    <a:pt x="1195" y="1815"/>
                  </a:lnTo>
                  <a:lnTo>
                    <a:pt x="1198" y="1825"/>
                  </a:lnTo>
                  <a:lnTo>
                    <a:pt x="1204" y="1832"/>
                  </a:lnTo>
                  <a:lnTo>
                    <a:pt x="1207" y="1836"/>
                  </a:lnTo>
                  <a:lnTo>
                    <a:pt x="1210" y="1839"/>
                  </a:lnTo>
                  <a:lnTo>
                    <a:pt x="1214" y="1842"/>
                  </a:lnTo>
                  <a:lnTo>
                    <a:pt x="1219" y="1844"/>
                  </a:lnTo>
                  <a:lnTo>
                    <a:pt x="1224" y="1846"/>
                  </a:lnTo>
                  <a:lnTo>
                    <a:pt x="1229" y="1847"/>
                  </a:lnTo>
                  <a:lnTo>
                    <a:pt x="1236" y="1848"/>
                  </a:lnTo>
                  <a:lnTo>
                    <a:pt x="1243" y="1848"/>
                  </a:lnTo>
                  <a:lnTo>
                    <a:pt x="1243" y="1864"/>
                  </a:lnTo>
                  <a:lnTo>
                    <a:pt x="1243" y="1879"/>
                  </a:lnTo>
                  <a:lnTo>
                    <a:pt x="1243" y="1891"/>
                  </a:lnTo>
                  <a:lnTo>
                    <a:pt x="1243" y="1904"/>
                  </a:lnTo>
                  <a:lnTo>
                    <a:pt x="1243" y="1921"/>
                  </a:lnTo>
                  <a:lnTo>
                    <a:pt x="1243" y="1942"/>
                  </a:lnTo>
                  <a:lnTo>
                    <a:pt x="1243" y="1961"/>
                  </a:lnTo>
                  <a:lnTo>
                    <a:pt x="1243" y="1971"/>
                  </a:lnTo>
                  <a:lnTo>
                    <a:pt x="1232" y="1974"/>
                  </a:lnTo>
                  <a:lnTo>
                    <a:pt x="1221" y="1979"/>
                  </a:lnTo>
                  <a:lnTo>
                    <a:pt x="1208" y="1985"/>
                  </a:lnTo>
                  <a:lnTo>
                    <a:pt x="1196" y="1994"/>
                  </a:lnTo>
                  <a:lnTo>
                    <a:pt x="1183" y="2003"/>
                  </a:lnTo>
                  <a:lnTo>
                    <a:pt x="1170" y="2013"/>
                  </a:lnTo>
                  <a:lnTo>
                    <a:pt x="1157" y="2023"/>
                  </a:lnTo>
                  <a:lnTo>
                    <a:pt x="1143" y="2034"/>
                  </a:lnTo>
                  <a:lnTo>
                    <a:pt x="1131" y="2047"/>
                  </a:lnTo>
                  <a:lnTo>
                    <a:pt x="1120" y="2059"/>
                  </a:lnTo>
                  <a:lnTo>
                    <a:pt x="1109" y="2070"/>
                  </a:lnTo>
                  <a:lnTo>
                    <a:pt x="1101" y="2082"/>
                  </a:lnTo>
                  <a:lnTo>
                    <a:pt x="1094" y="2094"/>
                  </a:lnTo>
                  <a:lnTo>
                    <a:pt x="1088" y="2106"/>
                  </a:lnTo>
                  <a:lnTo>
                    <a:pt x="1085" y="2116"/>
                  </a:lnTo>
                  <a:lnTo>
                    <a:pt x="1084" y="2125"/>
                  </a:lnTo>
                  <a:lnTo>
                    <a:pt x="1084" y="2128"/>
                  </a:lnTo>
                  <a:lnTo>
                    <a:pt x="1086" y="2130"/>
                  </a:lnTo>
                  <a:lnTo>
                    <a:pt x="1088" y="2132"/>
                  </a:lnTo>
                  <a:lnTo>
                    <a:pt x="1092" y="2133"/>
                  </a:lnTo>
                  <a:lnTo>
                    <a:pt x="1101" y="2137"/>
                  </a:lnTo>
                  <a:lnTo>
                    <a:pt x="1110" y="2139"/>
                  </a:lnTo>
                  <a:lnTo>
                    <a:pt x="1131" y="2142"/>
                  </a:lnTo>
                  <a:lnTo>
                    <a:pt x="1143" y="2144"/>
                  </a:lnTo>
                  <a:lnTo>
                    <a:pt x="1151" y="2145"/>
                  </a:lnTo>
                  <a:lnTo>
                    <a:pt x="1158" y="2147"/>
                  </a:lnTo>
                  <a:lnTo>
                    <a:pt x="1163" y="2150"/>
                  </a:lnTo>
                  <a:lnTo>
                    <a:pt x="1169" y="2153"/>
                  </a:lnTo>
                  <a:lnTo>
                    <a:pt x="1180" y="2161"/>
                  </a:lnTo>
                  <a:lnTo>
                    <a:pt x="1189" y="2170"/>
                  </a:lnTo>
                  <a:lnTo>
                    <a:pt x="1200" y="2178"/>
                  </a:lnTo>
                  <a:lnTo>
                    <a:pt x="1210" y="2186"/>
                  </a:lnTo>
                  <a:lnTo>
                    <a:pt x="1216" y="2190"/>
                  </a:lnTo>
                  <a:lnTo>
                    <a:pt x="1222" y="2193"/>
                  </a:lnTo>
                  <a:lnTo>
                    <a:pt x="1229" y="2197"/>
                  </a:lnTo>
                  <a:lnTo>
                    <a:pt x="1237" y="2199"/>
                  </a:lnTo>
                  <a:lnTo>
                    <a:pt x="1248" y="2203"/>
                  </a:lnTo>
                  <a:lnTo>
                    <a:pt x="1258" y="2208"/>
                  </a:lnTo>
                  <a:lnTo>
                    <a:pt x="1267" y="2214"/>
                  </a:lnTo>
                  <a:lnTo>
                    <a:pt x="1277" y="2220"/>
                  </a:lnTo>
                  <a:lnTo>
                    <a:pt x="1296" y="2234"/>
                  </a:lnTo>
                  <a:lnTo>
                    <a:pt x="1312" y="2248"/>
                  </a:lnTo>
                  <a:lnTo>
                    <a:pt x="1327" y="2262"/>
                  </a:lnTo>
                  <a:lnTo>
                    <a:pt x="1340" y="2275"/>
                  </a:lnTo>
                  <a:lnTo>
                    <a:pt x="1352" y="2285"/>
                  </a:lnTo>
                  <a:lnTo>
                    <a:pt x="1363" y="2292"/>
                  </a:lnTo>
                  <a:lnTo>
                    <a:pt x="1370" y="2276"/>
                  </a:lnTo>
                  <a:lnTo>
                    <a:pt x="1377" y="2261"/>
                  </a:lnTo>
                  <a:lnTo>
                    <a:pt x="1385" y="2248"/>
                  </a:lnTo>
                  <a:lnTo>
                    <a:pt x="1394" y="2235"/>
                  </a:lnTo>
                  <a:lnTo>
                    <a:pt x="1401" y="2223"/>
                  </a:lnTo>
                  <a:lnTo>
                    <a:pt x="1410" y="2210"/>
                  </a:lnTo>
                  <a:lnTo>
                    <a:pt x="1419" y="2198"/>
                  </a:lnTo>
                  <a:lnTo>
                    <a:pt x="1429" y="2187"/>
                  </a:lnTo>
                  <a:lnTo>
                    <a:pt x="1439" y="2160"/>
                  </a:lnTo>
                  <a:lnTo>
                    <a:pt x="1449" y="2138"/>
                  </a:lnTo>
                  <a:lnTo>
                    <a:pt x="1459" y="2116"/>
                  </a:lnTo>
                  <a:lnTo>
                    <a:pt x="1468" y="2088"/>
                  </a:lnTo>
                  <a:lnTo>
                    <a:pt x="1472" y="2082"/>
                  </a:lnTo>
                  <a:lnTo>
                    <a:pt x="1476" y="2076"/>
                  </a:lnTo>
                  <a:lnTo>
                    <a:pt x="1480" y="2070"/>
                  </a:lnTo>
                  <a:lnTo>
                    <a:pt x="1485" y="2065"/>
                  </a:lnTo>
                  <a:lnTo>
                    <a:pt x="1496" y="2055"/>
                  </a:lnTo>
                  <a:lnTo>
                    <a:pt x="1507" y="2046"/>
                  </a:lnTo>
                  <a:lnTo>
                    <a:pt x="1518" y="2036"/>
                  </a:lnTo>
                  <a:lnTo>
                    <a:pt x="1527" y="2026"/>
                  </a:lnTo>
                  <a:lnTo>
                    <a:pt x="1530" y="2021"/>
                  </a:lnTo>
                  <a:lnTo>
                    <a:pt x="1533" y="2015"/>
                  </a:lnTo>
                  <a:lnTo>
                    <a:pt x="1534" y="2009"/>
                  </a:lnTo>
                  <a:lnTo>
                    <a:pt x="1535" y="2002"/>
                  </a:lnTo>
                  <a:lnTo>
                    <a:pt x="1535" y="1993"/>
                  </a:lnTo>
                  <a:lnTo>
                    <a:pt x="1534" y="1984"/>
                  </a:lnTo>
                  <a:lnTo>
                    <a:pt x="1532" y="1975"/>
                  </a:lnTo>
                  <a:lnTo>
                    <a:pt x="1530" y="1966"/>
                  </a:lnTo>
                  <a:lnTo>
                    <a:pt x="1524" y="1950"/>
                  </a:lnTo>
                  <a:lnTo>
                    <a:pt x="1519" y="1934"/>
                  </a:lnTo>
                  <a:lnTo>
                    <a:pt x="1512" y="1918"/>
                  </a:lnTo>
                  <a:lnTo>
                    <a:pt x="1507" y="1904"/>
                  </a:lnTo>
                  <a:lnTo>
                    <a:pt x="1504" y="1891"/>
                  </a:lnTo>
                  <a:lnTo>
                    <a:pt x="1502" y="1879"/>
                  </a:lnTo>
                  <a:lnTo>
                    <a:pt x="1502" y="1873"/>
                  </a:lnTo>
                  <a:lnTo>
                    <a:pt x="1504" y="1867"/>
                  </a:lnTo>
                  <a:lnTo>
                    <a:pt x="1506" y="1861"/>
                  </a:lnTo>
                  <a:lnTo>
                    <a:pt x="1508" y="1855"/>
                  </a:lnTo>
                  <a:lnTo>
                    <a:pt x="1514" y="1843"/>
                  </a:lnTo>
                  <a:lnTo>
                    <a:pt x="1523" y="1830"/>
                  </a:lnTo>
                  <a:lnTo>
                    <a:pt x="1534" y="1817"/>
                  </a:lnTo>
                  <a:lnTo>
                    <a:pt x="1547" y="1805"/>
                  </a:lnTo>
                  <a:lnTo>
                    <a:pt x="1561" y="1793"/>
                  </a:lnTo>
                  <a:lnTo>
                    <a:pt x="1576" y="1782"/>
                  </a:lnTo>
                  <a:lnTo>
                    <a:pt x="1591" y="1772"/>
                  </a:lnTo>
                  <a:lnTo>
                    <a:pt x="1608" y="1761"/>
                  </a:lnTo>
                  <a:lnTo>
                    <a:pt x="1623" y="1753"/>
                  </a:lnTo>
                  <a:lnTo>
                    <a:pt x="1640" y="1745"/>
                  </a:lnTo>
                  <a:lnTo>
                    <a:pt x="1655" y="1739"/>
                  </a:lnTo>
                  <a:lnTo>
                    <a:pt x="1669" y="1735"/>
                  </a:lnTo>
                  <a:lnTo>
                    <a:pt x="1682" y="1732"/>
                  </a:lnTo>
                  <a:lnTo>
                    <a:pt x="1695" y="1731"/>
                  </a:lnTo>
                  <a:lnTo>
                    <a:pt x="1699" y="1731"/>
                  </a:lnTo>
                  <a:lnTo>
                    <a:pt x="1702" y="1729"/>
                  </a:lnTo>
                  <a:lnTo>
                    <a:pt x="1706" y="1727"/>
                  </a:lnTo>
                  <a:lnTo>
                    <a:pt x="1709" y="1725"/>
                  </a:lnTo>
                  <a:lnTo>
                    <a:pt x="1717" y="1718"/>
                  </a:lnTo>
                  <a:lnTo>
                    <a:pt x="1724" y="1709"/>
                  </a:lnTo>
                  <a:lnTo>
                    <a:pt x="1733" y="1701"/>
                  </a:lnTo>
                  <a:lnTo>
                    <a:pt x="1743" y="1694"/>
                  </a:lnTo>
                  <a:lnTo>
                    <a:pt x="1748" y="1692"/>
                  </a:lnTo>
                  <a:lnTo>
                    <a:pt x="1754" y="1690"/>
                  </a:lnTo>
                  <a:lnTo>
                    <a:pt x="1760" y="1688"/>
                  </a:lnTo>
                  <a:lnTo>
                    <a:pt x="1768" y="1688"/>
                  </a:lnTo>
                  <a:lnTo>
                    <a:pt x="1779" y="1684"/>
                  </a:lnTo>
                  <a:lnTo>
                    <a:pt x="1789" y="1682"/>
                  </a:lnTo>
                  <a:lnTo>
                    <a:pt x="1798" y="1681"/>
                  </a:lnTo>
                  <a:lnTo>
                    <a:pt x="1807" y="1680"/>
                  </a:lnTo>
                  <a:lnTo>
                    <a:pt x="1820" y="1681"/>
                  </a:lnTo>
                  <a:lnTo>
                    <a:pt x="1834" y="1682"/>
                  </a:lnTo>
                  <a:lnTo>
                    <a:pt x="1854" y="1681"/>
                  </a:lnTo>
                  <a:lnTo>
                    <a:pt x="1868" y="1679"/>
                  </a:lnTo>
                  <a:lnTo>
                    <a:pt x="1874" y="1678"/>
                  </a:lnTo>
                  <a:lnTo>
                    <a:pt x="1878" y="1676"/>
                  </a:lnTo>
                  <a:lnTo>
                    <a:pt x="1882" y="1673"/>
                  </a:lnTo>
                  <a:lnTo>
                    <a:pt x="1885" y="1670"/>
                  </a:lnTo>
                  <a:lnTo>
                    <a:pt x="1890" y="1663"/>
                  </a:lnTo>
                  <a:lnTo>
                    <a:pt x="1893" y="1653"/>
                  </a:lnTo>
                  <a:lnTo>
                    <a:pt x="1897" y="1641"/>
                  </a:lnTo>
                  <a:lnTo>
                    <a:pt x="1901" y="1626"/>
                  </a:lnTo>
                  <a:lnTo>
                    <a:pt x="1927" y="1571"/>
                  </a:lnTo>
                  <a:lnTo>
                    <a:pt x="1939" y="1553"/>
                  </a:lnTo>
                  <a:lnTo>
                    <a:pt x="1949" y="1535"/>
                  </a:lnTo>
                  <a:lnTo>
                    <a:pt x="1959" y="1518"/>
                  </a:lnTo>
                  <a:lnTo>
                    <a:pt x="1967" y="1500"/>
                  </a:lnTo>
                  <a:lnTo>
                    <a:pt x="1972" y="1480"/>
                  </a:lnTo>
                  <a:lnTo>
                    <a:pt x="1977" y="1460"/>
                  </a:lnTo>
                  <a:lnTo>
                    <a:pt x="1980" y="1437"/>
                  </a:lnTo>
                  <a:lnTo>
                    <a:pt x="1980" y="1411"/>
                  </a:lnTo>
                  <a:lnTo>
                    <a:pt x="1981" y="1405"/>
                  </a:lnTo>
                  <a:lnTo>
                    <a:pt x="1982" y="1400"/>
                  </a:lnTo>
                  <a:lnTo>
                    <a:pt x="1983" y="1395"/>
                  </a:lnTo>
                  <a:lnTo>
                    <a:pt x="1986" y="1391"/>
                  </a:lnTo>
                  <a:lnTo>
                    <a:pt x="1991" y="1382"/>
                  </a:lnTo>
                  <a:lnTo>
                    <a:pt x="1997" y="1372"/>
                  </a:lnTo>
                  <a:lnTo>
                    <a:pt x="2003" y="1364"/>
                  </a:lnTo>
                  <a:lnTo>
                    <a:pt x="2009" y="1354"/>
                  </a:lnTo>
                  <a:lnTo>
                    <a:pt x="2011" y="1349"/>
                  </a:lnTo>
                  <a:lnTo>
                    <a:pt x="2012" y="1343"/>
                  </a:lnTo>
                  <a:lnTo>
                    <a:pt x="2013" y="1337"/>
                  </a:lnTo>
                  <a:lnTo>
                    <a:pt x="2014" y="1331"/>
                  </a:lnTo>
                  <a:lnTo>
                    <a:pt x="2014" y="1307"/>
                  </a:lnTo>
                  <a:lnTo>
                    <a:pt x="2014" y="1288"/>
                  </a:lnTo>
                  <a:lnTo>
                    <a:pt x="2014" y="1271"/>
                  </a:lnTo>
                  <a:lnTo>
                    <a:pt x="2014" y="1250"/>
                  </a:lnTo>
                  <a:lnTo>
                    <a:pt x="2011" y="1223"/>
                  </a:lnTo>
                  <a:lnTo>
                    <a:pt x="2004" y="1185"/>
                  </a:lnTo>
                  <a:lnTo>
                    <a:pt x="2000" y="1165"/>
                  </a:lnTo>
                  <a:lnTo>
                    <a:pt x="1997" y="1145"/>
                  </a:lnTo>
                  <a:lnTo>
                    <a:pt x="1994" y="1129"/>
                  </a:lnTo>
                  <a:lnTo>
                    <a:pt x="1993" y="1115"/>
                  </a:lnTo>
                  <a:lnTo>
                    <a:pt x="1994" y="1108"/>
                  </a:lnTo>
                  <a:lnTo>
                    <a:pt x="1997" y="1102"/>
                  </a:lnTo>
                  <a:lnTo>
                    <a:pt x="1999" y="1096"/>
                  </a:lnTo>
                  <a:lnTo>
                    <a:pt x="2002" y="1090"/>
                  </a:lnTo>
                  <a:lnTo>
                    <a:pt x="2006" y="1085"/>
                  </a:lnTo>
                  <a:lnTo>
                    <a:pt x="2012" y="1081"/>
                  </a:lnTo>
                  <a:lnTo>
                    <a:pt x="2017" y="1077"/>
                  </a:lnTo>
                  <a:lnTo>
                    <a:pt x="2023" y="1073"/>
                  </a:lnTo>
                  <a:lnTo>
                    <a:pt x="2035" y="1067"/>
                  </a:lnTo>
                  <a:lnTo>
                    <a:pt x="2047" y="1063"/>
                  </a:lnTo>
                  <a:lnTo>
                    <a:pt x="2058" y="1060"/>
                  </a:lnTo>
                  <a:lnTo>
                    <a:pt x="2067" y="1060"/>
                  </a:lnTo>
                  <a:lnTo>
                    <a:pt x="2067" y="1046"/>
                  </a:lnTo>
                  <a:lnTo>
                    <a:pt x="2069" y="1032"/>
                  </a:lnTo>
                  <a:lnTo>
                    <a:pt x="2071" y="1020"/>
                  </a:lnTo>
                  <a:lnTo>
                    <a:pt x="2073" y="1009"/>
                  </a:lnTo>
                  <a:lnTo>
                    <a:pt x="2078" y="999"/>
                  </a:lnTo>
                  <a:lnTo>
                    <a:pt x="2081" y="990"/>
                  </a:lnTo>
                  <a:lnTo>
                    <a:pt x="2087" y="980"/>
                  </a:lnTo>
                  <a:lnTo>
                    <a:pt x="2092" y="972"/>
                  </a:lnTo>
                  <a:lnTo>
                    <a:pt x="2104" y="956"/>
                  </a:lnTo>
                  <a:lnTo>
                    <a:pt x="2117" y="943"/>
                  </a:lnTo>
                  <a:lnTo>
                    <a:pt x="2132" y="929"/>
                  </a:lnTo>
                  <a:lnTo>
                    <a:pt x="2147" y="917"/>
                  </a:lnTo>
                  <a:lnTo>
                    <a:pt x="2161" y="904"/>
                  </a:lnTo>
                  <a:lnTo>
                    <a:pt x="2175" y="891"/>
                  </a:lnTo>
                  <a:lnTo>
                    <a:pt x="2183" y="885"/>
                  </a:lnTo>
                  <a:lnTo>
                    <a:pt x="2190" y="877"/>
                  </a:lnTo>
                  <a:lnTo>
                    <a:pt x="2195" y="869"/>
                  </a:lnTo>
                  <a:lnTo>
                    <a:pt x="2202" y="861"/>
                  </a:lnTo>
                  <a:lnTo>
                    <a:pt x="2206" y="852"/>
                  </a:lnTo>
                  <a:lnTo>
                    <a:pt x="2212" y="843"/>
                  </a:lnTo>
                  <a:lnTo>
                    <a:pt x="2216" y="833"/>
                  </a:lnTo>
                  <a:lnTo>
                    <a:pt x="2219" y="822"/>
                  </a:lnTo>
                  <a:lnTo>
                    <a:pt x="2223" y="810"/>
                  </a:lnTo>
                  <a:lnTo>
                    <a:pt x="2225" y="798"/>
                  </a:lnTo>
                  <a:lnTo>
                    <a:pt x="2226" y="784"/>
                  </a:lnTo>
                  <a:lnTo>
                    <a:pt x="2226" y="770"/>
                  </a:lnTo>
                  <a:lnTo>
                    <a:pt x="2225" y="752"/>
                  </a:lnTo>
                  <a:lnTo>
                    <a:pt x="2222" y="732"/>
                  </a:lnTo>
                  <a:lnTo>
                    <a:pt x="2217" y="711"/>
                  </a:lnTo>
                  <a:lnTo>
                    <a:pt x="2212" y="689"/>
                  </a:lnTo>
                  <a:lnTo>
                    <a:pt x="2205" y="668"/>
                  </a:lnTo>
                  <a:lnTo>
                    <a:pt x="2199" y="649"/>
                  </a:lnTo>
                  <a:lnTo>
                    <a:pt x="2192" y="633"/>
                  </a:lnTo>
                  <a:lnTo>
                    <a:pt x="2186" y="622"/>
                  </a:lnTo>
                  <a:lnTo>
                    <a:pt x="2182" y="614"/>
                  </a:lnTo>
                  <a:lnTo>
                    <a:pt x="2178" y="608"/>
                  </a:lnTo>
                  <a:lnTo>
                    <a:pt x="2173" y="604"/>
                  </a:lnTo>
                  <a:lnTo>
                    <a:pt x="2168" y="601"/>
                  </a:lnTo>
                  <a:lnTo>
                    <a:pt x="2163" y="600"/>
                  </a:lnTo>
                  <a:lnTo>
                    <a:pt x="2157" y="599"/>
                  </a:lnTo>
                  <a:lnTo>
                    <a:pt x="2151" y="600"/>
                  </a:lnTo>
                  <a:lnTo>
                    <a:pt x="2146" y="601"/>
                  </a:lnTo>
                  <a:lnTo>
                    <a:pt x="2134" y="603"/>
                  </a:lnTo>
                  <a:lnTo>
                    <a:pt x="2122" y="605"/>
                  </a:lnTo>
                  <a:lnTo>
                    <a:pt x="2116" y="605"/>
                  </a:lnTo>
                  <a:lnTo>
                    <a:pt x="2111" y="604"/>
                  </a:lnTo>
                  <a:lnTo>
                    <a:pt x="2105" y="602"/>
                  </a:lnTo>
                  <a:lnTo>
                    <a:pt x="2100" y="597"/>
                  </a:lnTo>
                  <a:lnTo>
                    <a:pt x="2089" y="590"/>
                  </a:lnTo>
                  <a:lnTo>
                    <a:pt x="2079" y="582"/>
                  </a:lnTo>
                  <a:lnTo>
                    <a:pt x="2069" y="573"/>
                  </a:lnTo>
                  <a:lnTo>
                    <a:pt x="2059" y="563"/>
                  </a:lnTo>
                  <a:lnTo>
                    <a:pt x="2039" y="540"/>
                  </a:lnTo>
                  <a:lnTo>
                    <a:pt x="2021" y="518"/>
                  </a:lnTo>
                  <a:lnTo>
                    <a:pt x="2010" y="507"/>
                  </a:lnTo>
                  <a:lnTo>
                    <a:pt x="2000" y="497"/>
                  </a:lnTo>
                  <a:lnTo>
                    <a:pt x="1989" y="488"/>
                  </a:lnTo>
                  <a:lnTo>
                    <a:pt x="1977" y="478"/>
                  </a:lnTo>
                  <a:lnTo>
                    <a:pt x="1965" y="471"/>
                  </a:lnTo>
                  <a:lnTo>
                    <a:pt x="1950" y="466"/>
                  </a:lnTo>
                  <a:lnTo>
                    <a:pt x="1944" y="464"/>
                  </a:lnTo>
                  <a:lnTo>
                    <a:pt x="1936" y="463"/>
                  </a:lnTo>
                  <a:lnTo>
                    <a:pt x="1928" y="462"/>
                  </a:lnTo>
                  <a:lnTo>
                    <a:pt x="1921" y="462"/>
                  </a:lnTo>
                  <a:lnTo>
                    <a:pt x="1898" y="462"/>
                  </a:lnTo>
                  <a:lnTo>
                    <a:pt x="1878" y="462"/>
                  </a:lnTo>
                  <a:lnTo>
                    <a:pt x="1860" y="462"/>
                  </a:lnTo>
                  <a:lnTo>
                    <a:pt x="1841" y="462"/>
                  </a:lnTo>
                  <a:lnTo>
                    <a:pt x="1826" y="461"/>
                  </a:lnTo>
                  <a:lnTo>
                    <a:pt x="1814" y="460"/>
                  </a:lnTo>
                  <a:lnTo>
                    <a:pt x="1802" y="458"/>
                  </a:lnTo>
                  <a:lnTo>
                    <a:pt x="1791" y="456"/>
                  </a:lnTo>
                  <a:lnTo>
                    <a:pt x="1780" y="453"/>
                  </a:lnTo>
                  <a:lnTo>
                    <a:pt x="1768" y="451"/>
                  </a:lnTo>
                  <a:lnTo>
                    <a:pt x="1755" y="450"/>
                  </a:lnTo>
                  <a:lnTo>
                    <a:pt x="1742" y="450"/>
                  </a:lnTo>
                  <a:lnTo>
                    <a:pt x="1725" y="450"/>
                  </a:lnTo>
                  <a:lnTo>
                    <a:pt x="1713" y="452"/>
                  </a:lnTo>
                  <a:lnTo>
                    <a:pt x="1703" y="454"/>
                  </a:lnTo>
                  <a:lnTo>
                    <a:pt x="1696" y="458"/>
                  </a:lnTo>
                  <a:lnTo>
                    <a:pt x="1689" y="462"/>
                  </a:lnTo>
                  <a:lnTo>
                    <a:pt x="1685" y="467"/>
                  </a:lnTo>
                  <a:lnTo>
                    <a:pt x="1679" y="473"/>
                  </a:lnTo>
                  <a:lnTo>
                    <a:pt x="1675" y="480"/>
                  </a:lnTo>
                  <a:lnTo>
                    <a:pt x="1672" y="471"/>
                  </a:lnTo>
                  <a:lnTo>
                    <a:pt x="1669" y="462"/>
                  </a:lnTo>
                  <a:lnTo>
                    <a:pt x="1669" y="454"/>
                  </a:lnTo>
                  <a:lnTo>
                    <a:pt x="1670" y="447"/>
                  </a:lnTo>
                  <a:lnTo>
                    <a:pt x="1673" y="436"/>
                  </a:lnTo>
                  <a:lnTo>
                    <a:pt x="1675" y="430"/>
                  </a:lnTo>
                  <a:lnTo>
                    <a:pt x="1675" y="426"/>
                  </a:lnTo>
                  <a:lnTo>
                    <a:pt x="1673" y="421"/>
                  </a:lnTo>
                  <a:lnTo>
                    <a:pt x="1670" y="417"/>
                  </a:lnTo>
                  <a:lnTo>
                    <a:pt x="1668" y="413"/>
                  </a:lnTo>
                  <a:lnTo>
                    <a:pt x="1664" y="406"/>
                  </a:lnTo>
                  <a:lnTo>
                    <a:pt x="1662" y="400"/>
                  </a:lnTo>
                  <a:lnTo>
                    <a:pt x="1655" y="400"/>
                  </a:lnTo>
                  <a:lnTo>
                    <a:pt x="1648" y="398"/>
                  </a:lnTo>
                  <a:lnTo>
                    <a:pt x="1643" y="396"/>
                  </a:lnTo>
                  <a:lnTo>
                    <a:pt x="1636" y="394"/>
                  </a:lnTo>
                  <a:lnTo>
                    <a:pt x="1624" y="387"/>
                  </a:lnTo>
                  <a:lnTo>
                    <a:pt x="1612" y="379"/>
                  </a:lnTo>
                  <a:lnTo>
                    <a:pt x="1596" y="363"/>
                  </a:lnTo>
                  <a:lnTo>
                    <a:pt x="1588" y="357"/>
                  </a:lnTo>
                  <a:lnTo>
                    <a:pt x="1581" y="359"/>
                  </a:lnTo>
                  <a:lnTo>
                    <a:pt x="1574" y="360"/>
                  </a:lnTo>
                  <a:lnTo>
                    <a:pt x="1567" y="361"/>
                  </a:lnTo>
                  <a:lnTo>
                    <a:pt x="1560" y="362"/>
                  </a:lnTo>
                  <a:lnTo>
                    <a:pt x="1546" y="361"/>
                  </a:lnTo>
                  <a:lnTo>
                    <a:pt x="1534" y="358"/>
                  </a:lnTo>
                  <a:lnTo>
                    <a:pt x="1523" y="354"/>
                  </a:lnTo>
                  <a:lnTo>
                    <a:pt x="1512" y="348"/>
                  </a:lnTo>
                  <a:lnTo>
                    <a:pt x="1504" y="341"/>
                  </a:lnTo>
                  <a:lnTo>
                    <a:pt x="1496" y="333"/>
                  </a:lnTo>
                  <a:lnTo>
                    <a:pt x="1468" y="333"/>
                  </a:lnTo>
                  <a:lnTo>
                    <a:pt x="1468" y="337"/>
                  </a:lnTo>
                  <a:lnTo>
                    <a:pt x="1466" y="342"/>
                  </a:lnTo>
                  <a:lnTo>
                    <a:pt x="1463" y="349"/>
                  </a:lnTo>
                  <a:lnTo>
                    <a:pt x="1459" y="357"/>
                  </a:lnTo>
                  <a:lnTo>
                    <a:pt x="1446" y="373"/>
                  </a:lnTo>
                  <a:lnTo>
                    <a:pt x="1433" y="390"/>
                  </a:lnTo>
                  <a:lnTo>
                    <a:pt x="1426" y="398"/>
                  </a:lnTo>
                  <a:lnTo>
                    <a:pt x="1419" y="404"/>
                  </a:lnTo>
                  <a:lnTo>
                    <a:pt x="1411" y="409"/>
                  </a:lnTo>
                  <a:lnTo>
                    <a:pt x="1405" y="413"/>
                  </a:lnTo>
                  <a:lnTo>
                    <a:pt x="1401" y="414"/>
                  </a:lnTo>
                  <a:lnTo>
                    <a:pt x="1398" y="415"/>
                  </a:lnTo>
                  <a:lnTo>
                    <a:pt x="1395" y="415"/>
                  </a:lnTo>
                  <a:lnTo>
                    <a:pt x="1392" y="414"/>
                  </a:lnTo>
                  <a:lnTo>
                    <a:pt x="1389" y="413"/>
                  </a:lnTo>
                  <a:lnTo>
                    <a:pt x="1387" y="412"/>
                  </a:lnTo>
                  <a:lnTo>
                    <a:pt x="1385" y="409"/>
                  </a:lnTo>
                  <a:lnTo>
                    <a:pt x="1383" y="406"/>
                  </a:lnTo>
                  <a:lnTo>
                    <a:pt x="1367" y="406"/>
                  </a:lnTo>
                  <a:lnTo>
                    <a:pt x="1352" y="406"/>
                  </a:lnTo>
                  <a:lnTo>
                    <a:pt x="1338" y="405"/>
                  </a:lnTo>
                  <a:lnTo>
                    <a:pt x="1325" y="402"/>
                  </a:lnTo>
                  <a:lnTo>
                    <a:pt x="1318" y="401"/>
                  </a:lnTo>
                  <a:lnTo>
                    <a:pt x="1312" y="399"/>
                  </a:lnTo>
                  <a:lnTo>
                    <a:pt x="1308" y="396"/>
                  </a:lnTo>
                  <a:lnTo>
                    <a:pt x="1304" y="393"/>
                  </a:lnTo>
                  <a:lnTo>
                    <a:pt x="1300" y="390"/>
                  </a:lnTo>
                  <a:lnTo>
                    <a:pt x="1298" y="386"/>
                  </a:lnTo>
                  <a:lnTo>
                    <a:pt x="1297" y="381"/>
                  </a:lnTo>
                  <a:lnTo>
                    <a:pt x="1296" y="375"/>
                  </a:lnTo>
                  <a:lnTo>
                    <a:pt x="1270" y="375"/>
                  </a:lnTo>
                  <a:lnTo>
                    <a:pt x="1259" y="380"/>
                  </a:lnTo>
                  <a:lnTo>
                    <a:pt x="1247" y="384"/>
                  </a:lnTo>
                  <a:lnTo>
                    <a:pt x="1240" y="384"/>
                  </a:lnTo>
                  <a:lnTo>
                    <a:pt x="1235" y="384"/>
                  </a:lnTo>
                  <a:lnTo>
                    <a:pt x="1228" y="384"/>
                  </a:lnTo>
                  <a:lnTo>
                    <a:pt x="1224" y="382"/>
                  </a:lnTo>
                  <a:lnTo>
                    <a:pt x="1283" y="333"/>
                  </a:lnTo>
                  <a:lnTo>
                    <a:pt x="1286" y="321"/>
                  </a:lnTo>
                  <a:lnTo>
                    <a:pt x="1289" y="309"/>
                  </a:lnTo>
                  <a:lnTo>
                    <a:pt x="1294" y="299"/>
                  </a:lnTo>
                  <a:lnTo>
                    <a:pt x="1299" y="290"/>
                  </a:lnTo>
                  <a:lnTo>
                    <a:pt x="1305" y="282"/>
                  </a:lnTo>
                  <a:lnTo>
                    <a:pt x="1310" y="274"/>
                  </a:lnTo>
                  <a:lnTo>
                    <a:pt x="1317" y="268"/>
                  </a:lnTo>
                  <a:lnTo>
                    <a:pt x="1323" y="260"/>
                  </a:lnTo>
                  <a:lnTo>
                    <a:pt x="1349" y="240"/>
                  </a:lnTo>
                  <a:lnTo>
                    <a:pt x="1370" y="222"/>
                  </a:lnTo>
                  <a:lnTo>
                    <a:pt x="1362" y="217"/>
                  </a:lnTo>
                  <a:lnTo>
                    <a:pt x="1356" y="213"/>
                  </a:lnTo>
                  <a:lnTo>
                    <a:pt x="1352" y="210"/>
                  </a:lnTo>
                  <a:lnTo>
                    <a:pt x="1349" y="205"/>
                  </a:lnTo>
                  <a:lnTo>
                    <a:pt x="1345" y="201"/>
                  </a:lnTo>
                  <a:lnTo>
                    <a:pt x="1344" y="196"/>
                  </a:lnTo>
                  <a:lnTo>
                    <a:pt x="1343" y="191"/>
                  </a:lnTo>
                  <a:lnTo>
                    <a:pt x="1343" y="184"/>
                  </a:lnTo>
                  <a:lnTo>
                    <a:pt x="1338" y="184"/>
                  </a:lnTo>
                  <a:lnTo>
                    <a:pt x="1333" y="183"/>
                  </a:lnTo>
                  <a:lnTo>
                    <a:pt x="1330" y="182"/>
                  </a:lnTo>
                  <a:lnTo>
                    <a:pt x="1326" y="179"/>
                  </a:lnTo>
                  <a:lnTo>
                    <a:pt x="1320" y="174"/>
                  </a:lnTo>
                  <a:lnTo>
                    <a:pt x="1315" y="166"/>
                  </a:lnTo>
                  <a:lnTo>
                    <a:pt x="1310" y="157"/>
                  </a:lnTo>
                  <a:lnTo>
                    <a:pt x="1307" y="146"/>
                  </a:lnTo>
                  <a:lnTo>
                    <a:pt x="1305" y="135"/>
                  </a:lnTo>
                  <a:lnTo>
                    <a:pt x="1301" y="124"/>
                  </a:lnTo>
                  <a:lnTo>
                    <a:pt x="1298" y="100"/>
                  </a:lnTo>
                  <a:lnTo>
                    <a:pt x="1293" y="78"/>
                  </a:lnTo>
                  <a:lnTo>
                    <a:pt x="1291" y="68"/>
                  </a:lnTo>
                  <a:lnTo>
                    <a:pt x="1286" y="60"/>
                  </a:lnTo>
                  <a:lnTo>
                    <a:pt x="1282" y="54"/>
                  </a:lnTo>
                  <a:lnTo>
                    <a:pt x="1276" y="49"/>
                  </a:lnTo>
                  <a:lnTo>
                    <a:pt x="1264" y="71"/>
                  </a:lnTo>
                  <a:lnTo>
                    <a:pt x="1240" y="109"/>
                  </a:lnTo>
                  <a:lnTo>
                    <a:pt x="1227" y="128"/>
                  </a:lnTo>
                  <a:lnTo>
                    <a:pt x="1214" y="144"/>
                  </a:lnTo>
                  <a:lnTo>
                    <a:pt x="1207" y="150"/>
                  </a:lnTo>
                  <a:lnTo>
                    <a:pt x="1200" y="156"/>
                  </a:lnTo>
                  <a:lnTo>
                    <a:pt x="1195" y="159"/>
                  </a:lnTo>
                  <a:lnTo>
                    <a:pt x="1189" y="160"/>
                  </a:lnTo>
                  <a:lnTo>
                    <a:pt x="1124" y="135"/>
                  </a:lnTo>
                  <a:lnTo>
                    <a:pt x="1113" y="139"/>
                  </a:lnTo>
                  <a:lnTo>
                    <a:pt x="1102" y="142"/>
                  </a:lnTo>
                  <a:lnTo>
                    <a:pt x="1088" y="144"/>
                  </a:lnTo>
                  <a:lnTo>
                    <a:pt x="1075" y="146"/>
                  </a:lnTo>
                  <a:lnTo>
                    <a:pt x="1047" y="147"/>
                  </a:lnTo>
                  <a:lnTo>
                    <a:pt x="1017" y="147"/>
                  </a:lnTo>
                  <a:lnTo>
                    <a:pt x="1016" y="152"/>
                  </a:lnTo>
                  <a:lnTo>
                    <a:pt x="1015" y="157"/>
                  </a:lnTo>
                  <a:lnTo>
                    <a:pt x="1013" y="161"/>
                  </a:lnTo>
                  <a:lnTo>
                    <a:pt x="1009" y="165"/>
                  </a:lnTo>
                  <a:lnTo>
                    <a:pt x="1006" y="168"/>
                  </a:lnTo>
                  <a:lnTo>
                    <a:pt x="1003" y="170"/>
                  </a:lnTo>
                  <a:lnTo>
                    <a:pt x="1000" y="172"/>
                  </a:lnTo>
                  <a:lnTo>
                    <a:pt x="997" y="172"/>
                  </a:lnTo>
                  <a:lnTo>
                    <a:pt x="992" y="173"/>
                  </a:lnTo>
                  <a:lnTo>
                    <a:pt x="987" y="175"/>
                  </a:lnTo>
                  <a:lnTo>
                    <a:pt x="985" y="175"/>
                  </a:lnTo>
                  <a:lnTo>
                    <a:pt x="982" y="175"/>
                  </a:lnTo>
                  <a:lnTo>
                    <a:pt x="980" y="174"/>
                  </a:lnTo>
                  <a:lnTo>
                    <a:pt x="978" y="172"/>
                  </a:lnTo>
                  <a:lnTo>
                    <a:pt x="976" y="176"/>
                  </a:lnTo>
                  <a:lnTo>
                    <a:pt x="972" y="179"/>
                  </a:lnTo>
                  <a:lnTo>
                    <a:pt x="967" y="183"/>
                  </a:lnTo>
                  <a:lnTo>
                    <a:pt x="960" y="187"/>
                  </a:lnTo>
                  <a:lnTo>
                    <a:pt x="941" y="194"/>
                  </a:lnTo>
                  <a:lnTo>
                    <a:pt x="920" y="200"/>
                  </a:lnTo>
                  <a:lnTo>
                    <a:pt x="879" y="212"/>
                  </a:lnTo>
                  <a:lnTo>
                    <a:pt x="858" y="216"/>
                  </a:lnTo>
                  <a:lnTo>
                    <a:pt x="851" y="215"/>
                  </a:lnTo>
                  <a:lnTo>
                    <a:pt x="846" y="213"/>
                  </a:lnTo>
                  <a:lnTo>
                    <a:pt x="839" y="208"/>
                  </a:lnTo>
                  <a:lnTo>
                    <a:pt x="834" y="203"/>
                  </a:lnTo>
                  <a:lnTo>
                    <a:pt x="827" y="197"/>
                  </a:lnTo>
                  <a:lnTo>
                    <a:pt x="822" y="191"/>
                  </a:lnTo>
                  <a:lnTo>
                    <a:pt x="817" y="184"/>
                  </a:lnTo>
                  <a:lnTo>
                    <a:pt x="812" y="176"/>
                  </a:lnTo>
                  <a:lnTo>
                    <a:pt x="803" y="161"/>
                  </a:lnTo>
                  <a:lnTo>
                    <a:pt x="796" y="145"/>
                  </a:lnTo>
                  <a:lnTo>
                    <a:pt x="793" y="132"/>
                  </a:lnTo>
                  <a:lnTo>
                    <a:pt x="791" y="123"/>
                  </a:lnTo>
                  <a:lnTo>
                    <a:pt x="792" y="116"/>
                  </a:lnTo>
                  <a:lnTo>
                    <a:pt x="794" y="109"/>
                  </a:lnTo>
                  <a:lnTo>
                    <a:pt x="798" y="103"/>
                  </a:lnTo>
                  <a:lnTo>
                    <a:pt x="801" y="95"/>
                  </a:lnTo>
                  <a:lnTo>
                    <a:pt x="805" y="88"/>
                  </a:lnTo>
                  <a:lnTo>
                    <a:pt x="808" y="81"/>
                  </a:lnTo>
                  <a:lnTo>
                    <a:pt x="811" y="74"/>
                  </a:lnTo>
                  <a:lnTo>
                    <a:pt x="811" y="67"/>
                  </a:lnTo>
                  <a:lnTo>
                    <a:pt x="811" y="53"/>
                  </a:lnTo>
                  <a:lnTo>
                    <a:pt x="808" y="39"/>
                  </a:lnTo>
                  <a:lnTo>
                    <a:pt x="806" y="33"/>
                  </a:lnTo>
                  <a:lnTo>
                    <a:pt x="804" y="28"/>
                  </a:lnTo>
                  <a:lnTo>
                    <a:pt x="801" y="24"/>
                  </a:lnTo>
                  <a:lnTo>
                    <a:pt x="798" y="20"/>
                  </a:lnTo>
                  <a:lnTo>
                    <a:pt x="794" y="16"/>
                  </a:lnTo>
                  <a:lnTo>
                    <a:pt x="789" y="12"/>
                  </a:lnTo>
                  <a:lnTo>
                    <a:pt x="783" y="9"/>
                  </a:lnTo>
                  <a:lnTo>
                    <a:pt x="778" y="7"/>
                  </a:lnTo>
                  <a:lnTo>
                    <a:pt x="762" y="3"/>
                  </a:lnTo>
                  <a:lnTo>
                    <a:pt x="745" y="0"/>
                  </a:lnTo>
                  <a:lnTo>
                    <a:pt x="739" y="10"/>
                  </a:lnTo>
                  <a:lnTo>
                    <a:pt x="733" y="21"/>
                  </a:lnTo>
                  <a:lnTo>
                    <a:pt x="729" y="23"/>
                  </a:lnTo>
                  <a:lnTo>
                    <a:pt x="727" y="25"/>
                  </a:lnTo>
                  <a:lnTo>
                    <a:pt x="725" y="26"/>
                  </a:lnTo>
                  <a:lnTo>
                    <a:pt x="722" y="27"/>
                  </a:lnTo>
                  <a:lnTo>
                    <a:pt x="717" y="27"/>
                  </a:lnTo>
                  <a:lnTo>
                    <a:pt x="714" y="27"/>
                  </a:lnTo>
                  <a:lnTo>
                    <a:pt x="710" y="26"/>
                  </a:lnTo>
                  <a:lnTo>
                    <a:pt x="705" y="24"/>
                  </a:lnTo>
                  <a:lnTo>
                    <a:pt x="703" y="28"/>
                  </a:lnTo>
                  <a:lnTo>
                    <a:pt x="700" y="31"/>
                  </a:lnTo>
                  <a:lnTo>
                    <a:pt x="695" y="35"/>
                  </a:lnTo>
                  <a:lnTo>
                    <a:pt x="690" y="39"/>
                  </a:lnTo>
                  <a:lnTo>
                    <a:pt x="677" y="47"/>
                  </a:lnTo>
                  <a:lnTo>
                    <a:pt x="662" y="55"/>
                  </a:lnTo>
                  <a:lnTo>
                    <a:pt x="648" y="63"/>
                  </a:lnTo>
                  <a:lnTo>
                    <a:pt x="637" y="71"/>
                  </a:lnTo>
                  <a:lnTo>
                    <a:pt x="632" y="75"/>
                  </a:lnTo>
                  <a:lnTo>
                    <a:pt x="628" y="79"/>
                  </a:lnTo>
                  <a:lnTo>
                    <a:pt x="626" y="82"/>
                  </a:lnTo>
                  <a:lnTo>
                    <a:pt x="625" y="86"/>
                  </a:lnTo>
                  <a:lnTo>
                    <a:pt x="612" y="79"/>
                  </a:lnTo>
                  <a:lnTo>
                    <a:pt x="589" y="70"/>
                  </a:lnTo>
                  <a:lnTo>
                    <a:pt x="566" y="62"/>
                  </a:lnTo>
                  <a:lnTo>
                    <a:pt x="552" y="55"/>
                  </a:lnTo>
                  <a:lnTo>
                    <a:pt x="525" y="55"/>
                  </a:lnTo>
                  <a:lnTo>
                    <a:pt x="525" y="99"/>
                  </a:lnTo>
                  <a:lnTo>
                    <a:pt x="535" y="114"/>
                  </a:lnTo>
                  <a:lnTo>
                    <a:pt x="552" y="137"/>
                  </a:lnTo>
                  <a:lnTo>
                    <a:pt x="566" y="160"/>
                  </a:lnTo>
                  <a:lnTo>
                    <a:pt x="572" y="172"/>
                  </a:lnTo>
                  <a:lnTo>
                    <a:pt x="571" y="178"/>
                  </a:lnTo>
                  <a:lnTo>
                    <a:pt x="569" y="185"/>
                  </a:lnTo>
                  <a:lnTo>
                    <a:pt x="566" y="191"/>
                  </a:lnTo>
                  <a:lnTo>
                    <a:pt x="560" y="198"/>
                  </a:lnTo>
                  <a:lnTo>
                    <a:pt x="555" y="205"/>
                  </a:lnTo>
                  <a:lnTo>
                    <a:pt x="548" y="213"/>
                  </a:lnTo>
                  <a:lnTo>
                    <a:pt x="541" y="220"/>
                  </a:lnTo>
                  <a:lnTo>
                    <a:pt x="532" y="227"/>
                  </a:lnTo>
                  <a:lnTo>
                    <a:pt x="523" y="233"/>
                  </a:lnTo>
                  <a:lnTo>
                    <a:pt x="513" y="239"/>
                  </a:lnTo>
                  <a:lnTo>
                    <a:pt x="503" y="244"/>
                  </a:lnTo>
                  <a:lnTo>
                    <a:pt x="493" y="249"/>
                  </a:lnTo>
                  <a:lnTo>
                    <a:pt x="483" y="253"/>
                  </a:lnTo>
                  <a:lnTo>
                    <a:pt x="472" y="256"/>
                  </a:lnTo>
                  <a:lnTo>
                    <a:pt x="463" y="257"/>
                  </a:lnTo>
                  <a:lnTo>
                    <a:pt x="453" y="258"/>
                  </a:lnTo>
                  <a:lnTo>
                    <a:pt x="446" y="258"/>
                  </a:lnTo>
                  <a:lnTo>
                    <a:pt x="440" y="256"/>
                  </a:lnTo>
                  <a:lnTo>
                    <a:pt x="433" y="254"/>
                  </a:lnTo>
                  <a:lnTo>
                    <a:pt x="426" y="252"/>
                  </a:lnTo>
                  <a:lnTo>
                    <a:pt x="413" y="245"/>
                  </a:lnTo>
                  <a:lnTo>
                    <a:pt x="401" y="235"/>
                  </a:lnTo>
                  <a:lnTo>
                    <a:pt x="389" y="224"/>
                  </a:lnTo>
                  <a:lnTo>
                    <a:pt x="378" y="212"/>
                  </a:lnTo>
                  <a:lnTo>
                    <a:pt x="368" y="198"/>
                  </a:lnTo>
                  <a:lnTo>
                    <a:pt x="359" y="184"/>
                  </a:lnTo>
                  <a:lnTo>
                    <a:pt x="330" y="190"/>
                  </a:lnTo>
                  <a:lnTo>
                    <a:pt x="286" y="197"/>
                  </a:lnTo>
                  <a:lnTo>
                    <a:pt x="263" y="201"/>
                  </a:lnTo>
                  <a:lnTo>
                    <a:pt x="244" y="206"/>
                  </a:lnTo>
                  <a:lnTo>
                    <a:pt x="238" y="208"/>
                  </a:lnTo>
                  <a:lnTo>
                    <a:pt x="231" y="211"/>
                  </a:lnTo>
                  <a:lnTo>
                    <a:pt x="228" y="213"/>
                  </a:lnTo>
                  <a:lnTo>
                    <a:pt x="227" y="216"/>
                  </a:lnTo>
                  <a:lnTo>
                    <a:pt x="227" y="220"/>
                  </a:lnTo>
                  <a:lnTo>
                    <a:pt x="229" y="224"/>
                  </a:lnTo>
                  <a:lnTo>
                    <a:pt x="231" y="227"/>
                  </a:lnTo>
                  <a:lnTo>
                    <a:pt x="235" y="230"/>
                  </a:lnTo>
                  <a:lnTo>
                    <a:pt x="243" y="235"/>
                  </a:lnTo>
                  <a:lnTo>
                    <a:pt x="253" y="240"/>
                  </a:lnTo>
                  <a:lnTo>
                    <a:pt x="253" y="258"/>
                  </a:lnTo>
                  <a:lnTo>
                    <a:pt x="241" y="262"/>
                  </a:lnTo>
                  <a:lnTo>
                    <a:pt x="221" y="268"/>
                  </a:lnTo>
                  <a:lnTo>
                    <a:pt x="210" y="272"/>
                  </a:lnTo>
                  <a:lnTo>
                    <a:pt x="201" y="278"/>
                  </a:lnTo>
                  <a:lnTo>
                    <a:pt x="198" y="281"/>
                  </a:lnTo>
                  <a:lnTo>
                    <a:pt x="196" y="285"/>
                  </a:lnTo>
                  <a:lnTo>
                    <a:pt x="194" y="290"/>
                  </a:lnTo>
                  <a:lnTo>
                    <a:pt x="194" y="295"/>
                  </a:lnTo>
                  <a:lnTo>
                    <a:pt x="194" y="302"/>
                  </a:lnTo>
                  <a:lnTo>
                    <a:pt x="196" y="307"/>
                  </a:lnTo>
                  <a:lnTo>
                    <a:pt x="198" y="311"/>
                  </a:lnTo>
                  <a:lnTo>
                    <a:pt x="201" y="314"/>
                  </a:lnTo>
                  <a:lnTo>
                    <a:pt x="210" y="321"/>
                  </a:lnTo>
                  <a:lnTo>
                    <a:pt x="220" y="327"/>
                  </a:lnTo>
                  <a:lnTo>
                    <a:pt x="224" y="330"/>
                  </a:lnTo>
                  <a:lnTo>
                    <a:pt x="230" y="333"/>
                  </a:lnTo>
                  <a:lnTo>
                    <a:pt x="234" y="337"/>
                  </a:lnTo>
                  <a:lnTo>
                    <a:pt x="239" y="342"/>
                  </a:lnTo>
                  <a:lnTo>
                    <a:pt x="242" y="348"/>
                  </a:lnTo>
                  <a:lnTo>
                    <a:pt x="244" y="356"/>
                  </a:lnTo>
                  <a:lnTo>
                    <a:pt x="246" y="365"/>
                  </a:lnTo>
                  <a:lnTo>
                    <a:pt x="246" y="375"/>
                  </a:lnTo>
                  <a:lnTo>
                    <a:pt x="246" y="388"/>
                  </a:lnTo>
                  <a:lnTo>
                    <a:pt x="245" y="400"/>
                  </a:lnTo>
                  <a:lnTo>
                    <a:pt x="243" y="412"/>
                  </a:lnTo>
                  <a:lnTo>
                    <a:pt x="241" y="423"/>
                  </a:lnTo>
                  <a:lnTo>
                    <a:pt x="236" y="446"/>
                  </a:lnTo>
                  <a:lnTo>
                    <a:pt x="230" y="468"/>
                  </a:lnTo>
                  <a:lnTo>
                    <a:pt x="223" y="490"/>
                  </a:lnTo>
                  <a:lnTo>
                    <a:pt x="219" y="512"/>
                  </a:lnTo>
                  <a:lnTo>
                    <a:pt x="217" y="524"/>
                  </a:lnTo>
                  <a:lnTo>
                    <a:pt x="214" y="535"/>
                  </a:lnTo>
                  <a:lnTo>
                    <a:pt x="213" y="548"/>
                  </a:lnTo>
                  <a:lnTo>
                    <a:pt x="213" y="560"/>
                  </a:lnTo>
                  <a:lnTo>
                    <a:pt x="194" y="560"/>
                  </a:lnTo>
                  <a:lnTo>
                    <a:pt x="188" y="557"/>
                  </a:lnTo>
                  <a:lnTo>
                    <a:pt x="184" y="554"/>
                  </a:lnTo>
                  <a:lnTo>
                    <a:pt x="183" y="553"/>
                  </a:lnTo>
                  <a:lnTo>
                    <a:pt x="182" y="552"/>
                  </a:lnTo>
                  <a:lnTo>
                    <a:pt x="180" y="550"/>
                  </a:lnTo>
                  <a:lnTo>
                    <a:pt x="180" y="548"/>
                  </a:lnTo>
                  <a:lnTo>
                    <a:pt x="168" y="554"/>
                  </a:lnTo>
                  <a:lnTo>
                    <a:pt x="157" y="559"/>
                  </a:lnTo>
                  <a:lnTo>
                    <a:pt x="147" y="562"/>
                  </a:lnTo>
                  <a:lnTo>
                    <a:pt x="138" y="564"/>
                  </a:lnTo>
                  <a:lnTo>
                    <a:pt x="119" y="566"/>
                  </a:lnTo>
                  <a:lnTo>
                    <a:pt x="100" y="567"/>
                  </a:lnTo>
                  <a:lnTo>
                    <a:pt x="96" y="567"/>
                  </a:lnTo>
                  <a:lnTo>
                    <a:pt x="93" y="569"/>
                  </a:lnTo>
                  <a:lnTo>
                    <a:pt x="90" y="573"/>
                  </a:lnTo>
                  <a:lnTo>
                    <a:pt x="88" y="576"/>
                  </a:lnTo>
                  <a:lnTo>
                    <a:pt x="85" y="584"/>
                  </a:lnTo>
                  <a:lnTo>
                    <a:pt x="81" y="591"/>
                  </a:lnTo>
                  <a:lnTo>
                    <a:pt x="65" y="607"/>
                  </a:lnTo>
                  <a:lnTo>
                    <a:pt x="51" y="624"/>
                  </a:lnTo>
                  <a:lnTo>
                    <a:pt x="38" y="643"/>
                  </a:lnTo>
                  <a:lnTo>
                    <a:pt x="26" y="665"/>
                  </a:lnTo>
                  <a:lnTo>
                    <a:pt x="20" y="676"/>
                  </a:lnTo>
                  <a:lnTo>
                    <a:pt x="16" y="687"/>
                  </a:lnTo>
                  <a:lnTo>
                    <a:pt x="11" y="699"/>
                  </a:lnTo>
                  <a:lnTo>
                    <a:pt x="7" y="711"/>
                  </a:lnTo>
                  <a:lnTo>
                    <a:pt x="5" y="723"/>
                  </a:lnTo>
                  <a:lnTo>
                    <a:pt x="3" y="734"/>
                  </a:lnTo>
                  <a:lnTo>
                    <a:pt x="1" y="746"/>
                  </a:lnTo>
                  <a:lnTo>
                    <a:pt x="0" y="757"/>
                  </a:lnTo>
                  <a:lnTo>
                    <a:pt x="1" y="767"/>
                  </a:lnTo>
                  <a:lnTo>
                    <a:pt x="4" y="777"/>
                  </a:lnTo>
                  <a:lnTo>
                    <a:pt x="7" y="787"/>
                  </a:lnTo>
                  <a:lnTo>
                    <a:pt x="11" y="799"/>
                  </a:lnTo>
                  <a:lnTo>
                    <a:pt x="17" y="811"/>
                  </a:lnTo>
                  <a:lnTo>
                    <a:pt x="22" y="824"/>
                  </a:lnTo>
                  <a:lnTo>
                    <a:pt x="30" y="836"/>
                  </a:lnTo>
                  <a:lnTo>
                    <a:pt x="38" y="848"/>
                  </a:lnTo>
                  <a:lnTo>
                    <a:pt x="46" y="859"/>
                  </a:lnTo>
                  <a:lnTo>
                    <a:pt x="56" y="870"/>
                  </a:lnTo>
                  <a:lnTo>
                    <a:pt x="66" y="880"/>
                  </a:lnTo>
                  <a:lnTo>
                    <a:pt x="76" y="889"/>
                  </a:lnTo>
                  <a:lnTo>
                    <a:pt x="87" y="896"/>
                  </a:lnTo>
                  <a:lnTo>
                    <a:pt x="98" y="901"/>
                  </a:lnTo>
                  <a:lnTo>
                    <a:pt x="104" y="903"/>
                  </a:lnTo>
                  <a:lnTo>
                    <a:pt x="109" y="904"/>
                  </a:lnTo>
                  <a:lnTo>
                    <a:pt x="115" y="905"/>
                  </a:lnTo>
                  <a:lnTo>
                    <a:pt x="120" y="905"/>
                  </a:lnTo>
                  <a:lnTo>
                    <a:pt x="130" y="904"/>
                  </a:lnTo>
                  <a:lnTo>
                    <a:pt x="138" y="902"/>
                  </a:lnTo>
                  <a:lnTo>
                    <a:pt x="146" y="898"/>
                  </a:lnTo>
                  <a:lnTo>
                    <a:pt x="153" y="893"/>
                  </a:lnTo>
                  <a:lnTo>
                    <a:pt x="161" y="889"/>
                  </a:lnTo>
                  <a:lnTo>
                    <a:pt x="168" y="885"/>
                  </a:lnTo>
                  <a:lnTo>
                    <a:pt x="177" y="882"/>
                  </a:lnTo>
                  <a:lnTo>
                    <a:pt x="187" y="881"/>
                  </a:lnTo>
                  <a:lnTo>
                    <a:pt x="189" y="903"/>
                  </a:lnTo>
                  <a:lnTo>
                    <a:pt x="190" y="934"/>
                  </a:lnTo>
                  <a:lnTo>
                    <a:pt x="190" y="942"/>
                  </a:lnTo>
                  <a:lnTo>
                    <a:pt x="191" y="949"/>
                  </a:lnTo>
                  <a:lnTo>
                    <a:pt x="194" y="956"/>
                  </a:lnTo>
                  <a:lnTo>
                    <a:pt x="196" y="961"/>
                  </a:lnTo>
                  <a:lnTo>
                    <a:pt x="199" y="966"/>
                  </a:lnTo>
                  <a:lnTo>
                    <a:pt x="202" y="970"/>
                  </a:lnTo>
                  <a:lnTo>
                    <a:pt x="208" y="972"/>
                  </a:lnTo>
                  <a:lnTo>
                    <a:pt x="213" y="973"/>
                  </a:lnTo>
                  <a:lnTo>
                    <a:pt x="233" y="973"/>
                  </a:lnTo>
                </a:path>
              </a:pathLst>
            </a:custGeom>
            <a:solidFill>
              <a:schemeClr val="accent2">
                <a:lumMod val="5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614" name="Freeform 10"/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5930395" y="2652830"/>
              <a:ext cx="83274" cy="59098"/>
            </a:xfrm>
            <a:custGeom>
              <a:avLst/>
              <a:gdLst>
                <a:gd name="T0" fmla="*/ 40782 w 161"/>
                <a:gd name="T1" fmla="*/ 0 h 93"/>
                <a:gd name="T2" fmla="*/ 46422 w 161"/>
                <a:gd name="T3" fmla="*/ 9525 h 93"/>
                <a:gd name="T4" fmla="*/ 48591 w 161"/>
                <a:gd name="T5" fmla="*/ 6350 h 93"/>
                <a:gd name="T6" fmla="*/ 50761 w 161"/>
                <a:gd name="T7" fmla="*/ 4233 h 93"/>
                <a:gd name="T8" fmla="*/ 52930 w 161"/>
                <a:gd name="T9" fmla="*/ 2646 h 93"/>
                <a:gd name="T10" fmla="*/ 55099 w 161"/>
                <a:gd name="T11" fmla="*/ 1588 h 93"/>
                <a:gd name="T12" fmla="*/ 59438 w 161"/>
                <a:gd name="T13" fmla="*/ 529 h 93"/>
                <a:gd name="T14" fmla="*/ 64210 w 161"/>
                <a:gd name="T15" fmla="*/ 0 h 93"/>
                <a:gd name="T16" fmla="*/ 65511 w 161"/>
                <a:gd name="T17" fmla="*/ 0 h 93"/>
                <a:gd name="T18" fmla="*/ 69850 w 161"/>
                <a:gd name="T19" fmla="*/ 0 h 93"/>
                <a:gd name="T20" fmla="*/ 69850 w 161"/>
                <a:gd name="T21" fmla="*/ 48684 h 93"/>
                <a:gd name="T22" fmla="*/ 67247 w 161"/>
                <a:gd name="T23" fmla="*/ 49213 h 93"/>
                <a:gd name="T24" fmla="*/ 65078 w 161"/>
                <a:gd name="T25" fmla="*/ 49213 h 93"/>
                <a:gd name="T26" fmla="*/ 62908 w 161"/>
                <a:gd name="T27" fmla="*/ 48684 h 93"/>
                <a:gd name="T28" fmla="*/ 60739 w 161"/>
                <a:gd name="T29" fmla="*/ 48155 h 93"/>
                <a:gd name="T30" fmla="*/ 55967 w 161"/>
                <a:gd name="T31" fmla="*/ 46567 h 93"/>
                <a:gd name="T32" fmla="*/ 52062 w 161"/>
                <a:gd name="T33" fmla="*/ 43392 h 93"/>
                <a:gd name="T34" fmla="*/ 48157 w 161"/>
                <a:gd name="T35" fmla="*/ 39688 h 93"/>
                <a:gd name="T36" fmla="*/ 45120 w 161"/>
                <a:gd name="T37" fmla="*/ 35455 h 93"/>
                <a:gd name="T38" fmla="*/ 42084 w 161"/>
                <a:gd name="T39" fmla="*/ 31221 h 93"/>
                <a:gd name="T40" fmla="*/ 40782 w 161"/>
                <a:gd name="T41" fmla="*/ 25929 h 93"/>
                <a:gd name="T42" fmla="*/ 39914 w 161"/>
                <a:gd name="T43" fmla="*/ 26459 h 93"/>
                <a:gd name="T44" fmla="*/ 38613 w 161"/>
                <a:gd name="T45" fmla="*/ 26988 h 93"/>
                <a:gd name="T46" fmla="*/ 37311 w 161"/>
                <a:gd name="T47" fmla="*/ 26988 h 93"/>
                <a:gd name="T48" fmla="*/ 36443 w 161"/>
                <a:gd name="T49" fmla="*/ 26988 h 93"/>
                <a:gd name="T50" fmla="*/ 33840 w 161"/>
                <a:gd name="T51" fmla="*/ 26459 h 93"/>
                <a:gd name="T52" fmla="*/ 32105 w 161"/>
                <a:gd name="T53" fmla="*/ 25929 h 93"/>
                <a:gd name="T54" fmla="*/ 28200 w 161"/>
                <a:gd name="T55" fmla="*/ 25400 h 93"/>
                <a:gd name="T56" fmla="*/ 23862 w 161"/>
                <a:gd name="T57" fmla="*/ 23813 h 93"/>
                <a:gd name="T58" fmla="*/ 19089 w 161"/>
                <a:gd name="T59" fmla="*/ 21167 h 93"/>
                <a:gd name="T60" fmla="*/ 13883 w 161"/>
                <a:gd name="T61" fmla="*/ 17992 h 93"/>
                <a:gd name="T62" fmla="*/ 9111 w 161"/>
                <a:gd name="T63" fmla="*/ 13758 h 93"/>
                <a:gd name="T64" fmla="*/ 5206 w 161"/>
                <a:gd name="T65" fmla="*/ 9525 h 93"/>
                <a:gd name="T66" fmla="*/ 3471 w 161"/>
                <a:gd name="T67" fmla="*/ 7408 h 93"/>
                <a:gd name="T68" fmla="*/ 2169 w 161"/>
                <a:gd name="T69" fmla="*/ 4763 h 93"/>
                <a:gd name="T70" fmla="*/ 1302 w 161"/>
                <a:gd name="T71" fmla="*/ 2646 h 93"/>
                <a:gd name="T72" fmla="*/ 0 w 161"/>
                <a:gd name="T73" fmla="*/ 0 h 93"/>
                <a:gd name="T74" fmla="*/ 40782 w 161"/>
                <a:gd name="T75" fmla="*/ 0 h 9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161" h="93">
                  <a:moveTo>
                    <a:pt x="94" y="0"/>
                  </a:moveTo>
                  <a:lnTo>
                    <a:pt x="107" y="18"/>
                  </a:lnTo>
                  <a:lnTo>
                    <a:pt x="112" y="12"/>
                  </a:lnTo>
                  <a:lnTo>
                    <a:pt x="117" y="8"/>
                  </a:lnTo>
                  <a:lnTo>
                    <a:pt x="122" y="5"/>
                  </a:lnTo>
                  <a:lnTo>
                    <a:pt x="127" y="3"/>
                  </a:lnTo>
                  <a:lnTo>
                    <a:pt x="137" y="1"/>
                  </a:lnTo>
                  <a:lnTo>
                    <a:pt x="148" y="0"/>
                  </a:lnTo>
                  <a:lnTo>
                    <a:pt x="151" y="0"/>
                  </a:lnTo>
                  <a:lnTo>
                    <a:pt x="161" y="0"/>
                  </a:lnTo>
                  <a:lnTo>
                    <a:pt x="161" y="92"/>
                  </a:lnTo>
                  <a:lnTo>
                    <a:pt x="155" y="93"/>
                  </a:lnTo>
                  <a:lnTo>
                    <a:pt x="150" y="93"/>
                  </a:lnTo>
                  <a:lnTo>
                    <a:pt x="145" y="92"/>
                  </a:lnTo>
                  <a:lnTo>
                    <a:pt x="140" y="91"/>
                  </a:lnTo>
                  <a:lnTo>
                    <a:pt x="129" y="88"/>
                  </a:lnTo>
                  <a:lnTo>
                    <a:pt x="120" y="82"/>
                  </a:lnTo>
                  <a:lnTo>
                    <a:pt x="111" y="75"/>
                  </a:lnTo>
                  <a:lnTo>
                    <a:pt x="104" y="67"/>
                  </a:lnTo>
                  <a:lnTo>
                    <a:pt x="97" y="59"/>
                  </a:lnTo>
                  <a:lnTo>
                    <a:pt x="94" y="49"/>
                  </a:lnTo>
                  <a:lnTo>
                    <a:pt x="92" y="50"/>
                  </a:lnTo>
                  <a:lnTo>
                    <a:pt x="89" y="51"/>
                  </a:lnTo>
                  <a:lnTo>
                    <a:pt x="86" y="51"/>
                  </a:lnTo>
                  <a:lnTo>
                    <a:pt x="84" y="51"/>
                  </a:lnTo>
                  <a:lnTo>
                    <a:pt x="78" y="50"/>
                  </a:lnTo>
                  <a:lnTo>
                    <a:pt x="74" y="49"/>
                  </a:lnTo>
                  <a:lnTo>
                    <a:pt x="65" y="48"/>
                  </a:lnTo>
                  <a:lnTo>
                    <a:pt x="55" y="45"/>
                  </a:lnTo>
                  <a:lnTo>
                    <a:pt x="44" y="40"/>
                  </a:lnTo>
                  <a:lnTo>
                    <a:pt x="32" y="34"/>
                  </a:lnTo>
                  <a:lnTo>
                    <a:pt x="21" y="26"/>
                  </a:lnTo>
                  <a:lnTo>
                    <a:pt x="12" y="18"/>
                  </a:lnTo>
                  <a:lnTo>
                    <a:pt x="8" y="14"/>
                  </a:lnTo>
                  <a:lnTo>
                    <a:pt x="5" y="9"/>
                  </a:lnTo>
                  <a:lnTo>
                    <a:pt x="3" y="5"/>
                  </a:lnTo>
                  <a:lnTo>
                    <a:pt x="0" y="0"/>
                  </a:lnTo>
                  <a:lnTo>
                    <a:pt x="94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615" name="Freeform 11"/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5332333" y="2502227"/>
              <a:ext cx="98415" cy="192544"/>
            </a:xfrm>
            <a:custGeom>
              <a:avLst/>
              <a:gdLst>
                <a:gd name="T0" fmla="*/ 16338 w 192"/>
                <a:gd name="T1" fmla="*/ 1567 h 307"/>
                <a:gd name="T2" fmla="*/ 15908 w 192"/>
                <a:gd name="T3" fmla="*/ 0 h 307"/>
                <a:gd name="T4" fmla="*/ 24507 w 192"/>
                <a:gd name="T5" fmla="*/ 1567 h 307"/>
                <a:gd name="T6" fmla="*/ 47294 w 192"/>
                <a:gd name="T7" fmla="*/ 7312 h 307"/>
                <a:gd name="T8" fmla="*/ 66642 w 192"/>
                <a:gd name="T9" fmla="*/ 13057 h 307"/>
                <a:gd name="T10" fmla="*/ 77821 w 192"/>
                <a:gd name="T11" fmla="*/ 14624 h 307"/>
                <a:gd name="T12" fmla="*/ 82550 w 192"/>
                <a:gd name="T13" fmla="*/ 18279 h 307"/>
                <a:gd name="T14" fmla="*/ 80830 w 192"/>
                <a:gd name="T15" fmla="*/ 24547 h 307"/>
                <a:gd name="T16" fmla="*/ 75241 w 192"/>
                <a:gd name="T17" fmla="*/ 42826 h 307"/>
                <a:gd name="T18" fmla="*/ 67932 w 192"/>
                <a:gd name="T19" fmla="*/ 66328 h 307"/>
                <a:gd name="T20" fmla="*/ 63202 w 192"/>
                <a:gd name="T21" fmla="*/ 86175 h 307"/>
                <a:gd name="T22" fmla="*/ 62772 w 192"/>
                <a:gd name="T23" fmla="*/ 108110 h 307"/>
                <a:gd name="T24" fmla="*/ 61913 w 192"/>
                <a:gd name="T25" fmla="*/ 130045 h 307"/>
                <a:gd name="T26" fmla="*/ 57613 w 192"/>
                <a:gd name="T27" fmla="*/ 144669 h 307"/>
                <a:gd name="T28" fmla="*/ 45574 w 192"/>
                <a:gd name="T29" fmla="*/ 154592 h 307"/>
                <a:gd name="T30" fmla="*/ 35686 w 192"/>
                <a:gd name="T31" fmla="*/ 158248 h 307"/>
                <a:gd name="T32" fmla="*/ 30956 w 192"/>
                <a:gd name="T33" fmla="*/ 160337 h 307"/>
                <a:gd name="T34" fmla="*/ 22357 w 192"/>
                <a:gd name="T35" fmla="*/ 159292 h 307"/>
                <a:gd name="T36" fmla="*/ 13758 w 192"/>
                <a:gd name="T37" fmla="*/ 151981 h 307"/>
                <a:gd name="T38" fmla="*/ 12898 w 192"/>
                <a:gd name="T39" fmla="*/ 144669 h 307"/>
                <a:gd name="T40" fmla="*/ 9459 w 192"/>
                <a:gd name="T41" fmla="*/ 134223 h 307"/>
                <a:gd name="T42" fmla="*/ 4299 w 192"/>
                <a:gd name="T43" fmla="*/ 120644 h 307"/>
                <a:gd name="T44" fmla="*/ 860 w 192"/>
                <a:gd name="T45" fmla="*/ 110199 h 307"/>
                <a:gd name="T46" fmla="*/ 0 w 192"/>
                <a:gd name="T47" fmla="*/ 102887 h 307"/>
                <a:gd name="T48" fmla="*/ 0 w 192"/>
                <a:gd name="T49" fmla="*/ 94009 h 307"/>
                <a:gd name="T50" fmla="*/ 860 w 192"/>
                <a:gd name="T51" fmla="*/ 86175 h 307"/>
                <a:gd name="T52" fmla="*/ 4729 w 192"/>
                <a:gd name="T53" fmla="*/ 75729 h 307"/>
                <a:gd name="T54" fmla="*/ 14188 w 192"/>
                <a:gd name="T55" fmla="*/ 56927 h 307"/>
                <a:gd name="T56" fmla="*/ 20638 w 192"/>
                <a:gd name="T57" fmla="*/ 42304 h 307"/>
                <a:gd name="T58" fmla="*/ 22357 w 192"/>
                <a:gd name="T59" fmla="*/ 32381 h 307"/>
                <a:gd name="T60" fmla="*/ 22787 w 192"/>
                <a:gd name="T61" fmla="*/ 21413 h 307"/>
                <a:gd name="T62" fmla="*/ 23647 w 192"/>
                <a:gd name="T63" fmla="*/ 15668 h 307"/>
                <a:gd name="T64" fmla="*/ 24507 w 192"/>
                <a:gd name="T65" fmla="*/ 13579 h 307"/>
                <a:gd name="T66" fmla="*/ 25797 w 192"/>
                <a:gd name="T67" fmla="*/ 11490 h 307"/>
                <a:gd name="T68" fmla="*/ 18918 w 192"/>
                <a:gd name="T69" fmla="*/ 3656 h 307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92" h="307">
                  <a:moveTo>
                    <a:pt x="44" y="7"/>
                  </a:moveTo>
                  <a:lnTo>
                    <a:pt x="38" y="3"/>
                  </a:lnTo>
                  <a:lnTo>
                    <a:pt x="35" y="1"/>
                  </a:lnTo>
                  <a:lnTo>
                    <a:pt x="37" y="0"/>
                  </a:lnTo>
                  <a:lnTo>
                    <a:pt x="41" y="0"/>
                  </a:lnTo>
                  <a:lnTo>
                    <a:pt x="57" y="3"/>
                  </a:lnTo>
                  <a:lnTo>
                    <a:pt x="82" y="8"/>
                  </a:lnTo>
                  <a:lnTo>
                    <a:pt x="110" y="14"/>
                  </a:lnTo>
                  <a:lnTo>
                    <a:pt x="141" y="22"/>
                  </a:lnTo>
                  <a:lnTo>
                    <a:pt x="155" y="25"/>
                  </a:lnTo>
                  <a:lnTo>
                    <a:pt x="169" y="27"/>
                  </a:lnTo>
                  <a:lnTo>
                    <a:pt x="181" y="28"/>
                  </a:lnTo>
                  <a:lnTo>
                    <a:pt x="192" y="29"/>
                  </a:lnTo>
                  <a:lnTo>
                    <a:pt x="192" y="35"/>
                  </a:lnTo>
                  <a:lnTo>
                    <a:pt x="192" y="41"/>
                  </a:lnTo>
                  <a:lnTo>
                    <a:pt x="188" y="47"/>
                  </a:lnTo>
                  <a:lnTo>
                    <a:pt x="183" y="61"/>
                  </a:lnTo>
                  <a:lnTo>
                    <a:pt x="175" y="82"/>
                  </a:lnTo>
                  <a:lnTo>
                    <a:pt x="167" y="104"/>
                  </a:lnTo>
                  <a:lnTo>
                    <a:pt x="158" y="127"/>
                  </a:lnTo>
                  <a:lnTo>
                    <a:pt x="152" y="148"/>
                  </a:lnTo>
                  <a:lnTo>
                    <a:pt x="147" y="165"/>
                  </a:lnTo>
                  <a:lnTo>
                    <a:pt x="146" y="176"/>
                  </a:lnTo>
                  <a:lnTo>
                    <a:pt x="146" y="207"/>
                  </a:lnTo>
                  <a:lnTo>
                    <a:pt x="146" y="234"/>
                  </a:lnTo>
                  <a:lnTo>
                    <a:pt x="144" y="249"/>
                  </a:lnTo>
                  <a:lnTo>
                    <a:pt x="141" y="263"/>
                  </a:lnTo>
                  <a:lnTo>
                    <a:pt x="134" y="277"/>
                  </a:lnTo>
                  <a:lnTo>
                    <a:pt x="127" y="294"/>
                  </a:lnTo>
                  <a:lnTo>
                    <a:pt x="106" y="296"/>
                  </a:lnTo>
                  <a:lnTo>
                    <a:pt x="91" y="300"/>
                  </a:lnTo>
                  <a:lnTo>
                    <a:pt x="83" y="303"/>
                  </a:lnTo>
                  <a:lnTo>
                    <a:pt x="77" y="306"/>
                  </a:lnTo>
                  <a:lnTo>
                    <a:pt x="72" y="307"/>
                  </a:lnTo>
                  <a:lnTo>
                    <a:pt x="64" y="307"/>
                  </a:lnTo>
                  <a:lnTo>
                    <a:pt x="52" y="305"/>
                  </a:lnTo>
                  <a:lnTo>
                    <a:pt x="33" y="300"/>
                  </a:lnTo>
                  <a:lnTo>
                    <a:pt x="32" y="291"/>
                  </a:lnTo>
                  <a:lnTo>
                    <a:pt x="32" y="284"/>
                  </a:lnTo>
                  <a:lnTo>
                    <a:pt x="30" y="277"/>
                  </a:lnTo>
                  <a:lnTo>
                    <a:pt x="28" y="270"/>
                  </a:lnTo>
                  <a:lnTo>
                    <a:pt x="22" y="257"/>
                  </a:lnTo>
                  <a:lnTo>
                    <a:pt x="17" y="244"/>
                  </a:lnTo>
                  <a:lnTo>
                    <a:pt x="10" y="231"/>
                  </a:lnTo>
                  <a:lnTo>
                    <a:pt x="5" y="218"/>
                  </a:lnTo>
                  <a:lnTo>
                    <a:pt x="2" y="211"/>
                  </a:lnTo>
                  <a:lnTo>
                    <a:pt x="1" y="204"/>
                  </a:lnTo>
                  <a:lnTo>
                    <a:pt x="0" y="197"/>
                  </a:lnTo>
                  <a:lnTo>
                    <a:pt x="0" y="189"/>
                  </a:lnTo>
                  <a:lnTo>
                    <a:pt x="0" y="180"/>
                  </a:lnTo>
                  <a:lnTo>
                    <a:pt x="1" y="173"/>
                  </a:lnTo>
                  <a:lnTo>
                    <a:pt x="2" y="165"/>
                  </a:lnTo>
                  <a:lnTo>
                    <a:pt x="5" y="158"/>
                  </a:lnTo>
                  <a:lnTo>
                    <a:pt x="11" y="145"/>
                  </a:lnTo>
                  <a:lnTo>
                    <a:pt x="18" y="133"/>
                  </a:lnTo>
                  <a:lnTo>
                    <a:pt x="33" y="109"/>
                  </a:lnTo>
                  <a:lnTo>
                    <a:pt x="46" y="90"/>
                  </a:lnTo>
                  <a:lnTo>
                    <a:pt x="48" y="81"/>
                  </a:lnTo>
                  <a:lnTo>
                    <a:pt x="50" y="72"/>
                  </a:lnTo>
                  <a:lnTo>
                    <a:pt x="52" y="62"/>
                  </a:lnTo>
                  <a:lnTo>
                    <a:pt x="53" y="53"/>
                  </a:lnTo>
                  <a:lnTo>
                    <a:pt x="53" y="41"/>
                  </a:lnTo>
                  <a:lnTo>
                    <a:pt x="54" y="34"/>
                  </a:lnTo>
                  <a:lnTo>
                    <a:pt x="55" y="30"/>
                  </a:lnTo>
                  <a:lnTo>
                    <a:pt x="56" y="28"/>
                  </a:lnTo>
                  <a:lnTo>
                    <a:pt x="57" y="26"/>
                  </a:lnTo>
                  <a:lnTo>
                    <a:pt x="58" y="25"/>
                  </a:lnTo>
                  <a:lnTo>
                    <a:pt x="60" y="22"/>
                  </a:lnTo>
                  <a:lnTo>
                    <a:pt x="60" y="16"/>
                  </a:lnTo>
                  <a:lnTo>
                    <a:pt x="44" y="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616" name="Freeform 12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5428857" y="1884561"/>
              <a:ext cx="204401" cy="324084"/>
            </a:xfrm>
            <a:custGeom>
              <a:avLst/>
              <a:gdLst>
                <a:gd name="T0" fmla="*/ 11200 w 398"/>
                <a:gd name="T1" fmla="*/ 1042 h 518"/>
                <a:gd name="T2" fmla="*/ 40924 w 398"/>
                <a:gd name="T3" fmla="*/ 6773 h 518"/>
                <a:gd name="T4" fmla="*/ 49970 w 398"/>
                <a:gd name="T5" fmla="*/ 11983 h 518"/>
                <a:gd name="T6" fmla="*/ 34462 w 398"/>
                <a:gd name="T7" fmla="*/ 24487 h 518"/>
                <a:gd name="T8" fmla="*/ 27570 w 398"/>
                <a:gd name="T9" fmla="*/ 32302 h 518"/>
                <a:gd name="T10" fmla="*/ 33170 w 398"/>
                <a:gd name="T11" fmla="*/ 35949 h 518"/>
                <a:gd name="T12" fmla="*/ 71940 w 398"/>
                <a:gd name="T13" fmla="*/ 41159 h 518"/>
                <a:gd name="T14" fmla="*/ 90464 w 398"/>
                <a:gd name="T15" fmla="*/ 56788 h 518"/>
                <a:gd name="T16" fmla="*/ 66340 w 398"/>
                <a:gd name="T17" fmla="*/ 66166 h 518"/>
                <a:gd name="T18" fmla="*/ 63324 w 398"/>
                <a:gd name="T19" fmla="*/ 71897 h 518"/>
                <a:gd name="T20" fmla="*/ 82279 w 398"/>
                <a:gd name="T21" fmla="*/ 74502 h 518"/>
                <a:gd name="T22" fmla="*/ 90894 w 398"/>
                <a:gd name="T23" fmla="*/ 81275 h 518"/>
                <a:gd name="T24" fmla="*/ 104679 w 398"/>
                <a:gd name="T25" fmla="*/ 99510 h 518"/>
                <a:gd name="T26" fmla="*/ 111141 w 398"/>
                <a:gd name="T27" fmla="*/ 110451 h 518"/>
                <a:gd name="T28" fmla="*/ 112003 w 398"/>
                <a:gd name="T29" fmla="*/ 123476 h 518"/>
                <a:gd name="T30" fmla="*/ 117172 w 398"/>
                <a:gd name="T31" fmla="*/ 132333 h 518"/>
                <a:gd name="T32" fmla="*/ 123203 w 398"/>
                <a:gd name="T33" fmla="*/ 145357 h 518"/>
                <a:gd name="T34" fmla="*/ 131818 w 398"/>
                <a:gd name="T35" fmla="*/ 154735 h 518"/>
                <a:gd name="T36" fmla="*/ 140865 w 398"/>
                <a:gd name="T37" fmla="*/ 166718 h 518"/>
                <a:gd name="T38" fmla="*/ 149049 w 398"/>
                <a:gd name="T39" fmla="*/ 175575 h 518"/>
                <a:gd name="T40" fmla="*/ 159388 w 398"/>
                <a:gd name="T41" fmla="*/ 177659 h 518"/>
                <a:gd name="T42" fmla="*/ 170588 w 398"/>
                <a:gd name="T43" fmla="*/ 190163 h 518"/>
                <a:gd name="T44" fmla="*/ 170158 w 398"/>
                <a:gd name="T45" fmla="*/ 205793 h 518"/>
                <a:gd name="T46" fmla="*/ 164558 w 398"/>
                <a:gd name="T47" fmla="*/ 210482 h 518"/>
                <a:gd name="T48" fmla="*/ 158096 w 398"/>
                <a:gd name="T49" fmla="*/ 216213 h 518"/>
                <a:gd name="T50" fmla="*/ 158527 w 398"/>
                <a:gd name="T51" fmla="*/ 221944 h 518"/>
                <a:gd name="T52" fmla="*/ 161973 w 398"/>
                <a:gd name="T53" fmla="*/ 230800 h 518"/>
                <a:gd name="T54" fmla="*/ 154650 w 398"/>
                <a:gd name="T55" fmla="*/ 241220 h 518"/>
                <a:gd name="T56" fmla="*/ 62894 w 398"/>
                <a:gd name="T57" fmla="*/ 260497 h 518"/>
                <a:gd name="T58" fmla="*/ 29293 w 398"/>
                <a:gd name="T59" fmla="*/ 264665 h 518"/>
                <a:gd name="T60" fmla="*/ 22831 w 398"/>
                <a:gd name="T61" fmla="*/ 269875 h 518"/>
                <a:gd name="T62" fmla="*/ 24985 w 398"/>
                <a:gd name="T63" fmla="*/ 256850 h 518"/>
                <a:gd name="T64" fmla="*/ 30585 w 398"/>
                <a:gd name="T65" fmla="*/ 247993 h 518"/>
                <a:gd name="T66" fmla="*/ 49109 w 398"/>
                <a:gd name="T67" fmla="*/ 238615 h 518"/>
                <a:gd name="T68" fmla="*/ 74094 w 398"/>
                <a:gd name="T69" fmla="*/ 228716 h 518"/>
                <a:gd name="T70" fmla="*/ 77109 w 398"/>
                <a:gd name="T71" fmla="*/ 221944 h 518"/>
                <a:gd name="T72" fmla="*/ 73663 w 398"/>
                <a:gd name="T73" fmla="*/ 226111 h 518"/>
                <a:gd name="T74" fmla="*/ 47816 w 398"/>
                <a:gd name="T75" fmla="*/ 225069 h 518"/>
                <a:gd name="T76" fmla="*/ 32739 w 398"/>
                <a:gd name="T77" fmla="*/ 218818 h 518"/>
                <a:gd name="T78" fmla="*/ 33170 w 398"/>
                <a:gd name="T79" fmla="*/ 209440 h 518"/>
                <a:gd name="T80" fmla="*/ 40924 w 398"/>
                <a:gd name="T81" fmla="*/ 203709 h 518"/>
                <a:gd name="T82" fmla="*/ 37478 w 398"/>
                <a:gd name="T83" fmla="*/ 183390 h 518"/>
                <a:gd name="T84" fmla="*/ 45232 w 398"/>
                <a:gd name="T85" fmla="*/ 171407 h 518"/>
                <a:gd name="T86" fmla="*/ 66340 w 398"/>
                <a:gd name="T87" fmla="*/ 160987 h 518"/>
                <a:gd name="T88" fmla="*/ 74094 w 398"/>
                <a:gd name="T89" fmla="*/ 151609 h 518"/>
                <a:gd name="T90" fmla="*/ 63755 w 398"/>
                <a:gd name="T91" fmla="*/ 141189 h 518"/>
                <a:gd name="T92" fmla="*/ 59878 w 398"/>
                <a:gd name="T93" fmla="*/ 128686 h 518"/>
                <a:gd name="T94" fmla="*/ 40493 w 398"/>
                <a:gd name="T95" fmla="*/ 124518 h 518"/>
                <a:gd name="T96" fmla="*/ 34462 w 398"/>
                <a:gd name="T97" fmla="*/ 112535 h 518"/>
                <a:gd name="T98" fmla="*/ 38770 w 398"/>
                <a:gd name="T99" fmla="*/ 100031 h 518"/>
                <a:gd name="T100" fmla="*/ 43078 w 398"/>
                <a:gd name="T101" fmla="*/ 87527 h 518"/>
                <a:gd name="T102" fmla="*/ 31447 w 398"/>
                <a:gd name="T103" fmla="*/ 96905 h 518"/>
                <a:gd name="T104" fmla="*/ 9477 w 398"/>
                <a:gd name="T105" fmla="*/ 84401 h 518"/>
                <a:gd name="T106" fmla="*/ 8616 w 398"/>
                <a:gd name="T107" fmla="*/ 73981 h 518"/>
                <a:gd name="T108" fmla="*/ 6031 w 398"/>
                <a:gd name="T109" fmla="*/ 68250 h 518"/>
                <a:gd name="T110" fmla="*/ 8616 w 398"/>
                <a:gd name="T111" fmla="*/ 32823 h 518"/>
                <a:gd name="T112" fmla="*/ 8185 w 398"/>
                <a:gd name="T113" fmla="*/ 25529 h 518"/>
                <a:gd name="T114" fmla="*/ 1723 w 398"/>
                <a:gd name="T115" fmla="*/ 20840 h 518"/>
                <a:gd name="T116" fmla="*/ 8616 w 398"/>
                <a:gd name="T117" fmla="*/ 9899 h 518"/>
                <a:gd name="T118" fmla="*/ 1292 w 398"/>
                <a:gd name="T119" fmla="*/ 4689 h 51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398" h="518">
                  <a:moveTo>
                    <a:pt x="0" y="1"/>
                  </a:moveTo>
                  <a:lnTo>
                    <a:pt x="6" y="0"/>
                  </a:lnTo>
                  <a:lnTo>
                    <a:pt x="15" y="1"/>
                  </a:lnTo>
                  <a:lnTo>
                    <a:pt x="26" y="2"/>
                  </a:lnTo>
                  <a:lnTo>
                    <a:pt x="39" y="5"/>
                  </a:lnTo>
                  <a:lnTo>
                    <a:pt x="56" y="8"/>
                  </a:lnTo>
                  <a:lnTo>
                    <a:pt x="75" y="11"/>
                  </a:lnTo>
                  <a:lnTo>
                    <a:pt x="95" y="13"/>
                  </a:lnTo>
                  <a:lnTo>
                    <a:pt x="120" y="13"/>
                  </a:lnTo>
                  <a:lnTo>
                    <a:pt x="120" y="17"/>
                  </a:lnTo>
                  <a:lnTo>
                    <a:pt x="118" y="20"/>
                  </a:lnTo>
                  <a:lnTo>
                    <a:pt x="116" y="23"/>
                  </a:lnTo>
                  <a:lnTo>
                    <a:pt x="114" y="26"/>
                  </a:lnTo>
                  <a:lnTo>
                    <a:pt x="107" y="32"/>
                  </a:lnTo>
                  <a:lnTo>
                    <a:pt x="99" y="37"/>
                  </a:lnTo>
                  <a:lnTo>
                    <a:pt x="80" y="47"/>
                  </a:lnTo>
                  <a:lnTo>
                    <a:pt x="66" y="57"/>
                  </a:lnTo>
                  <a:lnTo>
                    <a:pt x="65" y="59"/>
                  </a:lnTo>
                  <a:lnTo>
                    <a:pt x="64" y="61"/>
                  </a:lnTo>
                  <a:lnTo>
                    <a:pt x="64" y="62"/>
                  </a:lnTo>
                  <a:lnTo>
                    <a:pt x="65" y="64"/>
                  </a:lnTo>
                  <a:lnTo>
                    <a:pt x="68" y="66"/>
                  </a:lnTo>
                  <a:lnTo>
                    <a:pt x="71" y="67"/>
                  </a:lnTo>
                  <a:lnTo>
                    <a:pt x="77" y="69"/>
                  </a:lnTo>
                  <a:lnTo>
                    <a:pt x="84" y="70"/>
                  </a:lnTo>
                  <a:lnTo>
                    <a:pt x="103" y="73"/>
                  </a:lnTo>
                  <a:lnTo>
                    <a:pt x="131" y="76"/>
                  </a:lnTo>
                  <a:lnTo>
                    <a:pt x="167" y="79"/>
                  </a:lnTo>
                  <a:lnTo>
                    <a:pt x="213" y="81"/>
                  </a:lnTo>
                  <a:lnTo>
                    <a:pt x="213" y="91"/>
                  </a:lnTo>
                  <a:lnTo>
                    <a:pt x="213" y="105"/>
                  </a:lnTo>
                  <a:lnTo>
                    <a:pt x="210" y="109"/>
                  </a:lnTo>
                  <a:lnTo>
                    <a:pt x="202" y="112"/>
                  </a:lnTo>
                  <a:lnTo>
                    <a:pt x="191" y="116"/>
                  </a:lnTo>
                  <a:lnTo>
                    <a:pt x="179" y="120"/>
                  </a:lnTo>
                  <a:lnTo>
                    <a:pt x="154" y="127"/>
                  </a:lnTo>
                  <a:lnTo>
                    <a:pt x="139" y="130"/>
                  </a:lnTo>
                  <a:lnTo>
                    <a:pt x="142" y="133"/>
                  </a:lnTo>
                  <a:lnTo>
                    <a:pt x="144" y="136"/>
                  </a:lnTo>
                  <a:lnTo>
                    <a:pt x="147" y="138"/>
                  </a:lnTo>
                  <a:lnTo>
                    <a:pt x="150" y="140"/>
                  </a:lnTo>
                  <a:lnTo>
                    <a:pt x="160" y="142"/>
                  </a:lnTo>
                  <a:lnTo>
                    <a:pt x="170" y="143"/>
                  </a:lnTo>
                  <a:lnTo>
                    <a:pt x="191" y="143"/>
                  </a:lnTo>
                  <a:lnTo>
                    <a:pt x="206" y="142"/>
                  </a:lnTo>
                  <a:lnTo>
                    <a:pt x="206" y="147"/>
                  </a:lnTo>
                  <a:lnTo>
                    <a:pt x="208" y="152"/>
                  </a:lnTo>
                  <a:lnTo>
                    <a:pt x="211" y="156"/>
                  </a:lnTo>
                  <a:lnTo>
                    <a:pt x="214" y="161"/>
                  </a:lnTo>
                  <a:lnTo>
                    <a:pt x="223" y="172"/>
                  </a:lnTo>
                  <a:lnTo>
                    <a:pt x="233" y="182"/>
                  </a:lnTo>
                  <a:lnTo>
                    <a:pt x="243" y="191"/>
                  </a:lnTo>
                  <a:lnTo>
                    <a:pt x="250" y="200"/>
                  </a:lnTo>
                  <a:lnTo>
                    <a:pt x="254" y="205"/>
                  </a:lnTo>
                  <a:lnTo>
                    <a:pt x="257" y="209"/>
                  </a:lnTo>
                  <a:lnTo>
                    <a:pt x="258" y="212"/>
                  </a:lnTo>
                  <a:lnTo>
                    <a:pt x="259" y="216"/>
                  </a:lnTo>
                  <a:lnTo>
                    <a:pt x="259" y="223"/>
                  </a:lnTo>
                  <a:lnTo>
                    <a:pt x="260" y="232"/>
                  </a:lnTo>
                  <a:lnTo>
                    <a:pt x="260" y="237"/>
                  </a:lnTo>
                  <a:lnTo>
                    <a:pt x="262" y="241"/>
                  </a:lnTo>
                  <a:lnTo>
                    <a:pt x="263" y="244"/>
                  </a:lnTo>
                  <a:lnTo>
                    <a:pt x="266" y="247"/>
                  </a:lnTo>
                  <a:lnTo>
                    <a:pt x="272" y="254"/>
                  </a:lnTo>
                  <a:lnTo>
                    <a:pt x="277" y="261"/>
                  </a:lnTo>
                  <a:lnTo>
                    <a:pt x="280" y="267"/>
                  </a:lnTo>
                  <a:lnTo>
                    <a:pt x="283" y="273"/>
                  </a:lnTo>
                  <a:lnTo>
                    <a:pt x="286" y="279"/>
                  </a:lnTo>
                  <a:lnTo>
                    <a:pt x="291" y="284"/>
                  </a:lnTo>
                  <a:lnTo>
                    <a:pt x="297" y="288"/>
                  </a:lnTo>
                  <a:lnTo>
                    <a:pt x="305" y="291"/>
                  </a:lnTo>
                  <a:lnTo>
                    <a:pt x="306" y="297"/>
                  </a:lnTo>
                  <a:lnTo>
                    <a:pt x="310" y="304"/>
                  </a:lnTo>
                  <a:lnTo>
                    <a:pt x="315" y="310"/>
                  </a:lnTo>
                  <a:lnTo>
                    <a:pt x="320" y="316"/>
                  </a:lnTo>
                  <a:lnTo>
                    <a:pt x="327" y="320"/>
                  </a:lnTo>
                  <a:lnTo>
                    <a:pt x="334" y="324"/>
                  </a:lnTo>
                  <a:lnTo>
                    <a:pt x="340" y="326"/>
                  </a:lnTo>
                  <a:lnTo>
                    <a:pt x="346" y="327"/>
                  </a:lnTo>
                  <a:lnTo>
                    <a:pt x="346" y="337"/>
                  </a:lnTo>
                  <a:lnTo>
                    <a:pt x="346" y="346"/>
                  </a:lnTo>
                  <a:lnTo>
                    <a:pt x="355" y="343"/>
                  </a:lnTo>
                  <a:lnTo>
                    <a:pt x="363" y="341"/>
                  </a:lnTo>
                  <a:lnTo>
                    <a:pt x="370" y="341"/>
                  </a:lnTo>
                  <a:lnTo>
                    <a:pt x="376" y="342"/>
                  </a:lnTo>
                  <a:lnTo>
                    <a:pt x="389" y="347"/>
                  </a:lnTo>
                  <a:lnTo>
                    <a:pt x="398" y="352"/>
                  </a:lnTo>
                  <a:lnTo>
                    <a:pt x="396" y="365"/>
                  </a:lnTo>
                  <a:lnTo>
                    <a:pt x="394" y="376"/>
                  </a:lnTo>
                  <a:lnTo>
                    <a:pt x="393" y="382"/>
                  </a:lnTo>
                  <a:lnTo>
                    <a:pt x="393" y="389"/>
                  </a:lnTo>
                  <a:lnTo>
                    <a:pt x="395" y="395"/>
                  </a:lnTo>
                  <a:lnTo>
                    <a:pt x="398" y="401"/>
                  </a:lnTo>
                  <a:lnTo>
                    <a:pt x="393" y="402"/>
                  </a:lnTo>
                  <a:lnTo>
                    <a:pt x="387" y="403"/>
                  </a:lnTo>
                  <a:lnTo>
                    <a:pt x="382" y="404"/>
                  </a:lnTo>
                  <a:lnTo>
                    <a:pt x="376" y="406"/>
                  </a:lnTo>
                  <a:lnTo>
                    <a:pt x="372" y="409"/>
                  </a:lnTo>
                  <a:lnTo>
                    <a:pt x="369" y="412"/>
                  </a:lnTo>
                  <a:lnTo>
                    <a:pt x="367" y="415"/>
                  </a:lnTo>
                  <a:lnTo>
                    <a:pt x="365" y="420"/>
                  </a:lnTo>
                  <a:lnTo>
                    <a:pt x="365" y="422"/>
                  </a:lnTo>
                  <a:lnTo>
                    <a:pt x="367" y="424"/>
                  </a:lnTo>
                  <a:lnTo>
                    <a:pt x="368" y="426"/>
                  </a:lnTo>
                  <a:lnTo>
                    <a:pt x="370" y="429"/>
                  </a:lnTo>
                  <a:lnTo>
                    <a:pt x="376" y="433"/>
                  </a:lnTo>
                  <a:lnTo>
                    <a:pt x="385" y="438"/>
                  </a:lnTo>
                  <a:lnTo>
                    <a:pt x="376" y="443"/>
                  </a:lnTo>
                  <a:lnTo>
                    <a:pt x="371" y="447"/>
                  </a:lnTo>
                  <a:lnTo>
                    <a:pt x="367" y="451"/>
                  </a:lnTo>
                  <a:lnTo>
                    <a:pt x="363" y="455"/>
                  </a:lnTo>
                  <a:lnTo>
                    <a:pt x="359" y="463"/>
                  </a:lnTo>
                  <a:lnTo>
                    <a:pt x="352" y="475"/>
                  </a:lnTo>
                  <a:lnTo>
                    <a:pt x="146" y="475"/>
                  </a:lnTo>
                  <a:lnTo>
                    <a:pt x="146" y="487"/>
                  </a:lnTo>
                  <a:lnTo>
                    <a:pt x="146" y="500"/>
                  </a:lnTo>
                  <a:lnTo>
                    <a:pt x="116" y="501"/>
                  </a:lnTo>
                  <a:lnTo>
                    <a:pt x="90" y="503"/>
                  </a:lnTo>
                  <a:lnTo>
                    <a:pt x="78" y="505"/>
                  </a:lnTo>
                  <a:lnTo>
                    <a:pt x="68" y="508"/>
                  </a:lnTo>
                  <a:lnTo>
                    <a:pt x="64" y="510"/>
                  </a:lnTo>
                  <a:lnTo>
                    <a:pt x="59" y="512"/>
                  </a:lnTo>
                  <a:lnTo>
                    <a:pt x="56" y="515"/>
                  </a:lnTo>
                  <a:lnTo>
                    <a:pt x="53" y="518"/>
                  </a:lnTo>
                  <a:lnTo>
                    <a:pt x="54" y="511"/>
                  </a:lnTo>
                  <a:lnTo>
                    <a:pt x="55" y="505"/>
                  </a:lnTo>
                  <a:lnTo>
                    <a:pt x="56" y="499"/>
                  </a:lnTo>
                  <a:lnTo>
                    <a:pt x="58" y="493"/>
                  </a:lnTo>
                  <a:lnTo>
                    <a:pt x="61" y="488"/>
                  </a:lnTo>
                  <a:lnTo>
                    <a:pt x="64" y="484"/>
                  </a:lnTo>
                  <a:lnTo>
                    <a:pt x="68" y="480"/>
                  </a:lnTo>
                  <a:lnTo>
                    <a:pt x="71" y="476"/>
                  </a:lnTo>
                  <a:lnTo>
                    <a:pt x="81" y="470"/>
                  </a:lnTo>
                  <a:lnTo>
                    <a:pt x="91" y="465"/>
                  </a:lnTo>
                  <a:lnTo>
                    <a:pt x="102" y="462"/>
                  </a:lnTo>
                  <a:lnTo>
                    <a:pt x="114" y="458"/>
                  </a:lnTo>
                  <a:lnTo>
                    <a:pt x="136" y="453"/>
                  </a:lnTo>
                  <a:lnTo>
                    <a:pt x="157" y="448"/>
                  </a:lnTo>
                  <a:lnTo>
                    <a:pt x="165" y="444"/>
                  </a:lnTo>
                  <a:lnTo>
                    <a:pt x="172" y="439"/>
                  </a:lnTo>
                  <a:lnTo>
                    <a:pt x="174" y="436"/>
                  </a:lnTo>
                  <a:lnTo>
                    <a:pt x="177" y="433"/>
                  </a:lnTo>
                  <a:lnTo>
                    <a:pt x="179" y="429"/>
                  </a:lnTo>
                  <a:lnTo>
                    <a:pt x="179" y="426"/>
                  </a:lnTo>
                  <a:lnTo>
                    <a:pt x="179" y="428"/>
                  </a:lnTo>
                  <a:lnTo>
                    <a:pt x="177" y="430"/>
                  </a:lnTo>
                  <a:lnTo>
                    <a:pt x="174" y="432"/>
                  </a:lnTo>
                  <a:lnTo>
                    <a:pt x="171" y="434"/>
                  </a:lnTo>
                  <a:lnTo>
                    <a:pt x="162" y="437"/>
                  </a:lnTo>
                  <a:lnTo>
                    <a:pt x="152" y="438"/>
                  </a:lnTo>
                  <a:lnTo>
                    <a:pt x="137" y="437"/>
                  </a:lnTo>
                  <a:lnTo>
                    <a:pt x="111" y="432"/>
                  </a:lnTo>
                  <a:lnTo>
                    <a:pt x="96" y="429"/>
                  </a:lnTo>
                  <a:lnTo>
                    <a:pt x="84" y="425"/>
                  </a:lnTo>
                  <a:lnTo>
                    <a:pt x="80" y="423"/>
                  </a:lnTo>
                  <a:lnTo>
                    <a:pt x="76" y="420"/>
                  </a:lnTo>
                  <a:lnTo>
                    <a:pt x="73" y="417"/>
                  </a:lnTo>
                  <a:lnTo>
                    <a:pt x="73" y="414"/>
                  </a:lnTo>
                  <a:lnTo>
                    <a:pt x="73" y="407"/>
                  </a:lnTo>
                  <a:lnTo>
                    <a:pt x="77" y="402"/>
                  </a:lnTo>
                  <a:lnTo>
                    <a:pt x="80" y="398"/>
                  </a:lnTo>
                  <a:lnTo>
                    <a:pt x="84" y="395"/>
                  </a:lnTo>
                  <a:lnTo>
                    <a:pt x="90" y="392"/>
                  </a:lnTo>
                  <a:lnTo>
                    <a:pt x="95" y="391"/>
                  </a:lnTo>
                  <a:lnTo>
                    <a:pt x="101" y="390"/>
                  </a:lnTo>
                  <a:lnTo>
                    <a:pt x="106" y="389"/>
                  </a:lnTo>
                  <a:lnTo>
                    <a:pt x="106" y="352"/>
                  </a:lnTo>
                  <a:lnTo>
                    <a:pt x="87" y="352"/>
                  </a:lnTo>
                  <a:lnTo>
                    <a:pt x="90" y="345"/>
                  </a:lnTo>
                  <a:lnTo>
                    <a:pt x="94" y="339"/>
                  </a:lnTo>
                  <a:lnTo>
                    <a:pt x="100" y="334"/>
                  </a:lnTo>
                  <a:lnTo>
                    <a:pt x="105" y="329"/>
                  </a:lnTo>
                  <a:lnTo>
                    <a:pt x="117" y="323"/>
                  </a:lnTo>
                  <a:lnTo>
                    <a:pt x="129" y="319"/>
                  </a:lnTo>
                  <a:lnTo>
                    <a:pt x="142" y="315"/>
                  </a:lnTo>
                  <a:lnTo>
                    <a:pt x="154" y="309"/>
                  </a:lnTo>
                  <a:lnTo>
                    <a:pt x="159" y="306"/>
                  </a:lnTo>
                  <a:lnTo>
                    <a:pt x="163" y="302"/>
                  </a:lnTo>
                  <a:lnTo>
                    <a:pt x="169" y="297"/>
                  </a:lnTo>
                  <a:lnTo>
                    <a:pt x="172" y="291"/>
                  </a:lnTo>
                  <a:lnTo>
                    <a:pt x="166" y="286"/>
                  </a:lnTo>
                  <a:lnTo>
                    <a:pt x="159" y="281"/>
                  </a:lnTo>
                  <a:lnTo>
                    <a:pt x="154" y="277"/>
                  </a:lnTo>
                  <a:lnTo>
                    <a:pt x="148" y="271"/>
                  </a:lnTo>
                  <a:lnTo>
                    <a:pt x="145" y="265"/>
                  </a:lnTo>
                  <a:lnTo>
                    <a:pt x="142" y="260"/>
                  </a:lnTo>
                  <a:lnTo>
                    <a:pt x="140" y="254"/>
                  </a:lnTo>
                  <a:lnTo>
                    <a:pt x="139" y="247"/>
                  </a:lnTo>
                  <a:lnTo>
                    <a:pt x="125" y="247"/>
                  </a:lnTo>
                  <a:lnTo>
                    <a:pt x="113" y="245"/>
                  </a:lnTo>
                  <a:lnTo>
                    <a:pt x="103" y="242"/>
                  </a:lnTo>
                  <a:lnTo>
                    <a:pt x="94" y="239"/>
                  </a:lnTo>
                  <a:lnTo>
                    <a:pt x="88" y="235"/>
                  </a:lnTo>
                  <a:lnTo>
                    <a:pt x="83" y="229"/>
                  </a:lnTo>
                  <a:lnTo>
                    <a:pt x="80" y="224"/>
                  </a:lnTo>
                  <a:lnTo>
                    <a:pt x="80" y="216"/>
                  </a:lnTo>
                  <a:lnTo>
                    <a:pt x="80" y="209"/>
                  </a:lnTo>
                  <a:lnTo>
                    <a:pt x="82" y="203"/>
                  </a:lnTo>
                  <a:lnTo>
                    <a:pt x="86" y="198"/>
                  </a:lnTo>
                  <a:lnTo>
                    <a:pt x="90" y="192"/>
                  </a:lnTo>
                  <a:lnTo>
                    <a:pt x="93" y="186"/>
                  </a:lnTo>
                  <a:lnTo>
                    <a:pt x="96" y="180"/>
                  </a:lnTo>
                  <a:lnTo>
                    <a:pt x="99" y="174"/>
                  </a:lnTo>
                  <a:lnTo>
                    <a:pt x="100" y="168"/>
                  </a:lnTo>
                  <a:lnTo>
                    <a:pt x="92" y="171"/>
                  </a:lnTo>
                  <a:lnTo>
                    <a:pt x="86" y="175"/>
                  </a:lnTo>
                  <a:lnTo>
                    <a:pt x="80" y="180"/>
                  </a:lnTo>
                  <a:lnTo>
                    <a:pt x="73" y="186"/>
                  </a:lnTo>
                  <a:lnTo>
                    <a:pt x="64" y="199"/>
                  </a:lnTo>
                  <a:lnTo>
                    <a:pt x="53" y="210"/>
                  </a:lnTo>
                  <a:lnTo>
                    <a:pt x="31" y="179"/>
                  </a:lnTo>
                  <a:lnTo>
                    <a:pt x="22" y="162"/>
                  </a:lnTo>
                  <a:lnTo>
                    <a:pt x="20" y="157"/>
                  </a:lnTo>
                  <a:lnTo>
                    <a:pt x="20" y="153"/>
                  </a:lnTo>
                  <a:lnTo>
                    <a:pt x="20" y="148"/>
                  </a:lnTo>
                  <a:lnTo>
                    <a:pt x="20" y="142"/>
                  </a:lnTo>
                  <a:lnTo>
                    <a:pt x="17" y="141"/>
                  </a:lnTo>
                  <a:lnTo>
                    <a:pt x="16" y="138"/>
                  </a:lnTo>
                  <a:lnTo>
                    <a:pt x="15" y="135"/>
                  </a:lnTo>
                  <a:lnTo>
                    <a:pt x="14" y="131"/>
                  </a:lnTo>
                  <a:lnTo>
                    <a:pt x="14" y="121"/>
                  </a:lnTo>
                  <a:lnTo>
                    <a:pt x="15" y="110"/>
                  </a:lnTo>
                  <a:lnTo>
                    <a:pt x="17" y="84"/>
                  </a:lnTo>
                  <a:lnTo>
                    <a:pt x="20" y="63"/>
                  </a:lnTo>
                  <a:lnTo>
                    <a:pt x="21" y="59"/>
                  </a:lnTo>
                  <a:lnTo>
                    <a:pt x="21" y="55"/>
                  </a:lnTo>
                  <a:lnTo>
                    <a:pt x="20" y="51"/>
                  </a:lnTo>
                  <a:lnTo>
                    <a:pt x="19" y="49"/>
                  </a:lnTo>
                  <a:lnTo>
                    <a:pt x="15" y="45"/>
                  </a:lnTo>
                  <a:lnTo>
                    <a:pt x="11" y="43"/>
                  </a:lnTo>
                  <a:lnTo>
                    <a:pt x="6" y="41"/>
                  </a:lnTo>
                  <a:lnTo>
                    <a:pt x="4" y="40"/>
                  </a:lnTo>
                  <a:lnTo>
                    <a:pt x="3" y="39"/>
                  </a:lnTo>
                  <a:lnTo>
                    <a:pt x="6" y="37"/>
                  </a:lnTo>
                  <a:lnTo>
                    <a:pt x="13" y="28"/>
                  </a:lnTo>
                  <a:lnTo>
                    <a:pt x="20" y="19"/>
                  </a:lnTo>
                  <a:lnTo>
                    <a:pt x="20" y="13"/>
                  </a:lnTo>
                  <a:lnTo>
                    <a:pt x="11" y="11"/>
                  </a:lnTo>
                  <a:lnTo>
                    <a:pt x="5" y="10"/>
                  </a:lnTo>
                  <a:lnTo>
                    <a:pt x="3" y="9"/>
                  </a:lnTo>
                  <a:lnTo>
                    <a:pt x="1" y="7"/>
                  </a:lnTo>
                  <a:lnTo>
                    <a:pt x="0" y="5"/>
                  </a:lnTo>
                  <a:lnTo>
                    <a:pt x="0" y="1"/>
                  </a:lnTo>
                </a:path>
              </a:pathLst>
            </a:custGeom>
            <a:solidFill>
              <a:schemeClr val="accent2">
                <a:lumMod val="50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617" name="Freeform 13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5856585" y="2248677"/>
              <a:ext cx="202508" cy="91506"/>
            </a:xfrm>
            <a:custGeom>
              <a:avLst/>
              <a:gdLst>
                <a:gd name="T0" fmla="*/ 84486 w 382"/>
                <a:gd name="T1" fmla="*/ 10812 h 148"/>
                <a:gd name="T2" fmla="*/ 78706 w 382"/>
                <a:gd name="T3" fmla="*/ 15961 h 148"/>
                <a:gd name="T4" fmla="*/ 77372 w 382"/>
                <a:gd name="T5" fmla="*/ 23169 h 148"/>
                <a:gd name="T6" fmla="*/ 74704 w 382"/>
                <a:gd name="T7" fmla="*/ 27288 h 148"/>
                <a:gd name="T8" fmla="*/ 73814 w 382"/>
                <a:gd name="T9" fmla="*/ 31407 h 148"/>
                <a:gd name="T10" fmla="*/ 78706 w 382"/>
                <a:gd name="T11" fmla="*/ 38100 h 148"/>
                <a:gd name="T12" fmla="*/ 68923 w 382"/>
                <a:gd name="T13" fmla="*/ 44278 h 148"/>
                <a:gd name="T14" fmla="*/ 48024 w 382"/>
                <a:gd name="T15" fmla="*/ 49427 h 148"/>
                <a:gd name="T16" fmla="*/ 34239 w 382"/>
                <a:gd name="T17" fmla="*/ 49942 h 148"/>
                <a:gd name="T18" fmla="*/ 23123 w 382"/>
                <a:gd name="T19" fmla="*/ 48912 h 148"/>
                <a:gd name="T20" fmla="*/ 1779 w 382"/>
                <a:gd name="T21" fmla="*/ 57150 h 148"/>
                <a:gd name="T22" fmla="*/ 0 w 382"/>
                <a:gd name="T23" fmla="*/ 66418 h 148"/>
                <a:gd name="T24" fmla="*/ 1779 w 382"/>
                <a:gd name="T25" fmla="*/ 67447 h 148"/>
                <a:gd name="T26" fmla="*/ 5336 w 382"/>
                <a:gd name="T27" fmla="*/ 67447 h 148"/>
                <a:gd name="T28" fmla="*/ 22678 w 382"/>
                <a:gd name="T29" fmla="*/ 66418 h 148"/>
                <a:gd name="T30" fmla="*/ 50692 w 382"/>
                <a:gd name="T31" fmla="*/ 65388 h 148"/>
                <a:gd name="T32" fmla="*/ 54694 w 382"/>
                <a:gd name="T33" fmla="*/ 68992 h 148"/>
                <a:gd name="T34" fmla="*/ 60919 w 382"/>
                <a:gd name="T35" fmla="*/ 72596 h 148"/>
                <a:gd name="T36" fmla="*/ 70702 w 382"/>
                <a:gd name="T37" fmla="*/ 75685 h 148"/>
                <a:gd name="T38" fmla="*/ 82263 w 382"/>
                <a:gd name="T39" fmla="*/ 76200 h 148"/>
                <a:gd name="T40" fmla="*/ 93380 w 382"/>
                <a:gd name="T41" fmla="*/ 76200 h 148"/>
                <a:gd name="T42" fmla="*/ 103607 w 382"/>
                <a:gd name="T43" fmla="*/ 76200 h 148"/>
                <a:gd name="T44" fmla="*/ 113390 w 382"/>
                <a:gd name="T45" fmla="*/ 76200 h 148"/>
                <a:gd name="T46" fmla="*/ 122283 w 382"/>
                <a:gd name="T47" fmla="*/ 73626 h 148"/>
                <a:gd name="T48" fmla="*/ 133844 w 382"/>
                <a:gd name="T49" fmla="*/ 68992 h 148"/>
                <a:gd name="T50" fmla="*/ 148518 w 382"/>
                <a:gd name="T51" fmla="*/ 62299 h 148"/>
                <a:gd name="T52" fmla="*/ 156967 w 382"/>
                <a:gd name="T53" fmla="*/ 53031 h 148"/>
                <a:gd name="T54" fmla="*/ 165415 w 382"/>
                <a:gd name="T55" fmla="*/ 37070 h 148"/>
                <a:gd name="T56" fmla="*/ 167194 w 382"/>
                <a:gd name="T57" fmla="*/ 26773 h 148"/>
                <a:gd name="T58" fmla="*/ 161413 w 382"/>
                <a:gd name="T59" fmla="*/ 22654 h 148"/>
                <a:gd name="T60" fmla="*/ 158745 w 382"/>
                <a:gd name="T61" fmla="*/ 16476 h 148"/>
                <a:gd name="T62" fmla="*/ 154299 w 382"/>
                <a:gd name="T63" fmla="*/ 11327 h 148"/>
                <a:gd name="T64" fmla="*/ 148518 w 382"/>
                <a:gd name="T65" fmla="*/ 8753 h 148"/>
                <a:gd name="T66" fmla="*/ 141848 w 382"/>
                <a:gd name="T67" fmla="*/ 4119 h 148"/>
                <a:gd name="T68" fmla="*/ 90267 w 382"/>
                <a:gd name="T69" fmla="*/ 9268 h 14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382" h="148">
                  <a:moveTo>
                    <a:pt x="203" y="18"/>
                  </a:moveTo>
                  <a:lnTo>
                    <a:pt x="190" y="21"/>
                  </a:lnTo>
                  <a:lnTo>
                    <a:pt x="177" y="24"/>
                  </a:lnTo>
                  <a:lnTo>
                    <a:pt x="177" y="31"/>
                  </a:lnTo>
                  <a:lnTo>
                    <a:pt x="175" y="40"/>
                  </a:lnTo>
                  <a:lnTo>
                    <a:pt x="174" y="45"/>
                  </a:lnTo>
                  <a:lnTo>
                    <a:pt x="172" y="49"/>
                  </a:lnTo>
                  <a:lnTo>
                    <a:pt x="168" y="53"/>
                  </a:lnTo>
                  <a:lnTo>
                    <a:pt x="164" y="55"/>
                  </a:lnTo>
                  <a:lnTo>
                    <a:pt x="166" y="61"/>
                  </a:lnTo>
                  <a:lnTo>
                    <a:pt x="170" y="67"/>
                  </a:lnTo>
                  <a:lnTo>
                    <a:pt x="177" y="74"/>
                  </a:lnTo>
                  <a:lnTo>
                    <a:pt x="184" y="80"/>
                  </a:lnTo>
                  <a:lnTo>
                    <a:pt x="155" y="86"/>
                  </a:lnTo>
                  <a:lnTo>
                    <a:pt x="125" y="93"/>
                  </a:lnTo>
                  <a:lnTo>
                    <a:pt x="108" y="96"/>
                  </a:lnTo>
                  <a:lnTo>
                    <a:pt x="88" y="97"/>
                  </a:lnTo>
                  <a:lnTo>
                    <a:pt x="77" y="97"/>
                  </a:lnTo>
                  <a:lnTo>
                    <a:pt x="65" y="96"/>
                  </a:lnTo>
                  <a:lnTo>
                    <a:pt x="52" y="95"/>
                  </a:lnTo>
                  <a:lnTo>
                    <a:pt x="38" y="93"/>
                  </a:lnTo>
                  <a:lnTo>
                    <a:pt x="4" y="111"/>
                  </a:lnTo>
                  <a:lnTo>
                    <a:pt x="1" y="122"/>
                  </a:lnTo>
                  <a:lnTo>
                    <a:pt x="0" y="129"/>
                  </a:lnTo>
                  <a:lnTo>
                    <a:pt x="1" y="130"/>
                  </a:lnTo>
                  <a:lnTo>
                    <a:pt x="4" y="131"/>
                  </a:lnTo>
                  <a:lnTo>
                    <a:pt x="7" y="131"/>
                  </a:lnTo>
                  <a:lnTo>
                    <a:pt x="12" y="131"/>
                  </a:lnTo>
                  <a:lnTo>
                    <a:pt x="28" y="131"/>
                  </a:lnTo>
                  <a:lnTo>
                    <a:pt x="51" y="129"/>
                  </a:lnTo>
                  <a:lnTo>
                    <a:pt x="110" y="123"/>
                  </a:lnTo>
                  <a:lnTo>
                    <a:pt x="114" y="127"/>
                  </a:lnTo>
                  <a:lnTo>
                    <a:pt x="119" y="131"/>
                  </a:lnTo>
                  <a:lnTo>
                    <a:pt x="123" y="134"/>
                  </a:lnTo>
                  <a:lnTo>
                    <a:pt x="128" y="137"/>
                  </a:lnTo>
                  <a:lnTo>
                    <a:pt x="137" y="141"/>
                  </a:lnTo>
                  <a:lnTo>
                    <a:pt x="148" y="144"/>
                  </a:lnTo>
                  <a:lnTo>
                    <a:pt x="159" y="147"/>
                  </a:lnTo>
                  <a:lnTo>
                    <a:pt x="172" y="148"/>
                  </a:lnTo>
                  <a:lnTo>
                    <a:pt x="185" y="148"/>
                  </a:lnTo>
                  <a:lnTo>
                    <a:pt x="197" y="148"/>
                  </a:lnTo>
                  <a:lnTo>
                    <a:pt x="210" y="148"/>
                  </a:lnTo>
                  <a:lnTo>
                    <a:pt x="222" y="148"/>
                  </a:lnTo>
                  <a:lnTo>
                    <a:pt x="233" y="148"/>
                  </a:lnTo>
                  <a:lnTo>
                    <a:pt x="243" y="148"/>
                  </a:lnTo>
                  <a:lnTo>
                    <a:pt x="255" y="148"/>
                  </a:lnTo>
                  <a:lnTo>
                    <a:pt x="265" y="145"/>
                  </a:lnTo>
                  <a:lnTo>
                    <a:pt x="275" y="143"/>
                  </a:lnTo>
                  <a:lnTo>
                    <a:pt x="284" y="140"/>
                  </a:lnTo>
                  <a:lnTo>
                    <a:pt x="301" y="134"/>
                  </a:lnTo>
                  <a:lnTo>
                    <a:pt x="323" y="129"/>
                  </a:lnTo>
                  <a:lnTo>
                    <a:pt x="334" y="121"/>
                  </a:lnTo>
                  <a:lnTo>
                    <a:pt x="344" y="113"/>
                  </a:lnTo>
                  <a:lnTo>
                    <a:pt x="353" y="103"/>
                  </a:lnTo>
                  <a:lnTo>
                    <a:pt x="360" y="93"/>
                  </a:lnTo>
                  <a:lnTo>
                    <a:pt x="372" y="72"/>
                  </a:lnTo>
                  <a:lnTo>
                    <a:pt x="382" y="55"/>
                  </a:lnTo>
                  <a:lnTo>
                    <a:pt x="376" y="52"/>
                  </a:lnTo>
                  <a:lnTo>
                    <a:pt x="367" y="47"/>
                  </a:lnTo>
                  <a:lnTo>
                    <a:pt x="363" y="44"/>
                  </a:lnTo>
                  <a:lnTo>
                    <a:pt x="359" y="39"/>
                  </a:lnTo>
                  <a:lnTo>
                    <a:pt x="357" y="32"/>
                  </a:lnTo>
                  <a:lnTo>
                    <a:pt x="356" y="24"/>
                  </a:lnTo>
                  <a:lnTo>
                    <a:pt x="347" y="22"/>
                  </a:lnTo>
                  <a:lnTo>
                    <a:pt x="341" y="20"/>
                  </a:lnTo>
                  <a:lnTo>
                    <a:pt x="334" y="17"/>
                  </a:lnTo>
                  <a:lnTo>
                    <a:pt x="330" y="14"/>
                  </a:lnTo>
                  <a:lnTo>
                    <a:pt x="319" y="8"/>
                  </a:lnTo>
                  <a:lnTo>
                    <a:pt x="303" y="0"/>
                  </a:lnTo>
                  <a:lnTo>
                    <a:pt x="203" y="1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618" name="Freeform 14"/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7635629" y="2067573"/>
              <a:ext cx="1527328" cy="1246771"/>
            </a:xfrm>
            <a:custGeom>
              <a:avLst/>
              <a:gdLst>
                <a:gd name="T0" fmla="*/ 162757 w 2936"/>
                <a:gd name="T1" fmla="*/ 560736 h 1983"/>
                <a:gd name="T2" fmla="*/ 167993 w 2936"/>
                <a:gd name="T3" fmla="*/ 618851 h 1983"/>
                <a:gd name="T4" fmla="*/ 208573 w 2936"/>
                <a:gd name="T5" fmla="*/ 710998 h 1983"/>
                <a:gd name="T6" fmla="*/ 335114 w 2936"/>
                <a:gd name="T7" fmla="*/ 781156 h 1983"/>
                <a:gd name="T8" fmla="*/ 452055 w 2936"/>
                <a:gd name="T9" fmla="*/ 812569 h 1983"/>
                <a:gd name="T10" fmla="*/ 490453 w 2936"/>
                <a:gd name="T11" fmla="*/ 800527 h 1983"/>
                <a:gd name="T12" fmla="*/ 611321 w 2936"/>
                <a:gd name="T13" fmla="*/ 758119 h 1983"/>
                <a:gd name="T14" fmla="*/ 675027 w 2936"/>
                <a:gd name="T15" fmla="*/ 807334 h 1983"/>
                <a:gd name="T16" fmla="*/ 688118 w 2936"/>
                <a:gd name="T17" fmla="*/ 888486 h 1983"/>
                <a:gd name="T18" fmla="*/ 701208 w 2936"/>
                <a:gd name="T19" fmla="*/ 928277 h 1983"/>
                <a:gd name="T20" fmla="*/ 744406 w 2936"/>
                <a:gd name="T21" fmla="*/ 1001052 h 1983"/>
                <a:gd name="T22" fmla="*/ 803749 w 2936"/>
                <a:gd name="T23" fmla="*/ 973303 h 1983"/>
                <a:gd name="T24" fmla="*/ 904109 w 2936"/>
                <a:gd name="T25" fmla="*/ 970685 h 1983"/>
                <a:gd name="T26" fmla="*/ 988324 w 2936"/>
                <a:gd name="T27" fmla="*/ 1038225 h 1983"/>
                <a:gd name="T28" fmla="*/ 1028468 w 2936"/>
                <a:gd name="T29" fmla="*/ 1000005 h 1983"/>
                <a:gd name="T30" fmla="*/ 1072102 w 2936"/>
                <a:gd name="T31" fmla="*/ 976968 h 1983"/>
                <a:gd name="T32" fmla="*/ 1110937 w 2936"/>
                <a:gd name="T33" fmla="*/ 956026 h 1983"/>
                <a:gd name="T34" fmla="*/ 1170716 w 2936"/>
                <a:gd name="T35" fmla="*/ 906811 h 1983"/>
                <a:gd name="T36" fmla="*/ 1186425 w 2936"/>
                <a:gd name="T37" fmla="*/ 846077 h 1983"/>
                <a:gd name="T38" fmla="*/ 1219151 w 2936"/>
                <a:gd name="T39" fmla="*/ 743459 h 1983"/>
                <a:gd name="T40" fmla="*/ 1180316 w 2936"/>
                <a:gd name="T41" fmla="*/ 719899 h 1983"/>
                <a:gd name="T42" fmla="*/ 1151954 w 2936"/>
                <a:gd name="T43" fmla="*/ 666495 h 1983"/>
                <a:gd name="T44" fmla="*/ 1164608 w 2936"/>
                <a:gd name="T45" fmla="*/ 642412 h 1983"/>
                <a:gd name="T46" fmla="*/ 1104828 w 2936"/>
                <a:gd name="T47" fmla="*/ 555500 h 1983"/>
                <a:gd name="T48" fmla="*/ 1127082 w 2936"/>
                <a:gd name="T49" fmla="*/ 519898 h 1983"/>
                <a:gd name="T50" fmla="*/ 1070357 w 2936"/>
                <a:gd name="T51" fmla="*/ 503667 h 1983"/>
                <a:gd name="T52" fmla="*/ 1017995 w 2936"/>
                <a:gd name="T53" fmla="*/ 464400 h 1983"/>
                <a:gd name="T54" fmla="*/ 1033267 w 2936"/>
                <a:gd name="T55" fmla="*/ 437698 h 1983"/>
                <a:gd name="T56" fmla="*/ 1065993 w 2936"/>
                <a:gd name="T57" fmla="*/ 395813 h 1983"/>
                <a:gd name="T58" fmla="*/ 1089120 w 2936"/>
                <a:gd name="T59" fmla="*/ 408379 h 1983"/>
                <a:gd name="T60" fmla="*/ 1104828 w 2936"/>
                <a:gd name="T61" fmla="*/ 446599 h 1983"/>
                <a:gd name="T62" fmla="*/ 1173335 w 2936"/>
                <a:gd name="T63" fmla="*/ 399478 h 1983"/>
                <a:gd name="T64" fmla="*/ 1233987 w 2936"/>
                <a:gd name="T65" fmla="*/ 352358 h 1983"/>
                <a:gd name="T66" fmla="*/ 1259295 w 2936"/>
                <a:gd name="T67" fmla="*/ 295289 h 1983"/>
                <a:gd name="T68" fmla="*/ 1277621 w 2936"/>
                <a:gd name="T69" fmla="*/ 258640 h 1983"/>
                <a:gd name="T70" fmla="*/ 1262349 w 2936"/>
                <a:gd name="T71" fmla="*/ 160734 h 1983"/>
                <a:gd name="T72" fmla="*/ 1187734 w 2936"/>
                <a:gd name="T73" fmla="*/ 178535 h 1983"/>
                <a:gd name="T74" fmla="*/ 1073848 w 2936"/>
                <a:gd name="T75" fmla="*/ 107330 h 1983"/>
                <a:gd name="T76" fmla="*/ 1003596 w 2936"/>
                <a:gd name="T77" fmla="*/ 46597 h 1983"/>
                <a:gd name="T78" fmla="*/ 863965 w 2936"/>
                <a:gd name="T79" fmla="*/ 27749 h 1983"/>
                <a:gd name="T80" fmla="*/ 875747 w 2936"/>
                <a:gd name="T81" fmla="*/ 81152 h 1983"/>
                <a:gd name="T82" fmla="*/ 851747 w 2936"/>
                <a:gd name="T83" fmla="*/ 118849 h 1983"/>
                <a:gd name="T84" fmla="*/ 883601 w 2936"/>
                <a:gd name="T85" fmla="*/ 183247 h 1983"/>
                <a:gd name="T86" fmla="*/ 936399 w 2936"/>
                <a:gd name="T87" fmla="*/ 193718 h 1983"/>
                <a:gd name="T88" fmla="*/ 890582 w 2936"/>
                <a:gd name="T89" fmla="*/ 238221 h 1983"/>
                <a:gd name="T90" fmla="*/ 825130 w 2936"/>
                <a:gd name="T91" fmla="*/ 298431 h 1983"/>
                <a:gd name="T92" fmla="*/ 711244 w 2936"/>
                <a:gd name="T93" fmla="*/ 373300 h 1983"/>
                <a:gd name="T94" fmla="*/ 535833 w 2936"/>
                <a:gd name="T95" fmla="*/ 345028 h 1983"/>
                <a:gd name="T96" fmla="*/ 452055 w 2936"/>
                <a:gd name="T97" fmla="*/ 293195 h 1983"/>
                <a:gd name="T98" fmla="*/ 328132 w 2936"/>
                <a:gd name="T99" fmla="*/ 259164 h 1983"/>
                <a:gd name="T100" fmla="*/ 299333 w 2936"/>
                <a:gd name="T101" fmla="*/ 198430 h 1983"/>
                <a:gd name="T102" fmla="*/ 223409 w 2936"/>
                <a:gd name="T103" fmla="*/ 156545 h 1983"/>
                <a:gd name="T104" fmla="*/ 187629 w 2936"/>
                <a:gd name="T105" fmla="*/ 162828 h 1983"/>
                <a:gd name="T106" fmla="*/ 184574 w 2936"/>
                <a:gd name="T107" fmla="*/ 203142 h 1983"/>
                <a:gd name="T108" fmla="*/ 133086 w 2936"/>
                <a:gd name="T109" fmla="*/ 200001 h 1983"/>
                <a:gd name="T110" fmla="*/ 99051 w 2936"/>
                <a:gd name="T111" fmla="*/ 265446 h 1983"/>
                <a:gd name="T112" fmla="*/ 113450 w 2936"/>
                <a:gd name="T113" fmla="*/ 311520 h 1983"/>
                <a:gd name="T114" fmla="*/ 109959 w 2936"/>
                <a:gd name="T115" fmla="*/ 374871 h 1983"/>
                <a:gd name="T116" fmla="*/ 51489 w 2936"/>
                <a:gd name="T117" fmla="*/ 408903 h 1983"/>
                <a:gd name="T118" fmla="*/ 17454 w 2936"/>
                <a:gd name="T119" fmla="*/ 468065 h 1983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2936" h="1983">
                  <a:moveTo>
                    <a:pt x="98" y="954"/>
                  </a:moveTo>
                  <a:lnTo>
                    <a:pt x="129" y="989"/>
                  </a:lnTo>
                  <a:lnTo>
                    <a:pt x="157" y="1017"/>
                  </a:lnTo>
                  <a:lnTo>
                    <a:pt x="170" y="1029"/>
                  </a:lnTo>
                  <a:lnTo>
                    <a:pt x="182" y="1041"/>
                  </a:lnTo>
                  <a:lnTo>
                    <a:pt x="194" y="1050"/>
                  </a:lnTo>
                  <a:lnTo>
                    <a:pt x="205" y="1059"/>
                  </a:lnTo>
                  <a:lnTo>
                    <a:pt x="216" y="1066"/>
                  </a:lnTo>
                  <a:lnTo>
                    <a:pt x="227" y="1072"/>
                  </a:lnTo>
                  <a:lnTo>
                    <a:pt x="238" y="1076"/>
                  </a:lnTo>
                  <a:lnTo>
                    <a:pt x="248" y="1080"/>
                  </a:lnTo>
                  <a:lnTo>
                    <a:pt x="259" y="1082"/>
                  </a:lnTo>
                  <a:lnTo>
                    <a:pt x="270" y="1084"/>
                  </a:lnTo>
                  <a:lnTo>
                    <a:pt x="281" y="1084"/>
                  </a:lnTo>
                  <a:lnTo>
                    <a:pt x="292" y="1084"/>
                  </a:lnTo>
                  <a:lnTo>
                    <a:pt x="364" y="1065"/>
                  </a:lnTo>
                  <a:lnTo>
                    <a:pt x="373" y="1071"/>
                  </a:lnTo>
                  <a:lnTo>
                    <a:pt x="383" y="1079"/>
                  </a:lnTo>
                  <a:lnTo>
                    <a:pt x="393" y="1090"/>
                  </a:lnTo>
                  <a:lnTo>
                    <a:pt x="401" y="1102"/>
                  </a:lnTo>
                  <a:lnTo>
                    <a:pt x="410" y="1114"/>
                  </a:lnTo>
                  <a:lnTo>
                    <a:pt x="418" y="1127"/>
                  </a:lnTo>
                  <a:lnTo>
                    <a:pt x="420" y="1133"/>
                  </a:lnTo>
                  <a:lnTo>
                    <a:pt x="422" y="1139"/>
                  </a:lnTo>
                  <a:lnTo>
                    <a:pt x="423" y="1145"/>
                  </a:lnTo>
                  <a:lnTo>
                    <a:pt x="425" y="1151"/>
                  </a:lnTo>
                  <a:lnTo>
                    <a:pt x="423" y="1157"/>
                  </a:lnTo>
                  <a:lnTo>
                    <a:pt x="420" y="1162"/>
                  </a:lnTo>
                  <a:lnTo>
                    <a:pt x="416" y="1167"/>
                  </a:lnTo>
                  <a:lnTo>
                    <a:pt x="409" y="1172"/>
                  </a:lnTo>
                  <a:lnTo>
                    <a:pt x="403" y="1176"/>
                  </a:lnTo>
                  <a:lnTo>
                    <a:pt x="396" y="1179"/>
                  </a:lnTo>
                  <a:lnTo>
                    <a:pt x="390" y="1182"/>
                  </a:lnTo>
                  <a:lnTo>
                    <a:pt x="385" y="1182"/>
                  </a:lnTo>
                  <a:lnTo>
                    <a:pt x="399" y="1200"/>
                  </a:lnTo>
                  <a:lnTo>
                    <a:pt x="412" y="1217"/>
                  </a:lnTo>
                  <a:lnTo>
                    <a:pt x="419" y="1226"/>
                  </a:lnTo>
                  <a:lnTo>
                    <a:pt x="423" y="1235"/>
                  </a:lnTo>
                  <a:lnTo>
                    <a:pt x="428" y="1245"/>
                  </a:lnTo>
                  <a:lnTo>
                    <a:pt x="431" y="1256"/>
                  </a:lnTo>
                  <a:lnTo>
                    <a:pt x="385" y="1256"/>
                  </a:lnTo>
                  <a:lnTo>
                    <a:pt x="385" y="1287"/>
                  </a:lnTo>
                  <a:lnTo>
                    <a:pt x="390" y="1300"/>
                  </a:lnTo>
                  <a:lnTo>
                    <a:pt x="397" y="1311"/>
                  </a:lnTo>
                  <a:lnTo>
                    <a:pt x="405" y="1321"/>
                  </a:lnTo>
                  <a:lnTo>
                    <a:pt x="414" y="1328"/>
                  </a:lnTo>
                  <a:lnTo>
                    <a:pt x="423" y="1335"/>
                  </a:lnTo>
                  <a:lnTo>
                    <a:pt x="434" y="1340"/>
                  </a:lnTo>
                  <a:lnTo>
                    <a:pt x="444" y="1345"/>
                  </a:lnTo>
                  <a:lnTo>
                    <a:pt x="456" y="1349"/>
                  </a:lnTo>
                  <a:lnTo>
                    <a:pt x="478" y="1358"/>
                  </a:lnTo>
                  <a:lnTo>
                    <a:pt x="500" y="1367"/>
                  </a:lnTo>
                  <a:lnTo>
                    <a:pt x="510" y="1373"/>
                  </a:lnTo>
                  <a:lnTo>
                    <a:pt x="520" y="1381"/>
                  </a:lnTo>
                  <a:lnTo>
                    <a:pt x="529" y="1389"/>
                  </a:lnTo>
                  <a:lnTo>
                    <a:pt x="538" y="1398"/>
                  </a:lnTo>
                  <a:lnTo>
                    <a:pt x="617" y="1404"/>
                  </a:lnTo>
                  <a:lnTo>
                    <a:pt x="620" y="1408"/>
                  </a:lnTo>
                  <a:lnTo>
                    <a:pt x="623" y="1411"/>
                  </a:lnTo>
                  <a:lnTo>
                    <a:pt x="628" y="1414"/>
                  </a:lnTo>
                  <a:lnTo>
                    <a:pt x="633" y="1417"/>
                  </a:lnTo>
                  <a:lnTo>
                    <a:pt x="644" y="1422"/>
                  </a:lnTo>
                  <a:lnTo>
                    <a:pt x="656" y="1427"/>
                  </a:lnTo>
                  <a:lnTo>
                    <a:pt x="678" y="1436"/>
                  </a:lnTo>
                  <a:lnTo>
                    <a:pt x="690" y="1441"/>
                  </a:lnTo>
                  <a:lnTo>
                    <a:pt x="723" y="1462"/>
                  </a:lnTo>
                  <a:lnTo>
                    <a:pt x="754" y="1481"/>
                  </a:lnTo>
                  <a:lnTo>
                    <a:pt x="768" y="1492"/>
                  </a:lnTo>
                  <a:lnTo>
                    <a:pt x="784" y="1501"/>
                  </a:lnTo>
                  <a:lnTo>
                    <a:pt x="798" y="1509"/>
                  </a:lnTo>
                  <a:lnTo>
                    <a:pt x="814" y="1517"/>
                  </a:lnTo>
                  <a:lnTo>
                    <a:pt x="830" y="1525"/>
                  </a:lnTo>
                  <a:lnTo>
                    <a:pt x="847" y="1531"/>
                  </a:lnTo>
                  <a:lnTo>
                    <a:pt x="866" y="1537"/>
                  </a:lnTo>
                  <a:lnTo>
                    <a:pt x="886" y="1543"/>
                  </a:lnTo>
                  <a:lnTo>
                    <a:pt x="907" y="1547"/>
                  </a:lnTo>
                  <a:lnTo>
                    <a:pt x="930" y="1550"/>
                  </a:lnTo>
                  <a:lnTo>
                    <a:pt x="955" y="1552"/>
                  </a:lnTo>
                  <a:lnTo>
                    <a:pt x="982" y="1552"/>
                  </a:lnTo>
                  <a:lnTo>
                    <a:pt x="982" y="1521"/>
                  </a:lnTo>
                  <a:lnTo>
                    <a:pt x="1015" y="1521"/>
                  </a:lnTo>
                  <a:lnTo>
                    <a:pt x="1021" y="1532"/>
                  </a:lnTo>
                  <a:lnTo>
                    <a:pt x="1025" y="1539"/>
                  </a:lnTo>
                  <a:lnTo>
                    <a:pt x="1031" y="1545"/>
                  </a:lnTo>
                  <a:lnTo>
                    <a:pt x="1036" y="1552"/>
                  </a:lnTo>
                  <a:lnTo>
                    <a:pt x="1042" y="1552"/>
                  </a:lnTo>
                  <a:lnTo>
                    <a:pt x="1046" y="1551"/>
                  </a:lnTo>
                  <a:lnTo>
                    <a:pt x="1050" y="1548"/>
                  </a:lnTo>
                  <a:lnTo>
                    <a:pt x="1054" y="1546"/>
                  </a:lnTo>
                  <a:lnTo>
                    <a:pt x="1058" y="1538"/>
                  </a:lnTo>
                  <a:lnTo>
                    <a:pt x="1062" y="1530"/>
                  </a:lnTo>
                  <a:lnTo>
                    <a:pt x="1066" y="1522"/>
                  </a:lnTo>
                  <a:lnTo>
                    <a:pt x="1071" y="1516"/>
                  </a:lnTo>
                  <a:lnTo>
                    <a:pt x="1075" y="1513"/>
                  </a:lnTo>
                  <a:lnTo>
                    <a:pt x="1078" y="1511"/>
                  </a:lnTo>
                  <a:lnTo>
                    <a:pt x="1083" y="1510"/>
                  </a:lnTo>
                  <a:lnTo>
                    <a:pt x="1089" y="1509"/>
                  </a:lnTo>
                  <a:lnTo>
                    <a:pt x="1092" y="1512"/>
                  </a:lnTo>
                  <a:lnTo>
                    <a:pt x="1096" y="1516"/>
                  </a:lnTo>
                  <a:lnTo>
                    <a:pt x="1102" y="1519"/>
                  </a:lnTo>
                  <a:lnTo>
                    <a:pt x="1109" y="1522"/>
                  </a:lnTo>
                  <a:lnTo>
                    <a:pt x="1124" y="1529"/>
                  </a:lnTo>
                  <a:lnTo>
                    <a:pt x="1142" y="1534"/>
                  </a:lnTo>
                  <a:lnTo>
                    <a:pt x="1159" y="1539"/>
                  </a:lnTo>
                  <a:lnTo>
                    <a:pt x="1178" y="1543"/>
                  </a:lnTo>
                  <a:lnTo>
                    <a:pt x="1194" y="1546"/>
                  </a:lnTo>
                  <a:lnTo>
                    <a:pt x="1208" y="1546"/>
                  </a:lnTo>
                  <a:lnTo>
                    <a:pt x="1217" y="1535"/>
                  </a:lnTo>
                  <a:lnTo>
                    <a:pt x="1227" y="1526"/>
                  </a:lnTo>
                  <a:lnTo>
                    <a:pt x="1236" y="1518"/>
                  </a:lnTo>
                  <a:lnTo>
                    <a:pt x="1247" y="1510"/>
                  </a:lnTo>
                  <a:lnTo>
                    <a:pt x="1258" y="1502"/>
                  </a:lnTo>
                  <a:lnTo>
                    <a:pt x="1269" y="1496"/>
                  </a:lnTo>
                  <a:lnTo>
                    <a:pt x="1280" y="1489"/>
                  </a:lnTo>
                  <a:lnTo>
                    <a:pt x="1292" y="1482"/>
                  </a:lnTo>
                  <a:lnTo>
                    <a:pt x="1317" y="1472"/>
                  </a:lnTo>
                  <a:lnTo>
                    <a:pt x="1344" y="1463"/>
                  </a:lnTo>
                  <a:lnTo>
                    <a:pt x="1372" y="1455"/>
                  </a:lnTo>
                  <a:lnTo>
                    <a:pt x="1401" y="1448"/>
                  </a:lnTo>
                  <a:lnTo>
                    <a:pt x="1408" y="1456"/>
                  </a:lnTo>
                  <a:lnTo>
                    <a:pt x="1418" y="1465"/>
                  </a:lnTo>
                  <a:lnTo>
                    <a:pt x="1431" y="1476"/>
                  </a:lnTo>
                  <a:lnTo>
                    <a:pt x="1446" y="1487"/>
                  </a:lnTo>
                  <a:lnTo>
                    <a:pt x="1453" y="1492"/>
                  </a:lnTo>
                  <a:lnTo>
                    <a:pt x="1461" y="1496"/>
                  </a:lnTo>
                  <a:lnTo>
                    <a:pt x="1469" y="1499"/>
                  </a:lnTo>
                  <a:lnTo>
                    <a:pt x="1475" y="1502"/>
                  </a:lnTo>
                  <a:lnTo>
                    <a:pt x="1483" y="1504"/>
                  </a:lnTo>
                  <a:lnTo>
                    <a:pt x="1490" y="1505"/>
                  </a:lnTo>
                  <a:lnTo>
                    <a:pt x="1495" y="1505"/>
                  </a:lnTo>
                  <a:lnTo>
                    <a:pt x="1501" y="1503"/>
                  </a:lnTo>
                  <a:lnTo>
                    <a:pt x="1512" y="1510"/>
                  </a:lnTo>
                  <a:lnTo>
                    <a:pt x="1521" y="1518"/>
                  </a:lnTo>
                  <a:lnTo>
                    <a:pt x="1530" y="1526"/>
                  </a:lnTo>
                  <a:lnTo>
                    <a:pt x="1538" y="1534"/>
                  </a:lnTo>
                  <a:lnTo>
                    <a:pt x="1547" y="1542"/>
                  </a:lnTo>
                  <a:lnTo>
                    <a:pt x="1555" y="1547"/>
                  </a:lnTo>
                  <a:lnTo>
                    <a:pt x="1561" y="1550"/>
                  </a:lnTo>
                  <a:lnTo>
                    <a:pt x="1566" y="1551"/>
                  </a:lnTo>
                  <a:lnTo>
                    <a:pt x="1573" y="1552"/>
                  </a:lnTo>
                  <a:lnTo>
                    <a:pt x="1581" y="1552"/>
                  </a:lnTo>
                  <a:lnTo>
                    <a:pt x="1586" y="1578"/>
                  </a:lnTo>
                  <a:lnTo>
                    <a:pt x="1593" y="1602"/>
                  </a:lnTo>
                  <a:lnTo>
                    <a:pt x="1596" y="1613"/>
                  </a:lnTo>
                  <a:lnTo>
                    <a:pt x="1598" y="1625"/>
                  </a:lnTo>
                  <a:lnTo>
                    <a:pt x="1599" y="1637"/>
                  </a:lnTo>
                  <a:lnTo>
                    <a:pt x="1600" y="1650"/>
                  </a:lnTo>
                  <a:lnTo>
                    <a:pt x="1599" y="1658"/>
                  </a:lnTo>
                  <a:lnTo>
                    <a:pt x="1598" y="1664"/>
                  </a:lnTo>
                  <a:lnTo>
                    <a:pt x="1596" y="1670"/>
                  </a:lnTo>
                  <a:lnTo>
                    <a:pt x="1593" y="1676"/>
                  </a:lnTo>
                  <a:lnTo>
                    <a:pt x="1585" y="1686"/>
                  </a:lnTo>
                  <a:lnTo>
                    <a:pt x="1577" y="1697"/>
                  </a:lnTo>
                  <a:lnTo>
                    <a:pt x="1569" y="1707"/>
                  </a:lnTo>
                  <a:lnTo>
                    <a:pt x="1561" y="1719"/>
                  </a:lnTo>
                  <a:lnTo>
                    <a:pt x="1558" y="1724"/>
                  </a:lnTo>
                  <a:lnTo>
                    <a:pt x="1555" y="1730"/>
                  </a:lnTo>
                  <a:lnTo>
                    <a:pt x="1554" y="1736"/>
                  </a:lnTo>
                  <a:lnTo>
                    <a:pt x="1553" y="1743"/>
                  </a:lnTo>
                  <a:lnTo>
                    <a:pt x="1554" y="1748"/>
                  </a:lnTo>
                  <a:lnTo>
                    <a:pt x="1555" y="1753"/>
                  </a:lnTo>
                  <a:lnTo>
                    <a:pt x="1558" y="1756"/>
                  </a:lnTo>
                  <a:lnTo>
                    <a:pt x="1561" y="1759"/>
                  </a:lnTo>
                  <a:lnTo>
                    <a:pt x="1565" y="1761"/>
                  </a:lnTo>
                  <a:lnTo>
                    <a:pt x="1570" y="1764"/>
                  </a:lnTo>
                  <a:lnTo>
                    <a:pt x="1574" y="1765"/>
                  </a:lnTo>
                  <a:lnTo>
                    <a:pt x="1580" y="1767"/>
                  </a:lnTo>
                  <a:lnTo>
                    <a:pt x="1591" y="1769"/>
                  </a:lnTo>
                  <a:lnTo>
                    <a:pt x="1602" y="1771"/>
                  </a:lnTo>
                  <a:lnTo>
                    <a:pt x="1607" y="1773"/>
                  </a:lnTo>
                  <a:lnTo>
                    <a:pt x="1611" y="1775"/>
                  </a:lnTo>
                  <a:lnTo>
                    <a:pt x="1616" y="1777"/>
                  </a:lnTo>
                  <a:lnTo>
                    <a:pt x="1620" y="1780"/>
                  </a:lnTo>
                  <a:lnTo>
                    <a:pt x="1627" y="1787"/>
                  </a:lnTo>
                  <a:lnTo>
                    <a:pt x="1632" y="1794"/>
                  </a:lnTo>
                  <a:lnTo>
                    <a:pt x="1636" y="1801"/>
                  </a:lnTo>
                  <a:lnTo>
                    <a:pt x="1639" y="1807"/>
                  </a:lnTo>
                  <a:lnTo>
                    <a:pt x="1645" y="1822"/>
                  </a:lnTo>
                  <a:lnTo>
                    <a:pt x="1653" y="1836"/>
                  </a:lnTo>
                  <a:lnTo>
                    <a:pt x="1659" y="1848"/>
                  </a:lnTo>
                  <a:lnTo>
                    <a:pt x="1666" y="1862"/>
                  </a:lnTo>
                  <a:lnTo>
                    <a:pt x="1674" y="1877"/>
                  </a:lnTo>
                  <a:lnTo>
                    <a:pt x="1683" y="1890"/>
                  </a:lnTo>
                  <a:lnTo>
                    <a:pt x="1688" y="1897"/>
                  </a:lnTo>
                  <a:lnTo>
                    <a:pt x="1694" y="1903"/>
                  </a:lnTo>
                  <a:lnTo>
                    <a:pt x="1699" y="1908"/>
                  </a:lnTo>
                  <a:lnTo>
                    <a:pt x="1706" y="1912"/>
                  </a:lnTo>
                  <a:lnTo>
                    <a:pt x="1712" y="1916"/>
                  </a:lnTo>
                  <a:lnTo>
                    <a:pt x="1719" y="1919"/>
                  </a:lnTo>
                  <a:lnTo>
                    <a:pt x="1726" y="1921"/>
                  </a:lnTo>
                  <a:lnTo>
                    <a:pt x="1733" y="1921"/>
                  </a:lnTo>
                  <a:lnTo>
                    <a:pt x="1741" y="1921"/>
                  </a:lnTo>
                  <a:lnTo>
                    <a:pt x="1752" y="1918"/>
                  </a:lnTo>
                  <a:lnTo>
                    <a:pt x="1762" y="1916"/>
                  </a:lnTo>
                  <a:lnTo>
                    <a:pt x="1766" y="1915"/>
                  </a:lnTo>
                  <a:lnTo>
                    <a:pt x="1777" y="1910"/>
                  </a:lnTo>
                  <a:lnTo>
                    <a:pt x="1787" y="1904"/>
                  </a:lnTo>
                  <a:lnTo>
                    <a:pt x="1795" y="1898"/>
                  </a:lnTo>
                  <a:lnTo>
                    <a:pt x="1803" y="1891"/>
                  </a:lnTo>
                  <a:lnTo>
                    <a:pt x="1809" y="1884"/>
                  </a:lnTo>
                  <a:lnTo>
                    <a:pt x="1816" y="1878"/>
                  </a:lnTo>
                  <a:lnTo>
                    <a:pt x="1823" y="1871"/>
                  </a:lnTo>
                  <a:lnTo>
                    <a:pt x="1833" y="1866"/>
                  </a:lnTo>
                  <a:lnTo>
                    <a:pt x="1842" y="1859"/>
                  </a:lnTo>
                  <a:lnTo>
                    <a:pt x="1852" y="1853"/>
                  </a:lnTo>
                  <a:lnTo>
                    <a:pt x="1863" y="1848"/>
                  </a:lnTo>
                  <a:lnTo>
                    <a:pt x="1874" y="1844"/>
                  </a:lnTo>
                  <a:lnTo>
                    <a:pt x="1896" y="1838"/>
                  </a:lnTo>
                  <a:lnTo>
                    <a:pt x="1919" y="1834"/>
                  </a:lnTo>
                  <a:lnTo>
                    <a:pt x="1941" y="1831"/>
                  </a:lnTo>
                  <a:lnTo>
                    <a:pt x="1960" y="1827"/>
                  </a:lnTo>
                  <a:lnTo>
                    <a:pt x="1968" y="1824"/>
                  </a:lnTo>
                  <a:lnTo>
                    <a:pt x="1975" y="1821"/>
                  </a:lnTo>
                  <a:lnTo>
                    <a:pt x="1981" y="1816"/>
                  </a:lnTo>
                  <a:lnTo>
                    <a:pt x="1986" y="1811"/>
                  </a:lnTo>
                  <a:lnTo>
                    <a:pt x="1996" y="1820"/>
                  </a:lnTo>
                  <a:lnTo>
                    <a:pt x="2008" y="1827"/>
                  </a:lnTo>
                  <a:lnTo>
                    <a:pt x="2019" y="1832"/>
                  </a:lnTo>
                  <a:lnTo>
                    <a:pt x="2031" y="1837"/>
                  </a:lnTo>
                  <a:lnTo>
                    <a:pt x="2054" y="1846"/>
                  </a:lnTo>
                  <a:lnTo>
                    <a:pt x="2072" y="1854"/>
                  </a:lnTo>
                  <a:lnTo>
                    <a:pt x="2091" y="1869"/>
                  </a:lnTo>
                  <a:lnTo>
                    <a:pt x="2109" y="1887"/>
                  </a:lnTo>
                  <a:lnTo>
                    <a:pt x="2119" y="1896"/>
                  </a:lnTo>
                  <a:lnTo>
                    <a:pt x="2129" y="1903"/>
                  </a:lnTo>
                  <a:lnTo>
                    <a:pt x="2140" y="1910"/>
                  </a:lnTo>
                  <a:lnTo>
                    <a:pt x="2152" y="1915"/>
                  </a:lnTo>
                  <a:lnTo>
                    <a:pt x="2245" y="1921"/>
                  </a:lnTo>
                  <a:lnTo>
                    <a:pt x="2238" y="1935"/>
                  </a:lnTo>
                  <a:lnTo>
                    <a:pt x="2232" y="1947"/>
                  </a:lnTo>
                  <a:lnTo>
                    <a:pt x="2232" y="1953"/>
                  </a:lnTo>
                  <a:lnTo>
                    <a:pt x="2235" y="1957"/>
                  </a:lnTo>
                  <a:lnTo>
                    <a:pt x="2238" y="1961"/>
                  </a:lnTo>
                  <a:lnTo>
                    <a:pt x="2243" y="1965"/>
                  </a:lnTo>
                  <a:lnTo>
                    <a:pt x="2248" y="1968"/>
                  </a:lnTo>
                  <a:lnTo>
                    <a:pt x="2254" y="1972"/>
                  </a:lnTo>
                  <a:lnTo>
                    <a:pt x="2259" y="1977"/>
                  </a:lnTo>
                  <a:lnTo>
                    <a:pt x="2265" y="1983"/>
                  </a:lnTo>
                  <a:lnTo>
                    <a:pt x="2266" y="1980"/>
                  </a:lnTo>
                  <a:lnTo>
                    <a:pt x="2267" y="1972"/>
                  </a:lnTo>
                  <a:lnTo>
                    <a:pt x="2268" y="1968"/>
                  </a:lnTo>
                  <a:lnTo>
                    <a:pt x="2267" y="1963"/>
                  </a:lnTo>
                  <a:lnTo>
                    <a:pt x="2267" y="1957"/>
                  </a:lnTo>
                  <a:lnTo>
                    <a:pt x="2265" y="1953"/>
                  </a:lnTo>
                  <a:lnTo>
                    <a:pt x="2275" y="1947"/>
                  </a:lnTo>
                  <a:lnTo>
                    <a:pt x="2293" y="1935"/>
                  </a:lnTo>
                  <a:lnTo>
                    <a:pt x="2303" y="1927"/>
                  </a:lnTo>
                  <a:lnTo>
                    <a:pt x="2313" y="1921"/>
                  </a:lnTo>
                  <a:lnTo>
                    <a:pt x="2319" y="1919"/>
                  </a:lnTo>
                  <a:lnTo>
                    <a:pt x="2323" y="1917"/>
                  </a:lnTo>
                  <a:lnTo>
                    <a:pt x="2327" y="1916"/>
                  </a:lnTo>
                  <a:lnTo>
                    <a:pt x="2331" y="1915"/>
                  </a:lnTo>
                  <a:lnTo>
                    <a:pt x="2341" y="1915"/>
                  </a:lnTo>
                  <a:lnTo>
                    <a:pt x="2349" y="1913"/>
                  </a:lnTo>
                  <a:lnTo>
                    <a:pt x="2357" y="1910"/>
                  </a:lnTo>
                  <a:lnTo>
                    <a:pt x="2364" y="1906"/>
                  </a:lnTo>
                  <a:lnTo>
                    <a:pt x="2370" y="1901"/>
                  </a:lnTo>
                  <a:lnTo>
                    <a:pt x="2376" y="1895"/>
                  </a:lnTo>
                  <a:lnTo>
                    <a:pt x="2382" y="1889"/>
                  </a:lnTo>
                  <a:lnTo>
                    <a:pt x="2388" y="1882"/>
                  </a:lnTo>
                  <a:lnTo>
                    <a:pt x="2399" y="1867"/>
                  </a:lnTo>
                  <a:lnTo>
                    <a:pt x="2412" y="1853"/>
                  </a:lnTo>
                  <a:lnTo>
                    <a:pt x="2418" y="1847"/>
                  </a:lnTo>
                  <a:lnTo>
                    <a:pt x="2426" y="1840"/>
                  </a:lnTo>
                  <a:lnTo>
                    <a:pt x="2435" y="1835"/>
                  </a:lnTo>
                  <a:lnTo>
                    <a:pt x="2444" y="1830"/>
                  </a:lnTo>
                  <a:lnTo>
                    <a:pt x="2449" y="1838"/>
                  </a:lnTo>
                  <a:lnTo>
                    <a:pt x="2454" y="1846"/>
                  </a:lnTo>
                  <a:lnTo>
                    <a:pt x="2455" y="1850"/>
                  </a:lnTo>
                  <a:lnTo>
                    <a:pt x="2456" y="1854"/>
                  </a:lnTo>
                  <a:lnTo>
                    <a:pt x="2457" y="1860"/>
                  </a:lnTo>
                  <a:lnTo>
                    <a:pt x="2457" y="1866"/>
                  </a:lnTo>
                  <a:lnTo>
                    <a:pt x="2462" y="1860"/>
                  </a:lnTo>
                  <a:lnTo>
                    <a:pt x="2468" y="1857"/>
                  </a:lnTo>
                  <a:lnTo>
                    <a:pt x="2474" y="1855"/>
                  </a:lnTo>
                  <a:lnTo>
                    <a:pt x="2481" y="1855"/>
                  </a:lnTo>
                  <a:lnTo>
                    <a:pt x="2487" y="1856"/>
                  </a:lnTo>
                  <a:lnTo>
                    <a:pt x="2493" y="1858"/>
                  </a:lnTo>
                  <a:lnTo>
                    <a:pt x="2499" y="1862"/>
                  </a:lnTo>
                  <a:lnTo>
                    <a:pt x="2504" y="1866"/>
                  </a:lnTo>
                  <a:lnTo>
                    <a:pt x="2505" y="1856"/>
                  </a:lnTo>
                  <a:lnTo>
                    <a:pt x="2507" y="1847"/>
                  </a:lnTo>
                  <a:lnTo>
                    <a:pt x="2511" y="1841"/>
                  </a:lnTo>
                  <a:lnTo>
                    <a:pt x="2514" y="1836"/>
                  </a:lnTo>
                  <a:lnTo>
                    <a:pt x="2517" y="1832"/>
                  </a:lnTo>
                  <a:lnTo>
                    <a:pt x="2522" y="1829"/>
                  </a:lnTo>
                  <a:lnTo>
                    <a:pt x="2527" y="1828"/>
                  </a:lnTo>
                  <a:lnTo>
                    <a:pt x="2533" y="1827"/>
                  </a:lnTo>
                  <a:lnTo>
                    <a:pt x="2546" y="1826"/>
                  </a:lnTo>
                  <a:lnTo>
                    <a:pt x="2561" y="1827"/>
                  </a:lnTo>
                  <a:lnTo>
                    <a:pt x="2569" y="1827"/>
                  </a:lnTo>
                  <a:lnTo>
                    <a:pt x="2578" y="1826"/>
                  </a:lnTo>
                  <a:lnTo>
                    <a:pt x="2588" y="1825"/>
                  </a:lnTo>
                  <a:lnTo>
                    <a:pt x="2596" y="1824"/>
                  </a:lnTo>
                  <a:lnTo>
                    <a:pt x="2604" y="1821"/>
                  </a:lnTo>
                  <a:lnTo>
                    <a:pt x="2611" y="1816"/>
                  </a:lnTo>
                  <a:lnTo>
                    <a:pt x="2616" y="1810"/>
                  </a:lnTo>
                  <a:lnTo>
                    <a:pt x="2622" y="1804"/>
                  </a:lnTo>
                  <a:lnTo>
                    <a:pt x="2633" y="1790"/>
                  </a:lnTo>
                  <a:lnTo>
                    <a:pt x="2642" y="1774"/>
                  </a:lnTo>
                  <a:lnTo>
                    <a:pt x="2648" y="1766"/>
                  </a:lnTo>
                  <a:lnTo>
                    <a:pt x="2653" y="1758"/>
                  </a:lnTo>
                  <a:lnTo>
                    <a:pt x="2660" y="1750"/>
                  </a:lnTo>
                  <a:lnTo>
                    <a:pt x="2667" y="1743"/>
                  </a:lnTo>
                  <a:lnTo>
                    <a:pt x="2674" y="1737"/>
                  </a:lnTo>
                  <a:lnTo>
                    <a:pt x="2683" y="1732"/>
                  </a:lnTo>
                  <a:lnTo>
                    <a:pt x="2693" y="1728"/>
                  </a:lnTo>
                  <a:lnTo>
                    <a:pt x="2703" y="1725"/>
                  </a:lnTo>
                  <a:lnTo>
                    <a:pt x="2704" y="1716"/>
                  </a:lnTo>
                  <a:lnTo>
                    <a:pt x="2706" y="1707"/>
                  </a:lnTo>
                  <a:lnTo>
                    <a:pt x="2711" y="1699"/>
                  </a:lnTo>
                  <a:lnTo>
                    <a:pt x="2715" y="1691"/>
                  </a:lnTo>
                  <a:lnTo>
                    <a:pt x="2726" y="1677"/>
                  </a:lnTo>
                  <a:lnTo>
                    <a:pt x="2737" y="1663"/>
                  </a:lnTo>
                  <a:lnTo>
                    <a:pt x="2733" y="1658"/>
                  </a:lnTo>
                  <a:lnTo>
                    <a:pt x="2730" y="1651"/>
                  </a:lnTo>
                  <a:lnTo>
                    <a:pt x="2729" y="1645"/>
                  </a:lnTo>
                  <a:lnTo>
                    <a:pt x="2729" y="1638"/>
                  </a:lnTo>
                  <a:lnTo>
                    <a:pt x="2728" y="1631"/>
                  </a:lnTo>
                  <a:lnTo>
                    <a:pt x="2726" y="1625"/>
                  </a:lnTo>
                  <a:lnTo>
                    <a:pt x="2725" y="1622"/>
                  </a:lnTo>
                  <a:lnTo>
                    <a:pt x="2723" y="1619"/>
                  </a:lnTo>
                  <a:lnTo>
                    <a:pt x="2719" y="1616"/>
                  </a:lnTo>
                  <a:lnTo>
                    <a:pt x="2716" y="1614"/>
                  </a:lnTo>
                  <a:lnTo>
                    <a:pt x="2728" y="1602"/>
                  </a:lnTo>
                  <a:lnTo>
                    <a:pt x="2739" y="1588"/>
                  </a:lnTo>
                  <a:lnTo>
                    <a:pt x="2750" y="1573"/>
                  </a:lnTo>
                  <a:lnTo>
                    <a:pt x="2760" y="1558"/>
                  </a:lnTo>
                  <a:lnTo>
                    <a:pt x="2780" y="1521"/>
                  </a:lnTo>
                  <a:lnTo>
                    <a:pt x="2803" y="1478"/>
                  </a:lnTo>
                  <a:lnTo>
                    <a:pt x="2798" y="1475"/>
                  </a:lnTo>
                  <a:lnTo>
                    <a:pt x="2796" y="1471"/>
                  </a:lnTo>
                  <a:lnTo>
                    <a:pt x="2795" y="1467"/>
                  </a:lnTo>
                  <a:lnTo>
                    <a:pt x="2794" y="1462"/>
                  </a:lnTo>
                  <a:lnTo>
                    <a:pt x="2795" y="1451"/>
                  </a:lnTo>
                  <a:lnTo>
                    <a:pt x="2796" y="1441"/>
                  </a:lnTo>
                  <a:lnTo>
                    <a:pt x="2790" y="1428"/>
                  </a:lnTo>
                  <a:lnTo>
                    <a:pt x="2790" y="1426"/>
                  </a:lnTo>
                  <a:lnTo>
                    <a:pt x="2792" y="1423"/>
                  </a:lnTo>
                  <a:lnTo>
                    <a:pt x="2794" y="1420"/>
                  </a:lnTo>
                  <a:lnTo>
                    <a:pt x="2797" y="1417"/>
                  </a:lnTo>
                  <a:lnTo>
                    <a:pt x="2801" y="1414"/>
                  </a:lnTo>
                  <a:lnTo>
                    <a:pt x="2804" y="1412"/>
                  </a:lnTo>
                  <a:lnTo>
                    <a:pt x="2807" y="1411"/>
                  </a:lnTo>
                  <a:lnTo>
                    <a:pt x="2809" y="1410"/>
                  </a:lnTo>
                  <a:lnTo>
                    <a:pt x="2809" y="1386"/>
                  </a:lnTo>
                  <a:lnTo>
                    <a:pt x="2801" y="1389"/>
                  </a:lnTo>
                  <a:lnTo>
                    <a:pt x="2793" y="1391"/>
                  </a:lnTo>
                  <a:lnTo>
                    <a:pt x="2785" y="1393"/>
                  </a:lnTo>
                  <a:lnTo>
                    <a:pt x="2778" y="1394"/>
                  </a:lnTo>
                  <a:lnTo>
                    <a:pt x="2763" y="1395"/>
                  </a:lnTo>
                  <a:lnTo>
                    <a:pt x="2750" y="1394"/>
                  </a:lnTo>
                  <a:lnTo>
                    <a:pt x="2738" y="1392"/>
                  </a:lnTo>
                  <a:lnTo>
                    <a:pt x="2725" y="1389"/>
                  </a:lnTo>
                  <a:lnTo>
                    <a:pt x="2711" y="1384"/>
                  </a:lnTo>
                  <a:lnTo>
                    <a:pt x="2696" y="1380"/>
                  </a:lnTo>
                  <a:lnTo>
                    <a:pt x="2705" y="1375"/>
                  </a:lnTo>
                  <a:lnTo>
                    <a:pt x="2713" y="1369"/>
                  </a:lnTo>
                  <a:lnTo>
                    <a:pt x="2719" y="1363"/>
                  </a:lnTo>
                  <a:lnTo>
                    <a:pt x="2726" y="1356"/>
                  </a:lnTo>
                  <a:lnTo>
                    <a:pt x="2737" y="1342"/>
                  </a:lnTo>
                  <a:lnTo>
                    <a:pt x="2750" y="1324"/>
                  </a:lnTo>
                  <a:lnTo>
                    <a:pt x="2730" y="1316"/>
                  </a:lnTo>
                  <a:lnTo>
                    <a:pt x="2712" y="1310"/>
                  </a:lnTo>
                  <a:lnTo>
                    <a:pt x="2695" y="1305"/>
                  </a:lnTo>
                  <a:lnTo>
                    <a:pt x="2679" y="1300"/>
                  </a:lnTo>
                  <a:lnTo>
                    <a:pt x="2662" y="1294"/>
                  </a:lnTo>
                  <a:lnTo>
                    <a:pt x="2647" y="1287"/>
                  </a:lnTo>
                  <a:lnTo>
                    <a:pt x="2639" y="1282"/>
                  </a:lnTo>
                  <a:lnTo>
                    <a:pt x="2632" y="1277"/>
                  </a:lnTo>
                  <a:lnTo>
                    <a:pt x="2624" y="1270"/>
                  </a:lnTo>
                  <a:lnTo>
                    <a:pt x="2617" y="1262"/>
                  </a:lnTo>
                  <a:lnTo>
                    <a:pt x="2626" y="1268"/>
                  </a:lnTo>
                  <a:lnTo>
                    <a:pt x="2640" y="1273"/>
                  </a:lnTo>
                  <a:lnTo>
                    <a:pt x="2657" y="1278"/>
                  </a:lnTo>
                  <a:lnTo>
                    <a:pt x="2675" y="1283"/>
                  </a:lnTo>
                  <a:lnTo>
                    <a:pt x="2715" y="1293"/>
                  </a:lnTo>
                  <a:lnTo>
                    <a:pt x="2750" y="1299"/>
                  </a:lnTo>
                  <a:lnTo>
                    <a:pt x="2749" y="1293"/>
                  </a:lnTo>
                  <a:lnTo>
                    <a:pt x="2746" y="1288"/>
                  </a:lnTo>
                  <a:lnTo>
                    <a:pt x="2742" y="1283"/>
                  </a:lnTo>
                  <a:lnTo>
                    <a:pt x="2737" y="1279"/>
                  </a:lnTo>
                  <a:lnTo>
                    <a:pt x="2725" y="1272"/>
                  </a:lnTo>
                  <a:lnTo>
                    <a:pt x="2709" y="1266"/>
                  </a:lnTo>
                  <a:lnTo>
                    <a:pt x="2695" y="1259"/>
                  </a:lnTo>
                  <a:lnTo>
                    <a:pt x="2682" y="1252"/>
                  </a:lnTo>
                  <a:lnTo>
                    <a:pt x="2678" y="1248"/>
                  </a:lnTo>
                  <a:lnTo>
                    <a:pt x="2673" y="1244"/>
                  </a:lnTo>
                  <a:lnTo>
                    <a:pt x="2671" y="1238"/>
                  </a:lnTo>
                  <a:lnTo>
                    <a:pt x="2670" y="1232"/>
                  </a:lnTo>
                  <a:lnTo>
                    <a:pt x="2669" y="1227"/>
                  </a:lnTo>
                  <a:lnTo>
                    <a:pt x="2668" y="1224"/>
                  </a:lnTo>
                  <a:lnTo>
                    <a:pt x="2666" y="1220"/>
                  </a:lnTo>
                  <a:lnTo>
                    <a:pt x="2662" y="1217"/>
                  </a:lnTo>
                  <a:lnTo>
                    <a:pt x="2656" y="1212"/>
                  </a:lnTo>
                  <a:lnTo>
                    <a:pt x="2650" y="1208"/>
                  </a:lnTo>
                  <a:lnTo>
                    <a:pt x="2626" y="1186"/>
                  </a:lnTo>
                  <a:lnTo>
                    <a:pt x="2581" y="1145"/>
                  </a:lnTo>
                  <a:lnTo>
                    <a:pt x="2557" y="1124"/>
                  </a:lnTo>
                  <a:lnTo>
                    <a:pt x="2537" y="1105"/>
                  </a:lnTo>
                  <a:lnTo>
                    <a:pt x="2523" y="1090"/>
                  </a:lnTo>
                  <a:lnTo>
                    <a:pt x="2517" y="1084"/>
                  </a:lnTo>
                  <a:lnTo>
                    <a:pt x="2517" y="1078"/>
                  </a:lnTo>
                  <a:lnTo>
                    <a:pt x="2520" y="1074"/>
                  </a:lnTo>
                  <a:lnTo>
                    <a:pt x="2522" y="1070"/>
                  </a:lnTo>
                  <a:lnTo>
                    <a:pt x="2525" y="1068"/>
                  </a:lnTo>
                  <a:lnTo>
                    <a:pt x="2528" y="1065"/>
                  </a:lnTo>
                  <a:lnTo>
                    <a:pt x="2532" y="1061"/>
                  </a:lnTo>
                  <a:lnTo>
                    <a:pt x="2534" y="1055"/>
                  </a:lnTo>
                  <a:lnTo>
                    <a:pt x="2537" y="1047"/>
                  </a:lnTo>
                  <a:lnTo>
                    <a:pt x="2535" y="1046"/>
                  </a:lnTo>
                  <a:lnTo>
                    <a:pt x="2530" y="1043"/>
                  </a:lnTo>
                  <a:lnTo>
                    <a:pt x="2528" y="1042"/>
                  </a:lnTo>
                  <a:lnTo>
                    <a:pt x="2526" y="1039"/>
                  </a:lnTo>
                  <a:lnTo>
                    <a:pt x="2524" y="1036"/>
                  </a:lnTo>
                  <a:lnTo>
                    <a:pt x="2524" y="1034"/>
                  </a:lnTo>
                  <a:lnTo>
                    <a:pt x="2557" y="1034"/>
                  </a:lnTo>
                  <a:lnTo>
                    <a:pt x="2558" y="1028"/>
                  </a:lnTo>
                  <a:lnTo>
                    <a:pt x="2559" y="1022"/>
                  </a:lnTo>
                  <a:lnTo>
                    <a:pt x="2561" y="1016"/>
                  </a:lnTo>
                  <a:lnTo>
                    <a:pt x="2565" y="1011"/>
                  </a:lnTo>
                  <a:lnTo>
                    <a:pt x="2569" y="1006"/>
                  </a:lnTo>
                  <a:lnTo>
                    <a:pt x="2573" y="1002"/>
                  </a:lnTo>
                  <a:lnTo>
                    <a:pt x="2578" y="997"/>
                  </a:lnTo>
                  <a:lnTo>
                    <a:pt x="2583" y="993"/>
                  </a:lnTo>
                  <a:lnTo>
                    <a:pt x="2607" y="977"/>
                  </a:lnTo>
                  <a:lnTo>
                    <a:pt x="2630" y="960"/>
                  </a:lnTo>
                  <a:lnTo>
                    <a:pt x="2617" y="958"/>
                  </a:lnTo>
                  <a:lnTo>
                    <a:pt x="2603" y="954"/>
                  </a:lnTo>
                  <a:lnTo>
                    <a:pt x="2590" y="949"/>
                  </a:lnTo>
                  <a:lnTo>
                    <a:pt x="2577" y="944"/>
                  </a:lnTo>
                  <a:lnTo>
                    <a:pt x="2563" y="938"/>
                  </a:lnTo>
                  <a:lnTo>
                    <a:pt x="2552" y="932"/>
                  </a:lnTo>
                  <a:lnTo>
                    <a:pt x="2544" y="924"/>
                  </a:lnTo>
                  <a:lnTo>
                    <a:pt x="2537" y="917"/>
                  </a:lnTo>
                  <a:lnTo>
                    <a:pt x="2498" y="917"/>
                  </a:lnTo>
                  <a:lnTo>
                    <a:pt x="2498" y="926"/>
                  </a:lnTo>
                  <a:lnTo>
                    <a:pt x="2498" y="938"/>
                  </a:lnTo>
                  <a:lnTo>
                    <a:pt x="2498" y="950"/>
                  </a:lnTo>
                  <a:lnTo>
                    <a:pt x="2498" y="967"/>
                  </a:lnTo>
                  <a:lnTo>
                    <a:pt x="2457" y="967"/>
                  </a:lnTo>
                  <a:lnTo>
                    <a:pt x="2453" y="962"/>
                  </a:lnTo>
                  <a:lnTo>
                    <a:pt x="2449" y="956"/>
                  </a:lnTo>
                  <a:lnTo>
                    <a:pt x="2447" y="949"/>
                  </a:lnTo>
                  <a:lnTo>
                    <a:pt x="2444" y="942"/>
                  </a:lnTo>
                  <a:lnTo>
                    <a:pt x="2442" y="936"/>
                  </a:lnTo>
                  <a:lnTo>
                    <a:pt x="2438" y="928"/>
                  </a:lnTo>
                  <a:lnTo>
                    <a:pt x="2435" y="922"/>
                  </a:lnTo>
                  <a:lnTo>
                    <a:pt x="2431" y="917"/>
                  </a:lnTo>
                  <a:lnTo>
                    <a:pt x="2426" y="914"/>
                  </a:lnTo>
                  <a:lnTo>
                    <a:pt x="2421" y="911"/>
                  </a:lnTo>
                  <a:lnTo>
                    <a:pt x="2413" y="909"/>
                  </a:lnTo>
                  <a:lnTo>
                    <a:pt x="2404" y="907"/>
                  </a:lnTo>
                  <a:lnTo>
                    <a:pt x="2387" y="903"/>
                  </a:lnTo>
                  <a:lnTo>
                    <a:pt x="2367" y="899"/>
                  </a:lnTo>
                  <a:lnTo>
                    <a:pt x="2357" y="897"/>
                  </a:lnTo>
                  <a:lnTo>
                    <a:pt x="2348" y="894"/>
                  </a:lnTo>
                  <a:lnTo>
                    <a:pt x="2339" y="890"/>
                  </a:lnTo>
                  <a:lnTo>
                    <a:pt x="2333" y="887"/>
                  </a:lnTo>
                  <a:lnTo>
                    <a:pt x="2326" y="882"/>
                  </a:lnTo>
                  <a:lnTo>
                    <a:pt x="2322" y="876"/>
                  </a:lnTo>
                  <a:lnTo>
                    <a:pt x="2320" y="872"/>
                  </a:lnTo>
                  <a:lnTo>
                    <a:pt x="2319" y="869"/>
                  </a:lnTo>
                  <a:lnTo>
                    <a:pt x="2319" y="866"/>
                  </a:lnTo>
                  <a:lnTo>
                    <a:pt x="2317" y="862"/>
                  </a:lnTo>
                  <a:lnTo>
                    <a:pt x="2319" y="858"/>
                  </a:lnTo>
                  <a:lnTo>
                    <a:pt x="2319" y="855"/>
                  </a:lnTo>
                  <a:lnTo>
                    <a:pt x="2321" y="853"/>
                  </a:lnTo>
                  <a:lnTo>
                    <a:pt x="2322" y="850"/>
                  </a:lnTo>
                  <a:lnTo>
                    <a:pt x="2327" y="846"/>
                  </a:lnTo>
                  <a:lnTo>
                    <a:pt x="2334" y="843"/>
                  </a:lnTo>
                  <a:lnTo>
                    <a:pt x="2341" y="840"/>
                  </a:lnTo>
                  <a:lnTo>
                    <a:pt x="2348" y="839"/>
                  </a:lnTo>
                  <a:lnTo>
                    <a:pt x="2357" y="838"/>
                  </a:lnTo>
                  <a:lnTo>
                    <a:pt x="2365" y="837"/>
                  </a:lnTo>
                  <a:lnTo>
                    <a:pt x="2368" y="836"/>
                  </a:lnTo>
                  <a:lnTo>
                    <a:pt x="2372" y="833"/>
                  </a:lnTo>
                  <a:lnTo>
                    <a:pt x="2378" y="828"/>
                  </a:lnTo>
                  <a:lnTo>
                    <a:pt x="2383" y="822"/>
                  </a:lnTo>
                  <a:lnTo>
                    <a:pt x="2393" y="811"/>
                  </a:lnTo>
                  <a:lnTo>
                    <a:pt x="2398" y="806"/>
                  </a:lnTo>
                  <a:lnTo>
                    <a:pt x="2410" y="798"/>
                  </a:lnTo>
                  <a:lnTo>
                    <a:pt x="2423" y="789"/>
                  </a:lnTo>
                  <a:lnTo>
                    <a:pt x="2428" y="783"/>
                  </a:lnTo>
                  <a:lnTo>
                    <a:pt x="2433" y="776"/>
                  </a:lnTo>
                  <a:lnTo>
                    <a:pt x="2435" y="773"/>
                  </a:lnTo>
                  <a:lnTo>
                    <a:pt x="2436" y="768"/>
                  </a:lnTo>
                  <a:lnTo>
                    <a:pt x="2437" y="763"/>
                  </a:lnTo>
                  <a:lnTo>
                    <a:pt x="2437" y="757"/>
                  </a:lnTo>
                  <a:lnTo>
                    <a:pt x="2438" y="758"/>
                  </a:lnTo>
                  <a:lnTo>
                    <a:pt x="2439" y="758"/>
                  </a:lnTo>
                  <a:lnTo>
                    <a:pt x="2442" y="757"/>
                  </a:lnTo>
                  <a:lnTo>
                    <a:pt x="2443" y="756"/>
                  </a:lnTo>
                  <a:lnTo>
                    <a:pt x="2445" y="752"/>
                  </a:lnTo>
                  <a:lnTo>
                    <a:pt x="2448" y="747"/>
                  </a:lnTo>
                  <a:lnTo>
                    <a:pt x="2451" y="742"/>
                  </a:lnTo>
                  <a:lnTo>
                    <a:pt x="2455" y="737"/>
                  </a:lnTo>
                  <a:lnTo>
                    <a:pt x="2457" y="735"/>
                  </a:lnTo>
                  <a:lnTo>
                    <a:pt x="2459" y="734"/>
                  </a:lnTo>
                  <a:lnTo>
                    <a:pt x="2461" y="733"/>
                  </a:lnTo>
                  <a:lnTo>
                    <a:pt x="2464" y="733"/>
                  </a:lnTo>
                  <a:lnTo>
                    <a:pt x="2471" y="733"/>
                  </a:lnTo>
                  <a:lnTo>
                    <a:pt x="2478" y="735"/>
                  </a:lnTo>
                  <a:lnTo>
                    <a:pt x="2484" y="737"/>
                  </a:lnTo>
                  <a:lnTo>
                    <a:pt x="2491" y="741"/>
                  </a:lnTo>
                  <a:lnTo>
                    <a:pt x="2503" y="751"/>
                  </a:lnTo>
                  <a:lnTo>
                    <a:pt x="2517" y="764"/>
                  </a:lnTo>
                  <a:lnTo>
                    <a:pt x="2511" y="769"/>
                  </a:lnTo>
                  <a:lnTo>
                    <a:pt x="2504" y="775"/>
                  </a:lnTo>
                  <a:lnTo>
                    <a:pt x="2496" y="780"/>
                  </a:lnTo>
                  <a:lnTo>
                    <a:pt x="2491" y="782"/>
                  </a:lnTo>
                  <a:lnTo>
                    <a:pt x="2493" y="789"/>
                  </a:lnTo>
                  <a:lnTo>
                    <a:pt x="2496" y="795"/>
                  </a:lnTo>
                  <a:lnTo>
                    <a:pt x="2501" y="800"/>
                  </a:lnTo>
                  <a:lnTo>
                    <a:pt x="2504" y="805"/>
                  </a:lnTo>
                  <a:lnTo>
                    <a:pt x="2510" y="809"/>
                  </a:lnTo>
                  <a:lnTo>
                    <a:pt x="2514" y="813"/>
                  </a:lnTo>
                  <a:lnTo>
                    <a:pt x="2518" y="816"/>
                  </a:lnTo>
                  <a:lnTo>
                    <a:pt x="2524" y="819"/>
                  </a:lnTo>
                  <a:lnTo>
                    <a:pt x="2524" y="837"/>
                  </a:lnTo>
                  <a:lnTo>
                    <a:pt x="2523" y="840"/>
                  </a:lnTo>
                  <a:lnTo>
                    <a:pt x="2523" y="842"/>
                  </a:lnTo>
                  <a:lnTo>
                    <a:pt x="2525" y="844"/>
                  </a:lnTo>
                  <a:lnTo>
                    <a:pt x="2527" y="847"/>
                  </a:lnTo>
                  <a:lnTo>
                    <a:pt x="2529" y="849"/>
                  </a:lnTo>
                  <a:lnTo>
                    <a:pt x="2532" y="851"/>
                  </a:lnTo>
                  <a:lnTo>
                    <a:pt x="2532" y="853"/>
                  </a:lnTo>
                  <a:lnTo>
                    <a:pt x="2530" y="856"/>
                  </a:lnTo>
                  <a:lnTo>
                    <a:pt x="2561" y="830"/>
                  </a:lnTo>
                  <a:lnTo>
                    <a:pt x="2585" y="810"/>
                  </a:lnTo>
                  <a:lnTo>
                    <a:pt x="2596" y="803"/>
                  </a:lnTo>
                  <a:lnTo>
                    <a:pt x="2605" y="797"/>
                  </a:lnTo>
                  <a:lnTo>
                    <a:pt x="2613" y="793"/>
                  </a:lnTo>
                  <a:lnTo>
                    <a:pt x="2621" y="790"/>
                  </a:lnTo>
                  <a:lnTo>
                    <a:pt x="2627" y="787"/>
                  </a:lnTo>
                  <a:lnTo>
                    <a:pt x="2633" y="786"/>
                  </a:lnTo>
                  <a:lnTo>
                    <a:pt x="2638" y="785"/>
                  </a:lnTo>
                  <a:lnTo>
                    <a:pt x="2645" y="785"/>
                  </a:lnTo>
                  <a:lnTo>
                    <a:pt x="2657" y="786"/>
                  </a:lnTo>
                  <a:lnTo>
                    <a:pt x="2670" y="788"/>
                  </a:lnTo>
                  <a:lnTo>
                    <a:pt x="2674" y="781"/>
                  </a:lnTo>
                  <a:lnTo>
                    <a:pt x="2679" y="774"/>
                  </a:lnTo>
                  <a:lnTo>
                    <a:pt x="2683" y="768"/>
                  </a:lnTo>
                  <a:lnTo>
                    <a:pt x="2689" y="763"/>
                  </a:lnTo>
                  <a:lnTo>
                    <a:pt x="2701" y="753"/>
                  </a:lnTo>
                  <a:lnTo>
                    <a:pt x="2713" y="745"/>
                  </a:lnTo>
                  <a:lnTo>
                    <a:pt x="2724" y="738"/>
                  </a:lnTo>
                  <a:lnTo>
                    <a:pt x="2735" y="730"/>
                  </a:lnTo>
                  <a:lnTo>
                    <a:pt x="2739" y="726"/>
                  </a:lnTo>
                  <a:lnTo>
                    <a:pt x="2743" y="721"/>
                  </a:lnTo>
                  <a:lnTo>
                    <a:pt x="2747" y="715"/>
                  </a:lnTo>
                  <a:lnTo>
                    <a:pt x="2750" y="708"/>
                  </a:lnTo>
                  <a:lnTo>
                    <a:pt x="2758" y="708"/>
                  </a:lnTo>
                  <a:lnTo>
                    <a:pt x="2765" y="706"/>
                  </a:lnTo>
                  <a:lnTo>
                    <a:pt x="2773" y="705"/>
                  </a:lnTo>
                  <a:lnTo>
                    <a:pt x="2780" y="704"/>
                  </a:lnTo>
                  <a:lnTo>
                    <a:pt x="2792" y="700"/>
                  </a:lnTo>
                  <a:lnTo>
                    <a:pt x="2803" y="694"/>
                  </a:lnTo>
                  <a:lnTo>
                    <a:pt x="2812" y="688"/>
                  </a:lnTo>
                  <a:lnTo>
                    <a:pt x="2820" y="681"/>
                  </a:lnTo>
                  <a:lnTo>
                    <a:pt x="2828" y="673"/>
                  </a:lnTo>
                  <a:lnTo>
                    <a:pt x="2836" y="665"/>
                  </a:lnTo>
                  <a:lnTo>
                    <a:pt x="2842" y="657"/>
                  </a:lnTo>
                  <a:lnTo>
                    <a:pt x="2850" y="649"/>
                  </a:lnTo>
                  <a:lnTo>
                    <a:pt x="2858" y="641"/>
                  </a:lnTo>
                  <a:lnTo>
                    <a:pt x="2866" y="635"/>
                  </a:lnTo>
                  <a:lnTo>
                    <a:pt x="2876" y="630"/>
                  </a:lnTo>
                  <a:lnTo>
                    <a:pt x="2887" y="625"/>
                  </a:lnTo>
                  <a:lnTo>
                    <a:pt x="2901" y="623"/>
                  </a:lnTo>
                  <a:lnTo>
                    <a:pt x="2916" y="622"/>
                  </a:lnTo>
                  <a:lnTo>
                    <a:pt x="2915" y="611"/>
                  </a:lnTo>
                  <a:lnTo>
                    <a:pt x="2914" y="602"/>
                  </a:lnTo>
                  <a:lnTo>
                    <a:pt x="2910" y="593"/>
                  </a:lnTo>
                  <a:lnTo>
                    <a:pt x="2906" y="586"/>
                  </a:lnTo>
                  <a:lnTo>
                    <a:pt x="2902" y="580"/>
                  </a:lnTo>
                  <a:lnTo>
                    <a:pt x="2897" y="574"/>
                  </a:lnTo>
                  <a:lnTo>
                    <a:pt x="2892" y="569"/>
                  </a:lnTo>
                  <a:lnTo>
                    <a:pt x="2886" y="564"/>
                  </a:lnTo>
                  <a:lnTo>
                    <a:pt x="2875" y="554"/>
                  </a:lnTo>
                  <a:lnTo>
                    <a:pt x="2865" y="543"/>
                  </a:lnTo>
                  <a:lnTo>
                    <a:pt x="2861" y="536"/>
                  </a:lnTo>
                  <a:lnTo>
                    <a:pt x="2859" y="529"/>
                  </a:lnTo>
                  <a:lnTo>
                    <a:pt x="2857" y="520"/>
                  </a:lnTo>
                  <a:lnTo>
                    <a:pt x="2855" y="511"/>
                  </a:lnTo>
                  <a:lnTo>
                    <a:pt x="2857" y="505"/>
                  </a:lnTo>
                  <a:lnTo>
                    <a:pt x="2860" y="499"/>
                  </a:lnTo>
                  <a:lnTo>
                    <a:pt x="2862" y="497"/>
                  </a:lnTo>
                  <a:lnTo>
                    <a:pt x="2864" y="495"/>
                  </a:lnTo>
                  <a:lnTo>
                    <a:pt x="2866" y="493"/>
                  </a:lnTo>
                  <a:lnTo>
                    <a:pt x="2870" y="493"/>
                  </a:lnTo>
                  <a:lnTo>
                    <a:pt x="2885" y="493"/>
                  </a:lnTo>
                  <a:lnTo>
                    <a:pt x="2903" y="495"/>
                  </a:lnTo>
                  <a:lnTo>
                    <a:pt x="2911" y="495"/>
                  </a:lnTo>
                  <a:lnTo>
                    <a:pt x="2919" y="495"/>
                  </a:lnTo>
                  <a:lnTo>
                    <a:pt x="2928" y="494"/>
                  </a:lnTo>
                  <a:lnTo>
                    <a:pt x="2936" y="493"/>
                  </a:lnTo>
                  <a:lnTo>
                    <a:pt x="2936" y="412"/>
                  </a:lnTo>
                  <a:lnTo>
                    <a:pt x="2930" y="407"/>
                  </a:lnTo>
                  <a:lnTo>
                    <a:pt x="2926" y="402"/>
                  </a:lnTo>
                  <a:lnTo>
                    <a:pt x="2921" y="396"/>
                  </a:lnTo>
                  <a:lnTo>
                    <a:pt x="2917" y="389"/>
                  </a:lnTo>
                  <a:lnTo>
                    <a:pt x="2914" y="382"/>
                  </a:lnTo>
                  <a:lnTo>
                    <a:pt x="2911" y="375"/>
                  </a:lnTo>
                  <a:lnTo>
                    <a:pt x="2909" y="365"/>
                  </a:lnTo>
                  <a:lnTo>
                    <a:pt x="2909" y="357"/>
                  </a:lnTo>
                  <a:lnTo>
                    <a:pt x="2909" y="348"/>
                  </a:lnTo>
                  <a:lnTo>
                    <a:pt x="2909" y="341"/>
                  </a:lnTo>
                  <a:lnTo>
                    <a:pt x="2909" y="332"/>
                  </a:lnTo>
                  <a:lnTo>
                    <a:pt x="2909" y="320"/>
                  </a:lnTo>
                  <a:lnTo>
                    <a:pt x="2904" y="316"/>
                  </a:lnTo>
                  <a:lnTo>
                    <a:pt x="2897" y="310"/>
                  </a:lnTo>
                  <a:lnTo>
                    <a:pt x="2893" y="307"/>
                  </a:lnTo>
                  <a:lnTo>
                    <a:pt x="2888" y="304"/>
                  </a:lnTo>
                  <a:lnTo>
                    <a:pt x="2883" y="302"/>
                  </a:lnTo>
                  <a:lnTo>
                    <a:pt x="2876" y="301"/>
                  </a:lnTo>
                  <a:lnTo>
                    <a:pt x="2866" y="302"/>
                  </a:lnTo>
                  <a:lnTo>
                    <a:pt x="2858" y="303"/>
                  </a:lnTo>
                  <a:lnTo>
                    <a:pt x="2849" y="305"/>
                  </a:lnTo>
                  <a:lnTo>
                    <a:pt x="2841" y="308"/>
                  </a:lnTo>
                  <a:lnTo>
                    <a:pt x="2827" y="314"/>
                  </a:lnTo>
                  <a:lnTo>
                    <a:pt x="2813" y="323"/>
                  </a:lnTo>
                  <a:lnTo>
                    <a:pt x="2798" y="331"/>
                  </a:lnTo>
                  <a:lnTo>
                    <a:pt x="2784" y="338"/>
                  </a:lnTo>
                  <a:lnTo>
                    <a:pt x="2776" y="341"/>
                  </a:lnTo>
                  <a:lnTo>
                    <a:pt x="2768" y="343"/>
                  </a:lnTo>
                  <a:lnTo>
                    <a:pt x="2759" y="344"/>
                  </a:lnTo>
                  <a:lnTo>
                    <a:pt x="2750" y="344"/>
                  </a:lnTo>
                  <a:lnTo>
                    <a:pt x="2735" y="343"/>
                  </a:lnTo>
                  <a:lnTo>
                    <a:pt x="2722" y="341"/>
                  </a:lnTo>
                  <a:lnTo>
                    <a:pt x="2708" y="336"/>
                  </a:lnTo>
                  <a:lnTo>
                    <a:pt x="2696" y="331"/>
                  </a:lnTo>
                  <a:lnTo>
                    <a:pt x="2684" y="324"/>
                  </a:lnTo>
                  <a:lnTo>
                    <a:pt x="2672" y="315"/>
                  </a:lnTo>
                  <a:lnTo>
                    <a:pt x="2661" y="307"/>
                  </a:lnTo>
                  <a:lnTo>
                    <a:pt x="2650" y="298"/>
                  </a:lnTo>
                  <a:lnTo>
                    <a:pt x="2627" y="280"/>
                  </a:lnTo>
                  <a:lnTo>
                    <a:pt x="2604" y="261"/>
                  </a:lnTo>
                  <a:lnTo>
                    <a:pt x="2592" y="253"/>
                  </a:lnTo>
                  <a:lnTo>
                    <a:pt x="2579" y="245"/>
                  </a:lnTo>
                  <a:lnTo>
                    <a:pt x="2565" y="239"/>
                  </a:lnTo>
                  <a:lnTo>
                    <a:pt x="2550" y="233"/>
                  </a:lnTo>
                  <a:lnTo>
                    <a:pt x="2525" y="227"/>
                  </a:lnTo>
                  <a:lnTo>
                    <a:pt x="2499" y="219"/>
                  </a:lnTo>
                  <a:lnTo>
                    <a:pt x="2487" y="215"/>
                  </a:lnTo>
                  <a:lnTo>
                    <a:pt x="2473" y="211"/>
                  </a:lnTo>
                  <a:lnTo>
                    <a:pt x="2461" y="205"/>
                  </a:lnTo>
                  <a:lnTo>
                    <a:pt x="2450" y="199"/>
                  </a:lnTo>
                  <a:lnTo>
                    <a:pt x="2438" y="193"/>
                  </a:lnTo>
                  <a:lnTo>
                    <a:pt x="2428" y="187"/>
                  </a:lnTo>
                  <a:lnTo>
                    <a:pt x="2418" y="179"/>
                  </a:lnTo>
                  <a:lnTo>
                    <a:pt x="2410" y="171"/>
                  </a:lnTo>
                  <a:lnTo>
                    <a:pt x="2401" y="162"/>
                  </a:lnTo>
                  <a:lnTo>
                    <a:pt x="2394" y="152"/>
                  </a:lnTo>
                  <a:lnTo>
                    <a:pt x="2389" y="141"/>
                  </a:lnTo>
                  <a:lnTo>
                    <a:pt x="2384" y="129"/>
                  </a:lnTo>
                  <a:lnTo>
                    <a:pt x="2370" y="128"/>
                  </a:lnTo>
                  <a:lnTo>
                    <a:pt x="2357" y="126"/>
                  </a:lnTo>
                  <a:lnTo>
                    <a:pt x="2346" y="122"/>
                  </a:lnTo>
                  <a:lnTo>
                    <a:pt x="2335" y="117"/>
                  </a:lnTo>
                  <a:lnTo>
                    <a:pt x="2325" y="111"/>
                  </a:lnTo>
                  <a:lnTo>
                    <a:pt x="2316" y="105"/>
                  </a:lnTo>
                  <a:lnTo>
                    <a:pt x="2308" y="98"/>
                  </a:lnTo>
                  <a:lnTo>
                    <a:pt x="2300" y="89"/>
                  </a:lnTo>
                  <a:lnTo>
                    <a:pt x="2283" y="74"/>
                  </a:lnTo>
                  <a:lnTo>
                    <a:pt x="2267" y="59"/>
                  </a:lnTo>
                  <a:lnTo>
                    <a:pt x="2257" y="52"/>
                  </a:lnTo>
                  <a:lnTo>
                    <a:pt x="2247" y="46"/>
                  </a:lnTo>
                  <a:lnTo>
                    <a:pt x="2236" y="41"/>
                  </a:lnTo>
                  <a:lnTo>
                    <a:pt x="2225" y="36"/>
                  </a:lnTo>
                  <a:lnTo>
                    <a:pt x="2190" y="25"/>
                  </a:lnTo>
                  <a:lnTo>
                    <a:pt x="2160" y="18"/>
                  </a:lnTo>
                  <a:lnTo>
                    <a:pt x="2131" y="10"/>
                  </a:lnTo>
                  <a:lnTo>
                    <a:pt x="2092" y="0"/>
                  </a:lnTo>
                  <a:lnTo>
                    <a:pt x="1973" y="18"/>
                  </a:lnTo>
                  <a:lnTo>
                    <a:pt x="1973" y="27"/>
                  </a:lnTo>
                  <a:lnTo>
                    <a:pt x="1973" y="36"/>
                  </a:lnTo>
                  <a:lnTo>
                    <a:pt x="1973" y="42"/>
                  </a:lnTo>
                  <a:lnTo>
                    <a:pt x="1975" y="46"/>
                  </a:lnTo>
                  <a:lnTo>
                    <a:pt x="1977" y="50"/>
                  </a:lnTo>
                  <a:lnTo>
                    <a:pt x="1980" y="53"/>
                  </a:lnTo>
                  <a:lnTo>
                    <a:pt x="1989" y="58"/>
                  </a:lnTo>
                  <a:lnTo>
                    <a:pt x="1999" y="62"/>
                  </a:lnTo>
                  <a:lnTo>
                    <a:pt x="2009" y="66"/>
                  </a:lnTo>
                  <a:lnTo>
                    <a:pt x="2018" y="72"/>
                  </a:lnTo>
                  <a:lnTo>
                    <a:pt x="2021" y="75"/>
                  </a:lnTo>
                  <a:lnTo>
                    <a:pt x="2023" y="80"/>
                  </a:lnTo>
                  <a:lnTo>
                    <a:pt x="2025" y="85"/>
                  </a:lnTo>
                  <a:lnTo>
                    <a:pt x="2025" y="91"/>
                  </a:lnTo>
                  <a:lnTo>
                    <a:pt x="2024" y="101"/>
                  </a:lnTo>
                  <a:lnTo>
                    <a:pt x="2022" y="108"/>
                  </a:lnTo>
                  <a:lnTo>
                    <a:pt x="2019" y="114"/>
                  </a:lnTo>
                  <a:lnTo>
                    <a:pt x="2016" y="120"/>
                  </a:lnTo>
                  <a:lnTo>
                    <a:pt x="2012" y="125"/>
                  </a:lnTo>
                  <a:lnTo>
                    <a:pt x="2009" y="131"/>
                  </a:lnTo>
                  <a:lnTo>
                    <a:pt x="2007" y="138"/>
                  </a:lnTo>
                  <a:lnTo>
                    <a:pt x="2006" y="147"/>
                  </a:lnTo>
                  <a:lnTo>
                    <a:pt x="2007" y="155"/>
                  </a:lnTo>
                  <a:lnTo>
                    <a:pt x="2009" y="161"/>
                  </a:lnTo>
                  <a:lnTo>
                    <a:pt x="2012" y="168"/>
                  </a:lnTo>
                  <a:lnTo>
                    <a:pt x="2018" y="174"/>
                  </a:lnTo>
                  <a:lnTo>
                    <a:pt x="2022" y="179"/>
                  </a:lnTo>
                  <a:lnTo>
                    <a:pt x="2028" y="184"/>
                  </a:lnTo>
                  <a:lnTo>
                    <a:pt x="2033" y="187"/>
                  </a:lnTo>
                  <a:lnTo>
                    <a:pt x="2039" y="190"/>
                  </a:lnTo>
                  <a:lnTo>
                    <a:pt x="2033" y="197"/>
                  </a:lnTo>
                  <a:lnTo>
                    <a:pt x="2025" y="204"/>
                  </a:lnTo>
                  <a:lnTo>
                    <a:pt x="2017" y="211"/>
                  </a:lnTo>
                  <a:lnTo>
                    <a:pt x="2008" y="216"/>
                  </a:lnTo>
                  <a:lnTo>
                    <a:pt x="1999" y="221"/>
                  </a:lnTo>
                  <a:lnTo>
                    <a:pt x="1989" y="224"/>
                  </a:lnTo>
                  <a:lnTo>
                    <a:pt x="1980" y="227"/>
                  </a:lnTo>
                  <a:lnTo>
                    <a:pt x="1973" y="227"/>
                  </a:lnTo>
                  <a:lnTo>
                    <a:pt x="1962" y="227"/>
                  </a:lnTo>
                  <a:lnTo>
                    <a:pt x="1952" y="227"/>
                  </a:lnTo>
                  <a:lnTo>
                    <a:pt x="1940" y="227"/>
                  </a:lnTo>
                  <a:lnTo>
                    <a:pt x="1925" y="227"/>
                  </a:lnTo>
                  <a:lnTo>
                    <a:pt x="1919" y="258"/>
                  </a:lnTo>
                  <a:lnTo>
                    <a:pt x="1924" y="278"/>
                  </a:lnTo>
                  <a:lnTo>
                    <a:pt x="1930" y="296"/>
                  </a:lnTo>
                  <a:lnTo>
                    <a:pt x="1933" y="304"/>
                  </a:lnTo>
                  <a:lnTo>
                    <a:pt x="1938" y="311"/>
                  </a:lnTo>
                  <a:lnTo>
                    <a:pt x="1942" y="319"/>
                  </a:lnTo>
                  <a:lnTo>
                    <a:pt x="1947" y="326"/>
                  </a:lnTo>
                  <a:lnTo>
                    <a:pt x="1953" y="331"/>
                  </a:lnTo>
                  <a:lnTo>
                    <a:pt x="1961" y="336"/>
                  </a:lnTo>
                  <a:lnTo>
                    <a:pt x="1968" y="340"/>
                  </a:lnTo>
                  <a:lnTo>
                    <a:pt x="1977" y="344"/>
                  </a:lnTo>
                  <a:lnTo>
                    <a:pt x="1987" y="347"/>
                  </a:lnTo>
                  <a:lnTo>
                    <a:pt x="1999" y="349"/>
                  </a:lnTo>
                  <a:lnTo>
                    <a:pt x="2011" y="350"/>
                  </a:lnTo>
                  <a:lnTo>
                    <a:pt x="2025" y="350"/>
                  </a:lnTo>
                  <a:lnTo>
                    <a:pt x="2036" y="350"/>
                  </a:lnTo>
                  <a:lnTo>
                    <a:pt x="2043" y="349"/>
                  </a:lnTo>
                  <a:lnTo>
                    <a:pt x="2048" y="347"/>
                  </a:lnTo>
                  <a:lnTo>
                    <a:pt x="2053" y="344"/>
                  </a:lnTo>
                  <a:lnTo>
                    <a:pt x="2057" y="342"/>
                  </a:lnTo>
                  <a:lnTo>
                    <a:pt x="2064" y="340"/>
                  </a:lnTo>
                  <a:lnTo>
                    <a:pt x="2073" y="339"/>
                  </a:lnTo>
                  <a:lnTo>
                    <a:pt x="2086" y="338"/>
                  </a:lnTo>
                  <a:lnTo>
                    <a:pt x="2092" y="339"/>
                  </a:lnTo>
                  <a:lnTo>
                    <a:pt x="2098" y="340"/>
                  </a:lnTo>
                  <a:lnTo>
                    <a:pt x="2103" y="341"/>
                  </a:lnTo>
                  <a:lnTo>
                    <a:pt x="2109" y="343"/>
                  </a:lnTo>
                  <a:lnTo>
                    <a:pt x="2122" y="349"/>
                  </a:lnTo>
                  <a:lnTo>
                    <a:pt x="2138" y="357"/>
                  </a:lnTo>
                  <a:lnTo>
                    <a:pt x="2140" y="361"/>
                  </a:lnTo>
                  <a:lnTo>
                    <a:pt x="2142" y="366"/>
                  </a:lnTo>
                  <a:lnTo>
                    <a:pt x="2146" y="370"/>
                  </a:lnTo>
                  <a:lnTo>
                    <a:pt x="2151" y="375"/>
                  </a:lnTo>
                  <a:lnTo>
                    <a:pt x="2157" y="379"/>
                  </a:lnTo>
                  <a:lnTo>
                    <a:pt x="2164" y="382"/>
                  </a:lnTo>
                  <a:lnTo>
                    <a:pt x="2170" y="385"/>
                  </a:lnTo>
                  <a:lnTo>
                    <a:pt x="2178" y="388"/>
                  </a:lnTo>
                  <a:lnTo>
                    <a:pt x="2175" y="393"/>
                  </a:lnTo>
                  <a:lnTo>
                    <a:pt x="2169" y="399"/>
                  </a:lnTo>
                  <a:lnTo>
                    <a:pt x="2160" y="405"/>
                  </a:lnTo>
                  <a:lnTo>
                    <a:pt x="2152" y="410"/>
                  </a:lnTo>
                  <a:lnTo>
                    <a:pt x="2141" y="416"/>
                  </a:lnTo>
                  <a:lnTo>
                    <a:pt x="2130" y="420"/>
                  </a:lnTo>
                  <a:lnTo>
                    <a:pt x="2118" y="423"/>
                  </a:lnTo>
                  <a:lnTo>
                    <a:pt x="2106" y="424"/>
                  </a:lnTo>
                  <a:lnTo>
                    <a:pt x="2098" y="426"/>
                  </a:lnTo>
                  <a:lnTo>
                    <a:pt x="2084" y="434"/>
                  </a:lnTo>
                  <a:lnTo>
                    <a:pt x="2064" y="443"/>
                  </a:lnTo>
                  <a:lnTo>
                    <a:pt x="2041" y="455"/>
                  </a:lnTo>
                  <a:lnTo>
                    <a:pt x="2019" y="467"/>
                  </a:lnTo>
                  <a:lnTo>
                    <a:pt x="1998" y="479"/>
                  </a:lnTo>
                  <a:lnTo>
                    <a:pt x="1989" y="485"/>
                  </a:lnTo>
                  <a:lnTo>
                    <a:pt x="1981" y="490"/>
                  </a:lnTo>
                  <a:lnTo>
                    <a:pt x="1976" y="495"/>
                  </a:lnTo>
                  <a:lnTo>
                    <a:pt x="1973" y="499"/>
                  </a:lnTo>
                  <a:lnTo>
                    <a:pt x="1860" y="499"/>
                  </a:lnTo>
                  <a:lnTo>
                    <a:pt x="1860" y="506"/>
                  </a:lnTo>
                  <a:lnTo>
                    <a:pt x="1861" y="513"/>
                  </a:lnTo>
                  <a:lnTo>
                    <a:pt x="1863" y="520"/>
                  </a:lnTo>
                  <a:lnTo>
                    <a:pt x="1864" y="525"/>
                  </a:lnTo>
                  <a:lnTo>
                    <a:pt x="1869" y="536"/>
                  </a:lnTo>
                  <a:lnTo>
                    <a:pt x="1876" y="546"/>
                  </a:lnTo>
                  <a:lnTo>
                    <a:pt x="1882" y="554"/>
                  </a:lnTo>
                  <a:lnTo>
                    <a:pt x="1887" y="562"/>
                  </a:lnTo>
                  <a:lnTo>
                    <a:pt x="1889" y="566"/>
                  </a:lnTo>
                  <a:lnTo>
                    <a:pt x="1891" y="570"/>
                  </a:lnTo>
                  <a:lnTo>
                    <a:pt x="1893" y="574"/>
                  </a:lnTo>
                  <a:lnTo>
                    <a:pt x="1893" y="578"/>
                  </a:lnTo>
                  <a:lnTo>
                    <a:pt x="1893" y="583"/>
                  </a:lnTo>
                  <a:lnTo>
                    <a:pt x="1890" y="588"/>
                  </a:lnTo>
                  <a:lnTo>
                    <a:pt x="1888" y="594"/>
                  </a:lnTo>
                  <a:lnTo>
                    <a:pt x="1885" y="601"/>
                  </a:lnTo>
                  <a:lnTo>
                    <a:pt x="1877" y="613"/>
                  </a:lnTo>
                  <a:lnTo>
                    <a:pt x="1867" y="625"/>
                  </a:lnTo>
                  <a:lnTo>
                    <a:pt x="1856" y="637"/>
                  </a:lnTo>
                  <a:lnTo>
                    <a:pt x="1845" y="647"/>
                  </a:lnTo>
                  <a:lnTo>
                    <a:pt x="1834" y="655"/>
                  </a:lnTo>
                  <a:lnTo>
                    <a:pt x="1827" y="659"/>
                  </a:lnTo>
                  <a:lnTo>
                    <a:pt x="1727" y="659"/>
                  </a:lnTo>
                  <a:lnTo>
                    <a:pt x="1699" y="674"/>
                  </a:lnTo>
                  <a:lnTo>
                    <a:pt x="1664" y="694"/>
                  </a:lnTo>
                  <a:lnTo>
                    <a:pt x="1647" y="704"/>
                  </a:lnTo>
                  <a:lnTo>
                    <a:pt x="1630" y="713"/>
                  </a:lnTo>
                  <a:lnTo>
                    <a:pt x="1624" y="716"/>
                  </a:lnTo>
                  <a:lnTo>
                    <a:pt x="1617" y="718"/>
                  </a:lnTo>
                  <a:lnTo>
                    <a:pt x="1611" y="720"/>
                  </a:lnTo>
                  <a:lnTo>
                    <a:pt x="1607" y="721"/>
                  </a:lnTo>
                  <a:lnTo>
                    <a:pt x="1598" y="720"/>
                  </a:lnTo>
                  <a:lnTo>
                    <a:pt x="1587" y="719"/>
                  </a:lnTo>
                  <a:lnTo>
                    <a:pt x="1574" y="717"/>
                  </a:lnTo>
                  <a:lnTo>
                    <a:pt x="1560" y="714"/>
                  </a:lnTo>
                  <a:lnTo>
                    <a:pt x="1527" y="705"/>
                  </a:lnTo>
                  <a:lnTo>
                    <a:pt x="1493" y="696"/>
                  </a:lnTo>
                  <a:lnTo>
                    <a:pt x="1460" y="686"/>
                  </a:lnTo>
                  <a:lnTo>
                    <a:pt x="1430" y="676"/>
                  </a:lnTo>
                  <a:lnTo>
                    <a:pt x="1418" y="671"/>
                  </a:lnTo>
                  <a:lnTo>
                    <a:pt x="1407" y="667"/>
                  </a:lnTo>
                  <a:lnTo>
                    <a:pt x="1400" y="663"/>
                  </a:lnTo>
                  <a:lnTo>
                    <a:pt x="1394" y="659"/>
                  </a:lnTo>
                  <a:lnTo>
                    <a:pt x="1228" y="659"/>
                  </a:lnTo>
                  <a:lnTo>
                    <a:pt x="1169" y="646"/>
                  </a:lnTo>
                  <a:lnTo>
                    <a:pt x="1160" y="646"/>
                  </a:lnTo>
                  <a:lnTo>
                    <a:pt x="1151" y="646"/>
                  </a:lnTo>
                  <a:lnTo>
                    <a:pt x="1143" y="644"/>
                  </a:lnTo>
                  <a:lnTo>
                    <a:pt x="1133" y="641"/>
                  </a:lnTo>
                  <a:lnTo>
                    <a:pt x="1123" y="638"/>
                  </a:lnTo>
                  <a:lnTo>
                    <a:pt x="1112" y="633"/>
                  </a:lnTo>
                  <a:lnTo>
                    <a:pt x="1102" y="628"/>
                  </a:lnTo>
                  <a:lnTo>
                    <a:pt x="1092" y="622"/>
                  </a:lnTo>
                  <a:lnTo>
                    <a:pt x="1082" y="615"/>
                  </a:lnTo>
                  <a:lnTo>
                    <a:pt x="1073" y="608"/>
                  </a:lnTo>
                  <a:lnTo>
                    <a:pt x="1065" y="601"/>
                  </a:lnTo>
                  <a:lnTo>
                    <a:pt x="1056" y="592"/>
                  </a:lnTo>
                  <a:lnTo>
                    <a:pt x="1049" y="584"/>
                  </a:lnTo>
                  <a:lnTo>
                    <a:pt x="1044" y="576"/>
                  </a:lnTo>
                  <a:lnTo>
                    <a:pt x="1038" y="568"/>
                  </a:lnTo>
                  <a:lnTo>
                    <a:pt x="1036" y="560"/>
                  </a:lnTo>
                  <a:lnTo>
                    <a:pt x="1022" y="560"/>
                  </a:lnTo>
                  <a:lnTo>
                    <a:pt x="1008" y="558"/>
                  </a:lnTo>
                  <a:lnTo>
                    <a:pt x="994" y="555"/>
                  </a:lnTo>
                  <a:lnTo>
                    <a:pt x="980" y="552"/>
                  </a:lnTo>
                  <a:lnTo>
                    <a:pt x="953" y="543"/>
                  </a:lnTo>
                  <a:lnTo>
                    <a:pt x="923" y="532"/>
                  </a:lnTo>
                  <a:lnTo>
                    <a:pt x="893" y="522"/>
                  </a:lnTo>
                  <a:lnTo>
                    <a:pt x="863" y="513"/>
                  </a:lnTo>
                  <a:lnTo>
                    <a:pt x="846" y="510"/>
                  </a:lnTo>
                  <a:lnTo>
                    <a:pt x="831" y="507"/>
                  </a:lnTo>
                  <a:lnTo>
                    <a:pt x="813" y="505"/>
                  </a:lnTo>
                  <a:lnTo>
                    <a:pt x="797" y="505"/>
                  </a:lnTo>
                  <a:lnTo>
                    <a:pt x="786" y="504"/>
                  </a:lnTo>
                  <a:lnTo>
                    <a:pt x="770" y="501"/>
                  </a:lnTo>
                  <a:lnTo>
                    <a:pt x="763" y="499"/>
                  </a:lnTo>
                  <a:lnTo>
                    <a:pt x="756" y="497"/>
                  </a:lnTo>
                  <a:lnTo>
                    <a:pt x="752" y="495"/>
                  </a:lnTo>
                  <a:lnTo>
                    <a:pt x="750" y="493"/>
                  </a:lnTo>
                  <a:lnTo>
                    <a:pt x="746" y="485"/>
                  </a:lnTo>
                  <a:lnTo>
                    <a:pt x="744" y="477"/>
                  </a:lnTo>
                  <a:lnTo>
                    <a:pt x="743" y="470"/>
                  </a:lnTo>
                  <a:lnTo>
                    <a:pt x="743" y="461"/>
                  </a:lnTo>
                  <a:lnTo>
                    <a:pt x="743" y="456"/>
                  </a:lnTo>
                  <a:lnTo>
                    <a:pt x="743" y="449"/>
                  </a:lnTo>
                  <a:lnTo>
                    <a:pt x="743" y="440"/>
                  </a:lnTo>
                  <a:lnTo>
                    <a:pt x="743" y="431"/>
                  </a:lnTo>
                  <a:lnTo>
                    <a:pt x="741" y="431"/>
                  </a:lnTo>
                  <a:lnTo>
                    <a:pt x="736" y="428"/>
                  </a:lnTo>
                  <a:lnTo>
                    <a:pt x="732" y="426"/>
                  </a:lnTo>
                  <a:lnTo>
                    <a:pt x="728" y="422"/>
                  </a:lnTo>
                  <a:lnTo>
                    <a:pt x="717" y="414"/>
                  </a:lnTo>
                  <a:lnTo>
                    <a:pt x="705" y="403"/>
                  </a:lnTo>
                  <a:lnTo>
                    <a:pt x="695" y="391"/>
                  </a:lnTo>
                  <a:lnTo>
                    <a:pt x="686" y="379"/>
                  </a:lnTo>
                  <a:lnTo>
                    <a:pt x="681" y="372"/>
                  </a:lnTo>
                  <a:lnTo>
                    <a:pt x="679" y="367"/>
                  </a:lnTo>
                  <a:lnTo>
                    <a:pt x="677" y="361"/>
                  </a:lnTo>
                  <a:lnTo>
                    <a:pt x="677" y="357"/>
                  </a:lnTo>
                  <a:lnTo>
                    <a:pt x="661" y="356"/>
                  </a:lnTo>
                  <a:lnTo>
                    <a:pt x="645" y="355"/>
                  </a:lnTo>
                  <a:lnTo>
                    <a:pt x="630" y="353"/>
                  </a:lnTo>
                  <a:lnTo>
                    <a:pt x="616" y="351"/>
                  </a:lnTo>
                  <a:lnTo>
                    <a:pt x="602" y="348"/>
                  </a:lnTo>
                  <a:lnTo>
                    <a:pt x="589" y="344"/>
                  </a:lnTo>
                  <a:lnTo>
                    <a:pt x="576" y="340"/>
                  </a:lnTo>
                  <a:lnTo>
                    <a:pt x="564" y="335"/>
                  </a:lnTo>
                  <a:lnTo>
                    <a:pt x="552" y="329"/>
                  </a:lnTo>
                  <a:lnTo>
                    <a:pt x="541" y="323"/>
                  </a:lnTo>
                  <a:lnTo>
                    <a:pt x="531" y="315"/>
                  </a:lnTo>
                  <a:lnTo>
                    <a:pt x="522" y="307"/>
                  </a:lnTo>
                  <a:lnTo>
                    <a:pt x="512" y="299"/>
                  </a:lnTo>
                  <a:lnTo>
                    <a:pt x="505" y="290"/>
                  </a:lnTo>
                  <a:lnTo>
                    <a:pt x="497" y="281"/>
                  </a:lnTo>
                  <a:lnTo>
                    <a:pt x="490" y="271"/>
                  </a:lnTo>
                  <a:lnTo>
                    <a:pt x="475" y="268"/>
                  </a:lnTo>
                  <a:lnTo>
                    <a:pt x="463" y="267"/>
                  </a:lnTo>
                  <a:lnTo>
                    <a:pt x="454" y="267"/>
                  </a:lnTo>
                  <a:lnTo>
                    <a:pt x="449" y="268"/>
                  </a:lnTo>
                  <a:lnTo>
                    <a:pt x="444" y="270"/>
                  </a:lnTo>
                  <a:lnTo>
                    <a:pt x="442" y="273"/>
                  </a:lnTo>
                  <a:lnTo>
                    <a:pt x="441" y="277"/>
                  </a:lnTo>
                  <a:lnTo>
                    <a:pt x="441" y="281"/>
                  </a:lnTo>
                  <a:lnTo>
                    <a:pt x="441" y="286"/>
                  </a:lnTo>
                  <a:lnTo>
                    <a:pt x="441" y="291"/>
                  </a:lnTo>
                  <a:lnTo>
                    <a:pt x="440" y="296"/>
                  </a:lnTo>
                  <a:lnTo>
                    <a:pt x="439" y="301"/>
                  </a:lnTo>
                  <a:lnTo>
                    <a:pt x="436" y="307"/>
                  </a:lnTo>
                  <a:lnTo>
                    <a:pt x="430" y="311"/>
                  </a:lnTo>
                  <a:lnTo>
                    <a:pt x="422" y="316"/>
                  </a:lnTo>
                  <a:lnTo>
                    <a:pt x="411" y="320"/>
                  </a:lnTo>
                  <a:lnTo>
                    <a:pt x="407" y="320"/>
                  </a:lnTo>
                  <a:lnTo>
                    <a:pt x="403" y="321"/>
                  </a:lnTo>
                  <a:lnTo>
                    <a:pt x="400" y="322"/>
                  </a:lnTo>
                  <a:lnTo>
                    <a:pt x="398" y="323"/>
                  </a:lnTo>
                  <a:lnTo>
                    <a:pt x="397" y="325"/>
                  </a:lnTo>
                  <a:lnTo>
                    <a:pt x="396" y="327"/>
                  </a:lnTo>
                  <a:lnTo>
                    <a:pt x="396" y="329"/>
                  </a:lnTo>
                  <a:lnTo>
                    <a:pt x="396" y="332"/>
                  </a:lnTo>
                  <a:lnTo>
                    <a:pt x="401" y="344"/>
                  </a:lnTo>
                  <a:lnTo>
                    <a:pt x="410" y="357"/>
                  </a:lnTo>
                  <a:lnTo>
                    <a:pt x="415" y="364"/>
                  </a:lnTo>
                  <a:lnTo>
                    <a:pt x="419" y="371"/>
                  </a:lnTo>
                  <a:lnTo>
                    <a:pt x="421" y="379"/>
                  </a:lnTo>
                  <a:lnTo>
                    <a:pt x="423" y="385"/>
                  </a:lnTo>
                  <a:lnTo>
                    <a:pt x="423" y="388"/>
                  </a:lnTo>
                  <a:lnTo>
                    <a:pt x="422" y="390"/>
                  </a:lnTo>
                  <a:lnTo>
                    <a:pt x="421" y="393"/>
                  </a:lnTo>
                  <a:lnTo>
                    <a:pt x="420" y="395"/>
                  </a:lnTo>
                  <a:lnTo>
                    <a:pt x="417" y="397"/>
                  </a:lnTo>
                  <a:lnTo>
                    <a:pt x="414" y="398"/>
                  </a:lnTo>
                  <a:lnTo>
                    <a:pt x="409" y="399"/>
                  </a:lnTo>
                  <a:lnTo>
                    <a:pt x="405" y="400"/>
                  </a:lnTo>
                  <a:lnTo>
                    <a:pt x="392" y="400"/>
                  </a:lnTo>
                  <a:lnTo>
                    <a:pt x="377" y="400"/>
                  </a:lnTo>
                  <a:lnTo>
                    <a:pt x="370" y="400"/>
                  </a:lnTo>
                  <a:lnTo>
                    <a:pt x="361" y="399"/>
                  </a:lnTo>
                  <a:lnTo>
                    <a:pt x="351" y="397"/>
                  </a:lnTo>
                  <a:lnTo>
                    <a:pt x="341" y="395"/>
                  </a:lnTo>
                  <a:lnTo>
                    <a:pt x="331" y="393"/>
                  </a:lnTo>
                  <a:lnTo>
                    <a:pt x="321" y="390"/>
                  </a:lnTo>
                  <a:lnTo>
                    <a:pt x="313" y="386"/>
                  </a:lnTo>
                  <a:lnTo>
                    <a:pt x="305" y="382"/>
                  </a:lnTo>
                  <a:lnTo>
                    <a:pt x="303" y="387"/>
                  </a:lnTo>
                  <a:lnTo>
                    <a:pt x="302" y="393"/>
                  </a:lnTo>
                  <a:lnTo>
                    <a:pt x="303" y="401"/>
                  </a:lnTo>
                  <a:lnTo>
                    <a:pt x="303" y="409"/>
                  </a:lnTo>
                  <a:lnTo>
                    <a:pt x="307" y="427"/>
                  </a:lnTo>
                  <a:lnTo>
                    <a:pt x="311" y="448"/>
                  </a:lnTo>
                  <a:lnTo>
                    <a:pt x="316" y="467"/>
                  </a:lnTo>
                  <a:lnTo>
                    <a:pt x="320" y="483"/>
                  </a:lnTo>
                  <a:lnTo>
                    <a:pt x="320" y="491"/>
                  </a:lnTo>
                  <a:lnTo>
                    <a:pt x="320" y="497"/>
                  </a:lnTo>
                  <a:lnTo>
                    <a:pt x="320" y="502"/>
                  </a:lnTo>
                  <a:lnTo>
                    <a:pt x="318" y="505"/>
                  </a:lnTo>
                  <a:lnTo>
                    <a:pt x="292" y="503"/>
                  </a:lnTo>
                  <a:lnTo>
                    <a:pt x="254" y="503"/>
                  </a:lnTo>
                  <a:lnTo>
                    <a:pt x="244" y="504"/>
                  </a:lnTo>
                  <a:lnTo>
                    <a:pt x="236" y="505"/>
                  </a:lnTo>
                  <a:lnTo>
                    <a:pt x="227" y="507"/>
                  </a:lnTo>
                  <a:lnTo>
                    <a:pt x="220" y="510"/>
                  </a:lnTo>
                  <a:lnTo>
                    <a:pt x="214" y="513"/>
                  </a:lnTo>
                  <a:lnTo>
                    <a:pt x="209" y="517"/>
                  </a:lnTo>
                  <a:lnTo>
                    <a:pt x="207" y="520"/>
                  </a:lnTo>
                  <a:lnTo>
                    <a:pt x="206" y="523"/>
                  </a:lnTo>
                  <a:lnTo>
                    <a:pt x="205" y="526"/>
                  </a:lnTo>
                  <a:lnTo>
                    <a:pt x="205" y="529"/>
                  </a:lnTo>
                  <a:lnTo>
                    <a:pt x="216" y="531"/>
                  </a:lnTo>
                  <a:lnTo>
                    <a:pt x="226" y="534"/>
                  </a:lnTo>
                  <a:lnTo>
                    <a:pt x="233" y="538"/>
                  </a:lnTo>
                  <a:lnTo>
                    <a:pt x="239" y="544"/>
                  </a:lnTo>
                  <a:lnTo>
                    <a:pt x="243" y="550"/>
                  </a:lnTo>
                  <a:lnTo>
                    <a:pt x="247" y="556"/>
                  </a:lnTo>
                  <a:lnTo>
                    <a:pt x="250" y="563"/>
                  </a:lnTo>
                  <a:lnTo>
                    <a:pt x="252" y="569"/>
                  </a:lnTo>
                  <a:lnTo>
                    <a:pt x="255" y="583"/>
                  </a:lnTo>
                  <a:lnTo>
                    <a:pt x="260" y="595"/>
                  </a:lnTo>
                  <a:lnTo>
                    <a:pt x="262" y="601"/>
                  </a:lnTo>
                  <a:lnTo>
                    <a:pt x="266" y="605"/>
                  </a:lnTo>
                  <a:lnTo>
                    <a:pt x="272" y="608"/>
                  </a:lnTo>
                  <a:lnTo>
                    <a:pt x="278" y="610"/>
                  </a:lnTo>
                  <a:lnTo>
                    <a:pt x="276" y="614"/>
                  </a:lnTo>
                  <a:lnTo>
                    <a:pt x="275" y="618"/>
                  </a:lnTo>
                  <a:lnTo>
                    <a:pt x="275" y="621"/>
                  </a:lnTo>
                  <a:lnTo>
                    <a:pt x="275" y="625"/>
                  </a:lnTo>
                  <a:lnTo>
                    <a:pt x="277" y="632"/>
                  </a:lnTo>
                  <a:lnTo>
                    <a:pt x="278" y="640"/>
                  </a:lnTo>
                  <a:lnTo>
                    <a:pt x="277" y="658"/>
                  </a:lnTo>
                  <a:lnTo>
                    <a:pt x="274" y="674"/>
                  </a:lnTo>
                  <a:lnTo>
                    <a:pt x="270" y="688"/>
                  </a:lnTo>
                  <a:lnTo>
                    <a:pt x="264" y="700"/>
                  </a:lnTo>
                  <a:lnTo>
                    <a:pt x="261" y="705"/>
                  </a:lnTo>
                  <a:lnTo>
                    <a:pt x="257" y="711"/>
                  </a:lnTo>
                  <a:lnTo>
                    <a:pt x="252" y="716"/>
                  </a:lnTo>
                  <a:lnTo>
                    <a:pt x="248" y="720"/>
                  </a:lnTo>
                  <a:lnTo>
                    <a:pt x="242" y="724"/>
                  </a:lnTo>
                  <a:lnTo>
                    <a:pt x="237" y="727"/>
                  </a:lnTo>
                  <a:lnTo>
                    <a:pt x="231" y="730"/>
                  </a:lnTo>
                  <a:lnTo>
                    <a:pt x="225" y="733"/>
                  </a:lnTo>
                  <a:lnTo>
                    <a:pt x="206" y="735"/>
                  </a:lnTo>
                  <a:lnTo>
                    <a:pt x="182" y="737"/>
                  </a:lnTo>
                  <a:lnTo>
                    <a:pt x="170" y="739"/>
                  </a:lnTo>
                  <a:lnTo>
                    <a:pt x="158" y="741"/>
                  </a:lnTo>
                  <a:lnTo>
                    <a:pt x="152" y="743"/>
                  </a:lnTo>
                  <a:lnTo>
                    <a:pt x="147" y="745"/>
                  </a:lnTo>
                  <a:lnTo>
                    <a:pt x="142" y="748"/>
                  </a:lnTo>
                  <a:lnTo>
                    <a:pt x="139" y="751"/>
                  </a:lnTo>
                  <a:lnTo>
                    <a:pt x="134" y="758"/>
                  </a:lnTo>
                  <a:lnTo>
                    <a:pt x="127" y="770"/>
                  </a:lnTo>
                  <a:lnTo>
                    <a:pt x="123" y="776"/>
                  </a:lnTo>
                  <a:lnTo>
                    <a:pt x="118" y="781"/>
                  </a:lnTo>
                  <a:lnTo>
                    <a:pt x="113" y="785"/>
                  </a:lnTo>
                  <a:lnTo>
                    <a:pt x="105" y="788"/>
                  </a:lnTo>
                  <a:lnTo>
                    <a:pt x="81" y="794"/>
                  </a:lnTo>
                  <a:lnTo>
                    <a:pt x="45" y="800"/>
                  </a:lnTo>
                  <a:lnTo>
                    <a:pt x="27" y="804"/>
                  </a:lnTo>
                  <a:lnTo>
                    <a:pt x="13" y="807"/>
                  </a:lnTo>
                  <a:lnTo>
                    <a:pt x="3" y="810"/>
                  </a:lnTo>
                  <a:lnTo>
                    <a:pt x="0" y="812"/>
                  </a:lnTo>
                  <a:lnTo>
                    <a:pt x="0" y="824"/>
                  </a:lnTo>
                  <a:lnTo>
                    <a:pt x="3" y="833"/>
                  </a:lnTo>
                  <a:lnTo>
                    <a:pt x="6" y="842"/>
                  </a:lnTo>
                  <a:lnTo>
                    <a:pt x="9" y="850"/>
                  </a:lnTo>
                  <a:lnTo>
                    <a:pt x="14" y="859"/>
                  </a:lnTo>
                  <a:lnTo>
                    <a:pt x="18" y="869"/>
                  </a:lnTo>
                  <a:lnTo>
                    <a:pt x="23" y="880"/>
                  </a:lnTo>
                  <a:lnTo>
                    <a:pt x="26" y="893"/>
                  </a:lnTo>
                  <a:lnTo>
                    <a:pt x="40" y="894"/>
                  </a:lnTo>
                  <a:lnTo>
                    <a:pt x="53" y="896"/>
                  </a:lnTo>
                  <a:lnTo>
                    <a:pt x="59" y="897"/>
                  </a:lnTo>
                  <a:lnTo>
                    <a:pt x="64" y="899"/>
                  </a:lnTo>
                  <a:lnTo>
                    <a:pt x="70" y="902"/>
                  </a:lnTo>
                  <a:lnTo>
                    <a:pt x="74" y="905"/>
                  </a:lnTo>
                  <a:lnTo>
                    <a:pt x="79" y="909"/>
                  </a:lnTo>
                  <a:lnTo>
                    <a:pt x="83" y="913"/>
                  </a:lnTo>
                  <a:lnTo>
                    <a:pt x="87" y="918"/>
                  </a:lnTo>
                  <a:lnTo>
                    <a:pt x="90" y="924"/>
                  </a:lnTo>
                  <a:lnTo>
                    <a:pt x="93" y="931"/>
                  </a:lnTo>
                  <a:lnTo>
                    <a:pt x="95" y="938"/>
                  </a:lnTo>
                  <a:lnTo>
                    <a:pt x="97" y="946"/>
                  </a:lnTo>
                  <a:lnTo>
                    <a:pt x="98" y="954"/>
                  </a:lnTo>
                </a:path>
              </a:pathLst>
            </a:custGeom>
            <a:solidFill>
              <a:schemeClr val="accent2">
                <a:lumMod val="50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619" name="Freeform 15"/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6076126" y="1516628"/>
              <a:ext cx="263071" cy="327897"/>
            </a:xfrm>
            <a:custGeom>
              <a:avLst/>
              <a:gdLst>
                <a:gd name="T0" fmla="*/ 151048 w 504"/>
                <a:gd name="T1" fmla="*/ 256896 h 524"/>
                <a:gd name="T2" fmla="*/ 112082 w 504"/>
                <a:gd name="T3" fmla="*/ 263149 h 524"/>
                <a:gd name="T4" fmla="*/ 102888 w 504"/>
                <a:gd name="T5" fmla="*/ 269402 h 524"/>
                <a:gd name="T6" fmla="*/ 91943 w 504"/>
                <a:gd name="T7" fmla="*/ 272008 h 524"/>
                <a:gd name="T8" fmla="*/ 67862 w 504"/>
                <a:gd name="T9" fmla="*/ 273050 h 524"/>
                <a:gd name="T10" fmla="*/ 46409 w 504"/>
                <a:gd name="T11" fmla="*/ 272008 h 524"/>
                <a:gd name="T12" fmla="*/ 41155 w 504"/>
                <a:gd name="T13" fmla="*/ 268881 h 524"/>
                <a:gd name="T14" fmla="*/ 31085 w 504"/>
                <a:gd name="T15" fmla="*/ 265234 h 524"/>
                <a:gd name="T16" fmla="*/ 15762 w 504"/>
                <a:gd name="T17" fmla="*/ 258460 h 524"/>
                <a:gd name="T18" fmla="*/ 9632 w 504"/>
                <a:gd name="T19" fmla="*/ 253249 h 524"/>
                <a:gd name="T20" fmla="*/ 8756 w 504"/>
                <a:gd name="T21" fmla="*/ 248559 h 524"/>
                <a:gd name="T22" fmla="*/ 11821 w 504"/>
                <a:gd name="T23" fmla="*/ 241264 h 524"/>
                <a:gd name="T24" fmla="*/ 14010 w 504"/>
                <a:gd name="T25" fmla="*/ 231884 h 524"/>
                <a:gd name="T26" fmla="*/ 12259 w 504"/>
                <a:gd name="T27" fmla="*/ 225110 h 524"/>
                <a:gd name="T28" fmla="*/ 4378 w 504"/>
                <a:gd name="T29" fmla="*/ 217294 h 524"/>
                <a:gd name="T30" fmla="*/ 438 w 504"/>
                <a:gd name="T31" fmla="*/ 212083 h 524"/>
                <a:gd name="T32" fmla="*/ 438 w 504"/>
                <a:gd name="T33" fmla="*/ 203745 h 524"/>
                <a:gd name="T34" fmla="*/ 7443 w 504"/>
                <a:gd name="T35" fmla="*/ 187592 h 524"/>
                <a:gd name="T36" fmla="*/ 21015 w 504"/>
                <a:gd name="T37" fmla="*/ 170917 h 524"/>
                <a:gd name="T38" fmla="*/ 37653 w 504"/>
                <a:gd name="T39" fmla="*/ 155805 h 524"/>
                <a:gd name="T40" fmla="*/ 54290 w 504"/>
                <a:gd name="T41" fmla="*/ 145383 h 524"/>
                <a:gd name="T42" fmla="*/ 70051 w 504"/>
                <a:gd name="T43" fmla="*/ 141736 h 524"/>
                <a:gd name="T44" fmla="*/ 67862 w 504"/>
                <a:gd name="T45" fmla="*/ 137567 h 524"/>
                <a:gd name="T46" fmla="*/ 62171 w 504"/>
                <a:gd name="T47" fmla="*/ 134962 h 524"/>
                <a:gd name="T48" fmla="*/ 58230 w 504"/>
                <a:gd name="T49" fmla="*/ 130793 h 524"/>
                <a:gd name="T50" fmla="*/ 55603 w 504"/>
                <a:gd name="T51" fmla="*/ 119329 h 524"/>
                <a:gd name="T52" fmla="*/ 54290 w 504"/>
                <a:gd name="T53" fmla="*/ 101612 h 524"/>
                <a:gd name="T54" fmla="*/ 50349 w 504"/>
                <a:gd name="T55" fmla="*/ 83895 h 524"/>
                <a:gd name="T56" fmla="*/ 43782 w 504"/>
                <a:gd name="T57" fmla="*/ 69826 h 524"/>
                <a:gd name="T58" fmla="*/ 29772 w 504"/>
                <a:gd name="T59" fmla="*/ 46898 h 524"/>
                <a:gd name="T60" fmla="*/ 37653 w 504"/>
                <a:gd name="T61" fmla="*/ 31265 h 524"/>
                <a:gd name="T62" fmla="*/ 46409 w 504"/>
                <a:gd name="T63" fmla="*/ 29181 h 524"/>
                <a:gd name="T64" fmla="*/ 56917 w 504"/>
                <a:gd name="T65" fmla="*/ 30223 h 524"/>
                <a:gd name="T66" fmla="*/ 60857 w 504"/>
                <a:gd name="T67" fmla="*/ 31786 h 524"/>
                <a:gd name="T68" fmla="*/ 70051 w 504"/>
                <a:gd name="T69" fmla="*/ 29181 h 524"/>
                <a:gd name="T70" fmla="*/ 71803 w 504"/>
                <a:gd name="T71" fmla="*/ 17196 h 524"/>
                <a:gd name="T72" fmla="*/ 74867 w 504"/>
                <a:gd name="T73" fmla="*/ 6774 h 524"/>
                <a:gd name="T74" fmla="*/ 81873 w 504"/>
                <a:gd name="T75" fmla="*/ 0 h 524"/>
                <a:gd name="T76" fmla="*/ 98510 w 504"/>
                <a:gd name="T77" fmla="*/ 0 h 524"/>
                <a:gd name="T78" fmla="*/ 111207 w 504"/>
                <a:gd name="T79" fmla="*/ 4169 h 524"/>
                <a:gd name="T80" fmla="*/ 122590 w 504"/>
                <a:gd name="T81" fmla="*/ 10943 h 524"/>
                <a:gd name="T82" fmla="*/ 122152 w 504"/>
                <a:gd name="T83" fmla="*/ 32307 h 524"/>
                <a:gd name="T84" fmla="*/ 127844 w 504"/>
                <a:gd name="T85" fmla="*/ 40124 h 524"/>
                <a:gd name="T86" fmla="*/ 139665 w 504"/>
                <a:gd name="T87" fmla="*/ 48982 h 524"/>
                <a:gd name="T88" fmla="*/ 155864 w 504"/>
                <a:gd name="T89" fmla="*/ 62009 h 524"/>
                <a:gd name="T90" fmla="*/ 151486 w 504"/>
                <a:gd name="T91" fmla="*/ 70347 h 524"/>
                <a:gd name="T92" fmla="*/ 148859 w 504"/>
                <a:gd name="T93" fmla="*/ 79726 h 524"/>
                <a:gd name="T94" fmla="*/ 150611 w 504"/>
                <a:gd name="T95" fmla="*/ 91711 h 524"/>
                <a:gd name="T96" fmla="*/ 158929 w 504"/>
                <a:gd name="T97" fmla="*/ 104218 h 524"/>
                <a:gd name="T98" fmla="*/ 165497 w 504"/>
                <a:gd name="T99" fmla="*/ 109428 h 524"/>
                <a:gd name="T100" fmla="*/ 168999 w 504"/>
                <a:gd name="T101" fmla="*/ 133398 h 524"/>
                <a:gd name="T102" fmla="*/ 176880 w 504"/>
                <a:gd name="T103" fmla="*/ 150594 h 524"/>
                <a:gd name="T104" fmla="*/ 189139 w 504"/>
                <a:gd name="T105" fmla="*/ 164143 h 524"/>
                <a:gd name="T106" fmla="*/ 202711 w 504"/>
                <a:gd name="T107" fmla="*/ 174564 h 524"/>
                <a:gd name="T108" fmla="*/ 204025 w 504"/>
                <a:gd name="T109" fmla="*/ 203224 h 524"/>
                <a:gd name="T110" fmla="*/ 173815 w 504"/>
                <a:gd name="T111" fmla="*/ 238137 h 52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504" h="524">
                  <a:moveTo>
                    <a:pt x="365" y="493"/>
                  </a:moveTo>
                  <a:lnTo>
                    <a:pt x="355" y="493"/>
                  </a:lnTo>
                  <a:lnTo>
                    <a:pt x="345" y="493"/>
                  </a:lnTo>
                  <a:lnTo>
                    <a:pt x="266" y="493"/>
                  </a:lnTo>
                  <a:lnTo>
                    <a:pt x="262" y="500"/>
                  </a:lnTo>
                  <a:lnTo>
                    <a:pt x="256" y="505"/>
                  </a:lnTo>
                  <a:lnTo>
                    <a:pt x="250" y="510"/>
                  </a:lnTo>
                  <a:lnTo>
                    <a:pt x="243" y="513"/>
                  </a:lnTo>
                  <a:lnTo>
                    <a:pt x="235" y="517"/>
                  </a:lnTo>
                  <a:lnTo>
                    <a:pt x="228" y="519"/>
                  </a:lnTo>
                  <a:lnTo>
                    <a:pt x="219" y="521"/>
                  </a:lnTo>
                  <a:lnTo>
                    <a:pt x="210" y="522"/>
                  </a:lnTo>
                  <a:lnTo>
                    <a:pt x="191" y="524"/>
                  </a:lnTo>
                  <a:lnTo>
                    <a:pt x="173" y="524"/>
                  </a:lnTo>
                  <a:lnTo>
                    <a:pt x="155" y="524"/>
                  </a:lnTo>
                  <a:lnTo>
                    <a:pt x="140" y="524"/>
                  </a:lnTo>
                  <a:lnTo>
                    <a:pt x="121" y="523"/>
                  </a:lnTo>
                  <a:lnTo>
                    <a:pt x="106" y="522"/>
                  </a:lnTo>
                  <a:lnTo>
                    <a:pt x="100" y="521"/>
                  </a:lnTo>
                  <a:lnTo>
                    <a:pt x="96" y="519"/>
                  </a:lnTo>
                  <a:lnTo>
                    <a:pt x="94" y="516"/>
                  </a:lnTo>
                  <a:lnTo>
                    <a:pt x="93" y="512"/>
                  </a:lnTo>
                  <a:lnTo>
                    <a:pt x="82" y="511"/>
                  </a:lnTo>
                  <a:lnTo>
                    <a:pt x="71" y="509"/>
                  </a:lnTo>
                  <a:lnTo>
                    <a:pt x="59" y="505"/>
                  </a:lnTo>
                  <a:lnTo>
                    <a:pt x="47" y="501"/>
                  </a:lnTo>
                  <a:lnTo>
                    <a:pt x="36" y="496"/>
                  </a:lnTo>
                  <a:lnTo>
                    <a:pt x="28" y="491"/>
                  </a:lnTo>
                  <a:lnTo>
                    <a:pt x="25" y="489"/>
                  </a:lnTo>
                  <a:lnTo>
                    <a:pt x="22" y="486"/>
                  </a:lnTo>
                  <a:lnTo>
                    <a:pt x="20" y="484"/>
                  </a:lnTo>
                  <a:lnTo>
                    <a:pt x="20" y="481"/>
                  </a:lnTo>
                  <a:lnTo>
                    <a:pt x="20" y="477"/>
                  </a:lnTo>
                  <a:lnTo>
                    <a:pt x="22" y="472"/>
                  </a:lnTo>
                  <a:lnTo>
                    <a:pt x="25" y="467"/>
                  </a:lnTo>
                  <a:lnTo>
                    <a:pt x="27" y="463"/>
                  </a:lnTo>
                  <a:lnTo>
                    <a:pt x="31" y="456"/>
                  </a:lnTo>
                  <a:lnTo>
                    <a:pt x="33" y="450"/>
                  </a:lnTo>
                  <a:lnTo>
                    <a:pt x="32" y="445"/>
                  </a:lnTo>
                  <a:lnTo>
                    <a:pt x="31" y="440"/>
                  </a:lnTo>
                  <a:lnTo>
                    <a:pt x="30" y="436"/>
                  </a:lnTo>
                  <a:lnTo>
                    <a:pt x="28" y="432"/>
                  </a:lnTo>
                  <a:lnTo>
                    <a:pt x="22" y="426"/>
                  </a:lnTo>
                  <a:lnTo>
                    <a:pt x="17" y="421"/>
                  </a:lnTo>
                  <a:lnTo>
                    <a:pt x="10" y="417"/>
                  </a:lnTo>
                  <a:lnTo>
                    <a:pt x="5" y="412"/>
                  </a:lnTo>
                  <a:lnTo>
                    <a:pt x="3" y="409"/>
                  </a:lnTo>
                  <a:lnTo>
                    <a:pt x="1" y="407"/>
                  </a:lnTo>
                  <a:lnTo>
                    <a:pt x="0" y="404"/>
                  </a:lnTo>
                  <a:lnTo>
                    <a:pt x="0" y="401"/>
                  </a:lnTo>
                  <a:lnTo>
                    <a:pt x="1" y="391"/>
                  </a:lnTo>
                  <a:lnTo>
                    <a:pt x="5" y="381"/>
                  </a:lnTo>
                  <a:lnTo>
                    <a:pt x="10" y="371"/>
                  </a:lnTo>
                  <a:lnTo>
                    <a:pt x="17" y="360"/>
                  </a:lnTo>
                  <a:lnTo>
                    <a:pt x="26" y="349"/>
                  </a:lnTo>
                  <a:lnTo>
                    <a:pt x="37" y="338"/>
                  </a:lnTo>
                  <a:lnTo>
                    <a:pt x="48" y="328"/>
                  </a:lnTo>
                  <a:lnTo>
                    <a:pt x="60" y="318"/>
                  </a:lnTo>
                  <a:lnTo>
                    <a:pt x="73" y="309"/>
                  </a:lnTo>
                  <a:lnTo>
                    <a:pt x="86" y="299"/>
                  </a:lnTo>
                  <a:lnTo>
                    <a:pt x="99" y="291"/>
                  </a:lnTo>
                  <a:lnTo>
                    <a:pt x="112" y="285"/>
                  </a:lnTo>
                  <a:lnTo>
                    <a:pt x="124" y="279"/>
                  </a:lnTo>
                  <a:lnTo>
                    <a:pt x="138" y="275"/>
                  </a:lnTo>
                  <a:lnTo>
                    <a:pt x="149" y="272"/>
                  </a:lnTo>
                  <a:lnTo>
                    <a:pt x="160" y="272"/>
                  </a:lnTo>
                  <a:lnTo>
                    <a:pt x="166" y="266"/>
                  </a:lnTo>
                  <a:lnTo>
                    <a:pt x="160" y="265"/>
                  </a:lnTo>
                  <a:lnTo>
                    <a:pt x="155" y="264"/>
                  </a:lnTo>
                  <a:lnTo>
                    <a:pt x="150" y="263"/>
                  </a:lnTo>
                  <a:lnTo>
                    <a:pt x="145" y="261"/>
                  </a:lnTo>
                  <a:lnTo>
                    <a:pt x="142" y="259"/>
                  </a:lnTo>
                  <a:lnTo>
                    <a:pt x="139" y="257"/>
                  </a:lnTo>
                  <a:lnTo>
                    <a:pt x="135" y="254"/>
                  </a:lnTo>
                  <a:lnTo>
                    <a:pt x="133" y="251"/>
                  </a:lnTo>
                  <a:lnTo>
                    <a:pt x="130" y="244"/>
                  </a:lnTo>
                  <a:lnTo>
                    <a:pt x="128" y="236"/>
                  </a:lnTo>
                  <a:lnTo>
                    <a:pt x="127" y="229"/>
                  </a:lnTo>
                  <a:lnTo>
                    <a:pt x="127" y="222"/>
                  </a:lnTo>
                  <a:lnTo>
                    <a:pt x="126" y="208"/>
                  </a:lnTo>
                  <a:lnTo>
                    <a:pt x="124" y="195"/>
                  </a:lnTo>
                  <a:lnTo>
                    <a:pt x="121" y="182"/>
                  </a:lnTo>
                  <a:lnTo>
                    <a:pt x="119" y="171"/>
                  </a:lnTo>
                  <a:lnTo>
                    <a:pt x="115" y="161"/>
                  </a:lnTo>
                  <a:lnTo>
                    <a:pt x="110" y="152"/>
                  </a:lnTo>
                  <a:lnTo>
                    <a:pt x="106" y="143"/>
                  </a:lnTo>
                  <a:lnTo>
                    <a:pt x="100" y="134"/>
                  </a:lnTo>
                  <a:lnTo>
                    <a:pt x="89" y="119"/>
                  </a:lnTo>
                  <a:lnTo>
                    <a:pt x="78" y="104"/>
                  </a:lnTo>
                  <a:lnTo>
                    <a:pt x="68" y="90"/>
                  </a:lnTo>
                  <a:lnTo>
                    <a:pt x="60" y="74"/>
                  </a:lnTo>
                  <a:lnTo>
                    <a:pt x="74" y="66"/>
                  </a:lnTo>
                  <a:lnTo>
                    <a:pt x="86" y="60"/>
                  </a:lnTo>
                  <a:lnTo>
                    <a:pt x="93" y="58"/>
                  </a:lnTo>
                  <a:lnTo>
                    <a:pt x="99" y="57"/>
                  </a:lnTo>
                  <a:lnTo>
                    <a:pt x="106" y="56"/>
                  </a:lnTo>
                  <a:lnTo>
                    <a:pt x="112" y="56"/>
                  </a:lnTo>
                  <a:lnTo>
                    <a:pt x="123" y="56"/>
                  </a:lnTo>
                  <a:lnTo>
                    <a:pt x="130" y="58"/>
                  </a:lnTo>
                  <a:lnTo>
                    <a:pt x="133" y="59"/>
                  </a:lnTo>
                  <a:lnTo>
                    <a:pt x="137" y="60"/>
                  </a:lnTo>
                  <a:lnTo>
                    <a:pt x="139" y="61"/>
                  </a:lnTo>
                  <a:lnTo>
                    <a:pt x="143" y="61"/>
                  </a:lnTo>
                  <a:lnTo>
                    <a:pt x="149" y="59"/>
                  </a:lnTo>
                  <a:lnTo>
                    <a:pt x="160" y="56"/>
                  </a:lnTo>
                  <a:lnTo>
                    <a:pt x="160" y="47"/>
                  </a:lnTo>
                  <a:lnTo>
                    <a:pt x="162" y="40"/>
                  </a:lnTo>
                  <a:lnTo>
                    <a:pt x="164" y="33"/>
                  </a:lnTo>
                  <a:lnTo>
                    <a:pt x="166" y="25"/>
                  </a:lnTo>
                  <a:lnTo>
                    <a:pt x="168" y="19"/>
                  </a:lnTo>
                  <a:lnTo>
                    <a:pt x="171" y="13"/>
                  </a:lnTo>
                  <a:lnTo>
                    <a:pt x="172" y="7"/>
                  </a:lnTo>
                  <a:lnTo>
                    <a:pt x="173" y="0"/>
                  </a:lnTo>
                  <a:lnTo>
                    <a:pt x="187" y="0"/>
                  </a:lnTo>
                  <a:lnTo>
                    <a:pt x="201" y="0"/>
                  </a:lnTo>
                  <a:lnTo>
                    <a:pt x="214" y="0"/>
                  </a:lnTo>
                  <a:lnTo>
                    <a:pt x="225" y="0"/>
                  </a:lnTo>
                  <a:lnTo>
                    <a:pt x="235" y="1"/>
                  </a:lnTo>
                  <a:lnTo>
                    <a:pt x="244" y="4"/>
                  </a:lnTo>
                  <a:lnTo>
                    <a:pt x="254" y="8"/>
                  </a:lnTo>
                  <a:lnTo>
                    <a:pt x="263" y="12"/>
                  </a:lnTo>
                  <a:lnTo>
                    <a:pt x="270" y="17"/>
                  </a:lnTo>
                  <a:lnTo>
                    <a:pt x="280" y="21"/>
                  </a:lnTo>
                  <a:lnTo>
                    <a:pt x="289" y="24"/>
                  </a:lnTo>
                  <a:lnTo>
                    <a:pt x="299" y="25"/>
                  </a:lnTo>
                  <a:lnTo>
                    <a:pt x="279" y="62"/>
                  </a:lnTo>
                  <a:lnTo>
                    <a:pt x="283" y="67"/>
                  </a:lnTo>
                  <a:lnTo>
                    <a:pt x="287" y="72"/>
                  </a:lnTo>
                  <a:lnTo>
                    <a:pt x="292" y="77"/>
                  </a:lnTo>
                  <a:lnTo>
                    <a:pt x="297" y="82"/>
                  </a:lnTo>
                  <a:lnTo>
                    <a:pt x="308" y="88"/>
                  </a:lnTo>
                  <a:lnTo>
                    <a:pt x="319" y="94"/>
                  </a:lnTo>
                  <a:lnTo>
                    <a:pt x="341" y="103"/>
                  </a:lnTo>
                  <a:lnTo>
                    <a:pt x="358" y="111"/>
                  </a:lnTo>
                  <a:lnTo>
                    <a:pt x="356" y="119"/>
                  </a:lnTo>
                  <a:lnTo>
                    <a:pt x="353" y="126"/>
                  </a:lnTo>
                  <a:lnTo>
                    <a:pt x="350" y="131"/>
                  </a:lnTo>
                  <a:lnTo>
                    <a:pt x="346" y="135"/>
                  </a:lnTo>
                  <a:lnTo>
                    <a:pt x="343" y="141"/>
                  </a:lnTo>
                  <a:lnTo>
                    <a:pt x="341" y="146"/>
                  </a:lnTo>
                  <a:lnTo>
                    <a:pt x="340" y="153"/>
                  </a:lnTo>
                  <a:lnTo>
                    <a:pt x="339" y="161"/>
                  </a:lnTo>
                  <a:lnTo>
                    <a:pt x="340" y="168"/>
                  </a:lnTo>
                  <a:lnTo>
                    <a:pt x="344" y="176"/>
                  </a:lnTo>
                  <a:lnTo>
                    <a:pt x="350" y="184"/>
                  </a:lnTo>
                  <a:lnTo>
                    <a:pt x="356" y="193"/>
                  </a:lnTo>
                  <a:lnTo>
                    <a:pt x="363" y="200"/>
                  </a:lnTo>
                  <a:lnTo>
                    <a:pt x="369" y="205"/>
                  </a:lnTo>
                  <a:lnTo>
                    <a:pt x="375" y="209"/>
                  </a:lnTo>
                  <a:lnTo>
                    <a:pt x="378" y="210"/>
                  </a:lnTo>
                  <a:lnTo>
                    <a:pt x="379" y="226"/>
                  </a:lnTo>
                  <a:lnTo>
                    <a:pt x="381" y="241"/>
                  </a:lnTo>
                  <a:lnTo>
                    <a:pt x="386" y="256"/>
                  </a:lnTo>
                  <a:lnTo>
                    <a:pt x="391" y="268"/>
                  </a:lnTo>
                  <a:lnTo>
                    <a:pt x="397" y="279"/>
                  </a:lnTo>
                  <a:lnTo>
                    <a:pt x="404" y="289"/>
                  </a:lnTo>
                  <a:lnTo>
                    <a:pt x="413" y="298"/>
                  </a:lnTo>
                  <a:lnTo>
                    <a:pt x="422" y="307"/>
                  </a:lnTo>
                  <a:lnTo>
                    <a:pt x="432" y="315"/>
                  </a:lnTo>
                  <a:lnTo>
                    <a:pt x="442" y="322"/>
                  </a:lnTo>
                  <a:lnTo>
                    <a:pt x="452" y="329"/>
                  </a:lnTo>
                  <a:lnTo>
                    <a:pt x="463" y="335"/>
                  </a:lnTo>
                  <a:lnTo>
                    <a:pt x="485" y="346"/>
                  </a:lnTo>
                  <a:lnTo>
                    <a:pt x="504" y="357"/>
                  </a:lnTo>
                  <a:lnTo>
                    <a:pt x="466" y="390"/>
                  </a:lnTo>
                  <a:lnTo>
                    <a:pt x="430" y="424"/>
                  </a:lnTo>
                  <a:lnTo>
                    <a:pt x="413" y="440"/>
                  </a:lnTo>
                  <a:lnTo>
                    <a:pt x="397" y="457"/>
                  </a:lnTo>
                  <a:lnTo>
                    <a:pt x="380" y="476"/>
                  </a:lnTo>
                  <a:lnTo>
                    <a:pt x="365" y="49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620" name="Freeform 16"/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5761955" y="2018007"/>
              <a:ext cx="217649" cy="285957"/>
            </a:xfrm>
            <a:custGeom>
              <a:avLst/>
              <a:gdLst>
                <a:gd name="T0" fmla="*/ 177560 w 438"/>
                <a:gd name="T1" fmla="*/ 100319 h 451"/>
                <a:gd name="T2" fmla="*/ 170058 w 438"/>
                <a:gd name="T3" fmla="*/ 67583 h 451"/>
                <a:gd name="T4" fmla="*/ 161305 w 438"/>
                <a:gd name="T5" fmla="*/ 44879 h 451"/>
                <a:gd name="T6" fmla="*/ 152969 w 438"/>
                <a:gd name="T7" fmla="*/ 32736 h 451"/>
                <a:gd name="T8" fmla="*/ 148384 w 438"/>
                <a:gd name="T9" fmla="*/ 30624 h 451"/>
                <a:gd name="T10" fmla="*/ 139631 w 438"/>
                <a:gd name="T11" fmla="*/ 23760 h 451"/>
                <a:gd name="T12" fmla="*/ 130878 w 438"/>
                <a:gd name="T13" fmla="*/ 20064 h 451"/>
                <a:gd name="T14" fmla="*/ 122125 w 438"/>
                <a:gd name="T15" fmla="*/ 20064 h 451"/>
                <a:gd name="T16" fmla="*/ 115039 w 438"/>
                <a:gd name="T17" fmla="*/ 22176 h 451"/>
                <a:gd name="T18" fmla="*/ 104619 w 438"/>
                <a:gd name="T19" fmla="*/ 30624 h 451"/>
                <a:gd name="T20" fmla="*/ 97950 w 438"/>
                <a:gd name="T21" fmla="*/ 35376 h 451"/>
                <a:gd name="T22" fmla="*/ 90447 w 438"/>
                <a:gd name="T23" fmla="*/ 34848 h 451"/>
                <a:gd name="T24" fmla="*/ 72525 w 438"/>
                <a:gd name="T25" fmla="*/ 19536 h 451"/>
                <a:gd name="T26" fmla="*/ 47099 w 438"/>
                <a:gd name="T27" fmla="*/ 0 h 451"/>
                <a:gd name="T28" fmla="*/ 39597 w 438"/>
                <a:gd name="T29" fmla="*/ 12144 h 451"/>
                <a:gd name="T30" fmla="*/ 38763 w 438"/>
                <a:gd name="T31" fmla="*/ 22704 h 451"/>
                <a:gd name="T32" fmla="*/ 40847 w 438"/>
                <a:gd name="T33" fmla="*/ 27456 h 451"/>
                <a:gd name="T34" fmla="*/ 49600 w 438"/>
                <a:gd name="T35" fmla="*/ 36432 h 451"/>
                <a:gd name="T36" fmla="*/ 41264 w 438"/>
                <a:gd name="T37" fmla="*/ 38544 h 451"/>
                <a:gd name="T38" fmla="*/ 27509 w 438"/>
                <a:gd name="T39" fmla="*/ 49103 h 451"/>
                <a:gd name="T40" fmla="*/ 24175 w 438"/>
                <a:gd name="T41" fmla="*/ 62831 h 451"/>
                <a:gd name="T42" fmla="*/ 18756 w 438"/>
                <a:gd name="T43" fmla="*/ 72863 h 451"/>
                <a:gd name="T44" fmla="*/ 14588 w 438"/>
                <a:gd name="T45" fmla="*/ 82367 h 451"/>
                <a:gd name="T46" fmla="*/ 13755 w 438"/>
                <a:gd name="T47" fmla="*/ 94511 h 451"/>
                <a:gd name="T48" fmla="*/ 2918 w 438"/>
                <a:gd name="T49" fmla="*/ 125662 h 451"/>
                <a:gd name="T50" fmla="*/ 6252 w 438"/>
                <a:gd name="T51" fmla="*/ 129886 h 451"/>
                <a:gd name="T52" fmla="*/ 10837 w 438"/>
                <a:gd name="T53" fmla="*/ 130414 h 451"/>
                <a:gd name="T54" fmla="*/ 13755 w 438"/>
                <a:gd name="T55" fmla="*/ 182686 h 451"/>
                <a:gd name="T56" fmla="*/ 38763 w 438"/>
                <a:gd name="T57" fmla="*/ 186382 h 451"/>
                <a:gd name="T58" fmla="*/ 43348 w 438"/>
                <a:gd name="T59" fmla="*/ 198525 h 451"/>
                <a:gd name="T60" fmla="*/ 37096 w 438"/>
                <a:gd name="T61" fmla="*/ 224397 h 451"/>
                <a:gd name="T62" fmla="*/ 45432 w 438"/>
                <a:gd name="T63" fmla="*/ 236013 h 451"/>
                <a:gd name="T64" fmla="*/ 63355 w 438"/>
                <a:gd name="T65" fmla="*/ 236013 h 451"/>
                <a:gd name="T66" fmla="*/ 85446 w 438"/>
                <a:gd name="T67" fmla="*/ 234429 h 451"/>
                <a:gd name="T68" fmla="*/ 115039 w 438"/>
                <a:gd name="T69" fmla="*/ 235485 h 451"/>
                <a:gd name="T70" fmla="*/ 142965 w 438"/>
                <a:gd name="T71" fmla="*/ 233373 h 451"/>
                <a:gd name="T72" fmla="*/ 155053 w 438"/>
                <a:gd name="T73" fmla="*/ 228093 h 451"/>
                <a:gd name="T74" fmla="*/ 149634 w 438"/>
                <a:gd name="T75" fmla="*/ 218061 h 451"/>
                <a:gd name="T76" fmla="*/ 153802 w 438"/>
                <a:gd name="T77" fmla="*/ 212781 h 451"/>
                <a:gd name="T78" fmla="*/ 155053 w 438"/>
                <a:gd name="T79" fmla="*/ 201693 h 451"/>
                <a:gd name="T80" fmla="*/ 158387 w 438"/>
                <a:gd name="T81" fmla="*/ 193774 h 451"/>
                <a:gd name="T82" fmla="*/ 142965 w 438"/>
                <a:gd name="T83" fmla="*/ 181630 h 451"/>
                <a:gd name="T84" fmla="*/ 135463 w 438"/>
                <a:gd name="T85" fmla="*/ 170542 h 451"/>
                <a:gd name="T86" fmla="*/ 129627 w 438"/>
                <a:gd name="T87" fmla="*/ 155230 h 451"/>
                <a:gd name="T88" fmla="*/ 122542 w 438"/>
                <a:gd name="T89" fmla="*/ 146254 h 451"/>
                <a:gd name="T90" fmla="*/ 130878 w 438"/>
                <a:gd name="T91" fmla="*/ 145198 h 451"/>
                <a:gd name="T92" fmla="*/ 144216 w 438"/>
                <a:gd name="T93" fmla="*/ 143086 h 451"/>
                <a:gd name="T94" fmla="*/ 153802 w 438"/>
                <a:gd name="T95" fmla="*/ 137278 h 451"/>
                <a:gd name="T96" fmla="*/ 169641 w 438"/>
                <a:gd name="T97" fmla="*/ 126718 h 451"/>
                <a:gd name="T98" fmla="*/ 182562 w 438"/>
                <a:gd name="T99" fmla="*/ 124078 h 451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438" h="451">
                  <a:moveTo>
                    <a:pt x="438" y="235"/>
                  </a:moveTo>
                  <a:lnTo>
                    <a:pt x="431" y="212"/>
                  </a:lnTo>
                  <a:lnTo>
                    <a:pt x="426" y="190"/>
                  </a:lnTo>
                  <a:lnTo>
                    <a:pt x="420" y="169"/>
                  </a:lnTo>
                  <a:lnTo>
                    <a:pt x="415" y="148"/>
                  </a:lnTo>
                  <a:lnTo>
                    <a:pt x="408" y="128"/>
                  </a:lnTo>
                  <a:lnTo>
                    <a:pt x="398" y="106"/>
                  </a:lnTo>
                  <a:lnTo>
                    <a:pt x="393" y="95"/>
                  </a:lnTo>
                  <a:lnTo>
                    <a:pt x="387" y="85"/>
                  </a:lnTo>
                  <a:lnTo>
                    <a:pt x="380" y="74"/>
                  </a:lnTo>
                  <a:lnTo>
                    <a:pt x="372" y="62"/>
                  </a:lnTo>
                  <a:lnTo>
                    <a:pt x="367" y="62"/>
                  </a:lnTo>
                  <a:lnTo>
                    <a:pt x="363" y="61"/>
                  </a:lnTo>
                  <a:lnTo>
                    <a:pt x="359" y="60"/>
                  </a:lnTo>
                  <a:lnTo>
                    <a:pt x="356" y="58"/>
                  </a:lnTo>
                  <a:lnTo>
                    <a:pt x="349" y="54"/>
                  </a:lnTo>
                  <a:lnTo>
                    <a:pt x="342" y="49"/>
                  </a:lnTo>
                  <a:lnTo>
                    <a:pt x="335" y="45"/>
                  </a:lnTo>
                  <a:lnTo>
                    <a:pt x="326" y="41"/>
                  </a:lnTo>
                  <a:lnTo>
                    <a:pt x="320" y="40"/>
                  </a:lnTo>
                  <a:lnTo>
                    <a:pt x="314" y="38"/>
                  </a:lnTo>
                  <a:lnTo>
                    <a:pt x="307" y="38"/>
                  </a:lnTo>
                  <a:lnTo>
                    <a:pt x="298" y="37"/>
                  </a:lnTo>
                  <a:lnTo>
                    <a:pt x="293" y="38"/>
                  </a:lnTo>
                  <a:lnTo>
                    <a:pt x="287" y="39"/>
                  </a:lnTo>
                  <a:lnTo>
                    <a:pt x="282" y="40"/>
                  </a:lnTo>
                  <a:lnTo>
                    <a:pt x="276" y="42"/>
                  </a:lnTo>
                  <a:lnTo>
                    <a:pt x="268" y="47"/>
                  </a:lnTo>
                  <a:lnTo>
                    <a:pt x="260" y="52"/>
                  </a:lnTo>
                  <a:lnTo>
                    <a:pt x="251" y="58"/>
                  </a:lnTo>
                  <a:lnTo>
                    <a:pt x="244" y="64"/>
                  </a:lnTo>
                  <a:lnTo>
                    <a:pt x="239" y="66"/>
                  </a:lnTo>
                  <a:lnTo>
                    <a:pt x="235" y="67"/>
                  </a:lnTo>
                  <a:lnTo>
                    <a:pt x="230" y="68"/>
                  </a:lnTo>
                  <a:lnTo>
                    <a:pt x="226" y="69"/>
                  </a:lnTo>
                  <a:lnTo>
                    <a:pt x="217" y="66"/>
                  </a:lnTo>
                  <a:lnTo>
                    <a:pt x="205" y="58"/>
                  </a:lnTo>
                  <a:lnTo>
                    <a:pt x="190" y="48"/>
                  </a:lnTo>
                  <a:lnTo>
                    <a:pt x="174" y="37"/>
                  </a:lnTo>
                  <a:lnTo>
                    <a:pt x="145" y="16"/>
                  </a:lnTo>
                  <a:lnTo>
                    <a:pt x="133" y="7"/>
                  </a:lnTo>
                  <a:lnTo>
                    <a:pt x="113" y="0"/>
                  </a:lnTo>
                  <a:lnTo>
                    <a:pt x="104" y="9"/>
                  </a:lnTo>
                  <a:lnTo>
                    <a:pt x="98" y="18"/>
                  </a:lnTo>
                  <a:lnTo>
                    <a:pt x="95" y="23"/>
                  </a:lnTo>
                  <a:lnTo>
                    <a:pt x="94" y="28"/>
                  </a:lnTo>
                  <a:lnTo>
                    <a:pt x="93" y="35"/>
                  </a:lnTo>
                  <a:lnTo>
                    <a:pt x="93" y="43"/>
                  </a:lnTo>
                  <a:lnTo>
                    <a:pt x="93" y="46"/>
                  </a:lnTo>
                  <a:lnTo>
                    <a:pt x="95" y="49"/>
                  </a:lnTo>
                  <a:lnTo>
                    <a:pt x="98" y="52"/>
                  </a:lnTo>
                  <a:lnTo>
                    <a:pt x="101" y="55"/>
                  </a:lnTo>
                  <a:lnTo>
                    <a:pt x="110" y="63"/>
                  </a:lnTo>
                  <a:lnTo>
                    <a:pt x="119" y="69"/>
                  </a:lnTo>
                  <a:lnTo>
                    <a:pt x="112" y="69"/>
                  </a:lnTo>
                  <a:lnTo>
                    <a:pt x="105" y="71"/>
                  </a:lnTo>
                  <a:lnTo>
                    <a:pt x="99" y="73"/>
                  </a:lnTo>
                  <a:lnTo>
                    <a:pt x="93" y="76"/>
                  </a:lnTo>
                  <a:lnTo>
                    <a:pt x="80" y="84"/>
                  </a:lnTo>
                  <a:lnTo>
                    <a:pt x="66" y="93"/>
                  </a:lnTo>
                  <a:lnTo>
                    <a:pt x="63" y="103"/>
                  </a:lnTo>
                  <a:lnTo>
                    <a:pt x="61" y="112"/>
                  </a:lnTo>
                  <a:lnTo>
                    <a:pt x="58" y="119"/>
                  </a:lnTo>
                  <a:lnTo>
                    <a:pt x="56" y="125"/>
                  </a:lnTo>
                  <a:lnTo>
                    <a:pt x="49" y="133"/>
                  </a:lnTo>
                  <a:lnTo>
                    <a:pt x="45" y="138"/>
                  </a:lnTo>
                  <a:lnTo>
                    <a:pt x="39" y="144"/>
                  </a:lnTo>
                  <a:lnTo>
                    <a:pt x="36" y="151"/>
                  </a:lnTo>
                  <a:lnTo>
                    <a:pt x="35" y="156"/>
                  </a:lnTo>
                  <a:lnTo>
                    <a:pt x="34" y="162"/>
                  </a:lnTo>
                  <a:lnTo>
                    <a:pt x="33" y="169"/>
                  </a:lnTo>
                  <a:lnTo>
                    <a:pt x="33" y="179"/>
                  </a:lnTo>
                  <a:lnTo>
                    <a:pt x="0" y="235"/>
                  </a:lnTo>
                  <a:lnTo>
                    <a:pt x="4" y="236"/>
                  </a:lnTo>
                  <a:lnTo>
                    <a:pt x="7" y="238"/>
                  </a:lnTo>
                  <a:lnTo>
                    <a:pt x="11" y="240"/>
                  </a:lnTo>
                  <a:lnTo>
                    <a:pt x="13" y="243"/>
                  </a:lnTo>
                  <a:lnTo>
                    <a:pt x="15" y="246"/>
                  </a:lnTo>
                  <a:lnTo>
                    <a:pt x="18" y="248"/>
                  </a:lnTo>
                  <a:lnTo>
                    <a:pt x="22" y="248"/>
                  </a:lnTo>
                  <a:lnTo>
                    <a:pt x="26" y="247"/>
                  </a:lnTo>
                  <a:lnTo>
                    <a:pt x="39" y="277"/>
                  </a:lnTo>
                  <a:lnTo>
                    <a:pt x="33" y="308"/>
                  </a:lnTo>
                  <a:lnTo>
                    <a:pt x="33" y="346"/>
                  </a:lnTo>
                  <a:lnTo>
                    <a:pt x="53" y="347"/>
                  </a:lnTo>
                  <a:lnTo>
                    <a:pt x="72" y="350"/>
                  </a:lnTo>
                  <a:lnTo>
                    <a:pt x="93" y="353"/>
                  </a:lnTo>
                  <a:lnTo>
                    <a:pt x="113" y="358"/>
                  </a:lnTo>
                  <a:lnTo>
                    <a:pt x="107" y="366"/>
                  </a:lnTo>
                  <a:lnTo>
                    <a:pt x="104" y="376"/>
                  </a:lnTo>
                  <a:lnTo>
                    <a:pt x="100" y="387"/>
                  </a:lnTo>
                  <a:lnTo>
                    <a:pt x="96" y="400"/>
                  </a:lnTo>
                  <a:lnTo>
                    <a:pt x="89" y="425"/>
                  </a:lnTo>
                  <a:lnTo>
                    <a:pt x="79" y="451"/>
                  </a:lnTo>
                  <a:lnTo>
                    <a:pt x="94" y="449"/>
                  </a:lnTo>
                  <a:lnTo>
                    <a:pt x="109" y="447"/>
                  </a:lnTo>
                  <a:lnTo>
                    <a:pt x="123" y="447"/>
                  </a:lnTo>
                  <a:lnTo>
                    <a:pt x="137" y="447"/>
                  </a:lnTo>
                  <a:lnTo>
                    <a:pt x="152" y="447"/>
                  </a:lnTo>
                  <a:lnTo>
                    <a:pt x="169" y="446"/>
                  </a:lnTo>
                  <a:lnTo>
                    <a:pt x="186" y="445"/>
                  </a:lnTo>
                  <a:lnTo>
                    <a:pt x="205" y="444"/>
                  </a:lnTo>
                  <a:lnTo>
                    <a:pt x="228" y="445"/>
                  </a:lnTo>
                  <a:lnTo>
                    <a:pt x="252" y="446"/>
                  </a:lnTo>
                  <a:lnTo>
                    <a:pt x="276" y="446"/>
                  </a:lnTo>
                  <a:lnTo>
                    <a:pt x="300" y="445"/>
                  </a:lnTo>
                  <a:lnTo>
                    <a:pt x="322" y="444"/>
                  </a:lnTo>
                  <a:lnTo>
                    <a:pt x="343" y="442"/>
                  </a:lnTo>
                  <a:lnTo>
                    <a:pt x="362" y="440"/>
                  </a:lnTo>
                  <a:lnTo>
                    <a:pt x="379" y="438"/>
                  </a:lnTo>
                  <a:lnTo>
                    <a:pt x="372" y="432"/>
                  </a:lnTo>
                  <a:lnTo>
                    <a:pt x="365" y="425"/>
                  </a:lnTo>
                  <a:lnTo>
                    <a:pt x="361" y="419"/>
                  </a:lnTo>
                  <a:lnTo>
                    <a:pt x="359" y="413"/>
                  </a:lnTo>
                  <a:lnTo>
                    <a:pt x="363" y="411"/>
                  </a:lnTo>
                  <a:lnTo>
                    <a:pt x="367" y="407"/>
                  </a:lnTo>
                  <a:lnTo>
                    <a:pt x="369" y="403"/>
                  </a:lnTo>
                  <a:lnTo>
                    <a:pt x="370" y="398"/>
                  </a:lnTo>
                  <a:lnTo>
                    <a:pt x="372" y="389"/>
                  </a:lnTo>
                  <a:lnTo>
                    <a:pt x="372" y="382"/>
                  </a:lnTo>
                  <a:lnTo>
                    <a:pt x="385" y="379"/>
                  </a:lnTo>
                  <a:lnTo>
                    <a:pt x="398" y="376"/>
                  </a:lnTo>
                  <a:lnTo>
                    <a:pt x="380" y="367"/>
                  </a:lnTo>
                  <a:lnTo>
                    <a:pt x="365" y="359"/>
                  </a:lnTo>
                  <a:lnTo>
                    <a:pt x="353" y="351"/>
                  </a:lnTo>
                  <a:lnTo>
                    <a:pt x="343" y="344"/>
                  </a:lnTo>
                  <a:lnTo>
                    <a:pt x="336" y="336"/>
                  </a:lnTo>
                  <a:lnTo>
                    <a:pt x="330" y="329"/>
                  </a:lnTo>
                  <a:lnTo>
                    <a:pt x="325" y="323"/>
                  </a:lnTo>
                  <a:lnTo>
                    <a:pt x="322" y="317"/>
                  </a:lnTo>
                  <a:lnTo>
                    <a:pt x="316" y="305"/>
                  </a:lnTo>
                  <a:lnTo>
                    <a:pt x="311" y="294"/>
                  </a:lnTo>
                  <a:lnTo>
                    <a:pt x="306" y="289"/>
                  </a:lnTo>
                  <a:lnTo>
                    <a:pt x="301" y="283"/>
                  </a:lnTo>
                  <a:lnTo>
                    <a:pt x="294" y="277"/>
                  </a:lnTo>
                  <a:lnTo>
                    <a:pt x="285" y="271"/>
                  </a:lnTo>
                  <a:lnTo>
                    <a:pt x="301" y="274"/>
                  </a:lnTo>
                  <a:lnTo>
                    <a:pt x="314" y="275"/>
                  </a:lnTo>
                  <a:lnTo>
                    <a:pt x="326" y="275"/>
                  </a:lnTo>
                  <a:lnTo>
                    <a:pt x="336" y="273"/>
                  </a:lnTo>
                  <a:lnTo>
                    <a:pt x="346" y="271"/>
                  </a:lnTo>
                  <a:lnTo>
                    <a:pt x="354" y="268"/>
                  </a:lnTo>
                  <a:lnTo>
                    <a:pt x="362" y="264"/>
                  </a:lnTo>
                  <a:lnTo>
                    <a:pt x="369" y="260"/>
                  </a:lnTo>
                  <a:lnTo>
                    <a:pt x="383" y="251"/>
                  </a:lnTo>
                  <a:lnTo>
                    <a:pt x="398" y="243"/>
                  </a:lnTo>
                  <a:lnTo>
                    <a:pt x="407" y="240"/>
                  </a:lnTo>
                  <a:lnTo>
                    <a:pt x="416" y="237"/>
                  </a:lnTo>
                  <a:lnTo>
                    <a:pt x="427" y="236"/>
                  </a:lnTo>
                  <a:lnTo>
                    <a:pt x="438" y="23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621" name="Freeform 17"/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5792237" y="2326840"/>
              <a:ext cx="299031" cy="329803"/>
            </a:xfrm>
            <a:custGeom>
              <a:avLst/>
              <a:gdLst>
                <a:gd name="T0" fmla="*/ 141903 w 578"/>
                <a:gd name="T1" fmla="*/ 46122 h 524"/>
                <a:gd name="T2" fmla="*/ 135393 w 578"/>
                <a:gd name="T3" fmla="*/ 44550 h 524"/>
                <a:gd name="T4" fmla="*/ 130620 w 578"/>
                <a:gd name="T5" fmla="*/ 41405 h 524"/>
                <a:gd name="T6" fmla="*/ 119337 w 578"/>
                <a:gd name="T7" fmla="*/ 34592 h 524"/>
                <a:gd name="T8" fmla="*/ 108922 w 578"/>
                <a:gd name="T9" fmla="*/ 40881 h 524"/>
                <a:gd name="T10" fmla="*/ 106753 w 578"/>
                <a:gd name="T11" fmla="*/ 55032 h 524"/>
                <a:gd name="T12" fmla="*/ 109790 w 578"/>
                <a:gd name="T13" fmla="*/ 80190 h 524"/>
                <a:gd name="T14" fmla="*/ 117167 w 578"/>
                <a:gd name="T15" fmla="*/ 90148 h 524"/>
                <a:gd name="T16" fmla="*/ 124545 w 578"/>
                <a:gd name="T17" fmla="*/ 93293 h 524"/>
                <a:gd name="T18" fmla="*/ 129318 w 578"/>
                <a:gd name="T19" fmla="*/ 100106 h 524"/>
                <a:gd name="T20" fmla="*/ 152318 w 578"/>
                <a:gd name="T21" fmla="*/ 117926 h 524"/>
                <a:gd name="T22" fmla="*/ 194845 w 578"/>
                <a:gd name="T23" fmla="*/ 161952 h 524"/>
                <a:gd name="T24" fmla="*/ 206996 w 578"/>
                <a:gd name="T25" fmla="*/ 168765 h 524"/>
                <a:gd name="T26" fmla="*/ 218712 w 578"/>
                <a:gd name="T27" fmla="*/ 171910 h 524"/>
                <a:gd name="T28" fmla="*/ 232599 w 578"/>
                <a:gd name="T29" fmla="*/ 186585 h 524"/>
                <a:gd name="T30" fmla="*/ 250825 w 578"/>
                <a:gd name="T31" fmla="*/ 197068 h 524"/>
                <a:gd name="T32" fmla="*/ 245184 w 578"/>
                <a:gd name="T33" fmla="*/ 213315 h 524"/>
                <a:gd name="T34" fmla="*/ 228259 w 578"/>
                <a:gd name="T35" fmla="*/ 200737 h 524"/>
                <a:gd name="T36" fmla="*/ 220448 w 578"/>
                <a:gd name="T37" fmla="*/ 197068 h 524"/>
                <a:gd name="T38" fmla="*/ 216109 w 578"/>
                <a:gd name="T39" fmla="*/ 208074 h 524"/>
                <a:gd name="T40" fmla="*/ 219580 w 578"/>
                <a:gd name="T41" fmla="*/ 223274 h 524"/>
                <a:gd name="T42" fmla="*/ 223052 w 578"/>
                <a:gd name="T43" fmla="*/ 231659 h 524"/>
                <a:gd name="T44" fmla="*/ 216977 w 578"/>
                <a:gd name="T45" fmla="*/ 245286 h 524"/>
                <a:gd name="T46" fmla="*/ 209599 w 578"/>
                <a:gd name="T47" fmla="*/ 264679 h 524"/>
                <a:gd name="T48" fmla="*/ 201788 w 578"/>
                <a:gd name="T49" fmla="*/ 273589 h 524"/>
                <a:gd name="T50" fmla="*/ 189204 w 578"/>
                <a:gd name="T51" fmla="*/ 264679 h 524"/>
                <a:gd name="T52" fmla="*/ 197883 w 578"/>
                <a:gd name="T53" fmla="*/ 253672 h 524"/>
                <a:gd name="T54" fmla="*/ 201788 w 578"/>
                <a:gd name="T55" fmla="*/ 244762 h 524"/>
                <a:gd name="T56" fmla="*/ 200052 w 578"/>
                <a:gd name="T57" fmla="*/ 231135 h 524"/>
                <a:gd name="T58" fmla="*/ 185298 w 578"/>
                <a:gd name="T59" fmla="*/ 207026 h 524"/>
                <a:gd name="T60" fmla="*/ 167072 w 578"/>
                <a:gd name="T61" fmla="*/ 193399 h 524"/>
                <a:gd name="T62" fmla="*/ 154053 w 578"/>
                <a:gd name="T63" fmla="*/ 186585 h 524"/>
                <a:gd name="T64" fmla="*/ 137997 w 578"/>
                <a:gd name="T65" fmla="*/ 172958 h 524"/>
                <a:gd name="T66" fmla="*/ 116299 w 578"/>
                <a:gd name="T67" fmla="*/ 165097 h 524"/>
                <a:gd name="T68" fmla="*/ 94602 w 578"/>
                <a:gd name="T69" fmla="*/ 149373 h 524"/>
                <a:gd name="T70" fmla="*/ 70300 w 578"/>
                <a:gd name="T71" fmla="*/ 120023 h 524"/>
                <a:gd name="T72" fmla="*/ 54678 w 578"/>
                <a:gd name="T73" fmla="*/ 88052 h 524"/>
                <a:gd name="T74" fmla="*/ 33414 w 578"/>
                <a:gd name="T75" fmla="*/ 80714 h 524"/>
                <a:gd name="T76" fmla="*/ 22132 w 578"/>
                <a:gd name="T77" fmla="*/ 82286 h 524"/>
                <a:gd name="T78" fmla="*/ 6509 w 578"/>
                <a:gd name="T79" fmla="*/ 86479 h 524"/>
                <a:gd name="T80" fmla="*/ 1302 w 578"/>
                <a:gd name="T81" fmla="*/ 69707 h 524"/>
                <a:gd name="T82" fmla="*/ 434 w 578"/>
                <a:gd name="T83" fmla="*/ 48743 h 524"/>
                <a:gd name="T84" fmla="*/ 2604 w 578"/>
                <a:gd name="T85" fmla="*/ 25682 h 524"/>
                <a:gd name="T86" fmla="*/ 19528 w 578"/>
                <a:gd name="T87" fmla="*/ 21489 h 524"/>
                <a:gd name="T88" fmla="*/ 29509 w 578"/>
                <a:gd name="T89" fmla="*/ 17296 h 524"/>
                <a:gd name="T90" fmla="*/ 36018 w 578"/>
                <a:gd name="T91" fmla="*/ 25158 h 524"/>
                <a:gd name="T92" fmla="*/ 45131 w 578"/>
                <a:gd name="T93" fmla="*/ 23061 h 524"/>
                <a:gd name="T94" fmla="*/ 64659 w 578"/>
                <a:gd name="T95" fmla="*/ 8386 h 524"/>
                <a:gd name="T96" fmla="*/ 103715 w 578"/>
                <a:gd name="T97" fmla="*/ 0 h 524"/>
                <a:gd name="T98" fmla="*/ 111526 w 578"/>
                <a:gd name="T99" fmla="*/ 6814 h 524"/>
                <a:gd name="T100" fmla="*/ 144072 w 578"/>
                <a:gd name="T101" fmla="*/ 9958 h 524"/>
                <a:gd name="T102" fmla="*/ 139733 w 578"/>
                <a:gd name="T103" fmla="*/ 34068 h 524"/>
                <a:gd name="T104" fmla="*/ 141035 w 578"/>
                <a:gd name="T105" fmla="*/ 47170 h 52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578" h="524">
                  <a:moveTo>
                    <a:pt x="332" y="99"/>
                  </a:moveTo>
                  <a:lnTo>
                    <a:pt x="331" y="94"/>
                  </a:lnTo>
                  <a:lnTo>
                    <a:pt x="329" y="90"/>
                  </a:lnTo>
                  <a:lnTo>
                    <a:pt x="327" y="88"/>
                  </a:lnTo>
                  <a:lnTo>
                    <a:pt x="325" y="86"/>
                  </a:lnTo>
                  <a:lnTo>
                    <a:pt x="320" y="85"/>
                  </a:lnTo>
                  <a:lnTo>
                    <a:pt x="315" y="85"/>
                  </a:lnTo>
                  <a:lnTo>
                    <a:pt x="312" y="85"/>
                  </a:lnTo>
                  <a:lnTo>
                    <a:pt x="309" y="85"/>
                  </a:lnTo>
                  <a:lnTo>
                    <a:pt x="306" y="84"/>
                  </a:lnTo>
                  <a:lnTo>
                    <a:pt x="304" y="82"/>
                  </a:lnTo>
                  <a:lnTo>
                    <a:pt x="301" y="79"/>
                  </a:lnTo>
                  <a:lnTo>
                    <a:pt x="297" y="75"/>
                  </a:lnTo>
                  <a:lnTo>
                    <a:pt x="295" y="69"/>
                  </a:lnTo>
                  <a:lnTo>
                    <a:pt x="293" y="61"/>
                  </a:lnTo>
                  <a:lnTo>
                    <a:pt x="275" y="66"/>
                  </a:lnTo>
                  <a:lnTo>
                    <a:pt x="263" y="70"/>
                  </a:lnTo>
                  <a:lnTo>
                    <a:pt x="258" y="73"/>
                  </a:lnTo>
                  <a:lnTo>
                    <a:pt x="254" y="76"/>
                  </a:lnTo>
                  <a:lnTo>
                    <a:pt x="251" y="78"/>
                  </a:lnTo>
                  <a:lnTo>
                    <a:pt x="249" y="81"/>
                  </a:lnTo>
                  <a:lnTo>
                    <a:pt x="247" y="87"/>
                  </a:lnTo>
                  <a:lnTo>
                    <a:pt x="246" y="95"/>
                  </a:lnTo>
                  <a:lnTo>
                    <a:pt x="246" y="105"/>
                  </a:lnTo>
                  <a:lnTo>
                    <a:pt x="246" y="117"/>
                  </a:lnTo>
                  <a:lnTo>
                    <a:pt x="247" y="131"/>
                  </a:lnTo>
                  <a:lnTo>
                    <a:pt x="249" y="143"/>
                  </a:lnTo>
                  <a:lnTo>
                    <a:pt x="253" y="153"/>
                  </a:lnTo>
                  <a:lnTo>
                    <a:pt x="259" y="162"/>
                  </a:lnTo>
                  <a:lnTo>
                    <a:pt x="262" y="166"/>
                  </a:lnTo>
                  <a:lnTo>
                    <a:pt x="266" y="169"/>
                  </a:lnTo>
                  <a:lnTo>
                    <a:pt x="270" y="172"/>
                  </a:lnTo>
                  <a:lnTo>
                    <a:pt x="274" y="174"/>
                  </a:lnTo>
                  <a:lnTo>
                    <a:pt x="279" y="176"/>
                  </a:lnTo>
                  <a:lnTo>
                    <a:pt x="283" y="177"/>
                  </a:lnTo>
                  <a:lnTo>
                    <a:pt x="287" y="178"/>
                  </a:lnTo>
                  <a:lnTo>
                    <a:pt x="293" y="178"/>
                  </a:lnTo>
                  <a:lnTo>
                    <a:pt x="293" y="182"/>
                  </a:lnTo>
                  <a:lnTo>
                    <a:pt x="295" y="187"/>
                  </a:lnTo>
                  <a:lnTo>
                    <a:pt x="298" y="191"/>
                  </a:lnTo>
                  <a:lnTo>
                    <a:pt x="303" y="195"/>
                  </a:lnTo>
                  <a:lnTo>
                    <a:pt x="314" y="203"/>
                  </a:lnTo>
                  <a:lnTo>
                    <a:pt x="327" y="211"/>
                  </a:lnTo>
                  <a:lnTo>
                    <a:pt x="351" y="225"/>
                  </a:lnTo>
                  <a:lnTo>
                    <a:pt x="365" y="234"/>
                  </a:lnTo>
                  <a:lnTo>
                    <a:pt x="439" y="296"/>
                  </a:lnTo>
                  <a:lnTo>
                    <a:pt x="443" y="303"/>
                  </a:lnTo>
                  <a:lnTo>
                    <a:pt x="449" y="309"/>
                  </a:lnTo>
                  <a:lnTo>
                    <a:pt x="454" y="314"/>
                  </a:lnTo>
                  <a:lnTo>
                    <a:pt x="461" y="318"/>
                  </a:lnTo>
                  <a:lnTo>
                    <a:pt x="469" y="320"/>
                  </a:lnTo>
                  <a:lnTo>
                    <a:pt x="477" y="322"/>
                  </a:lnTo>
                  <a:lnTo>
                    <a:pt x="487" y="322"/>
                  </a:lnTo>
                  <a:lnTo>
                    <a:pt x="498" y="321"/>
                  </a:lnTo>
                  <a:lnTo>
                    <a:pt x="500" y="324"/>
                  </a:lnTo>
                  <a:lnTo>
                    <a:pt x="504" y="328"/>
                  </a:lnTo>
                  <a:lnTo>
                    <a:pt x="507" y="332"/>
                  </a:lnTo>
                  <a:lnTo>
                    <a:pt x="511" y="337"/>
                  </a:lnTo>
                  <a:lnTo>
                    <a:pt x="523" y="346"/>
                  </a:lnTo>
                  <a:lnTo>
                    <a:pt x="536" y="356"/>
                  </a:lnTo>
                  <a:lnTo>
                    <a:pt x="549" y="364"/>
                  </a:lnTo>
                  <a:lnTo>
                    <a:pt x="561" y="370"/>
                  </a:lnTo>
                  <a:lnTo>
                    <a:pt x="571" y="374"/>
                  </a:lnTo>
                  <a:lnTo>
                    <a:pt x="578" y="376"/>
                  </a:lnTo>
                  <a:lnTo>
                    <a:pt x="577" y="383"/>
                  </a:lnTo>
                  <a:lnTo>
                    <a:pt x="574" y="391"/>
                  </a:lnTo>
                  <a:lnTo>
                    <a:pt x="570" y="400"/>
                  </a:lnTo>
                  <a:lnTo>
                    <a:pt x="565" y="407"/>
                  </a:lnTo>
                  <a:lnTo>
                    <a:pt x="552" y="388"/>
                  </a:lnTo>
                  <a:lnTo>
                    <a:pt x="541" y="387"/>
                  </a:lnTo>
                  <a:lnTo>
                    <a:pt x="530" y="384"/>
                  </a:lnTo>
                  <a:lnTo>
                    <a:pt x="526" y="383"/>
                  </a:lnTo>
                  <a:lnTo>
                    <a:pt x="521" y="381"/>
                  </a:lnTo>
                  <a:lnTo>
                    <a:pt x="519" y="378"/>
                  </a:lnTo>
                  <a:lnTo>
                    <a:pt x="518" y="376"/>
                  </a:lnTo>
                  <a:lnTo>
                    <a:pt x="508" y="376"/>
                  </a:lnTo>
                  <a:lnTo>
                    <a:pt x="498" y="376"/>
                  </a:lnTo>
                  <a:lnTo>
                    <a:pt x="498" y="382"/>
                  </a:lnTo>
                  <a:lnTo>
                    <a:pt x="498" y="389"/>
                  </a:lnTo>
                  <a:lnTo>
                    <a:pt x="498" y="397"/>
                  </a:lnTo>
                  <a:lnTo>
                    <a:pt x="498" y="407"/>
                  </a:lnTo>
                  <a:lnTo>
                    <a:pt x="499" y="414"/>
                  </a:lnTo>
                  <a:lnTo>
                    <a:pt x="504" y="422"/>
                  </a:lnTo>
                  <a:lnTo>
                    <a:pt x="506" y="426"/>
                  </a:lnTo>
                  <a:lnTo>
                    <a:pt x="509" y="429"/>
                  </a:lnTo>
                  <a:lnTo>
                    <a:pt x="514" y="431"/>
                  </a:lnTo>
                  <a:lnTo>
                    <a:pt x="518" y="432"/>
                  </a:lnTo>
                  <a:lnTo>
                    <a:pt x="514" y="442"/>
                  </a:lnTo>
                  <a:lnTo>
                    <a:pt x="508" y="454"/>
                  </a:lnTo>
                  <a:lnTo>
                    <a:pt x="506" y="460"/>
                  </a:lnTo>
                  <a:lnTo>
                    <a:pt x="504" y="465"/>
                  </a:lnTo>
                  <a:lnTo>
                    <a:pt x="500" y="468"/>
                  </a:lnTo>
                  <a:lnTo>
                    <a:pt x="498" y="469"/>
                  </a:lnTo>
                  <a:lnTo>
                    <a:pt x="493" y="485"/>
                  </a:lnTo>
                  <a:lnTo>
                    <a:pt x="486" y="498"/>
                  </a:lnTo>
                  <a:lnTo>
                    <a:pt x="483" y="505"/>
                  </a:lnTo>
                  <a:lnTo>
                    <a:pt x="481" y="511"/>
                  </a:lnTo>
                  <a:lnTo>
                    <a:pt x="480" y="518"/>
                  </a:lnTo>
                  <a:lnTo>
                    <a:pt x="478" y="524"/>
                  </a:lnTo>
                  <a:lnTo>
                    <a:pt x="465" y="522"/>
                  </a:lnTo>
                  <a:lnTo>
                    <a:pt x="450" y="518"/>
                  </a:lnTo>
                  <a:lnTo>
                    <a:pt x="438" y="513"/>
                  </a:lnTo>
                  <a:lnTo>
                    <a:pt x="432" y="511"/>
                  </a:lnTo>
                  <a:lnTo>
                    <a:pt x="436" y="505"/>
                  </a:lnTo>
                  <a:lnTo>
                    <a:pt x="440" y="499"/>
                  </a:lnTo>
                  <a:lnTo>
                    <a:pt x="445" y="494"/>
                  </a:lnTo>
                  <a:lnTo>
                    <a:pt x="451" y="489"/>
                  </a:lnTo>
                  <a:lnTo>
                    <a:pt x="456" y="484"/>
                  </a:lnTo>
                  <a:lnTo>
                    <a:pt x="461" y="478"/>
                  </a:lnTo>
                  <a:lnTo>
                    <a:pt x="463" y="475"/>
                  </a:lnTo>
                  <a:lnTo>
                    <a:pt x="464" y="471"/>
                  </a:lnTo>
                  <a:lnTo>
                    <a:pt x="465" y="467"/>
                  </a:lnTo>
                  <a:lnTo>
                    <a:pt x="465" y="463"/>
                  </a:lnTo>
                  <a:lnTo>
                    <a:pt x="464" y="455"/>
                  </a:lnTo>
                  <a:lnTo>
                    <a:pt x="463" y="448"/>
                  </a:lnTo>
                  <a:lnTo>
                    <a:pt x="461" y="441"/>
                  </a:lnTo>
                  <a:lnTo>
                    <a:pt x="458" y="434"/>
                  </a:lnTo>
                  <a:lnTo>
                    <a:pt x="449" y="420"/>
                  </a:lnTo>
                  <a:lnTo>
                    <a:pt x="439" y="407"/>
                  </a:lnTo>
                  <a:lnTo>
                    <a:pt x="427" y="395"/>
                  </a:lnTo>
                  <a:lnTo>
                    <a:pt x="415" y="384"/>
                  </a:lnTo>
                  <a:lnTo>
                    <a:pt x="403" y="376"/>
                  </a:lnTo>
                  <a:lnTo>
                    <a:pt x="392" y="370"/>
                  </a:lnTo>
                  <a:lnTo>
                    <a:pt x="385" y="369"/>
                  </a:lnTo>
                  <a:lnTo>
                    <a:pt x="378" y="367"/>
                  </a:lnTo>
                  <a:lnTo>
                    <a:pt x="372" y="364"/>
                  </a:lnTo>
                  <a:lnTo>
                    <a:pt x="366" y="362"/>
                  </a:lnTo>
                  <a:lnTo>
                    <a:pt x="355" y="356"/>
                  </a:lnTo>
                  <a:lnTo>
                    <a:pt x="348" y="349"/>
                  </a:lnTo>
                  <a:lnTo>
                    <a:pt x="336" y="338"/>
                  </a:lnTo>
                  <a:lnTo>
                    <a:pt x="332" y="333"/>
                  </a:lnTo>
                  <a:lnTo>
                    <a:pt x="318" y="330"/>
                  </a:lnTo>
                  <a:lnTo>
                    <a:pt x="305" y="327"/>
                  </a:lnTo>
                  <a:lnTo>
                    <a:pt x="292" y="323"/>
                  </a:lnTo>
                  <a:lnTo>
                    <a:pt x="280" y="319"/>
                  </a:lnTo>
                  <a:lnTo>
                    <a:pt x="268" y="315"/>
                  </a:lnTo>
                  <a:lnTo>
                    <a:pt x="257" y="310"/>
                  </a:lnTo>
                  <a:lnTo>
                    <a:pt x="247" y="304"/>
                  </a:lnTo>
                  <a:lnTo>
                    <a:pt x="237" y="299"/>
                  </a:lnTo>
                  <a:lnTo>
                    <a:pt x="218" y="285"/>
                  </a:lnTo>
                  <a:lnTo>
                    <a:pt x="202" y="272"/>
                  </a:lnTo>
                  <a:lnTo>
                    <a:pt x="186" y="258"/>
                  </a:lnTo>
                  <a:lnTo>
                    <a:pt x="173" y="244"/>
                  </a:lnTo>
                  <a:lnTo>
                    <a:pt x="162" y="229"/>
                  </a:lnTo>
                  <a:lnTo>
                    <a:pt x="152" y="215"/>
                  </a:lnTo>
                  <a:lnTo>
                    <a:pt x="144" y="202"/>
                  </a:lnTo>
                  <a:lnTo>
                    <a:pt x="137" y="189"/>
                  </a:lnTo>
                  <a:lnTo>
                    <a:pt x="126" y="168"/>
                  </a:lnTo>
                  <a:lnTo>
                    <a:pt x="119" y="154"/>
                  </a:lnTo>
                  <a:lnTo>
                    <a:pt x="102" y="154"/>
                  </a:lnTo>
                  <a:lnTo>
                    <a:pt x="89" y="154"/>
                  </a:lnTo>
                  <a:lnTo>
                    <a:pt x="77" y="154"/>
                  </a:lnTo>
                  <a:lnTo>
                    <a:pt x="67" y="154"/>
                  </a:lnTo>
                  <a:lnTo>
                    <a:pt x="61" y="155"/>
                  </a:lnTo>
                  <a:lnTo>
                    <a:pt x="57" y="155"/>
                  </a:lnTo>
                  <a:lnTo>
                    <a:pt x="51" y="157"/>
                  </a:lnTo>
                  <a:lnTo>
                    <a:pt x="46" y="159"/>
                  </a:lnTo>
                  <a:lnTo>
                    <a:pt x="34" y="164"/>
                  </a:lnTo>
                  <a:lnTo>
                    <a:pt x="21" y="172"/>
                  </a:lnTo>
                  <a:lnTo>
                    <a:pt x="15" y="165"/>
                  </a:lnTo>
                  <a:lnTo>
                    <a:pt x="12" y="158"/>
                  </a:lnTo>
                  <a:lnTo>
                    <a:pt x="7" y="150"/>
                  </a:lnTo>
                  <a:lnTo>
                    <a:pt x="5" y="141"/>
                  </a:lnTo>
                  <a:lnTo>
                    <a:pt x="3" y="133"/>
                  </a:lnTo>
                  <a:lnTo>
                    <a:pt x="1" y="123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1" y="93"/>
                  </a:lnTo>
                  <a:lnTo>
                    <a:pt x="3" y="83"/>
                  </a:lnTo>
                  <a:lnTo>
                    <a:pt x="5" y="71"/>
                  </a:lnTo>
                  <a:lnTo>
                    <a:pt x="6" y="55"/>
                  </a:lnTo>
                  <a:lnTo>
                    <a:pt x="6" y="49"/>
                  </a:lnTo>
                  <a:lnTo>
                    <a:pt x="27" y="49"/>
                  </a:lnTo>
                  <a:lnTo>
                    <a:pt x="34" y="47"/>
                  </a:lnTo>
                  <a:lnTo>
                    <a:pt x="39" y="44"/>
                  </a:lnTo>
                  <a:lnTo>
                    <a:pt x="45" y="41"/>
                  </a:lnTo>
                  <a:lnTo>
                    <a:pt x="49" y="37"/>
                  </a:lnTo>
                  <a:lnTo>
                    <a:pt x="58" y="31"/>
                  </a:lnTo>
                  <a:lnTo>
                    <a:pt x="67" y="25"/>
                  </a:lnTo>
                  <a:lnTo>
                    <a:pt x="68" y="33"/>
                  </a:lnTo>
                  <a:lnTo>
                    <a:pt x="70" y="39"/>
                  </a:lnTo>
                  <a:lnTo>
                    <a:pt x="73" y="44"/>
                  </a:lnTo>
                  <a:lnTo>
                    <a:pt x="78" y="46"/>
                  </a:lnTo>
                  <a:lnTo>
                    <a:pt x="83" y="48"/>
                  </a:lnTo>
                  <a:lnTo>
                    <a:pt x="89" y="49"/>
                  </a:lnTo>
                  <a:lnTo>
                    <a:pt x="94" y="49"/>
                  </a:lnTo>
                  <a:lnTo>
                    <a:pt x="100" y="49"/>
                  </a:lnTo>
                  <a:lnTo>
                    <a:pt x="104" y="44"/>
                  </a:lnTo>
                  <a:lnTo>
                    <a:pt x="113" y="38"/>
                  </a:lnTo>
                  <a:lnTo>
                    <a:pt x="124" y="31"/>
                  </a:lnTo>
                  <a:lnTo>
                    <a:pt x="136" y="24"/>
                  </a:lnTo>
                  <a:lnTo>
                    <a:pt x="149" y="16"/>
                  </a:lnTo>
                  <a:lnTo>
                    <a:pt x="160" y="11"/>
                  </a:lnTo>
                  <a:lnTo>
                    <a:pt x="168" y="7"/>
                  </a:lnTo>
                  <a:lnTo>
                    <a:pt x="173" y="6"/>
                  </a:lnTo>
                  <a:lnTo>
                    <a:pt x="239" y="0"/>
                  </a:lnTo>
                  <a:lnTo>
                    <a:pt x="243" y="4"/>
                  </a:lnTo>
                  <a:lnTo>
                    <a:pt x="248" y="8"/>
                  </a:lnTo>
                  <a:lnTo>
                    <a:pt x="252" y="11"/>
                  </a:lnTo>
                  <a:lnTo>
                    <a:pt x="257" y="13"/>
                  </a:lnTo>
                  <a:lnTo>
                    <a:pt x="266" y="16"/>
                  </a:lnTo>
                  <a:lnTo>
                    <a:pt x="279" y="19"/>
                  </a:lnTo>
                  <a:lnTo>
                    <a:pt x="304" y="20"/>
                  </a:lnTo>
                  <a:lnTo>
                    <a:pt x="332" y="19"/>
                  </a:lnTo>
                  <a:lnTo>
                    <a:pt x="331" y="34"/>
                  </a:lnTo>
                  <a:lnTo>
                    <a:pt x="329" y="46"/>
                  </a:lnTo>
                  <a:lnTo>
                    <a:pt x="325" y="56"/>
                  </a:lnTo>
                  <a:lnTo>
                    <a:pt x="322" y="65"/>
                  </a:lnTo>
                  <a:lnTo>
                    <a:pt x="320" y="74"/>
                  </a:lnTo>
                  <a:lnTo>
                    <a:pt x="321" y="82"/>
                  </a:lnTo>
                  <a:lnTo>
                    <a:pt x="322" y="86"/>
                  </a:lnTo>
                  <a:lnTo>
                    <a:pt x="325" y="90"/>
                  </a:lnTo>
                  <a:lnTo>
                    <a:pt x="328" y="94"/>
                  </a:lnTo>
                  <a:lnTo>
                    <a:pt x="332" y="9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622" name="Freeform 18"/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5813054" y="2528915"/>
              <a:ext cx="39745" cy="99132"/>
            </a:xfrm>
            <a:custGeom>
              <a:avLst/>
              <a:gdLst>
                <a:gd name="T0" fmla="*/ 0 w 79"/>
                <a:gd name="T1" fmla="*/ 19090 h 160"/>
                <a:gd name="T2" fmla="*/ 2532 w 79"/>
                <a:gd name="T3" fmla="*/ 19090 h 160"/>
                <a:gd name="T4" fmla="*/ 4642 w 79"/>
                <a:gd name="T5" fmla="*/ 18574 h 160"/>
                <a:gd name="T6" fmla="*/ 6752 w 79"/>
                <a:gd name="T7" fmla="*/ 18058 h 160"/>
                <a:gd name="T8" fmla="*/ 8018 w 79"/>
                <a:gd name="T9" fmla="*/ 17026 h 160"/>
                <a:gd name="T10" fmla="*/ 10972 w 79"/>
                <a:gd name="T11" fmla="*/ 14446 h 160"/>
                <a:gd name="T12" fmla="*/ 13082 w 79"/>
                <a:gd name="T13" fmla="*/ 11351 h 160"/>
                <a:gd name="T14" fmla="*/ 15614 w 79"/>
                <a:gd name="T15" fmla="*/ 8255 h 160"/>
                <a:gd name="T16" fmla="*/ 17302 w 79"/>
                <a:gd name="T17" fmla="*/ 5159 h 160"/>
                <a:gd name="T18" fmla="*/ 19412 w 79"/>
                <a:gd name="T19" fmla="*/ 2580 h 160"/>
                <a:gd name="T20" fmla="*/ 22366 w 79"/>
                <a:gd name="T21" fmla="*/ 0 h 160"/>
                <a:gd name="T22" fmla="*/ 24054 w 79"/>
                <a:gd name="T23" fmla="*/ 1548 h 160"/>
                <a:gd name="T24" fmla="*/ 26164 w 79"/>
                <a:gd name="T25" fmla="*/ 3612 h 160"/>
                <a:gd name="T26" fmla="*/ 27008 w 79"/>
                <a:gd name="T27" fmla="*/ 5159 h 160"/>
                <a:gd name="T28" fmla="*/ 27852 w 79"/>
                <a:gd name="T29" fmla="*/ 7223 h 160"/>
                <a:gd name="T30" fmla="*/ 29118 w 79"/>
                <a:gd name="T31" fmla="*/ 11351 h 160"/>
                <a:gd name="T32" fmla="*/ 30384 w 79"/>
                <a:gd name="T33" fmla="*/ 16510 h 160"/>
                <a:gd name="T34" fmla="*/ 30806 w 79"/>
                <a:gd name="T35" fmla="*/ 20638 h 160"/>
                <a:gd name="T36" fmla="*/ 31228 w 79"/>
                <a:gd name="T37" fmla="*/ 25281 h 160"/>
                <a:gd name="T38" fmla="*/ 32072 w 79"/>
                <a:gd name="T39" fmla="*/ 29924 h 160"/>
                <a:gd name="T40" fmla="*/ 33338 w 79"/>
                <a:gd name="T41" fmla="*/ 34568 h 160"/>
                <a:gd name="T42" fmla="*/ 33338 w 79"/>
                <a:gd name="T43" fmla="*/ 50562 h 160"/>
                <a:gd name="T44" fmla="*/ 28696 w 79"/>
                <a:gd name="T45" fmla="*/ 59333 h 160"/>
                <a:gd name="T46" fmla="*/ 24898 w 79"/>
                <a:gd name="T47" fmla="*/ 66556 h 160"/>
                <a:gd name="T48" fmla="*/ 22366 w 79"/>
                <a:gd name="T49" fmla="*/ 70168 h 160"/>
                <a:gd name="T50" fmla="*/ 21100 w 79"/>
                <a:gd name="T51" fmla="*/ 74295 h 160"/>
                <a:gd name="T52" fmla="*/ 20256 w 79"/>
                <a:gd name="T53" fmla="*/ 77907 h 160"/>
                <a:gd name="T54" fmla="*/ 19412 w 79"/>
                <a:gd name="T55" fmla="*/ 82550 h 160"/>
                <a:gd name="T56" fmla="*/ 16880 w 79"/>
                <a:gd name="T57" fmla="*/ 79970 h 160"/>
                <a:gd name="T58" fmla="*/ 13926 w 79"/>
                <a:gd name="T59" fmla="*/ 77391 h 160"/>
                <a:gd name="T60" fmla="*/ 11816 w 79"/>
                <a:gd name="T61" fmla="*/ 74295 h 160"/>
                <a:gd name="T62" fmla="*/ 9284 w 79"/>
                <a:gd name="T63" fmla="*/ 70683 h 160"/>
                <a:gd name="T64" fmla="*/ 7596 w 79"/>
                <a:gd name="T65" fmla="*/ 67072 h 160"/>
                <a:gd name="T66" fmla="*/ 6330 w 79"/>
                <a:gd name="T67" fmla="*/ 63460 h 160"/>
                <a:gd name="T68" fmla="*/ 4642 w 79"/>
                <a:gd name="T69" fmla="*/ 59333 h 160"/>
                <a:gd name="T70" fmla="*/ 3376 w 79"/>
                <a:gd name="T71" fmla="*/ 55721 h 160"/>
                <a:gd name="T72" fmla="*/ 1688 w 79"/>
                <a:gd name="T73" fmla="*/ 46950 h 160"/>
                <a:gd name="T74" fmla="*/ 422 w 79"/>
                <a:gd name="T75" fmla="*/ 37663 h 160"/>
                <a:gd name="T76" fmla="*/ 0 w 79"/>
                <a:gd name="T77" fmla="*/ 28377 h 160"/>
                <a:gd name="T78" fmla="*/ 0 w 79"/>
                <a:gd name="T79" fmla="*/ 19090 h 16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79" h="160">
                  <a:moveTo>
                    <a:pt x="0" y="37"/>
                  </a:moveTo>
                  <a:lnTo>
                    <a:pt x="6" y="37"/>
                  </a:lnTo>
                  <a:lnTo>
                    <a:pt x="11" y="36"/>
                  </a:lnTo>
                  <a:lnTo>
                    <a:pt x="16" y="35"/>
                  </a:lnTo>
                  <a:lnTo>
                    <a:pt x="19" y="33"/>
                  </a:lnTo>
                  <a:lnTo>
                    <a:pt x="26" y="28"/>
                  </a:lnTo>
                  <a:lnTo>
                    <a:pt x="31" y="22"/>
                  </a:lnTo>
                  <a:lnTo>
                    <a:pt x="37" y="16"/>
                  </a:lnTo>
                  <a:lnTo>
                    <a:pt x="41" y="10"/>
                  </a:lnTo>
                  <a:lnTo>
                    <a:pt x="46" y="5"/>
                  </a:lnTo>
                  <a:lnTo>
                    <a:pt x="53" y="0"/>
                  </a:lnTo>
                  <a:lnTo>
                    <a:pt x="57" y="3"/>
                  </a:lnTo>
                  <a:lnTo>
                    <a:pt x="62" y="7"/>
                  </a:lnTo>
                  <a:lnTo>
                    <a:pt x="64" y="10"/>
                  </a:lnTo>
                  <a:lnTo>
                    <a:pt x="66" y="14"/>
                  </a:lnTo>
                  <a:lnTo>
                    <a:pt x="69" y="22"/>
                  </a:lnTo>
                  <a:lnTo>
                    <a:pt x="72" y="32"/>
                  </a:lnTo>
                  <a:lnTo>
                    <a:pt x="73" y="40"/>
                  </a:lnTo>
                  <a:lnTo>
                    <a:pt x="74" y="49"/>
                  </a:lnTo>
                  <a:lnTo>
                    <a:pt x="76" y="58"/>
                  </a:lnTo>
                  <a:lnTo>
                    <a:pt x="79" y="67"/>
                  </a:lnTo>
                  <a:lnTo>
                    <a:pt x="79" y="98"/>
                  </a:lnTo>
                  <a:lnTo>
                    <a:pt x="68" y="115"/>
                  </a:lnTo>
                  <a:lnTo>
                    <a:pt x="59" y="129"/>
                  </a:lnTo>
                  <a:lnTo>
                    <a:pt x="53" y="136"/>
                  </a:lnTo>
                  <a:lnTo>
                    <a:pt x="50" y="144"/>
                  </a:lnTo>
                  <a:lnTo>
                    <a:pt x="48" y="151"/>
                  </a:lnTo>
                  <a:lnTo>
                    <a:pt x="46" y="160"/>
                  </a:lnTo>
                  <a:lnTo>
                    <a:pt x="40" y="155"/>
                  </a:lnTo>
                  <a:lnTo>
                    <a:pt x="33" y="150"/>
                  </a:lnTo>
                  <a:lnTo>
                    <a:pt x="28" y="144"/>
                  </a:lnTo>
                  <a:lnTo>
                    <a:pt x="22" y="137"/>
                  </a:lnTo>
                  <a:lnTo>
                    <a:pt x="18" y="130"/>
                  </a:lnTo>
                  <a:lnTo>
                    <a:pt x="15" y="123"/>
                  </a:lnTo>
                  <a:lnTo>
                    <a:pt x="11" y="115"/>
                  </a:lnTo>
                  <a:lnTo>
                    <a:pt x="8" y="108"/>
                  </a:lnTo>
                  <a:lnTo>
                    <a:pt x="4" y="91"/>
                  </a:lnTo>
                  <a:lnTo>
                    <a:pt x="1" y="73"/>
                  </a:lnTo>
                  <a:lnTo>
                    <a:pt x="0" y="55"/>
                  </a:lnTo>
                  <a:lnTo>
                    <a:pt x="0" y="3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grpSp>
          <p:nvGrpSpPr>
            <p:cNvPr id="623" name="Group 19"/>
            <p:cNvGrpSpPr>
              <a:grpSpLocks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8578146" y="3802377"/>
              <a:ext cx="563995" cy="255455"/>
              <a:chOff x="4488" y="2394"/>
              <a:chExt cx="358" cy="124"/>
            </a:xfrm>
            <a:grpFill/>
          </p:grpSpPr>
          <p:sp>
            <p:nvSpPr>
              <p:cNvPr id="1150" name="Freeform 20"/>
              <p:cNvSpPr>
                <a:spLocks/>
              </p:cNvSpPr>
              <p:nvPr/>
            </p:nvSpPr>
            <p:spPr bwMode="auto">
              <a:xfrm>
                <a:off x="4675" y="2394"/>
                <a:ext cx="171" cy="124"/>
              </a:xfrm>
              <a:custGeom>
                <a:avLst/>
                <a:gdLst>
                  <a:gd name="T0" fmla="*/ 142 w 512"/>
                  <a:gd name="T1" fmla="*/ 60 h 408"/>
                  <a:gd name="T2" fmla="*/ 129 w 512"/>
                  <a:gd name="T3" fmla="*/ 59 h 408"/>
                  <a:gd name="T4" fmla="*/ 123 w 512"/>
                  <a:gd name="T5" fmla="*/ 62 h 408"/>
                  <a:gd name="T6" fmla="*/ 118 w 512"/>
                  <a:gd name="T7" fmla="*/ 66 h 408"/>
                  <a:gd name="T8" fmla="*/ 116 w 512"/>
                  <a:gd name="T9" fmla="*/ 77 h 408"/>
                  <a:gd name="T10" fmla="*/ 109 w 512"/>
                  <a:gd name="T11" fmla="*/ 93 h 408"/>
                  <a:gd name="T12" fmla="*/ 102 w 512"/>
                  <a:gd name="T13" fmla="*/ 102 h 408"/>
                  <a:gd name="T14" fmla="*/ 97 w 512"/>
                  <a:gd name="T15" fmla="*/ 106 h 408"/>
                  <a:gd name="T16" fmla="*/ 91 w 512"/>
                  <a:gd name="T17" fmla="*/ 109 h 408"/>
                  <a:gd name="T18" fmla="*/ 86 w 512"/>
                  <a:gd name="T19" fmla="*/ 112 h 408"/>
                  <a:gd name="T20" fmla="*/ 84 w 512"/>
                  <a:gd name="T21" fmla="*/ 114 h 408"/>
                  <a:gd name="T22" fmla="*/ 72 w 512"/>
                  <a:gd name="T23" fmla="*/ 112 h 408"/>
                  <a:gd name="T24" fmla="*/ 61 w 512"/>
                  <a:gd name="T25" fmla="*/ 112 h 408"/>
                  <a:gd name="T26" fmla="*/ 52 w 512"/>
                  <a:gd name="T27" fmla="*/ 113 h 408"/>
                  <a:gd name="T28" fmla="*/ 46 w 512"/>
                  <a:gd name="T29" fmla="*/ 118 h 408"/>
                  <a:gd name="T30" fmla="*/ 32 w 512"/>
                  <a:gd name="T31" fmla="*/ 123 h 408"/>
                  <a:gd name="T32" fmla="*/ 21 w 512"/>
                  <a:gd name="T33" fmla="*/ 124 h 408"/>
                  <a:gd name="T34" fmla="*/ 15 w 512"/>
                  <a:gd name="T35" fmla="*/ 122 h 408"/>
                  <a:gd name="T36" fmla="*/ 5 w 512"/>
                  <a:gd name="T37" fmla="*/ 112 h 408"/>
                  <a:gd name="T38" fmla="*/ 1 w 512"/>
                  <a:gd name="T39" fmla="*/ 105 h 408"/>
                  <a:gd name="T40" fmla="*/ 3 w 512"/>
                  <a:gd name="T41" fmla="*/ 102 h 408"/>
                  <a:gd name="T42" fmla="*/ 11 w 512"/>
                  <a:gd name="T43" fmla="*/ 105 h 408"/>
                  <a:gd name="T44" fmla="*/ 18 w 512"/>
                  <a:gd name="T45" fmla="*/ 102 h 408"/>
                  <a:gd name="T46" fmla="*/ 19 w 512"/>
                  <a:gd name="T47" fmla="*/ 95 h 408"/>
                  <a:gd name="T48" fmla="*/ 24 w 512"/>
                  <a:gd name="T49" fmla="*/ 91 h 408"/>
                  <a:gd name="T50" fmla="*/ 27 w 512"/>
                  <a:gd name="T51" fmla="*/ 87 h 408"/>
                  <a:gd name="T52" fmla="*/ 30 w 512"/>
                  <a:gd name="T53" fmla="*/ 83 h 408"/>
                  <a:gd name="T54" fmla="*/ 34 w 512"/>
                  <a:gd name="T55" fmla="*/ 80 h 408"/>
                  <a:gd name="T56" fmla="*/ 46 w 512"/>
                  <a:gd name="T57" fmla="*/ 75 h 408"/>
                  <a:gd name="T58" fmla="*/ 58 w 512"/>
                  <a:gd name="T59" fmla="*/ 71 h 408"/>
                  <a:gd name="T60" fmla="*/ 67 w 512"/>
                  <a:gd name="T61" fmla="*/ 66 h 408"/>
                  <a:gd name="T62" fmla="*/ 71 w 512"/>
                  <a:gd name="T63" fmla="*/ 62 h 408"/>
                  <a:gd name="T64" fmla="*/ 73 w 512"/>
                  <a:gd name="T65" fmla="*/ 58 h 408"/>
                  <a:gd name="T66" fmla="*/ 76 w 512"/>
                  <a:gd name="T67" fmla="*/ 49 h 408"/>
                  <a:gd name="T68" fmla="*/ 76 w 512"/>
                  <a:gd name="T69" fmla="*/ 45 h 408"/>
                  <a:gd name="T70" fmla="*/ 77 w 512"/>
                  <a:gd name="T71" fmla="*/ 46 h 408"/>
                  <a:gd name="T72" fmla="*/ 80 w 512"/>
                  <a:gd name="T73" fmla="*/ 43 h 408"/>
                  <a:gd name="T74" fmla="*/ 79 w 512"/>
                  <a:gd name="T75" fmla="*/ 47 h 408"/>
                  <a:gd name="T76" fmla="*/ 80 w 512"/>
                  <a:gd name="T77" fmla="*/ 53 h 408"/>
                  <a:gd name="T78" fmla="*/ 84 w 512"/>
                  <a:gd name="T79" fmla="*/ 59 h 408"/>
                  <a:gd name="T80" fmla="*/ 91 w 512"/>
                  <a:gd name="T81" fmla="*/ 62 h 408"/>
                  <a:gd name="T82" fmla="*/ 102 w 512"/>
                  <a:gd name="T83" fmla="*/ 62 h 408"/>
                  <a:gd name="T84" fmla="*/ 107 w 512"/>
                  <a:gd name="T85" fmla="*/ 62 h 408"/>
                  <a:gd name="T86" fmla="*/ 109 w 512"/>
                  <a:gd name="T87" fmla="*/ 60 h 408"/>
                  <a:gd name="T88" fmla="*/ 108 w 512"/>
                  <a:gd name="T89" fmla="*/ 53 h 408"/>
                  <a:gd name="T90" fmla="*/ 100 w 512"/>
                  <a:gd name="T91" fmla="*/ 40 h 408"/>
                  <a:gd name="T92" fmla="*/ 107 w 512"/>
                  <a:gd name="T93" fmla="*/ 33 h 408"/>
                  <a:gd name="T94" fmla="*/ 115 w 512"/>
                  <a:gd name="T95" fmla="*/ 20 h 408"/>
                  <a:gd name="T96" fmla="*/ 125 w 512"/>
                  <a:gd name="T97" fmla="*/ 7 h 408"/>
                  <a:gd name="T98" fmla="*/ 133 w 512"/>
                  <a:gd name="T99" fmla="*/ 0 h 408"/>
                  <a:gd name="T100" fmla="*/ 134 w 512"/>
                  <a:gd name="T101" fmla="*/ 7 h 408"/>
                  <a:gd name="T102" fmla="*/ 138 w 512"/>
                  <a:gd name="T103" fmla="*/ 15 h 408"/>
                  <a:gd name="T104" fmla="*/ 147 w 512"/>
                  <a:gd name="T105" fmla="*/ 23 h 408"/>
                  <a:gd name="T106" fmla="*/ 162 w 512"/>
                  <a:gd name="T107" fmla="*/ 32 h 408"/>
                  <a:gd name="T108" fmla="*/ 170 w 512"/>
                  <a:gd name="T109" fmla="*/ 40 h 408"/>
                  <a:gd name="T110" fmla="*/ 167 w 512"/>
                  <a:gd name="T111" fmla="*/ 45 h 408"/>
                  <a:gd name="T112" fmla="*/ 160 w 512"/>
                  <a:gd name="T113" fmla="*/ 46 h 408"/>
                  <a:gd name="T114" fmla="*/ 153 w 512"/>
                  <a:gd name="T115" fmla="*/ 55 h 408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512" h="408">
                    <a:moveTo>
                      <a:pt x="452" y="204"/>
                    </a:moveTo>
                    <a:lnTo>
                      <a:pt x="442" y="202"/>
                    </a:lnTo>
                    <a:lnTo>
                      <a:pt x="424" y="198"/>
                    </a:lnTo>
                    <a:lnTo>
                      <a:pt x="407" y="194"/>
                    </a:lnTo>
                    <a:lnTo>
                      <a:pt x="392" y="192"/>
                    </a:lnTo>
                    <a:lnTo>
                      <a:pt x="387" y="193"/>
                    </a:lnTo>
                    <a:lnTo>
                      <a:pt x="380" y="195"/>
                    </a:lnTo>
                    <a:lnTo>
                      <a:pt x="374" y="198"/>
                    </a:lnTo>
                    <a:lnTo>
                      <a:pt x="367" y="203"/>
                    </a:lnTo>
                    <a:lnTo>
                      <a:pt x="362" y="207"/>
                    </a:lnTo>
                    <a:lnTo>
                      <a:pt x="356" y="212"/>
                    </a:lnTo>
                    <a:lnTo>
                      <a:pt x="354" y="217"/>
                    </a:lnTo>
                    <a:lnTo>
                      <a:pt x="353" y="222"/>
                    </a:lnTo>
                    <a:lnTo>
                      <a:pt x="351" y="238"/>
                    </a:lnTo>
                    <a:lnTo>
                      <a:pt x="347" y="254"/>
                    </a:lnTo>
                    <a:lnTo>
                      <a:pt x="342" y="271"/>
                    </a:lnTo>
                    <a:lnTo>
                      <a:pt x="335" y="289"/>
                    </a:lnTo>
                    <a:lnTo>
                      <a:pt x="327" y="306"/>
                    </a:lnTo>
                    <a:lnTo>
                      <a:pt x="316" y="321"/>
                    </a:lnTo>
                    <a:lnTo>
                      <a:pt x="310" y="328"/>
                    </a:lnTo>
                    <a:lnTo>
                      <a:pt x="305" y="335"/>
                    </a:lnTo>
                    <a:lnTo>
                      <a:pt x="299" y="341"/>
                    </a:lnTo>
                    <a:lnTo>
                      <a:pt x="293" y="346"/>
                    </a:lnTo>
                    <a:lnTo>
                      <a:pt x="289" y="350"/>
                    </a:lnTo>
                    <a:lnTo>
                      <a:pt x="284" y="354"/>
                    </a:lnTo>
                    <a:lnTo>
                      <a:pt x="277" y="356"/>
                    </a:lnTo>
                    <a:lnTo>
                      <a:pt x="271" y="359"/>
                    </a:lnTo>
                    <a:lnTo>
                      <a:pt x="264" y="362"/>
                    </a:lnTo>
                    <a:lnTo>
                      <a:pt x="258" y="366"/>
                    </a:lnTo>
                    <a:lnTo>
                      <a:pt x="256" y="368"/>
                    </a:lnTo>
                    <a:lnTo>
                      <a:pt x="254" y="370"/>
                    </a:lnTo>
                    <a:lnTo>
                      <a:pt x="253" y="373"/>
                    </a:lnTo>
                    <a:lnTo>
                      <a:pt x="253" y="376"/>
                    </a:lnTo>
                    <a:lnTo>
                      <a:pt x="227" y="376"/>
                    </a:lnTo>
                    <a:lnTo>
                      <a:pt x="221" y="373"/>
                    </a:lnTo>
                    <a:lnTo>
                      <a:pt x="215" y="370"/>
                    </a:lnTo>
                    <a:lnTo>
                      <a:pt x="208" y="369"/>
                    </a:lnTo>
                    <a:lnTo>
                      <a:pt x="200" y="368"/>
                    </a:lnTo>
                    <a:lnTo>
                      <a:pt x="183" y="367"/>
                    </a:lnTo>
                    <a:lnTo>
                      <a:pt x="160" y="364"/>
                    </a:lnTo>
                    <a:lnTo>
                      <a:pt x="157" y="369"/>
                    </a:lnTo>
                    <a:lnTo>
                      <a:pt x="155" y="373"/>
                    </a:lnTo>
                    <a:lnTo>
                      <a:pt x="152" y="377"/>
                    </a:lnTo>
                    <a:lnTo>
                      <a:pt x="148" y="381"/>
                    </a:lnTo>
                    <a:lnTo>
                      <a:pt x="138" y="388"/>
                    </a:lnTo>
                    <a:lnTo>
                      <a:pt x="126" y="396"/>
                    </a:lnTo>
                    <a:lnTo>
                      <a:pt x="111" y="401"/>
                    </a:lnTo>
                    <a:lnTo>
                      <a:pt x="97" y="405"/>
                    </a:lnTo>
                    <a:lnTo>
                      <a:pt x="82" y="407"/>
                    </a:lnTo>
                    <a:lnTo>
                      <a:pt x="66" y="408"/>
                    </a:lnTo>
                    <a:lnTo>
                      <a:pt x="62" y="407"/>
                    </a:lnTo>
                    <a:lnTo>
                      <a:pt x="56" y="406"/>
                    </a:lnTo>
                    <a:lnTo>
                      <a:pt x="51" y="403"/>
                    </a:lnTo>
                    <a:lnTo>
                      <a:pt x="45" y="400"/>
                    </a:lnTo>
                    <a:lnTo>
                      <a:pt x="34" y="390"/>
                    </a:lnTo>
                    <a:lnTo>
                      <a:pt x="24" y="379"/>
                    </a:lnTo>
                    <a:lnTo>
                      <a:pt x="15" y="368"/>
                    </a:lnTo>
                    <a:lnTo>
                      <a:pt x="7" y="356"/>
                    </a:lnTo>
                    <a:lnTo>
                      <a:pt x="4" y="350"/>
                    </a:lnTo>
                    <a:lnTo>
                      <a:pt x="2" y="344"/>
                    </a:lnTo>
                    <a:lnTo>
                      <a:pt x="0" y="338"/>
                    </a:lnTo>
                    <a:lnTo>
                      <a:pt x="0" y="333"/>
                    </a:lnTo>
                    <a:lnTo>
                      <a:pt x="8" y="335"/>
                    </a:lnTo>
                    <a:lnTo>
                      <a:pt x="19" y="340"/>
                    </a:lnTo>
                    <a:lnTo>
                      <a:pt x="27" y="342"/>
                    </a:lnTo>
                    <a:lnTo>
                      <a:pt x="34" y="344"/>
                    </a:lnTo>
                    <a:lnTo>
                      <a:pt x="43" y="346"/>
                    </a:lnTo>
                    <a:lnTo>
                      <a:pt x="53" y="346"/>
                    </a:lnTo>
                    <a:lnTo>
                      <a:pt x="53" y="336"/>
                    </a:lnTo>
                    <a:lnTo>
                      <a:pt x="54" y="328"/>
                    </a:lnTo>
                    <a:lnTo>
                      <a:pt x="54" y="321"/>
                    </a:lnTo>
                    <a:lnTo>
                      <a:pt x="56" y="314"/>
                    </a:lnTo>
                    <a:lnTo>
                      <a:pt x="60" y="308"/>
                    </a:lnTo>
                    <a:lnTo>
                      <a:pt x="64" y="303"/>
                    </a:lnTo>
                    <a:lnTo>
                      <a:pt x="71" y="300"/>
                    </a:lnTo>
                    <a:lnTo>
                      <a:pt x="80" y="297"/>
                    </a:lnTo>
                    <a:lnTo>
                      <a:pt x="81" y="291"/>
                    </a:lnTo>
                    <a:lnTo>
                      <a:pt x="82" y="286"/>
                    </a:lnTo>
                    <a:lnTo>
                      <a:pt x="84" y="281"/>
                    </a:lnTo>
                    <a:lnTo>
                      <a:pt x="86" y="276"/>
                    </a:lnTo>
                    <a:lnTo>
                      <a:pt x="89" y="272"/>
                    </a:lnTo>
                    <a:lnTo>
                      <a:pt x="93" y="268"/>
                    </a:lnTo>
                    <a:lnTo>
                      <a:pt x="97" y="265"/>
                    </a:lnTo>
                    <a:lnTo>
                      <a:pt x="101" y="262"/>
                    </a:lnTo>
                    <a:lnTo>
                      <a:pt x="112" y="256"/>
                    </a:lnTo>
                    <a:lnTo>
                      <a:pt x="125" y="251"/>
                    </a:lnTo>
                    <a:lnTo>
                      <a:pt x="137" y="246"/>
                    </a:lnTo>
                    <a:lnTo>
                      <a:pt x="150" y="241"/>
                    </a:lnTo>
                    <a:lnTo>
                      <a:pt x="163" y="237"/>
                    </a:lnTo>
                    <a:lnTo>
                      <a:pt x="175" y="232"/>
                    </a:lnTo>
                    <a:lnTo>
                      <a:pt x="187" y="226"/>
                    </a:lnTo>
                    <a:lnTo>
                      <a:pt x="198" y="220"/>
                    </a:lnTo>
                    <a:lnTo>
                      <a:pt x="202" y="217"/>
                    </a:lnTo>
                    <a:lnTo>
                      <a:pt x="207" y="213"/>
                    </a:lnTo>
                    <a:lnTo>
                      <a:pt x="210" y="210"/>
                    </a:lnTo>
                    <a:lnTo>
                      <a:pt x="213" y="205"/>
                    </a:lnTo>
                    <a:lnTo>
                      <a:pt x="216" y="201"/>
                    </a:lnTo>
                    <a:lnTo>
                      <a:pt x="218" y="196"/>
                    </a:lnTo>
                    <a:lnTo>
                      <a:pt x="219" y="191"/>
                    </a:lnTo>
                    <a:lnTo>
                      <a:pt x="219" y="186"/>
                    </a:lnTo>
                    <a:lnTo>
                      <a:pt x="221" y="175"/>
                    </a:lnTo>
                    <a:lnTo>
                      <a:pt x="227" y="161"/>
                    </a:lnTo>
                    <a:lnTo>
                      <a:pt x="231" y="150"/>
                    </a:lnTo>
                    <a:lnTo>
                      <a:pt x="233" y="143"/>
                    </a:lnTo>
                    <a:lnTo>
                      <a:pt x="229" y="149"/>
                    </a:lnTo>
                    <a:lnTo>
                      <a:pt x="228" y="153"/>
                    </a:lnTo>
                    <a:lnTo>
                      <a:pt x="229" y="153"/>
                    </a:lnTo>
                    <a:lnTo>
                      <a:pt x="231" y="152"/>
                    </a:lnTo>
                    <a:lnTo>
                      <a:pt x="237" y="146"/>
                    </a:lnTo>
                    <a:lnTo>
                      <a:pt x="240" y="143"/>
                    </a:lnTo>
                    <a:lnTo>
                      <a:pt x="239" y="143"/>
                    </a:lnTo>
                    <a:lnTo>
                      <a:pt x="238" y="146"/>
                    </a:lnTo>
                    <a:lnTo>
                      <a:pt x="237" y="150"/>
                    </a:lnTo>
                    <a:lnTo>
                      <a:pt x="237" y="155"/>
                    </a:lnTo>
                    <a:lnTo>
                      <a:pt x="238" y="160"/>
                    </a:lnTo>
                    <a:lnTo>
                      <a:pt x="239" y="166"/>
                    </a:lnTo>
                    <a:lnTo>
                      <a:pt x="240" y="174"/>
                    </a:lnTo>
                    <a:lnTo>
                      <a:pt x="243" y="181"/>
                    </a:lnTo>
                    <a:lnTo>
                      <a:pt x="246" y="187"/>
                    </a:lnTo>
                    <a:lnTo>
                      <a:pt x="251" y="193"/>
                    </a:lnTo>
                    <a:lnTo>
                      <a:pt x="256" y="198"/>
                    </a:lnTo>
                    <a:lnTo>
                      <a:pt x="264" y="202"/>
                    </a:lnTo>
                    <a:lnTo>
                      <a:pt x="272" y="205"/>
                    </a:lnTo>
                    <a:lnTo>
                      <a:pt x="282" y="207"/>
                    </a:lnTo>
                    <a:lnTo>
                      <a:pt x="293" y="206"/>
                    </a:lnTo>
                    <a:lnTo>
                      <a:pt x="306" y="204"/>
                    </a:lnTo>
                    <a:lnTo>
                      <a:pt x="311" y="206"/>
                    </a:lnTo>
                    <a:lnTo>
                      <a:pt x="317" y="206"/>
                    </a:lnTo>
                    <a:lnTo>
                      <a:pt x="320" y="205"/>
                    </a:lnTo>
                    <a:lnTo>
                      <a:pt x="323" y="204"/>
                    </a:lnTo>
                    <a:lnTo>
                      <a:pt x="325" y="201"/>
                    </a:lnTo>
                    <a:lnTo>
                      <a:pt x="327" y="198"/>
                    </a:lnTo>
                    <a:lnTo>
                      <a:pt x="328" y="193"/>
                    </a:lnTo>
                    <a:lnTo>
                      <a:pt x="328" y="188"/>
                    </a:lnTo>
                    <a:lnTo>
                      <a:pt x="324" y="176"/>
                    </a:lnTo>
                    <a:lnTo>
                      <a:pt x="319" y="161"/>
                    </a:lnTo>
                    <a:lnTo>
                      <a:pt x="310" y="146"/>
                    </a:lnTo>
                    <a:lnTo>
                      <a:pt x="299" y="130"/>
                    </a:lnTo>
                    <a:lnTo>
                      <a:pt x="307" y="124"/>
                    </a:lnTo>
                    <a:lnTo>
                      <a:pt x="312" y="118"/>
                    </a:lnTo>
                    <a:lnTo>
                      <a:pt x="319" y="109"/>
                    </a:lnTo>
                    <a:lnTo>
                      <a:pt x="324" y="101"/>
                    </a:lnTo>
                    <a:lnTo>
                      <a:pt x="334" y="84"/>
                    </a:lnTo>
                    <a:lnTo>
                      <a:pt x="344" y="66"/>
                    </a:lnTo>
                    <a:lnTo>
                      <a:pt x="354" y="47"/>
                    </a:lnTo>
                    <a:lnTo>
                      <a:pt x="366" y="30"/>
                    </a:lnTo>
                    <a:lnTo>
                      <a:pt x="374" y="22"/>
                    </a:lnTo>
                    <a:lnTo>
                      <a:pt x="381" y="14"/>
                    </a:lnTo>
                    <a:lnTo>
                      <a:pt x="389" y="7"/>
                    </a:lnTo>
                    <a:lnTo>
                      <a:pt x="399" y="0"/>
                    </a:lnTo>
                    <a:lnTo>
                      <a:pt x="399" y="9"/>
                    </a:lnTo>
                    <a:lnTo>
                      <a:pt x="400" y="16"/>
                    </a:lnTo>
                    <a:lnTo>
                      <a:pt x="401" y="23"/>
                    </a:lnTo>
                    <a:lnTo>
                      <a:pt x="403" y="29"/>
                    </a:lnTo>
                    <a:lnTo>
                      <a:pt x="408" y="41"/>
                    </a:lnTo>
                    <a:lnTo>
                      <a:pt x="413" y="50"/>
                    </a:lnTo>
                    <a:lnTo>
                      <a:pt x="421" y="59"/>
                    </a:lnTo>
                    <a:lnTo>
                      <a:pt x="430" y="68"/>
                    </a:lnTo>
                    <a:lnTo>
                      <a:pt x="439" y="75"/>
                    </a:lnTo>
                    <a:lnTo>
                      <a:pt x="447" y="81"/>
                    </a:lnTo>
                    <a:lnTo>
                      <a:pt x="467" y="93"/>
                    </a:lnTo>
                    <a:lnTo>
                      <a:pt x="486" y="106"/>
                    </a:lnTo>
                    <a:lnTo>
                      <a:pt x="493" y="113"/>
                    </a:lnTo>
                    <a:lnTo>
                      <a:pt x="501" y="123"/>
                    </a:lnTo>
                    <a:lnTo>
                      <a:pt x="508" y="132"/>
                    </a:lnTo>
                    <a:lnTo>
                      <a:pt x="512" y="143"/>
                    </a:lnTo>
                    <a:lnTo>
                      <a:pt x="504" y="146"/>
                    </a:lnTo>
                    <a:lnTo>
                      <a:pt x="499" y="149"/>
                    </a:lnTo>
                    <a:lnTo>
                      <a:pt x="493" y="150"/>
                    </a:lnTo>
                    <a:lnTo>
                      <a:pt x="489" y="151"/>
                    </a:lnTo>
                    <a:lnTo>
                      <a:pt x="478" y="152"/>
                    </a:lnTo>
                    <a:lnTo>
                      <a:pt x="465" y="155"/>
                    </a:lnTo>
                    <a:lnTo>
                      <a:pt x="463" y="166"/>
                    </a:lnTo>
                    <a:lnTo>
                      <a:pt x="458" y="180"/>
                    </a:lnTo>
                    <a:lnTo>
                      <a:pt x="454" y="193"/>
                    </a:lnTo>
                    <a:lnTo>
                      <a:pt x="452" y="204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151" name="Freeform 21"/>
              <p:cNvSpPr>
                <a:spLocks/>
              </p:cNvSpPr>
              <p:nvPr/>
            </p:nvSpPr>
            <p:spPr bwMode="auto">
              <a:xfrm>
                <a:off x="4488" y="2420"/>
                <a:ext cx="77" cy="89"/>
              </a:xfrm>
              <a:custGeom>
                <a:avLst/>
                <a:gdLst>
                  <a:gd name="T0" fmla="*/ 50 w 232"/>
                  <a:gd name="T1" fmla="*/ 7 h 289"/>
                  <a:gd name="T2" fmla="*/ 55 w 232"/>
                  <a:gd name="T3" fmla="*/ 15 h 289"/>
                  <a:gd name="T4" fmla="*/ 58 w 232"/>
                  <a:gd name="T5" fmla="*/ 17 h 289"/>
                  <a:gd name="T6" fmla="*/ 60 w 232"/>
                  <a:gd name="T7" fmla="*/ 18 h 289"/>
                  <a:gd name="T8" fmla="*/ 62 w 232"/>
                  <a:gd name="T9" fmla="*/ 51 h 289"/>
                  <a:gd name="T10" fmla="*/ 63 w 232"/>
                  <a:gd name="T11" fmla="*/ 60 h 289"/>
                  <a:gd name="T12" fmla="*/ 64 w 232"/>
                  <a:gd name="T13" fmla="*/ 64 h 289"/>
                  <a:gd name="T14" fmla="*/ 66 w 232"/>
                  <a:gd name="T15" fmla="*/ 67 h 289"/>
                  <a:gd name="T16" fmla="*/ 77 w 232"/>
                  <a:gd name="T17" fmla="*/ 76 h 289"/>
                  <a:gd name="T18" fmla="*/ 73 w 232"/>
                  <a:gd name="T19" fmla="*/ 89 h 289"/>
                  <a:gd name="T20" fmla="*/ 62 w 232"/>
                  <a:gd name="T21" fmla="*/ 87 h 289"/>
                  <a:gd name="T22" fmla="*/ 50 w 232"/>
                  <a:gd name="T23" fmla="*/ 81 h 289"/>
                  <a:gd name="T24" fmla="*/ 38 w 232"/>
                  <a:gd name="T25" fmla="*/ 72 h 289"/>
                  <a:gd name="T26" fmla="*/ 27 w 232"/>
                  <a:gd name="T27" fmla="*/ 64 h 289"/>
                  <a:gd name="T28" fmla="*/ 19 w 232"/>
                  <a:gd name="T29" fmla="*/ 54 h 289"/>
                  <a:gd name="T30" fmla="*/ 10 w 232"/>
                  <a:gd name="T31" fmla="*/ 45 h 289"/>
                  <a:gd name="T32" fmla="*/ 3 w 232"/>
                  <a:gd name="T33" fmla="*/ 39 h 289"/>
                  <a:gd name="T34" fmla="*/ 1 w 232"/>
                  <a:gd name="T35" fmla="*/ 36 h 289"/>
                  <a:gd name="T36" fmla="*/ 0 w 232"/>
                  <a:gd name="T37" fmla="*/ 34 h 289"/>
                  <a:gd name="T38" fmla="*/ 0 w 232"/>
                  <a:gd name="T39" fmla="*/ 31 h 289"/>
                  <a:gd name="T40" fmla="*/ 1 w 232"/>
                  <a:gd name="T41" fmla="*/ 28 h 289"/>
                  <a:gd name="T42" fmla="*/ 4 w 232"/>
                  <a:gd name="T43" fmla="*/ 24 h 289"/>
                  <a:gd name="T44" fmla="*/ 4 w 232"/>
                  <a:gd name="T45" fmla="*/ 16 h 289"/>
                  <a:gd name="T46" fmla="*/ 2 w 232"/>
                  <a:gd name="T47" fmla="*/ 5 h 289"/>
                  <a:gd name="T48" fmla="*/ 4 w 232"/>
                  <a:gd name="T49" fmla="*/ 0 h 289"/>
                  <a:gd name="T50" fmla="*/ 9 w 232"/>
                  <a:gd name="T51" fmla="*/ 1 h 289"/>
                  <a:gd name="T52" fmla="*/ 14 w 232"/>
                  <a:gd name="T53" fmla="*/ 3 h 289"/>
                  <a:gd name="T54" fmla="*/ 20 w 232"/>
                  <a:gd name="T55" fmla="*/ 6 h 289"/>
                  <a:gd name="T56" fmla="*/ 24 w 232"/>
                  <a:gd name="T57" fmla="*/ 9 h 289"/>
                  <a:gd name="T58" fmla="*/ 27 w 232"/>
                  <a:gd name="T59" fmla="*/ 10 h 289"/>
                  <a:gd name="T60" fmla="*/ 30 w 232"/>
                  <a:gd name="T61" fmla="*/ 10 h 289"/>
                  <a:gd name="T62" fmla="*/ 35 w 232"/>
                  <a:gd name="T63" fmla="*/ 8 h 289"/>
                  <a:gd name="T64" fmla="*/ 40 w 232"/>
                  <a:gd name="T65" fmla="*/ 6 h 289"/>
                  <a:gd name="T66" fmla="*/ 44 w 232"/>
                  <a:gd name="T67" fmla="*/ 3 h 289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232" h="289">
                    <a:moveTo>
                      <a:pt x="140" y="6"/>
                    </a:moveTo>
                    <a:lnTo>
                      <a:pt x="151" y="24"/>
                    </a:lnTo>
                    <a:lnTo>
                      <a:pt x="159" y="41"/>
                    </a:lnTo>
                    <a:lnTo>
                      <a:pt x="165" y="48"/>
                    </a:lnTo>
                    <a:lnTo>
                      <a:pt x="170" y="54"/>
                    </a:lnTo>
                    <a:lnTo>
                      <a:pt x="174" y="56"/>
                    </a:lnTo>
                    <a:lnTo>
                      <a:pt x="177" y="59"/>
                    </a:lnTo>
                    <a:lnTo>
                      <a:pt x="181" y="60"/>
                    </a:lnTo>
                    <a:lnTo>
                      <a:pt x="186" y="62"/>
                    </a:lnTo>
                    <a:lnTo>
                      <a:pt x="186" y="166"/>
                    </a:lnTo>
                    <a:lnTo>
                      <a:pt x="187" y="183"/>
                    </a:lnTo>
                    <a:lnTo>
                      <a:pt x="189" y="196"/>
                    </a:lnTo>
                    <a:lnTo>
                      <a:pt x="191" y="202"/>
                    </a:lnTo>
                    <a:lnTo>
                      <a:pt x="193" y="207"/>
                    </a:lnTo>
                    <a:lnTo>
                      <a:pt x="196" y="212"/>
                    </a:lnTo>
                    <a:lnTo>
                      <a:pt x="199" y="216"/>
                    </a:lnTo>
                    <a:lnTo>
                      <a:pt x="213" y="230"/>
                    </a:lnTo>
                    <a:lnTo>
                      <a:pt x="232" y="246"/>
                    </a:lnTo>
                    <a:lnTo>
                      <a:pt x="232" y="289"/>
                    </a:lnTo>
                    <a:lnTo>
                      <a:pt x="219" y="288"/>
                    </a:lnTo>
                    <a:lnTo>
                      <a:pt x="202" y="286"/>
                    </a:lnTo>
                    <a:lnTo>
                      <a:pt x="186" y="282"/>
                    </a:lnTo>
                    <a:lnTo>
                      <a:pt x="172" y="277"/>
                    </a:lnTo>
                    <a:lnTo>
                      <a:pt x="151" y="264"/>
                    </a:lnTo>
                    <a:lnTo>
                      <a:pt x="131" y="249"/>
                    </a:lnTo>
                    <a:lnTo>
                      <a:pt x="113" y="235"/>
                    </a:lnTo>
                    <a:lnTo>
                      <a:pt x="97" y="221"/>
                    </a:lnTo>
                    <a:lnTo>
                      <a:pt x="81" y="207"/>
                    </a:lnTo>
                    <a:lnTo>
                      <a:pt x="68" y="191"/>
                    </a:lnTo>
                    <a:lnTo>
                      <a:pt x="56" y="176"/>
                    </a:lnTo>
                    <a:lnTo>
                      <a:pt x="46" y="160"/>
                    </a:lnTo>
                    <a:lnTo>
                      <a:pt x="31" y="145"/>
                    </a:lnTo>
                    <a:lnTo>
                      <a:pt x="15" y="132"/>
                    </a:lnTo>
                    <a:lnTo>
                      <a:pt x="9" y="126"/>
                    </a:lnTo>
                    <a:lnTo>
                      <a:pt x="4" y="120"/>
                    </a:lnTo>
                    <a:lnTo>
                      <a:pt x="2" y="117"/>
                    </a:lnTo>
                    <a:lnTo>
                      <a:pt x="1" y="113"/>
                    </a:lnTo>
                    <a:lnTo>
                      <a:pt x="0" y="109"/>
                    </a:lnTo>
                    <a:lnTo>
                      <a:pt x="0" y="105"/>
                    </a:lnTo>
                    <a:lnTo>
                      <a:pt x="0" y="100"/>
                    </a:lnTo>
                    <a:lnTo>
                      <a:pt x="1" y="96"/>
                    </a:lnTo>
                    <a:lnTo>
                      <a:pt x="3" y="92"/>
                    </a:lnTo>
                    <a:lnTo>
                      <a:pt x="7" y="88"/>
                    </a:lnTo>
                    <a:lnTo>
                      <a:pt x="11" y="79"/>
                    </a:lnTo>
                    <a:lnTo>
                      <a:pt x="13" y="74"/>
                    </a:lnTo>
                    <a:lnTo>
                      <a:pt x="12" y="52"/>
                    </a:lnTo>
                    <a:lnTo>
                      <a:pt x="10" y="33"/>
                    </a:lnTo>
                    <a:lnTo>
                      <a:pt x="7" y="15"/>
                    </a:lnTo>
                    <a:lnTo>
                      <a:pt x="7" y="0"/>
                    </a:lnTo>
                    <a:lnTo>
                      <a:pt x="13" y="0"/>
                    </a:lnTo>
                    <a:lnTo>
                      <a:pt x="20" y="1"/>
                    </a:lnTo>
                    <a:lnTo>
                      <a:pt x="26" y="3"/>
                    </a:lnTo>
                    <a:lnTo>
                      <a:pt x="32" y="5"/>
                    </a:lnTo>
                    <a:lnTo>
                      <a:pt x="42" y="10"/>
                    </a:lnTo>
                    <a:lnTo>
                      <a:pt x="51" y="15"/>
                    </a:lnTo>
                    <a:lnTo>
                      <a:pt x="59" y="21"/>
                    </a:lnTo>
                    <a:lnTo>
                      <a:pt x="68" y="26"/>
                    </a:lnTo>
                    <a:lnTo>
                      <a:pt x="73" y="28"/>
                    </a:lnTo>
                    <a:lnTo>
                      <a:pt x="77" y="29"/>
                    </a:lnTo>
                    <a:lnTo>
                      <a:pt x="81" y="31"/>
                    </a:lnTo>
                    <a:lnTo>
                      <a:pt x="86" y="31"/>
                    </a:lnTo>
                    <a:lnTo>
                      <a:pt x="91" y="31"/>
                    </a:lnTo>
                    <a:lnTo>
                      <a:pt x="98" y="28"/>
                    </a:lnTo>
                    <a:lnTo>
                      <a:pt x="105" y="26"/>
                    </a:lnTo>
                    <a:lnTo>
                      <a:pt x="112" y="23"/>
                    </a:lnTo>
                    <a:lnTo>
                      <a:pt x="120" y="19"/>
                    </a:lnTo>
                    <a:lnTo>
                      <a:pt x="127" y="15"/>
                    </a:lnTo>
                    <a:lnTo>
                      <a:pt x="133" y="11"/>
                    </a:lnTo>
                    <a:lnTo>
                      <a:pt x="140" y="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624" name="Freeform 22"/>
            <p:cNvSpPr>
              <a:spLocks/>
            </p:cNvSpPr>
            <p:nvPr>
              <p:custDataLst>
                <p:tags r:id="rId16"/>
              </p:custDataLst>
            </p:nvPr>
          </p:nvSpPr>
          <p:spPr bwMode="auto">
            <a:xfrm>
              <a:off x="6219964" y="1251643"/>
              <a:ext cx="3654612" cy="1290617"/>
            </a:xfrm>
            <a:custGeom>
              <a:avLst/>
              <a:gdLst>
                <a:gd name="T0" fmla="*/ 315287 w 7049"/>
                <a:gd name="T1" fmla="*/ 909433 h 2048"/>
                <a:gd name="T2" fmla="*/ 465321 w 7049"/>
                <a:gd name="T3" fmla="*/ 1016487 h 2048"/>
                <a:gd name="T4" fmla="*/ 527073 w 7049"/>
                <a:gd name="T5" fmla="*/ 951940 h 2048"/>
                <a:gd name="T6" fmla="*/ 727987 w 7049"/>
                <a:gd name="T7" fmla="*/ 770893 h 2048"/>
                <a:gd name="T8" fmla="*/ 1138513 w 7049"/>
                <a:gd name="T9" fmla="*/ 690078 h 2048"/>
                <a:gd name="T10" fmla="*/ 1456845 w 7049"/>
                <a:gd name="T11" fmla="*/ 784012 h 2048"/>
                <a:gd name="T12" fmla="*/ 1598615 w 7049"/>
                <a:gd name="T13" fmla="*/ 754625 h 2048"/>
                <a:gd name="T14" fmla="*/ 1798660 w 7049"/>
                <a:gd name="T15" fmla="*/ 782963 h 2048"/>
                <a:gd name="T16" fmla="*/ 1990441 w 7049"/>
                <a:gd name="T17" fmla="*/ 791884 h 2048"/>
                <a:gd name="T18" fmla="*/ 2069589 w 7049"/>
                <a:gd name="T19" fmla="*/ 719990 h 2048"/>
                <a:gd name="T20" fmla="*/ 2242236 w 7049"/>
                <a:gd name="T21" fmla="*/ 774566 h 2048"/>
                <a:gd name="T22" fmla="*/ 2441411 w 7049"/>
                <a:gd name="T23" fmla="*/ 838589 h 2048"/>
                <a:gd name="T24" fmla="*/ 2437062 w 7049"/>
                <a:gd name="T25" fmla="*/ 967683 h 2048"/>
                <a:gd name="T26" fmla="*/ 2545347 w 7049"/>
                <a:gd name="T27" fmla="*/ 845936 h 2048"/>
                <a:gd name="T28" fmla="*/ 2422276 w 7049"/>
                <a:gd name="T29" fmla="*/ 659116 h 2048"/>
                <a:gd name="T30" fmla="*/ 2318340 w 7049"/>
                <a:gd name="T31" fmla="*/ 601916 h 2048"/>
                <a:gd name="T32" fmla="*/ 2547086 w 7049"/>
                <a:gd name="T33" fmla="*/ 515328 h 2048"/>
                <a:gd name="T34" fmla="*/ 2597967 w 7049"/>
                <a:gd name="T35" fmla="*/ 431364 h 2048"/>
                <a:gd name="T36" fmla="*/ 2666678 w 7049"/>
                <a:gd name="T37" fmla="*/ 399353 h 2048"/>
                <a:gd name="T38" fmla="*/ 2694075 w 7049"/>
                <a:gd name="T39" fmla="*/ 511130 h 2048"/>
                <a:gd name="T40" fmla="*/ 2762351 w 7049"/>
                <a:gd name="T41" fmla="*/ 656492 h 2048"/>
                <a:gd name="T42" fmla="*/ 2859329 w 7049"/>
                <a:gd name="T43" fmla="*/ 739931 h 2048"/>
                <a:gd name="T44" fmla="*/ 2855415 w 7049"/>
                <a:gd name="T45" fmla="*/ 637076 h 2048"/>
                <a:gd name="T46" fmla="*/ 2771484 w 7049"/>
                <a:gd name="T47" fmla="*/ 544191 h 2048"/>
                <a:gd name="T48" fmla="*/ 2847153 w 7049"/>
                <a:gd name="T49" fmla="*/ 464425 h 2048"/>
                <a:gd name="T50" fmla="*/ 2957612 w 7049"/>
                <a:gd name="T51" fmla="*/ 411423 h 2048"/>
                <a:gd name="T52" fmla="*/ 2882378 w 7049"/>
                <a:gd name="T53" fmla="*/ 324310 h 2048"/>
                <a:gd name="T54" fmla="*/ 2956742 w 7049"/>
                <a:gd name="T55" fmla="*/ 333756 h 2048"/>
                <a:gd name="T56" fmla="*/ 2983705 w 7049"/>
                <a:gd name="T57" fmla="*/ 284952 h 2048"/>
                <a:gd name="T58" fmla="*/ 2826713 w 7049"/>
                <a:gd name="T59" fmla="*/ 242446 h 2048"/>
                <a:gd name="T60" fmla="*/ 2540998 w 7049"/>
                <a:gd name="T61" fmla="*/ 215157 h 2048"/>
                <a:gd name="T62" fmla="*/ 2475766 w 7049"/>
                <a:gd name="T63" fmla="*/ 217781 h 2048"/>
                <a:gd name="T64" fmla="*/ 2170481 w 7049"/>
                <a:gd name="T65" fmla="*/ 184196 h 2048"/>
                <a:gd name="T66" fmla="*/ 2056108 w 7049"/>
                <a:gd name="T67" fmla="*/ 152184 h 2048"/>
                <a:gd name="T68" fmla="*/ 1918686 w 7049"/>
                <a:gd name="T69" fmla="*/ 152184 h 2048"/>
                <a:gd name="T70" fmla="*/ 1743430 w 7049"/>
                <a:gd name="T71" fmla="*/ 166878 h 2048"/>
                <a:gd name="T72" fmla="*/ 1554258 w 7049"/>
                <a:gd name="T73" fmla="*/ 136966 h 2048"/>
                <a:gd name="T74" fmla="*/ 1430752 w 7049"/>
                <a:gd name="T75" fmla="*/ 128045 h 2048"/>
                <a:gd name="T76" fmla="*/ 1308116 w 7049"/>
                <a:gd name="T77" fmla="*/ 123322 h 2048"/>
                <a:gd name="T78" fmla="*/ 1184610 w 7049"/>
                <a:gd name="T79" fmla="*/ 30437 h 2048"/>
                <a:gd name="T80" fmla="*/ 1138078 w 7049"/>
                <a:gd name="T81" fmla="*/ 73468 h 2048"/>
                <a:gd name="T82" fmla="*/ 928032 w 7049"/>
                <a:gd name="T83" fmla="*/ 87637 h 2048"/>
                <a:gd name="T84" fmla="*/ 938904 w 7049"/>
                <a:gd name="T85" fmla="*/ 104955 h 2048"/>
                <a:gd name="T86" fmla="*/ 955864 w 7049"/>
                <a:gd name="T87" fmla="*/ 179473 h 2048"/>
                <a:gd name="T88" fmla="*/ 840621 w 7049"/>
                <a:gd name="T89" fmla="*/ 134342 h 2048"/>
                <a:gd name="T90" fmla="*/ 777129 w 7049"/>
                <a:gd name="T91" fmla="*/ 143263 h 2048"/>
                <a:gd name="T92" fmla="*/ 833663 w 7049"/>
                <a:gd name="T93" fmla="*/ 234049 h 2048"/>
                <a:gd name="T94" fmla="*/ 902809 w 7049"/>
                <a:gd name="T95" fmla="*/ 277605 h 2048"/>
                <a:gd name="T96" fmla="*/ 818877 w 7049"/>
                <a:gd name="T97" fmla="*/ 311191 h 2048"/>
                <a:gd name="T98" fmla="*/ 796698 w 7049"/>
                <a:gd name="T99" fmla="*/ 243495 h 2048"/>
                <a:gd name="T100" fmla="*/ 704939 w 7049"/>
                <a:gd name="T101" fmla="*/ 121223 h 2048"/>
                <a:gd name="T102" fmla="*/ 705809 w 7049"/>
                <a:gd name="T103" fmla="*/ 236673 h 2048"/>
                <a:gd name="T104" fmla="*/ 538380 w 7049"/>
                <a:gd name="T105" fmla="*/ 208335 h 2048"/>
                <a:gd name="T106" fmla="*/ 520985 w 7049"/>
                <a:gd name="T107" fmla="*/ 250317 h 2048"/>
                <a:gd name="T108" fmla="*/ 394870 w 7049"/>
                <a:gd name="T109" fmla="*/ 262387 h 2048"/>
                <a:gd name="T110" fmla="*/ 300936 w 7049"/>
                <a:gd name="T111" fmla="*/ 253466 h 2048"/>
                <a:gd name="T112" fmla="*/ 261797 w 7049"/>
                <a:gd name="T113" fmla="*/ 306993 h 2048"/>
                <a:gd name="T114" fmla="*/ 176996 w 7049"/>
                <a:gd name="T115" fmla="*/ 387808 h 2048"/>
                <a:gd name="T116" fmla="*/ 169603 w 7049"/>
                <a:gd name="T117" fmla="*/ 321162 h 2048"/>
                <a:gd name="T118" fmla="*/ 65232 w 7049"/>
                <a:gd name="T119" fmla="*/ 230901 h 2048"/>
                <a:gd name="T120" fmla="*/ 30876 w 7049"/>
                <a:gd name="T121" fmla="*/ 317488 h 2048"/>
                <a:gd name="T122" fmla="*/ 48706 w 7049"/>
                <a:gd name="T123" fmla="*/ 502733 h 204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7049" h="2048">
                  <a:moveTo>
                    <a:pt x="365" y="1401"/>
                  </a:moveTo>
                  <a:lnTo>
                    <a:pt x="373" y="1401"/>
                  </a:lnTo>
                  <a:lnTo>
                    <a:pt x="405" y="1401"/>
                  </a:lnTo>
                  <a:lnTo>
                    <a:pt x="425" y="1388"/>
                  </a:lnTo>
                  <a:lnTo>
                    <a:pt x="471" y="1388"/>
                  </a:lnTo>
                  <a:lnTo>
                    <a:pt x="491" y="1401"/>
                  </a:lnTo>
                  <a:lnTo>
                    <a:pt x="519" y="1426"/>
                  </a:lnTo>
                  <a:lnTo>
                    <a:pt x="505" y="1451"/>
                  </a:lnTo>
                  <a:lnTo>
                    <a:pt x="558" y="1451"/>
                  </a:lnTo>
                  <a:lnTo>
                    <a:pt x="578" y="1499"/>
                  </a:lnTo>
                  <a:lnTo>
                    <a:pt x="604" y="1493"/>
                  </a:lnTo>
                  <a:lnTo>
                    <a:pt x="632" y="1512"/>
                  </a:lnTo>
                  <a:lnTo>
                    <a:pt x="665" y="1499"/>
                  </a:lnTo>
                  <a:lnTo>
                    <a:pt x="698" y="1524"/>
                  </a:lnTo>
                  <a:lnTo>
                    <a:pt x="737" y="1524"/>
                  </a:lnTo>
                  <a:lnTo>
                    <a:pt x="778" y="1543"/>
                  </a:lnTo>
                  <a:lnTo>
                    <a:pt x="817" y="1555"/>
                  </a:lnTo>
                  <a:lnTo>
                    <a:pt x="811" y="1586"/>
                  </a:lnTo>
                  <a:lnTo>
                    <a:pt x="804" y="1623"/>
                  </a:lnTo>
                  <a:lnTo>
                    <a:pt x="817" y="1647"/>
                  </a:lnTo>
                  <a:lnTo>
                    <a:pt x="784" y="1647"/>
                  </a:lnTo>
                  <a:lnTo>
                    <a:pt x="744" y="1660"/>
                  </a:lnTo>
                  <a:lnTo>
                    <a:pt x="737" y="1691"/>
                  </a:lnTo>
                  <a:lnTo>
                    <a:pt x="743" y="1690"/>
                  </a:lnTo>
                  <a:lnTo>
                    <a:pt x="757" y="1685"/>
                  </a:lnTo>
                  <a:lnTo>
                    <a:pt x="752" y="1691"/>
                  </a:lnTo>
                  <a:lnTo>
                    <a:pt x="747" y="1696"/>
                  </a:lnTo>
                  <a:lnTo>
                    <a:pt x="743" y="1701"/>
                  </a:lnTo>
                  <a:lnTo>
                    <a:pt x="737" y="1705"/>
                  </a:lnTo>
                  <a:lnTo>
                    <a:pt x="725" y="1713"/>
                  </a:lnTo>
                  <a:lnTo>
                    <a:pt x="711" y="1721"/>
                  </a:lnTo>
                  <a:lnTo>
                    <a:pt x="712" y="1724"/>
                  </a:lnTo>
                  <a:lnTo>
                    <a:pt x="715" y="1728"/>
                  </a:lnTo>
                  <a:lnTo>
                    <a:pt x="719" y="1731"/>
                  </a:lnTo>
                  <a:lnTo>
                    <a:pt x="725" y="1733"/>
                  </a:lnTo>
                  <a:lnTo>
                    <a:pt x="736" y="1738"/>
                  </a:lnTo>
                  <a:lnTo>
                    <a:pt x="744" y="1740"/>
                  </a:lnTo>
                  <a:lnTo>
                    <a:pt x="741" y="1749"/>
                  </a:lnTo>
                  <a:lnTo>
                    <a:pt x="738" y="1756"/>
                  </a:lnTo>
                  <a:lnTo>
                    <a:pt x="734" y="1763"/>
                  </a:lnTo>
                  <a:lnTo>
                    <a:pt x="728" y="1769"/>
                  </a:lnTo>
                  <a:lnTo>
                    <a:pt x="722" y="1774"/>
                  </a:lnTo>
                  <a:lnTo>
                    <a:pt x="715" y="1779"/>
                  </a:lnTo>
                  <a:lnTo>
                    <a:pt x="707" y="1785"/>
                  </a:lnTo>
                  <a:lnTo>
                    <a:pt x="698" y="1790"/>
                  </a:lnTo>
                  <a:lnTo>
                    <a:pt x="696" y="1796"/>
                  </a:lnTo>
                  <a:lnTo>
                    <a:pt x="698" y="1801"/>
                  </a:lnTo>
                  <a:lnTo>
                    <a:pt x="700" y="1806"/>
                  </a:lnTo>
                  <a:lnTo>
                    <a:pt x="702" y="1809"/>
                  </a:lnTo>
                  <a:lnTo>
                    <a:pt x="706" y="1812"/>
                  </a:lnTo>
                  <a:lnTo>
                    <a:pt x="711" y="1815"/>
                  </a:lnTo>
                  <a:lnTo>
                    <a:pt x="716" y="1817"/>
                  </a:lnTo>
                  <a:lnTo>
                    <a:pt x="722" y="1819"/>
                  </a:lnTo>
                  <a:lnTo>
                    <a:pt x="734" y="1823"/>
                  </a:lnTo>
                  <a:lnTo>
                    <a:pt x="747" y="1828"/>
                  </a:lnTo>
                  <a:lnTo>
                    <a:pt x="754" y="1831"/>
                  </a:lnTo>
                  <a:lnTo>
                    <a:pt x="759" y="1835"/>
                  </a:lnTo>
                  <a:lnTo>
                    <a:pt x="766" y="1840"/>
                  </a:lnTo>
                  <a:lnTo>
                    <a:pt x="771" y="1845"/>
                  </a:lnTo>
                  <a:lnTo>
                    <a:pt x="781" y="1854"/>
                  </a:lnTo>
                  <a:lnTo>
                    <a:pt x="794" y="1861"/>
                  </a:lnTo>
                  <a:lnTo>
                    <a:pt x="807" y="1868"/>
                  </a:lnTo>
                  <a:lnTo>
                    <a:pt x="823" y="1875"/>
                  </a:lnTo>
                  <a:lnTo>
                    <a:pt x="856" y="1887"/>
                  </a:lnTo>
                  <a:lnTo>
                    <a:pt x="890" y="1901"/>
                  </a:lnTo>
                  <a:lnTo>
                    <a:pt x="897" y="1901"/>
                  </a:lnTo>
                  <a:lnTo>
                    <a:pt x="950" y="1919"/>
                  </a:lnTo>
                  <a:lnTo>
                    <a:pt x="996" y="1931"/>
                  </a:lnTo>
                  <a:lnTo>
                    <a:pt x="1024" y="1919"/>
                  </a:lnTo>
                  <a:lnTo>
                    <a:pt x="1070" y="1937"/>
                  </a:lnTo>
                  <a:lnTo>
                    <a:pt x="1096" y="1956"/>
                  </a:lnTo>
                  <a:lnTo>
                    <a:pt x="1136" y="1950"/>
                  </a:lnTo>
                  <a:lnTo>
                    <a:pt x="1176" y="1962"/>
                  </a:lnTo>
                  <a:lnTo>
                    <a:pt x="1203" y="1980"/>
                  </a:lnTo>
                  <a:lnTo>
                    <a:pt x="1249" y="2005"/>
                  </a:lnTo>
                  <a:lnTo>
                    <a:pt x="1282" y="2030"/>
                  </a:lnTo>
                  <a:lnTo>
                    <a:pt x="1316" y="2048"/>
                  </a:lnTo>
                  <a:lnTo>
                    <a:pt x="1342" y="2011"/>
                  </a:lnTo>
                  <a:lnTo>
                    <a:pt x="1355" y="2011"/>
                  </a:lnTo>
                  <a:lnTo>
                    <a:pt x="1350" y="2009"/>
                  </a:lnTo>
                  <a:lnTo>
                    <a:pt x="1345" y="2006"/>
                  </a:lnTo>
                  <a:lnTo>
                    <a:pt x="1341" y="2001"/>
                  </a:lnTo>
                  <a:lnTo>
                    <a:pt x="1337" y="1998"/>
                  </a:lnTo>
                  <a:lnTo>
                    <a:pt x="1333" y="1994"/>
                  </a:lnTo>
                  <a:lnTo>
                    <a:pt x="1331" y="1989"/>
                  </a:lnTo>
                  <a:lnTo>
                    <a:pt x="1329" y="1985"/>
                  </a:lnTo>
                  <a:lnTo>
                    <a:pt x="1329" y="1980"/>
                  </a:lnTo>
                  <a:lnTo>
                    <a:pt x="1318" y="1972"/>
                  </a:lnTo>
                  <a:lnTo>
                    <a:pt x="1296" y="1952"/>
                  </a:lnTo>
                  <a:lnTo>
                    <a:pt x="1283" y="1941"/>
                  </a:lnTo>
                  <a:lnTo>
                    <a:pt x="1273" y="1931"/>
                  </a:lnTo>
                  <a:lnTo>
                    <a:pt x="1265" y="1923"/>
                  </a:lnTo>
                  <a:lnTo>
                    <a:pt x="1262" y="1919"/>
                  </a:lnTo>
                  <a:lnTo>
                    <a:pt x="1255" y="1887"/>
                  </a:lnTo>
                  <a:lnTo>
                    <a:pt x="1255" y="1869"/>
                  </a:lnTo>
                  <a:lnTo>
                    <a:pt x="1245" y="1869"/>
                  </a:lnTo>
                  <a:lnTo>
                    <a:pt x="1237" y="1866"/>
                  </a:lnTo>
                  <a:lnTo>
                    <a:pt x="1229" y="1862"/>
                  </a:lnTo>
                  <a:lnTo>
                    <a:pt x="1222" y="1857"/>
                  </a:lnTo>
                  <a:lnTo>
                    <a:pt x="1217" y="1851"/>
                  </a:lnTo>
                  <a:lnTo>
                    <a:pt x="1212" y="1844"/>
                  </a:lnTo>
                  <a:lnTo>
                    <a:pt x="1210" y="1835"/>
                  </a:lnTo>
                  <a:lnTo>
                    <a:pt x="1209" y="1826"/>
                  </a:lnTo>
                  <a:lnTo>
                    <a:pt x="1210" y="1821"/>
                  </a:lnTo>
                  <a:lnTo>
                    <a:pt x="1212" y="1814"/>
                  </a:lnTo>
                  <a:lnTo>
                    <a:pt x="1216" y="1807"/>
                  </a:lnTo>
                  <a:lnTo>
                    <a:pt x="1220" y="1799"/>
                  </a:lnTo>
                  <a:lnTo>
                    <a:pt x="1229" y="1786"/>
                  </a:lnTo>
                  <a:lnTo>
                    <a:pt x="1236" y="1777"/>
                  </a:lnTo>
                  <a:lnTo>
                    <a:pt x="1254" y="1767"/>
                  </a:lnTo>
                  <a:lnTo>
                    <a:pt x="1272" y="1758"/>
                  </a:lnTo>
                  <a:lnTo>
                    <a:pt x="1287" y="1749"/>
                  </a:lnTo>
                  <a:lnTo>
                    <a:pt x="1303" y="1740"/>
                  </a:lnTo>
                  <a:lnTo>
                    <a:pt x="1309" y="1728"/>
                  </a:lnTo>
                  <a:lnTo>
                    <a:pt x="1282" y="1721"/>
                  </a:lnTo>
                  <a:lnTo>
                    <a:pt x="1309" y="1703"/>
                  </a:lnTo>
                  <a:lnTo>
                    <a:pt x="1282" y="1679"/>
                  </a:lnTo>
                  <a:lnTo>
                    <a:pt x="1255" y="1654"/>
                  </a:lnTo>
                  <a:lnTo>
                    <a:pt x="1216" y="1654"/>
                  </a:lnTo>
                  <a:lnTo>
                    <a:pt x="1203" y="1629"/>
                  </a:lnTo>
                  <a:lnTo>
                    <a:pt x="1183" y="1617"/>
                  </a:lnTo>
                  <a:lnTo>
                    <a:pt x="1176" y="1586"/>
                  </a:lnTo>
                  <a:lnTo>
                    <a:pt x="1176" y="1549"/>
                  </a:lnTo>
                  <a:lnTo>
                    <a:pt x="1189" y="1524"/>
                  </a:lnTo>
                  <a:lnTo>
                    <a:pt x="1196" y="1499"/>
                  </a:lnTo>
                  <a:lnTo>
                    <a:pt x="1229" y="1518"/>
                  </a:lnTo>
                  <a:lnTo>
                    <a:pt x="1262" y="1530"/>
                  </a:lnTo>
                  <a:lnTo>
                    <a:pt x="1282" y="1524"/>
                  </a:lnTo>
                  <a:lnTo>
                    <a:pt x="1255" y="1493"/>
                  </a:lnTo>
                  <a:lnTo>
                    <a:pt x="1289" y="1475"/>
                  </a:lnTo>
                  <a:lnTo>
                    <a:pt x="1322" y="1444"/>
                  </a:lnTo>
                  <a:lnTo>
                    <a:pt x="1355" y="1438"/>
                  </a:lnTo>
                  <a:lnTo>
                    <a:pt x="1395" y="1438"/>
                  </a:lnTo>
                  <a:lnTo>
                    <a:pt x="1422" y="1426"/>
                  </a:lnTo>
                  <a:lnTo>
                    <a:pt x="1468" y="1438"/>
                  </a:lnTo>
                  <a:lnTo>
                    <a:pt x="1514" y="1457"/>
                  </a:lnTo>
                  <a:lnTo>
                    <a:pt x="1555" y="1493"/>
                  </a:lnTo>
                  <a:lnTo>
                    <a:pt x="1601" y="1487"/>
                  </a:lnTo>
                  <a:lnTo>
                    <a:pt x="1641" y="1469"/>
                  </a:lnTo>
                  <a:lnTo>
                    <a:pt x="1674" y="1469"/>
                  </a:lnTo>
                  <a:lnTo>
                    <a:pt x="1714" y="1463"/>
                  </a:lnTo>
                  <a:lnTo>
                    <a:pt x="1754" y="1481"/>
                  </a:lnTo>
                  <a:lnTo>
                    <a:pt x="1800" y="1493"/>
                  </a:lnTo>
                  <a:lnTo>
                    <a:pt x="1847" y="1487"/>
                  </a:lnTo>
                  <a:lnTo>
                    <a:pt x="1893" y="1469"/>
                  </a:lnTo>
                  <a:lnTo>
                    <a:pt x="1893" y="1444"/>
                  </a:lnTo>
                  <a:lnTo>
                    <a:pt x="1860" y="1438"/>
                  </a:lnTo>
                  <a:lnTo>
                    <a:pt x="1821" y="1426"/>
                  </a:lnTo>
                  <a:lnTo>
                    <a:pt x="1793" y="1414"/>
                  </a:lnTo>
                  <a:lnTo>
                    <a:pt x="1834" y="1401"/>
                  </a:lnTo>
                  <a:lnTo>
                    <a:pt x="1827" y="1364"/>
                  </a:lnTo>
                  <a:lnTo>
                    <a:pt x="1880" y="1358"/>
                  </a:lnTo>
                  <a:lnTo>
                    <a:pt x="1814" y="1309"/>
                  </a:lnTo>
                  <a:lnTo>
                    <a:pt x="1920" y="1291"/>
                  </a:lnTo>
                  <a:lnTo>
                    <a:pt x="2006" y="1284"/>
                  </a:lnTo>
                  <a:lnTo>
                    <a:pt x="2020" y="1259"/>
                  </a:lnTo>
                  <a:lnTo>
                    <a:pt x="2080" y="1253"/>
                  </a:lnTo>
                  <a:lnTo>
                    <a:pt x="2139" y="1241"/>
                  </a:lnTo>
                  <a:lnTo>
                    <a:pt x="2159" y="1216"/>
                  </a:lnTo>
                  <a:lnTo>
                    <a:pt x="2226" y="1229"/>
                  </a:lnTo>
                  <a:lnTo>
                    <a:pt x="2265" y="1222"/>
                  </a:lnTo>
                  <a:lnTo>
                    <a:pt x="2292" y="1241"/>
                  </a:lnTo>
                  <a:lnTo>
                    <a:pt x="2298" y="1291"/>
                  </a:lnTo>
                  <a:lnTo>
                    <a:pt x="2339" y="1291"/>
                  </a:lnTo>
                  <a:lnTo>
                    <a:pt x="2352" y="1277"/>
                  </a:lnTo>
                  <a:lnTo>
                    <a:pt x="2372" y="1291"/>
                  </a:lnTo>
                  <a:lnTo>
                    <a:pt x="2411" y="1297"/>
                  </a:lnTo>
                  <a:lnTo>
                    <a:pt x="2431" y="1297"/>
                  </a:lnTo>
                  <a:lnTo>
                    <a:pt x="2431" y="1333"/>
                  </a:lnTo>
                  <a:lnTo>
                    <a:pt x="2472" y="1327"/>
                  </a:lnTo>
                  <a:lnTo>
                    <a:pt x="2511" y="1309"/>
                  </a:lnTo>
                  <a:lnTo>
                    <a:pt x="2551" y="1277"/>
                  </a:lnTo>
                  <a:lnTo>
                    <a:pt x="2577" y="1265"/>
                  </a:lnTo>
                  <a:lnTo>
                    <a:pt x="2577" y="1297"/>
                  </a:lnTo>
                  <a:lnTo>
                    <a:pt x="2618" y="1315"/>
                  </a:lnTo>
                  <a:lnTo>
                    <a:pt x="2664" y="1333"/>
                  </a:lnTo>
                  <a:lnTo>
                    <a:pt x="2704" y="1376"/>
                  </a:lnTo>
                  <a:lnTo>
                    <a:pt x="2757" y="1420"/>
                  </a:lnTo>
                  <a:lnTo>
                    <a:pt x="2803" y="1457"/>
                  </a:lnTo>
                  <a:lnTo>
                    <a:pt x="2823" y="1487"/>
                  </a:lnTo>
                  <a:lnTo>
                    <a:pt x="2836" y="1457"/>
                  </a:lnTo>
                  <a:lnTo>
                    <a:pt x="2864" y="1451"/>
                  </a:lnTo>
                  <a:lnTo>
                    <a:pt x="2884" y="1475"/>
                  </a:lnTo>
                  <a:lnTo>
                    <a:pt x="2923" y="1487"/>
                  </a:lnTo>
                  <a:lnTo>
                    <a:pt x="2969" y="1481"/>
                  </a:lnTo>
                  <a:lnTo>
                    <a:pt x="2997" y="1469"/>
                  </a:lnTo>
                  <a:lnTo>
                    <a:pt x="3036" y="1499"/>
                  </a:lnTo>
                  <a:lnTo>
                    <a:pt x="3082" y="1524"/>
                  </a:lnTo>
                  <a:lnTo>
                    <a:pt x="3123" y="1549"/>
                  </a:lnTo>
                  <a:lnTo>
                    <a:pt x="3176" y="1555"/>
                  </a:lnTo>
                  <a:lnTo>
                    <a:pt x="3182" y="1562"/>
                  </a:lnTo>
                  <a:lnTo>
                    <a:pt x="3186" y="1560"/>
                  </a:lnTo>
                  <a:lnTo>
                    <a:pt x="3189" y="1557"/>
                  </a:lnTo>
                  <a:lnTo>
                    <a:pt x="3193" y="1556"/>
                  </a:lnTo>
                  <a:lnTo>
                    <a:pt x="3198" y="1555"/>
                  </a:lnTo>
                  <a:lnTo>
                    <a:pt x="3211" y="1555"/>
                  </a:lnTo>
                  <a:lnTo>
                    <a:pt x="3228" y="1555"/>
                  </a:lnTo>
                  <a:lnTo>
                    <a:pt x="3234" y="1554"/>
                  </a:lnTo>
                  <a:lnTo>
                    <a:pt x="3239" y="1552"/>
                  </a:lnTo>
                  <a:lnTo>
                    <a:pt x="3246" y="1549"/>
                  </a:lnTo>
                  <a:lnTo>
                    <a:pt x="3251" y="1546"/>
                  </a:lnTo>
                  <a:lnTo>
                    <a:pt x="3261" y="1539"/>
                  </a:lnTo>
                  <a:lnTo>
                    <a:pt x="3269" y="1537"/>
                  </a:lnTo>
                  <a:lnTo>
                    <a:pt x="3278" y="1536"/>
                  </a:lnTo>
                  <a:lnTo>
                    <a:pt x="3288" y="1534"/>
                  </a:lnTo>
                  <a:lnTo>
                    <a:pt x="3296" y="1531"/>
                  </a:lnTo>
                  <a:lnTo>
                    <a:pt x="3304" y="1527"/>
                  </a:lnTo>
                  <a:lnTo>
                    <a:pt x="3320" y="1517"/>
                  </a:lnTo>
                  <a:lnTo>
                    <a:pt x="3335" y="1506"/>
                  </a:lnTo>
                  <a:lnTo>
                    <a:pt x="3350" y="1494"/>
                  </a:lnTo>
                  <a:lnTo>
                    <a:pt x="3366" y="1485"/>
                  </a:lnTo>
                  <a:lnTo>
                    <a:pt x="3374" y="1481"/>
                  </a:lnTo>
                  <a:lnTo>
                    <a:pt x="3383" y="1478"/>
                  </a:lnTo>
                  <a:lnTo>
                    <a:pt x="3392" y="1476"/>
                  </a:lnTo>
                  <a:lnTo>
                    <a:pt x="3402" y="1475"/>
                  </a:lnTo>
                  <a:lnTo>
                    <a:pt x="3413" y="1476"/>
                  </a:lnTo>
                  <a:lnTo>
                    <a:pt x="3423" y="1477"/>
                  </a:lnTo>
                  <a:lnTo>
                    <a:pt x="3432" y="1479"/>
                  </a:lnTo>
                  <a:lnTo>
                    <a:pt x="3439" y="1481"/>
                  </a:lnTo>
                  <a:lnTo>
                    <a:pt x="3447" y="1483"/>
                  </a:lnTo>
                  <a:lnTo>
                    <a:pt x="3453" y="1485"/>
                  </a:lnTo>
                  <a:lnTo>
                    <a:pt x="3461" y="1487"/>
                  </a:lnTo>
                  <a:lnTo>
                    <a:pt x="3468" y="1487"/>
                  </a:lnTo>
                  <a:lnTo>
                    <a:pt x="3494" y="1475"/>
                  </a:lnTo>
                  <a:lnTo>
                    <a:pt x="3507" y="1475"/>
                  </a:lnTo>
                  <a:lnTo>
                    <a:pt x="3522" y="1475"/>
                  </a:lnTo>
                  <a:lnTo>
                    <a:pt x="3522" y="1483"/>
                  </a:lnTo>
                  <a:lnTo>
                    <a:pt x="3524" y="1490"/>
                  </a:lnTo>
                  <a:lnTo>
                    <a:pt x="3526" y="1496"/>
                  </a:lnTo>
                  <a:lnTo>
                    <a:pt x="3528" y="1501"/>
                  </a:lnTo>
                  <a:lnTo>
                    <a:pt x="3535" y="1510"/>
                  </a:lnTo>
                  <a:lnTo>
                    <a:pt x="3541" y="1518"/>
                  </a:lnTo>
                  <a:lnTo>
                    <a:pt x="3720" y="1518"/>
                  </a:lnTo>
                  <a:lnTo>
                    <a:pt x="3721" y="1510"/>
                  </a:lnTo>
                  <a:lnTo>
                    <a:pt x="3720" y="1501"/>
                  </a:lnTo>
                  <a:lnTo>
                    <a:pt x="3718" y="1494"/>
                  </a:lnTo>
                  <a:lnTo>
                    <a:pt x="3716" y="1488"/>
                  </a:lnTo>
                  <a:lnTo>
                    <a:pt x="3713" y="1482"/>
                  </a:lnTo>
                  <a:lnTo>
                    <a:pt x="3708" y="1477"/>
                  </a:lnTo>
                  <a:lnTo>
                    <a:pt x="3704" y="1472"/>
                  </a:lnTo>
                  <a:lnTo>
                    <a:pt x="3699" y="1467"/>
                  </a:lnTo>
                  <a:lnTo>
                    <a:pt x="3691" y="1459"/>
                  </a:lnTo>
                  <a:lnTo>
                    <a:pt x="3682" y="1449"/>
                  </a:lnTo>
                  <a:lnTo>
                    <a:pt x="3679" y="1443"/>
                  </a:lnTo>
                  <a:lnTo>
                    <a:pt x="3676" y="1438"/>
                  </a:lnTo>
                  <a:lnTo>
                    <a:pt x="3674" y="1432"/>
                  </a:lnTo>
                  <a:lnTo>
                    <a:pt x="3674" y="1426"/>
                  </a:lnTo>
                  <a:lnTo>
                    <a:pt x="3674" y="1418"/>
                  </a:lnTo>
                  <a:lnTo>
                    <a:pt x="3674" y="1411"/>
                  </a:lnTo>
                  <a:lnTo>
                    <a:pt x="3674" y="1404"/>
                  </a:lnTo>
                  <a:lnTo>
                    <a:pt x="3674" y="1395"/>
                  </a:lnTo>
                  <a:lnTo>
                    <a:pt x="3687" y="1388"/>
                  </a:lnTo>
                  <a:lnTo>
                    <a:pt x="3880" y="1426"/>
                  </a:lnTo>
                  <a:lnTo>
                    <a:pt x="3883" y="1437"/>
                  </a:lnTo>
                  <a:lnTo>
                    <a:pt x="3886" y="1446"/>
                  </a:lnTo>
                  <a:lnTo>
                    <a:pt x="3890" y="1456"/>
                  </a:lnTo>
                  <a:lnTo>
                    <a:pt x="3895" y="1464"/>
                  </a:lnTo>
                  <a:lnTo>
                    <a:pt x="3900" y="1472"/>
                  </a:lnTo>
                  <a:lnTo>
                    <a:pt x="3906" y="1478"/>
                  </a:lnTo>
                  <a:lnTo>
                    <a:pt x="3914" y="1484"/>
                  </a:lnTo>
                  <a:lnTo>
                    <a:pt x="3920" y="1489"/>
                  </a:lnTo>
                  <a:lnTo>
                    <a:pt x="3929" y="1493"/>
                  </a:lnTo>
                  <a:lnTo>
                    <a:pt x="3938" y="1496"/>
                  </a:lnTo>
                  <a:lnTo>
                    <a:pt x="3948" y="1499"/>
                  </a:lnTo>
                  <a:lnTo>
                    <a:pt x="3957" y="1502"/>
                  </a:lnTo>
                  <a:lnTo>
                    <a:pt x="3968" y="1504"/>
                  </a:lnTo>
                  <a:lnTo>
                    <a:pt x="3981" y="1505"/>
                  </a:lnTo>
                  <a:lnTo>
                    <a:pt x="3993" y="1506"/>
                  </a:lnTo>
                  <a:lnTo>
                    <a:pt x="4006" y="1506"/>
                  </a:lnTo>
                  <a:lnTo>
                    <a:pt x="4018" y="1506"/>
                  </a:lnTo>
                  <a:lnTo>
                    <a:pt x="4029" y="1502"/>
                  </a:lnTo>
                  <a:lnTo>
                    <a:pt x="4039" y="1500"/>
                  </a:lnTo>
                  <a:lnTo>
                    <a:pt x="4050" y="1496"/>
                  </a:lnTo>
                  <a:lnTo>
                    <a:pt x="4060" y="1493"/>
                  </a:lnTo>
                  <a:lnTo>
                    <a:pt x="4069" y="1490"/>
                  </a:lnTo>
                  <a:lnTo>
                    <a:pt x="4080" y="1488"/>
                  </a:lnTo>
                  <a:lnTo>
                    <a:pt x="4093" y="1487"/>
                  </a:lnTo>
                  <a:lnTo>
                    <a:pt x="4108" y="1488"/>
                  </a:lnTo>
                  <a:lnTo>
                    <a:pt x="4123" y="1490"/>
                  </a:lnTo>
                  <a:lnTo>
                    <a:pt x="4136" y="1492"/>
                  </a:lnTo>
                  <a:lnTo>
                    <a:pt x="4150" y="1496"/>
                  </a:lnTo>
                  <a:lnTo>
                    <a:pt x="4162" y="1500"/>
                  </a:lnTo>
                  <a:lnTo>
                    <a:pt x="4173" y="1506"/>
                  </a:lnTo>
                  <a:lnTo>
                    <a:pt x="4184" y="1511"/>
                  </a:lnTo>
                  <a:lnTo>
                    <a:pt x="4195" y="1517"/>
                  </a:lnTo>
                  <a:lnTo>
                    <a:pt x="4214" y="1528"/>
                  </a:lnTo>
                  <a:lnTo>
                    <a:pt x="4233" y="1539"/>
                  </a:lnTo>
                  <a:lnTo>
                    <a:pt x="4243" y="1544"/>
                  </a:lnTo>
                  <a:lnTo>
                    <a:pt x="4253" y="1548"/>
                  </a:lnTo>
                  <a:lnTo>
                    <a:pt x="4262" y="1552"/>
                  </a:lnTo>
                  <a:lnTo>
                    <a:pt x="4272" y="1555"/>
                  </a:lnTo>
                  <a:lnTo>
                    <a:pt x="4306" y="1555"/>
                  </a:lnTo>
                  <a:lnTo>
                    <a:pt x="4334" y="1555"/>
                  </a:lnTo>
                  <a:lnTo>
                    <a:pt x="4358" y="1555"/>
                  </a:lnTo>
                  <a:lnTo>
                    <a:pt x="4378" y="1555"/>
                  </a:lnTo>
                  <a:lnTo>
                    <a:pt x="4396" y="1555"/>
                  </a:lnTo>
                  <a:lnTo>
                    <a:pt x="4412" y="1555"/>
                  </a:lnTo>
                  <a:lnTo>
                    <a:pt x="4427" y="1555"/>
                  </a:lnTo>
                  <a:lnTo>
                    <a:pt x="4445" y="1555"/>
                  </a:lnTo>
                  <a:lnTo>
                    <a:pt x="4455" y="1554"/>
                  </a:lnTo>
                  <a:lnTo>
                    <a:pt x="4464" y="1553"/>
                  </a:lnTo>
                  <a:lnTo>
                    <a:pt x="4470" y="1550"/>
                  </a:lnTo>
                  <a:lnTo>
                    <a:pt x="4476" y="1547"/>
                  </a:lnTo>
                  <a:lnTo>
                    <a:pt x="4480" y="1544"/>
                  </a:lnTo>
                  <a:lnTo>
                    <a:pt x="4485" y="1539"/>
                  </a:lnTo>
                  <a:lnTo>
                    <a:pt x="4488" y="1535"/>
                  </a:lnTo>
                  <a:lnTo>
                    <a:pt x="4490" y="1530"/>
                  </a:lnTo>
                  <a:lnTo>
                    <a:pt x="4495" y="1522"/>
                  </a:lnTo>
                  <a:lnTo>
                    <a:pt x="4503" y="1514"/>
                  </a:lnTo>
                  <a:lnTo>
                    <a:pt x="4509" y="1511"/>
                  </a:lnTo>
                  <a:lnTo>
                    <a:pt x="4514" y="1508"/>
                  </a:lnTo>
                  <a:lnTo>
                    <a:pt x="4522" y="1507"/>
                  </a:lnTo>
                  <a:lnTo>
                    <a:pt x="4531" y="1506"/>
                  </a:lnTo>
                  <a:lnTo>
                    <a:pt x="4554" y="1507"/>
                  </a:lnTo>
                  <a:lnTo>
                    <a:pt x="4577" y="1509"/>
                  </a:lnTo>
                  <a:lnTo>
                    <a:pt x="4599" y="1512"/>
                  </a:lnTo>
                  <a:lnTo>
                    <a:pt x="4620" y="1515"/>
                  </a:lnTo>
                  <a:lnTo>
                    <a:pt x="4651" y="1522"/>
                  </a:lnTo>
                  <a:lnTo>
                    <a:pt x="4663" y="1524"/>
                  </a:lnTo>
                  <a:lnTo>
                    <a:pt x="4678" y="1524"/>
                  </a:lnTo>
                  <a:lnTo>
                    <a:pt x="4690" y="1524"/>
                  </a:lnTo>
                  <a:lnTo>
                    <a:pt x="4700" y="1524"/>
                  </a:lnTo>
                  <a:lnTo>
                    <a:pt x="4711" y="1524"/>
                  </a:lnTo>
                  <a:lnTo>
                    <a:pt x="4718" y="1524"/>
                  </a:lnTo>
                  <a:lnTo>
                    <a:pt x="4727" y="1521"/>
                  </a:lnTo>
                  <a:lnTo>
                    <a:pt x="4737" y="1518"/>
                  </a:lnTo>
                  <a:lnTo>
                    <a:pt x="4746" y="1513"/>
                  </a:lnTo>
                  <a:lnTo>
                    <a:pt x="4755" y="1508"/>
                  </a:lnTo>
                  <a:lnTo>
                    <a:pt x="4763" y="1501"/>
                  </a:lnTo>
                  <a:lnTo>
                    <a:pt x="4771" y="1494"/>
                  </a:lnTo>
                  <a:lnTo>
                    <a:pt x="4777" y="1487"/>
                  </a:lnTo>
                  <a:lnTo>
                    <a:pt x="4771" y="1484"/>
                  </a:lnTo>
                  <a:lnTo>
                    <a:pt x="4766" y="1481"/>
                  </a:lnTo>
                  <a:lnTo>
                    <a:pt x="4760" y="1476"/>
                  </a:lnTo>
                  <a:lnTo>
                    <a:pt x="4756" y="1471"/>
                  </a:lnTo>
                  <a:lnTo>
                    <a:pt x="4750" y="1465"/>
                  </a:lnTo>
                  <a:lnTo>
                    <a:pt x="4747" y="1458"/>
                  </a:lnTo>
                  <a:lnTo>
                    <a:pt x="4745" y="1452"/>
                  </a:lnTo>
                  <a:lnTo>
                    <a:pt x="4744" y="1444"/>
                  </a:lnTo>
                  <a:lnTo>
                    <a:pt x="4745" y="1435"/>
                  </a:lnTo>
                  <a:lnTo>
                    <a:pt x="4747" y="1428"/>
                  </a:lnTo>
                  <a:lnTo>
                    <a:pt x="4750" y="1422"/>
                  </a:lnTo>
                  <a:lnTo>
                    <a:pt x="4754" y="1417"/>
                  </a:lnTo>
                  <a:lnTo>
                    <a:pt x="4757" y="1411"/>
                  </a:lnTo>
                  <a:lnTo>
                    <a:pt x="4760" y="1405"/>
                  </a:lnTo>
                  <a:lnTo>
                    <a:pt x="4762" y="1398"/>
                  </a:lnTo>
                  <a:lnTo>
                    <a:pt x="4763" y="1388"/>
                  </a:lnTo>
                  <a:lnTo>
                    <a:pt x="4763" y="1382"/>
                  </a:lnTo>
                  <a:lnTo>
                    <a:pt x="4761" y="1377"/>
                  </a:lnTo>
                  <a:lnTo>
                    <a:pt x="4759" y="1372"/>
                  </a:lnTo>
                  <a:lnTo>
                    <a:pt x="4756" y="1369"/>
                  </a:lnTo>
                  <a:lnTo>
                    <a:pt x="4747" y="1363"/>
                  </a:lnTo>
                  <a:lnTo>
                    <a:pt x="4737" y="1359"/>
                  </a:lnTo>
                  <a:lnTo>
                    <a:pt x="4727" y="1355"/>
                  </a:lnTo>
                  <a:lnTo>
                    <a:pt x="4718" y="1350"/>
                  </a:lnTo>
                  <a:lnTo>
                    <a:pt x="4715" y="1347"/>
                  </a:lnTo>
                  <a:lnTo>
                    <a:pt x="4713" y="1343"/>
                  </a:lnTo>
                  <a:lnTo>
                    <a:pt x="4711" y="1339"/>
                  </a:lnTo>
                  <a:lnTo>
                    <a:pt x="4711" y="1333"/>
                  </a:lnTo>
                  <a:lnTo>
                    <a:pt x="4711" y="1324"/>
                  </a:lnTo>
                  <a:lnTo>
                    <a:pt x="4711" y="1315"/>
                  </a:lnTo>
                  <a:lnTo>
                    <a:pt x="4830" y="1297"/>
                  </a:lnTo>
                  <a:lnTo>
                    <a:pt x="4869" y="1307"/>
                  </a:lnTo>
                  <a:lnTo>
                    <a:pt x="4898" y="1315"/>
                  </a:lnTo>
                  <a:lnTo>
                    <a:pt x="4928" y="1322"/>
                  </a:lnTo>
                  <a:lnTo>
                    <a:pt x="4963" y="1333"/>
                  </a:lnTo>
                  <a:lnTo>
                    <a:pt x="4974" y="1338"/>
                  </a:lnTo>
                  <a:lnTo>
                    <a:pt x="4985" y="1343"/>
                  </a:lnTo>
                  <a:lnTo>
                    <a:pt x="4995" y="1349"/>
                  </a:lnTo>
                  <a:lnTo>
                    <a:pt x="5005" y="1356"/>
                  </a:lnTo>
                  <a:lnTo>
                    <a:pt x="5021" y="1371"/>
                  </a:lnTo>
                  <a:lnTo>
                    <a:pt x="5038" y="1386"/>
                  </a:lnTo>
                  <a:lnTo>
                    <a:pt x="5046" y="1395"/>
                  </a:lnTo>
                  <a:lnTo>
                    <a:pt x="5054" y="1402"/>
                  </a:lnTo>
                  <a:lnTo>
                    <a:pt x="5063" y="1408"/>
                  </a:lnTo>
                  <a:lnTo>
                    <a:pt x="5073" y="1414"/>
                  </a:lnTo>
                  <a:lnTo>
                    <a:pt x="5084" y="1419"/>
                  </a:lnTo>
                  <a:lnTo>
                    <a:pt x="5095" y="1423"/>
                  </a:lnTo>
                  <a:lnTo>
                    <a:pt x="5108" y="1425"/>
                  </a:lnTo>
                  <a:lnTo>
                    <a:pt x="5122" y="1426"/>
                  </a:lnTo>
                  <a:lnTo>
                    <a:pt x="5127" y="1438"/>
                  </a:lnTo>
                  <a:lnTo>
                    <a:pt x="5132" y="1449"/>
                  </a:lnTo>
                  <a:lnTo>
                    <a:pt x="5139" y="1459"/>
                  </a:lnTo>
                  <a:lnTo>
                    <a:pt x="5148" y="1468"/>
                  </a:lnTo>
                  <a:lnTo>
                    <a:pt x="5156" y="1476"/>
                  </a:lnTo>
                  <a:lnTo>
                    <a:pt x="5166" y="1484"/>
                  </a:lnTo>
                  <a:lnTo>
                    <a:pt x="5176" y="1490"/>
                  </a:lnTo>
                  <a:lnTo>
                    <a:pt x="5188" y="1496"/>
                  </a:lnTo>
                  <a:lnTo>
                    <a:pt x="5199" y="1502"/>
                  </a:lnTo>
                  <a:lnTo>
                    <a:pt x="5211" y="1508"/>
                  </a:lnTo>
                  <a:lnTo>
                    <a:pt x="5225" y="1512"/>
                  </a:lnTo>
                  <a:lnTo>
                    <a:pt x="5237" y="1516"/>
                  </a:lnTo>
                  <a:lnTo>
                    <a:pt x="5263" y="1524"/>
                  </a:lnTo>
                  <a:lnTo>
                    <a:pt x="5288" y="1530"/>
                  </a:lnTo>
                  <a:lnTo>
                    <a:pt x="5303" y="1536"/>
                  </a:lnTo>
                  <a:lnTo>
                    <a:pt x="5317" y="1542"/>
                  </a:lnTo>
                  <a:lnTo>
                    <a:pt x="5330" y="1550"/>
                  </a:lnTo>
                  <a:lnTo>
                    <a:pt x="5342" y="1558"/>
                  </a:lnTo>
                  <a:lnTo>
                    <a:pt x="5365" y="1577"/>
                  </a:lnTo>
                  <a:lnTo>
                    <a:pt x="5388" y="1595"/>
                  </a:lnTo>
                  <a:lnTo>
                    <a:pt x="5399" y="1604"/>
                  </a:lnTo>
                  <a:lnTo>
                    <a:pt x="5410" y="1612"/>
                  </a:lnTo>
                  <a:lnTo>
                    <a:pt x="5422" y="1621"/>
                  </a:lnTo>
                  <a:lnTo>
                    <a:pt x="5434" y="1628"/>
                  </a:lnTo>
                  <a:lnTo>
                    <a:pt x="5446" y="1633"/>
                  </a:lnTo>
                  <a:lnTo>
                    <a:pt x="5460" y="1638"/>
                  </a:lnTo>
                  <a:lnTo>
                    <a:pt x="5473" y="1640"/>
                  </a:lnTo>
                  <a:lnTo>
                    <a:pt x="5488" y="1641"/>
                  </a:lnTo>
                  <a:lnTo>
                    <a:pt x="5497" y="1641"/>
                  </a:lnTo>
                  <a:lnTo>
                    <a:pt x="5506" y="1640"/>
                  </a:lnTo>
                  <a:lnTo>
                    <a:pt x="5514" y="1638"/>
                  </a:lnTo>
                  <a:lnTo>
                    <a:pt x="5522" y="1635"/>
                  </a:lnTo>
                  <a:lnTo>
                    <a:pt x="5536" y="1628"/>
                  </a:lnTo>
                  <a:lnTo>
                    <a:pt x="5551" y="1620"/>
                  </a:lnTo>
                  <a:lnTo>
                    <a:pt x="5565" y="1611"/>
                  </a:lnTo>
                  <a:lnTo>
                    <a:pt x="5579" y="1605"/>
                  </a:lnTo>
                  <a:lnTo>
                    <a:pt x="5587" y="1602"/>
                  </a:lnTo>
                  <a:lnTo>
                    <a:pt x="5596" y="1600"/>
                  </a:lnTo>
                  <a:lnTo>
                    <a:pt x="5604" y="1599"/>
                  </a:lnTo>
                  <a:lnTo>
                    <a:pt x="5614" y="1598"/>
                  </a:lnTo>
                  <a:lnTo>
                    <a:pt x="5621" y="1599"/>
                  </a:lnTo>
                  <a:lnTo>
                    <a:pt x="5626" y="1601"/>
                  </a:lnTo>
                  <a:lnTo>
                    <a:pt x="5631" y="1604"/>
                  </a:lnTo>
                  <a:lnTo>
                    <a:pt x="5635" y="1607"/>
                  </a:lnTo>
                  <a:lnTo>
                    <a:pt x="5642" y="1613"/>
                  </a:lnTo>
                  <a:lnTo>
                    <a:pt x="5647" y="1617"/>
                  </a:lnTo>
                  <a:lnTo>
                    <a:pt x="5647" y="1629"/>
                  </a:lnTo>
                  <a:lnTo>
                    <a:pt x="5647" y="1638"/>
                  </a:lnTo>
                  <a:lnTo>
                    <a:pt x="5647" y="1645"/>
                  </a:lnTo>
                  <a:lnTo>
                    <a:pt x="5647" y="1654"/>
                  </a:lnTo>
                  <a:lnTo>
                    <a:pt x="5647" y="1662"/>
                  </a:lnTo>
                  <a:lnTo>
                    <a:pt x="5649" y="1672"/>
                  </a:lnTo>
                  <a:lnTo>
                    <a:pt x="5652" y="1679"/>
                  </a:lnTo>
                  <a:lnTo>
                    <a:pt x="5655" y="1686"/>
                  </a:lnTo>
                  <a:lnTo>
                    <a:pt x="5659" y="1693"/>
                  </a:lnTo>
                  <a:lnTo>
                    <a:pt x="5664" y="1699"/>
                  </a:lnTo>
                  <a:lnTo>
                    <a:pt x="5668" y="1704"/>
                  </a:lnTo>
                  <a:lnTo>
                    <a:pt x="5674" y="1709"/>
                  </a:lnTo>
                  <a:lnTo>
                    <a:pt x="5674" y="1790"/>
                  </a:lnTo>
                  <a:lnTo>
                    <a:pt x="5666" y="1791"/>
                  </a:lnTo>
                  <a:lnTo>
                    <a:pt x="5657" y="1792"/>
                  </a:lnTo>
                  <a:lnTo>
                    <a:pt x="5649" y="1792"/>
                  </a:lnTo>
                  <a:lnTo>
                    <a:pt x="5641" y="1792"/>
                  </a:lnTo>
                  <a:lnTo>
                    <a:pt x="5623" y="1790"/>
                  </a:lnTo>
                  <a:lnTo>
                    <a:pt x="5608" y="1790"/>
                  </a:lnTo>
                  <a:lnTo>
                    <a:pt x="5604" y="1790"/>
                  </a:lnTo>
                  <a:lnTo>
                    <a:pt x="5602" y="1792"/>
                  </a:lnTo>
                  <a:lnTo>
                    <a:pt x="5600" y="1794"/>
                  </a:lnTo>
                  <a:lnTo>
                    <a:pt x="5598" y="1796"/>
                  </a:lnTo>
                  <a:lnTo>
                    <a:pt x="5595" y="1802"/>
                  </a:lnTo>
                  <a:lnTo>
                    <a:pt x="5593" y="1808"/>
                  </a:lnTo>
                  <a:lnTo>
                    <a:pt x="5595" y="1818"/>
                  </a:lnTo>
                  <a:lnTo>
                    <a:pt x="5597" y="1827"/>
                  </a:lnTo>
                  <a:lnTo>
                    <a:pt x="5600" y="1835"/>
                  </a:lnTo>
                  <a:lnTo>
                    <a:pt x="5604" y="1844"/>
                  </a:lnTo>
                  <a:lnTo>
                    <a:pt x="5609" y="1852"/>
                  </a:lnTo>
                  <a:lnTo>
                    <a:pt x="5614" y="1859"/>
                  </a:lnTo>
                  <a:lnTo>
                    <a:pt x="5620" y="1865"/>
                  </a:lnTo>
                  <a:lnTo>
                    <a:pt x="5626" y="1871"/>
                  </a:lnTo>
                  <a:lnTo>
                    <a:pt x="5637" y="1881"/>
                  </a:lnTo>
                  <a:lnTo>
                    <a:pt x="5647" y="1890"/>
                  </a:lnTo>
                  <a:lnTo>
                    <a:pt x="5651" y="1896"/>
                  </a:lnTo>
                  <a:lnTo>
                    <a:pt x="5653" y="1899"/>
                  </a:lnTo>
                  <a:lnTo>
                    <a:pt x="5654" y="1903"/>
                  </a:lnTo>
                  <a:lnTo>
                    <a:pt x="5654" y="1907"/>
                  </a:lnTo>
                  <a:lnTo>
                    <a:pt x="5747" y="1919"/>
                  </a:lnTo>
                  <a:lnTo>
                    <a:pt x="5754" y="1918"/>
                  </a:lnTo>
                  <a:lnTo>
                    <a:pt x="5761" y="1917"/>
                  </a:lnTo>
                  <a:lnTo>
                    <a:pt x="5768" y="1915"/>
                  </a:lnTo>
                  <a:lnTo>
                    <a:pt x="5775" y="1912"/>
                  </a:lnTo>
                  <a:lnTo>
                    <a:pt x="5780" y="1908"/>
                  </a:lnTo>
                  <a:lnTo>
                    <a:pt x="5786" y="1904"/>
                  </a:lnTo>
                  <a:lnTo>
                    <a:pt x="5792" y="1899"/>
                  </a:lnTo>
                  <a:lnTo>
                    <a:pt x="5797" y="1892"/>
                  </a:lnTo>
                  <a:lnTo>
                    <a:pt x="5807" y="1880"/>
                  </a:lnTo>
                  <a:lnTo>
                    <a:pt x="5815" y="1865"/>
                  </a:lnTo>
                  <a:lnTo>
                    <a:pt x="5823" y="1850"/>
                  </a:lnTo>
                  <a:lnTo>
                    <a:pt x="5830" y="1832"/>
                  </a:lnTo>
                  <a:lnTo>
                    <a:pt x="5835" y="1815"/>
                  </a:lnTo>
                  <a:lnTo>
                    <a:pt x="5841" y="1797"/>
                  </a:lnTo>
                  <a:lnTo>
                    <a:pt x="5845" y="1779"/>
                  </a:lnTo>
                  <a:lnTo>
                    <a:pt x="5847" y="1763"/>
                  </a:lnTo>
                  <a:lnTo>
                    <a:pt x="5852" y="1733"/>
                  </a:lnTo>
                  <a:lnTo>
                    <a:pt x="5853" y="1709"/>
                  </a:lnTo>
                  <a:lnTo>
                    <a:pt x="5853" y="1694"/>
                  </a:lnTo>
                  <a:lnTo>
                    <a:pt x="5853" y="1677"/>
                  </a:lnTo>
                  <a:lnTo>
                    <a:pt x="5853" y="1657"/>
                  </a:lnTo>
                  <a:lnTo>
                    <a:pt x="5853" y="1635"/>
                  </a:lnTo>
                  <a:lnTo>
                    <a:pt x="5853" y="1623"/>
                  </a:lnTo>
                  <a:lnTo>
                    <a:pt x="5853" y="1612"/>
                  </a:lnTo>
                  <a:lnTo>
                    <a:pt x="5855" y="1607"/>
                  </a:lnTo>
                  <a:lnTo>
                    <a:pt x="5858" y="1604"/>
                  </a:lnTo>
                  <a:lnTo>
                    <a:pt x="5865" y="1601"/>
                  </a:lnTo>
                  <a:lnTo>
                    <a:pt x="5873" y="1598"/>
                  </a:lnTo>
                  <a:lnTo>
                    <a:pt x="5873" y="1568"/>
                  </a:lnTo>
                  <a:lnTo>
                    <a:pt x="5867" y="1564"/>
                  </a:lnTo>
                  <a:lnTo>
                    <a:pt x="5859" y="1558"/>
                  </a:lnTo>
                  <a:lnTo>
                    <a:pt x="5850" y="1551"/>
                  </a:lnTo>
                  <a:lnTo>
                    <a:pt x="5843" y="1543"/>
                  </a:lnTo>
                  <a:lnTo>
                    <a:pt x="5835" y="1534"/>
                  </a:lnTo>
                  <a:lnTo>
                    <a:pt x="5830" y="1525"/>
                  </a:lnTo>
                  <a:lnTo>
                    <a:pt x="5827" y="1520"/>
                  </a:lnTo>
                  <a:lnTo>
                    <a:pt x="5826" y="1516"/>
                  </a:lnTo>
                  <a:lnTo>
                    <a:pt x="5826" y="1511"/>
                  </a:lnTo>
                  <a:lnTo>
                    <a:pt x="5826" y="1506"/>
                  </a:lnTo>
                  <a:lnTo>
                    <a:pt x="5816" y="1498"/>
                  </a:lnTo>
                  <a:lnTo>
                    <a:pt x="5808" y="1490"/>
                  </a:lnTo>
                  <a:lnTo>
                    <a:pt x="5799" y="1481"/>
                  </a:lnTo>
                  <a:lnTo>
                    <a:pt x="5791" y="1472"/>
                  </a:lnTo>
                  <a:lnTo>
                    <a:pt x="5776" y="1451"/>
                  </a:lnTo>
                  <a:lnTo>
                    <a:pt x="5761" y="1428"/>
                  </a:lnTo>
                  <a:lnTo>
                    <a:pt x="5748" y="1404"/>
                  </a:lnTo>
                  <a:lnTo>
                    <a:pt x="5735" y="1378"/>
                  </a:lnTo>
                  <a:lnTo>
                    <a:pt x="5721" y="1353"/>
                  </a:lnTo>
                  <a:lnTo>
                    <a:pt x="5707" y="1327"/>
                  </a:lnTo>
                  <a:lnTo>
                    <a:pt x="5700" y="1316"/>
                  </a:lnTo>
                  <a:lnTo>
                    <a:pt x="5692" y="1307"/>
                  </a:lnTo>
                  <a:lnTo>
                    <a:pt x="5684" y="1299"/>
                  </a:lnTo>
                  <a:lnTo>
                    <a:pt x="5674" y="1291"/>
                  </a:lnTo>
                  <a:lnTo>
                    <a:pt x="5664" y="1285"/>
                  </a:lnTo>
                  <a:lnTo>
                    <a:pt x="5652" y="1279"/>
                  </a:lnTo>
                  <a:lnTo>
                    <a:pt x="5640" y="1274"/>
                  </a:lnTo>
                  <a:lnTo>
                    <a:pt x="5628" y="1270"/>
                  </a:lnTo>
                  <a:lnTo>
                    <a:pt x="5600" y="1263"/>
                  </a:lnTo>
                  <a:lnTo>
                    <a:pt x="5570" y="1256"/>
                  </a:lnTo>
                  <a:lnTo>
                    <a:pt x="5540" y="1249"/>
                  </a:lnTo>
                  <a:lnTo>
                    <a:pt x="5508" y="1241"/>
                  </a:lnTo>
                  <a:lnTo>
                    <a:pt x="5503" y="1252"/>
                  </a:lnTo>
                  <a:lnTo>
                    <a:pt x="5500" y="1265"/>
                  </a:lnTo>
                  <a:lnTo>
                    <a:pt x="5498" y="1272"/>
                  </a:lnTo>
                  <a:lnTo>
                    <a:pt x="5496" y="1279"/>
                  </a:lnTo>
                  <a:lnTo>
                    <a:pt x="5492" y="1285"/>
                  </a:lnTo>
                  <a:lnTo>
                    <a:pt x="5488" y="1291"/>
                  </a:lnTo>
                  <a:lnTo>
                    <a:pt x="5483" y="1284"/>
                  </a:lnTo>
                  <a:lnTo>
                    <a:pt x="5476" y="1278"/>
                  </a:lnTo>
                  <a:lnTo>
                    <a:pt x="5469" y="1275"/>
                  </a:lnTo>
                  <a:lnTo>
                    <a:pt x="5462" y="1272"/>
                  </a:lnTo>
                  <a:lnTo>
                    <a:pt x="5446" y="1267"/>
                  </a:lnTo>
                  <a:lnTo>
                    <a:pt x="5431" y="1264"/>
                  </a:lnTo>
                  <a:lnTo>
                    <a:pt x="5423" y="1262"/>
                  </a:lnTo>
                  <a:lnTo>
                    <a:pt x="5417" y="1260"/>
                  </a:lnTo>
                  <a:lnTo>
                    <a:pt x="5411" y="1257"/>
                  </a:lnTo>
                  <a:lnTo>
                    <a:pt x="5406" y="1254"/>
                  </a:lnTo>
                  <a:lnTo>
                    <a:pt x="5401" y="1249"/>
                  </a:lnTo>
                  <a:lnTo>
                    <a:pt x="5398" y="1244"/>
                  </a:lnTo>
                  <a:lnTo>
                    <a:pt x="5396" y="1237"/>
                  </a:lnTo>
                  <a:lnTo>
                    <a:pt x="5395" y="1229"/>
                  </a:lnTo>
                  <a:lnTo>
                    <a:pt x="5378" y="1226"/>
                  </a:lnTo>
                  <a:lnTo>
                    <a:pt x="5341" y="1218"/>
                  </a:lnTo>
                  <a:lnTo>
                    <a:pt x="5322" y="1214"/>
                  </a:lnTo>
                  <a:lnTo>
                    <a:pt x="5305" y="1210"/>
                  </a:lnTo>
                  <a:lnTo>
                    <a:pt x="5293" y="1207"/>
                  </a:lnTo>
                  <a:lnTo>
                    <a:pt x="5288" y="1204"/>
                  </a:lnTo>
                  <a:lnTo>
                    <a:pt x="5289" y="1197"/>
                  </a:lnTo>
                  <a:lnTo>
                    <a:pt x="5293" y="1191"/>
                  </a:lnTo>
                  <a:lnTo>
                    <a:pt x="5298" y="1185"/>
                  </a:lnTo>
                  <a:lnTo>
                    <a:pt x="5304" y="1180"/>
                  </a:lnTo>
                  <a:lnTo>
                    <a:pt x="5319" y="1167"/>
                  </a:lnTo>
                  <a:lnTo>
                    <a:pt x="5334" y="1154"/>
                  </a:lnTo>
                  <a:lnTo>
                    <a:pt x="5331" y="1147"/>
                  </a:lnTo>
                  <a:lnTo>
                    <a:pt x="5329" y="1140"/>
                  </a:lnTo>
                  <a:lnTo>
                    <a:pt x="5328" y="1132"/>
                  </a:lnTo>
                  <a:lnTo>
                    <a:pt x="5329" y="1125"/>
                  </a:lnTo>
                  <a:lnTo>
                    <a:pt x="5331" y="1117"/>
                  </a:lnTo>
                  <a:lnTo>
                    <a:pt x="5334" y="1108"/>
                  </a:lnTo>
                  <a:lnTo>
                    <a:pt x="5339" y="1100"/>
                  </a:lnTo>
                  <a:lnTo>
                    <a:pt x="5343" y="1092"/>
                  </a:lnTo>
                  <a:lnTo>
                    <a:pt x="5365" y="1064"/>
                  </a:lnTo>
                  <a:lnTo>
                    <a:pt x="5382" y="1043"/>
                  </a:lnTo>
                  <a:lnTo>
                    <a:pt x="5382" y="964"/>
                  </a:lnTo>
                  <a:lnTo>
                    <a:pt x="5388" y="962"/>
                  </a:lnTo>
                  <a:lnTo>
                    <a:pt x="5396" y="961"/>
                  </a:lnTo>
                  <a:lnTo>
                    <a:pt x="5402" y="961"/>
                  </a:lnTo>
                  <a:lnTo>
                    <a:pt x="5409" y="962"/>
                  </a:lnTo>
                  <a:lnTo>
                    <a:pt x="5423" y="963"/>
                  </a:lnTo>
                  <a:lnTo>
                    <a:pt x="5441" y="964"/>
                  </a:lnTo>
                  <a:lnTo>
                    <a:pt x="5465" y="964"/>
                  </a:lnTo>
                  <a:lnTo>
                    <a:pt x="5492" y="966"/>
                  </a:lnTo>
                  <a:lnTo>
                    <a:pt x="5521" y="968"/>
                  </a:lnTo>
                  <a:lnTo>
                    <a:pt x="5552" y="970"/>
                  </a:lnTo>
                  <a:lnTo>
                    <a:pt x="5583" y="972"/>
                  </a:lnTo>
                  <a:lnTo>
                    <a:pt x="5612" y="974"/>
                  </a:lnTo>
                  <a:lnTo>
                    <a:pt x="5641" y="975"/>
                  </a:lnTo>
                  <a:lnTo>
                    <a:pt x="5667" y="976"/>
                  </a:lnTo>
                  <a:lnTo>
                    <a:pt x="5671" y="975"/>
                  </a:lnTo>
                  <a:lnTo>
                    <a:pt x="5677" y="972"/>
                  </a:lnTo>
                  <a:lnTo>
                    <a:pt x="5682" y="968"/>
                  </a:lnTo>
                  <a:lnTo>
                    <a:pt x="5687" y="964"/>
                  </a:lnTo>
                  <a:lnTo>
                    <a:pt x="5674" y="945"/>
                  </a:lnTo>
                  <a:lnTo>
                    <a:pt x="5807" y="945"/>
                  </a:lnTo>
                  <a:lnTo>
                    <a:pt x="5809" y="949"/>
                  </a:lnTo>
                  <a:lnTo>
                    <a:pt x="5816" y="955"/>
                  </a:lnTo>
                  <a:lnTo>
                    <a:pt x="5825" y="962"/>
                  </a:lnTo>
                  <a:lnTo>
                    <a:pt x="5836" y="969"/>
                  </a:lnTo>
                  <a:lnTo>
                    <a:pt x="5857" y="982"/>
                  </a:lnTo>
                  <a:lnTo>
                    <a:pt x="5867" y="988"/>
                  </a:lnTo>
                  <a:lnTo>
                    <a:pt x="5871" y="988"/>
                  </a:lnTo>
                  <a:lnTo>
                    <a:pt x="5875" y="987"/>
                  </a:lnTo>
                  <a:lnTo>
                    <a:pt x="5878" y="985"/>
                  </a:lnTo>
                  <a:lnTo>
                    <a:pt x="5880" y="983"/>
                  </a:lnTo>
                  <a:lnTo>
                    <a:pt x="5884" y="979"/>
                  </a:lnTo>
                  <a:lnTo>
                    <a:pt x="5888" y="973"/>
                  </a:lnTo>
                  <a:lnTo>
                    <a:pt x="5892" y="967"/>
                  </a:lnTo>
                  <a:lnTo>
                    <a:pt x="5898" y="963"/>
                  </a:lnTo>
                  <a:lnTo>
                    <a:pt x="5902" y="961"/>
                  </a:lnTo>
                  <a:lnTo>
                    <a:pt x="5906" y="959"/>
                  </a:lnTo>
                  <a:lnTo>
                    <a:pt x="5913" y="958"/>
                  </a:lnTo>
                  <a:lnTo>
                    <a:pt x="5920" y="958"/>
                  </a:lnTo>
                  <a:lnTo>
                    <a:pt x="5911" y="954"/>
                  </a:lnTo>
                  <a:lnTo>
                    <a:pt x="5904" y="950"/>
                  </a:lnTo>
                  <a:lnTo>
                    <a:pt x="5900" y="945"/>
                  </a:lnTo>
                  <a:lnTo>
                    <a:pt x="5897" y="941"/>
                  </a:lnTo>
                  <a:lnTo>
                    <a:pt x="5894" y="935"/>
                  </a:lnTo>
                  <a:lnTo>
                    <a:pt x="5893" y="927"/>
                  </a:lnTo>
                  <a:lnTo>
                    <a:pt x="5893" y="916"/>
                  </a:lnTo>
                  <a:lnTo>
                    <a:pt x="5893" y="902"/>
                  </a:lnTo>
                  <a:lnTo>
                    <a:pt x="5893" y="886"/>
                  </a:lnTo>
                  <a:lnTo>
                    <a:pt x="5894" y="871"/>
                  </a:lnTo>
                  <a:lnTo>
                    <a:pt x="5897" y="858"/>
                  </a:lnTo>
                  <a:lnTo>
                    <a:pt x="5900" y="846"/>
                  </a:lnTo>
                  <a:lnTo>
                    <a:pt x="5902" y="841"/>
                  </a:lnTo>
                  <a:lnTo>
                    <a:pt x="5904" y="835"/>
                  </a:lnTo>
                  <a:lnTo>
                    <a:pt x="5906" y="831"/>
                  </a:lnTo>
                  <a:lnTo>
                    <a:pt x="5910" y="828"/>
                  </a:lnTo>
                  <a:lnTo>
                    <a:pt x="5913" y="825"/>
                  </a:lnTo>
                  <a:lnTo>
                    <a:pt x="5917" y="823"/>
                  </a:lnTo>
                  <a:lnTo>
                    <a:pt x="5922" y="822"/>
                  </a:lnTo>
                  <a:lnTo>
                    <a:pt x="5926" y="822"/>
                  </a:lnTo>
                  <a:lnTo>
                    <a:pt x="5945" y="822"/>
                  </a:lnTo>
                  <a:lnTo>
                    <a:pt x="5974" y="822"/>
                  </a:lnTo>
                  <a:lnTo>
                    <a:pt x="6006" y="822"/>
                  </a:lnTo>
                  <a:lnTo>
                    <a:pt x="6033" y="822"/>
                  </a:lnTo>
                  <a:lnTo>
                    <a:pt x="6037" y="828"/>
                  </a:lnTo>
                  <a:lnTo>
                    <a:pt x="6045" y="838"/>
                  </a:lnTo>
                  <a:lnTo>
                    <a:pt x="6055" y="849"/>
                  </a:lnTo>
                  <a:lnTo>
                    <a:pt x="6066" y="860"/>
                  </a:lnTo>
                  <a:lnTo>
                    <a:pt x="6077" y="871"/>
                  </a:lnTo>
                  <a:lnTo>
                    <a:pt x="6086" y="881"/>
                  </a:lnTo>
                  <a:lnTo>
                    <a:pt x="6094" y="887"/>
                  </a:lnTo>
                  <a:lnTo>
                    <a:pt x="6099" y="889"/>
                  </a:lnTo>
                  <a:lnTo>
                    <a:pt x="6102" y="881"/>
                  </a:lnTo>
                  <a:lnTo>
                    <a:pt x="6105" y="874"/>
                  </a:lnTo>
                  <a:lnTo>
                    <a:pt x="6108" y="867"/>
                  </a:lnTo>
                  <a:lnTo>
                    <a:pt x="6112" y="861"/>
                  </a:lnTo>
                  <a:lnTo>
                    <a:pt x="6116" y="855"/>
                  </a:lnTo>
                  <a:lnTo>
                    <a:pt x="6119" y="848"/>
                  </a:lnTo>
                  <a:lnTo>
                    <a:pt x="6123" y="839"/>
                  </a:lnTo>
                  <a:lnTo>
                    <a:pt x="6125" y="828"/>
                  </a:lnTo>
                  <a:lnTo>
                    <a:pt x="6128" y="830"/>
                  </a:lnTo>
                  <a:lnTo>
                    <a:pt x="6132" y="831"/>
                  </a:lnTo>
                  <a:lnTo>
                    <a:pt x="6135" y="832"/>
                  </a:lnTo>
                  <a:lnTo>
                    <a:pt x="6139" y="832"/>
                  </a:lnTo>
                  <a:lnTo>
                    <a:pt x="6144" y="832"/>
                  </a:lnTo>
                  <a:lnTo>
                    <a:pt x="6149" y="831"/>
                  </a:lnTo>
                  <a:lnTo>
                    <a:pt x="6153" y="830"/>
                  </a:lnTo>
                  <a:lnTo>
                    <a:pt x="6159" y="828"/>
                  </a:lnTo>
                  <a:lnTo>
                    <a:pt x="6148" y="815"/>
                  </a:lnTo>
                  <a:lnTo>
                    <a:pt x="6137" y="803"/>
                  </a:lnTo>
                  <a:lnTo>
                    <a:pt x="6133" y="796"/>
                  </a:lnTo>
                  <a:lnTo>
                    <a:pt x="6128" y="789"/>
                  </a:lnTo>
                  <a:lnTo>
                    <a:pt x="6126" y="782"/>
                  </a:lnTo>
                  <a:lnTo>
                    <a:pt x="6125" y="772"/>
                  </a:lnTo>
                  <a:lnTo>
                    <a:pt x="6126" y="767"/>
                  </a:lnTo>
                  <a:lnTo>
                    <a:pt x="6128" y="764"/>
                  </a:lnTo>
                  <a:lnTo>
                    <a:pt x="6132" y="761"/>
                  </a:lnTo>
                  <a:lnTo>
                    <a:pt x="6135" y="760"/>
                  </a:lnTo>
                  <a:lnTo>
                    <a:pt x="6140" y="759"/>
                  </a:lnTo>
                  <a:lnTo>
                    <a:pt x="6146" y="759"/>
                  </a:lnTo>
                  <a:lnTo>
                    <a:pt x="6152" y="760"/>
                  </a:lnTo>
                  <a:lnTo>
                    <a:pt x="6159" y="762"/>
                  </a:lnTo>
                  <a:lnTo>
                    <a:pt x="6188" y="771"/>
                  </a:lnTo>
                  <a:lnTo>
                    <a:pt x="6212" y="778"/>
                  </a:lnTo>
                  <a:lnTo>
                    <a:pt x="6202" y="779"/>
                  </a:lnTo>
                  <a:lnTo>
                    <a:pt x="6193" y="782"/>
                  </a:lnTo>
                  <a:lnTo>
                    <a:pt x="6184" y="784"/>
                  </a:lnTo>
                  <a:lnTo>
                    <a:pt x="6179" y="785"/>
                  </a:lnTo>
                  <a:lnTo>
                    <a:pt x="6180" y="792"/>
                  </a:lnTo>
                  <a:lnTo>
                    <a:pt x="6183" y="797"/>
                  </a:lnTo>
                  <a:lnTo>
                    <a:pt x="6186" y="802"/>
                  </a:lnTo>
                  <a:lnTo>
                    <a:pt x="6191" y="807"/>
                  </a:lnTo>
                  <a:lnTo>
                    <a:pt x="6201" y="815"/>
                  </a:lnTo>
                  <a:lnTo>
                    <a:pt x="6211" y="822"/>
                  </a:lnTo>
                  <a:lnTo>
                    <a:pt x="6222" y="829"/>
                  </a:lnTo>
                  <a:lnTo>
                    <a:pt x="6230" y="837"/>
                  </a:lnTo>
                  <a:lnTo>
                    <a:pt x="6234" y="842"/>
                  </a:lnTo>
                  <a:lnTo>
                    <a:pt x="6236" y="847"/>
                  </a:lnTo>
                  <a:lnTo>
                    <a:pt x="6238" y="853"/>
                  </a:lnTo>
                  <a:lnTo>
                    <a:pt x="6238" y="859"/>
                  </a:lnTo>
                  <a:lnTo>
                    <a:pt x="6237" y="867"/>
                  </a:lnTo>
                  <a:lnTo>
                    <a:pt x="6231" y="878"/>
                  </a:lnTo>
                  <a:lnTo>
                    <a:pt x="6224" y="893"/>
                  </a:lnTo>
                  <a:lnTo>
                    <a:pt x="6215" y="907"/>
                  </a:lnTo>
                  <a:lnTo>
                    <a:pt x="6206" y="922"/>
                  </a:lnTo>
                  <a:lnTo>
                    <a:pt x="6200" y="937"/>
                  </a:lnTo>
                  <a:lnTo>
                    <a:pt x="6196" y="944"/>
                  </a:lnTo>
                  <a:lnTo>
                    <a:pt x="6194" y="952"/>
                  </a:lnTo>
                  <a:lnTo>
                    <a:pt x="6192" y="958"/>
                  </a:lnTo>
                  <a:lnTo>
                    <a:pt x="6192" y="964"/>
                  </a:lnTo>
                  <a:lnTo>
                    <a:pt x="6193" y="970"/>
                  </a:lnTo>
                  <a:lnTo>
                    <a:pt x="6195" y="974"/>
                  </a:lnTo>
                  <a:lnTo>
                    <a:pt x="6198" y="977"/>
                  </a:lnTo>
                  <a:lnTo>
                    <a:pt x="6202" y="979"/>
                  </a:lnTo>
                  <a:lnTo>
                    <a:pt x="6205" y="981"/>
                  </a:lnTo>
                  <a:lnTo>
                    <a:pt x="6208" y="984"/>
                  </a:lnTo>
                  <a:lnTo>
                    <a:pt x="6211" y="988"/>
                  </a:lnTo>
                  <a:lnTo>
                    <a:pt x="6212" y="994"/>
                  </a:lnTo>
                  <a:lnTo>
                    <a:pt x="6212" y="1001"/>
                  </a:lnTo>
                  <a:lnTo>
                    <a:pt x="6211" y="1010"/>
                  </a:lnTo>
                  <a:lnTo>
                    <a:pt x="6208" y="1018"/>
                  </a:lnTo>
                  <a:lnTo>
                    <a:pt x="6204" y="1026"/>
                  </a:lnTo>
                  <a:lnTo>
                    <a:pt x="6202" y="1030"/>
                  </a:lnTo>
                  <a:lnTo>
                    <a:pt x="6200" y="1033"/>
                  </a:lnTo>
                  <a:lnTo>
                    <a:pt x="6196" y="1036"/>
                  </a:lnTo>
                  <a:lnTo>
                    <a:pt x="6192" y="1039"/>
                  </a:lnTo>
                  <a:lnTo>
                    <a:pt x="6188" y="1041"/>
                  </a:lnTo>
                  <a:lnTo>
                    <a:pt x="6183" y="1042"/>
                  </a:lnTo>
                  <a:lnTo>
                    <a:pt x="6178" y="1043"/>
                  </a:lnTo>
                  <a:lnTo>
                    <a:pt x="6172" y="1043"/>
                  </a:lnTo>
                  <a:lnTo>
                    <a:pt x="6173" y="1062"/>
                  </a:lnTo>
                  <a:lnTo>
                    <a:pt x="6175" y="1079"/>
                  </a:lnTo>
                  <a:lnTo>
                    <a:pt x="6181" y="1095"/>
                  </a:lnTo>
                  <a:lnTo>
                    <a:pt x="6186" y="1111"/>
                  </a:lnTo>
                  <a:lnTo>
                    <a:pt x="6194" y="1126"/>
                  </a:lnTo>
                  <a:lnTo>
                    <a:pt x="6204" y="1140"/>
                  </a:lnTo>
                  <a:lnTo>
                    <a:pt x="6214" y="1153"/>
                  </a:lnTo>
                  <a:lnTo>
                    <a:pt x="6226" y="1166"/>
                  </a:lnTo>
                  <a:lnTo>
                    <a:pt x="6238" y="1179"/>
                  </a:lnTo>
                  <a:lnTo>
                    <a:pt x="6252" y="1190"/>
                  </a:lnTo>
                  <a:lnTo>
                    <a:pt x="6267" y="1201"/>
                  </a:lnTo>
                  <a:lnTo>
                    <a:pt x="6281" y="1211"/>
                  </a:lnTo>
                  <a:lnTo>
                    <a:pt x="6296" y="1220"/>
                  </a:lnTo>
                  <a:lnTo>
                    <a:pt x="6313" y="1230"/>
                  </a:lnTo>
                  <a:lnTo>
                    <a:pt x="6328" y="1239"/>
                  </a:lnTo>
                  <a:lnTo>
                    <a:pt x="6345" y="1247"/>
                  </a:lnTo>
                  <a:lnTo>
                    <a:pt x="6352" y="1251"/>
                  </a:lnTo>
                  <a:lnTo>
                    <a:pt x="6360" y="1256"/>
                  </a:lnTo>
                  <a:lnTo>
                    <a:pt x="6365" y="1261"/>
                  </a:lnTo>
                  <a:lnTo>
                    <a:pt x="6371" y="1267"/>
                  </a:lnTo>
                  <a:lnTo>
                    <a:pt x="6379" y="1282"/>
                  </a:lnTo>
                  <a:lnTo>
                    <a:pt x="6387" y="1297"/>
                  </a:lnTo>
                  <a:lnTo>
                    <a:pt x="6392" y="1304"/>
                  </a:lnTo>
                  <a:lnTo>
                    <a:pt x="6396" y="1311"/>
                  </a:lnTo>
                  <a:lnTo>
                    <a:pt x="6402" y="1318"/>
                  </a:lnTo>
                  <a:lnTo>
                    <a:pt x="6407" y="1325"/>
                  </a:lnTo>
                  <a:lnTo>
                    <a:pt x="6415" y="1331"/>
                  </a:lnTo>
                  <a:lnTo>
                    <a:pt x="6422" y="1337"/>
                  </a:lnTo>
                  <a:lnTo>
                    <a:pt x="6432" y="1342"/>
                  </a:lnTo>
                  <a:lnTo>
                    <a:pt x="6444" y="1346"/>
                  </a:lnTo>
                  <a:lnTo>
                    <a:pt x="6452" y="1347"/>
                  </a:lnTo>
                  <a:lnTo>
                    <a:pt x="6464" y="1351"/>
                  </a:lnTo>
                  <a:lnTo>
                    <a:pt x="6471" y="1353"/>
                  </a:lnTo>
                  <a:lnTo>
                    <a:pt x="6476" y="1356"/>
                  </a:lnTo>
                  <a:lnTo>
                    <a:pt x="6481" y="1360"/>
                  </a:lnTo>
                  <a:lnTo>
                    <a:pt x="6484" y="1364"/>
                  </a:lnTo>
                  <a:lnTo>
                    <a:pt x="6491" y="1374"/>
                  </a:lnTo>
                  <a:lnTo>
                    <a:pt x="6497" y="1384"/>
                  </a:lnTo>
                  <a:lnTo>
                    <a:pt x="6506" y="1395"/>
                  </a:lnTo>
                  <a:lnTo>
                    <a:pt x="6515" y="1404"/>
                  </a:lnTo>
                  <a:lnTo>
                    <a:pt x="6525" y="1413"/>
                  </a:lnTo>
                  <a:lnTo>
                    <a:pt x="6533" y="1420"/>
                  </a:lnTo>
                  <a:lnTo>
                    <a:pt x="6538" y="1422"/>
                  </a:lnTo>
                  <a:lnTo>
                    <a:pt x="6542" y="1424"/>
                  </a:lnTo>
                  <a:lnTo>
                    <a:pt x="6547" y="1425"/>
                  </a:lnTo>
                  <a:lnTo>
                    <a:pt x="6551" y="1426"/>
                  </a:lnTo>
                  <a:lnTo>
                    <a:pt x="6554" y="1425"/>
                  </a:lnTo>
                  <a:lnTo>
                    <a:pt x="6558" y="1425"/>
                  </a:lnTo>
                  <a:lnTo>
                    <a:pt x="6561" y="1423"/>
                  </a:lnTo>
                  <a:lnTo>
                    <a:pt x="6564" y="1421"/>
                  </a:lnTo>
                  <a:lnTo>
                    <a:pt x="6570" y="1416"/>
                  </a:lnTo>
                  <a:lnTo>
                    <a:pt x="6575" y="1410"/>
                  </a:lnTo>
                  <a:lnTo>
                    <a:pt x="6578" y="1402"/>
                  </a:lnTo>
                  <a:lnTo>
                    <a:pt x="6582" y="1391"/>
                  </a:lnTo>
                  <a:lnTo>
                    <a:pt x="6583" y="1381"/>
                  </a:lnTo>
                  <a:lnTo>
                    <a:pt x="6584" y="1370"/>
                  </a:lnTo>
                  <a:lnTo>
                    <a:pt x="6583" y="1366"/>
                  </a:lnTo>
                  <a:lnTo>
                    <a:pt x="6582" y="1362"/>
                  </a:lnTo>
                  <a:lnTo>
                    <a:pt x="6579" y="1359"/>
                  </a:lnTo>
                  <a:lnTo>
                    <a:pt x="6576" y="1356"/>
                  </a:lnTo>
                  <a:lnTo>
                    <a:pt x="6570" y="1350"/>
                  </a:lnTo>
                  <a:lnTo>
                    <a:pt x="6561" y="1345"/>
                  </a:lnTo>
                  <a:lnTo>
                    <a:pt x="6552" y="1340"/>
                  </a:lnTo>
                  <a:lnTo>
                    <a:pt x="6544" y="1333"/>
                  </a:lnTo>
                  <a:lnTo>
                    <a:pt x="6542" y="1329"/>
                  </a:lnTo>
                  <a:lnTo>
                    <a:pt x="6539" y="1325"/>
                  </a:lnTo>
                  <a:lnTo>
                    <a:pt x="6538" y="1320"/>
                  </a:lnTo>
                  <a:lnTo>
                    <a:pt x="6538" y="1315"/>
                  </a:lnTo>
                  <a:lnTo>
                    <a:pt x="6539" y="1313"/>
                  </a:lnTo>
                  <a:lnTo>
                    <a:pt x="6542" y="1310"/>
                  </a:lnTo>
                  <a:lnTo>
                    <a:pt x="6547" y="1308"/>
                  </a:lnTo>
                  <a:lnTo>
                    <a:pt x="6552" y="1306"/>
                  </a:lnTo>
                  <a:lnTo>
                    <a:pt x="6565" y="1301"/>
                  </a:lnTo>
                  <a:lnTo>
                    <a:pt x="6577" y="1297"/>
                  </a:lnTo>
                  <a:lnTo>
                    <a:pt x="6569" y="1280"/>
                  </a:lnTo>
                  <a:lnTo>
                    <a:pt x="6560" y="1268"/>
                  </a:lnTo>
                  <a:lnTo>
                    <a:pt x="6550" y="1256"/>
                  </a:lnTo>
                  <a:lnTo>
                    <a:pt x="6538" y="1241"/>
                  </a:lnTo>
                  <a:lnTo>
                    <a:pt x="6540" y="1239"/>
                  </a:lnTo>
                  <a:lnTo>
                    <a:pt x="6544" y="1238"/>
                  </a:lnTo>
                  <a:lnTo>
                    <a:pt x="6550" y="1237"/>
                  </a:lnTo>
                  <a:lnTo>
                    <a:pt x="6556" y="1236"/>
                  </a:lnTo>
                  <a:lnTo>
                    <a:pt x="6572" y="1235"/>
                  </a:lnTo>
                  <a:lnTo>
                    <a:pt x="6590" y="1235"/>
                  </a:lnTo>
                  <a:lnTo>
                    <a:pt x="6583" y="1229"/>
                  </a:lnTo>
                  <a:lnTo>
                    <a:pt x="6572" y="1219"/>
                  </a:lnTo>
                  <a:lnTo>
                    <a:pt x="6566" y="1214"/>
                  </a:lnTo>
                  <a:lnTo>
                    <a:pt x="6562" y="1210"/>
                  </a:lnTo>
                  <a:lnTo>
                    <a:pt x="6559" y="1207"/>
                  </a:lnTo>
                  <a:lnTo>
                    <a:pt x="6558" y="1204"/>
                  </a:lnTo>
                  <a:lnTo>
                    <a:pt x="6550" y="1199"/>
                  </a:lnTo>
                  <a:lnTo>
                    <a:pt x="6544" y="1194"/>
                  </a:lnTo>
                  <a:lnTo>
                    <a:pt x="6540" y="1187"/>
                  </a:lnTo>
                  <a:lnTo>
                    <a:pt x="6537" y="1180"/>
                  </a:lnTo>
                  <a:lnTo>
                    <a:pt x="6533" y="1173"/>
                  </a:lnTo>
                  <a:lnTo>
                    <a:pt x="6532" y="1163"/>
                  </a:lnTo>
                  <a:lnTo>
                    <a:pt x="6531" y="1153"/>
                  </a:lnTo>
                  <a:lnTo>
                    <a:pt x="6531" y="1142"/>
                  </a:lnTo>
                  <a:lnTo>
                    <a:pt x="6536" y="1142"/>
                  </a:lnTo>
                  <a:lnTo>
                    <a:pt x="6540" y="1140"/>
                  </a:lnTo>
                  <a:lnTo>
                    <a:pt x="6545" y="1138"/>
                  </a:lnTo>
                  <a:lnTo>
                    <a:pt x="6549" y="1136"/>
                  </a:lnTo>
                  <a:lnTo>
                    <a:pt x="6552" y="1133"/>
                  </a:lnTo>
                  <a:lnTo>
                    <a:pt x="6555" y="1130"/>
                  </a:lnTo>
                  <a:lnTo>
                    <a:pt x="6556" y="1127"/>
                  </a:lnTo>
                  <a:lnTo>
                    <a:pt x="6558" y="1124"/>
                  </a:lnTo>
                  <a:lnTo>
                    <a:pt x="6539" y="1118"/>
                  </a:lnTo>
                  <a:lnTo>
                    <a:pt x="6522" y="1110"/>
                  </a:lnTo>
                  <a:lnTo>
                    <a:pt x="6508" y="1103"/>
                  </a:lnTo>
                  <a:lnTo>
                    <a:pt x="6496" y="1095"/>
                  </a:lnTo>
                  <a:lnTo>
                    <a:pt x="6476" y="1078"/>
                  </a:lnTo>
                  <a:lnTo>
                    <a:pt x="6460" y="1063"/>
                  </a:lnTo>
                  <a:lnTo>
                    <a:pt x="6452" y="1055"/>
                  </a:lnTo>
                  <a:lnTo>
                    <a:pt x="6444" y="1048"/>
                  </a:lnTo>
                  <a:lnTo>
                    <a:pt x="6437" y="1043"/>
                  </a:lnTo>
                  <a:lnTo>
                    <a:pt x="6427" y="1039"/>
                  </a:lnTo>
                  <a:lnTo>
                    <a:pt x="6417" y="1036"/>
                  </a:lnTo>
                  <a:lnTo>
                    <a:pt x="6406" y="1035"/>
                  </a:lnTo>
                  <a:lnTo>
                    <a:pt x="6393" y="1035"/>
                  </a:lnTo>
                  <a:lnTo>
                    <a:pt x="6377" y="1037"/>
                  </a:lnTo>
                  <a:lnTo>
                    <a:pt x="6375" y="1038"/>
                  </a:lnTo>
                  <a:lnTo>
                    <a:pt x="6373" y="1037"/>
                  </a:lnTo>
                  <a:lnTo>
                    <a:pt x="6372" y="1036"/>
                  </a:lnTo>
                  <a:lnTo>
                    <a:pt x="6370" y="1035"/>
                  </a:lnTo>
                  <a:lnTo>
                    <a:pt x="6368" y="1031"/>
                  </a:lnTo>
                  <a:lnTo>
                    <a:pt x="6365" y="1025"/>
                  </a:lnTo>
                  <a:lnTo>
                    <a:pt x="6363" y="1009"/>
                  </a:lnTo>
                  <a:lnTo>
                    <a:pt x="6360" y="990"/>
                  </a:lnTo>
                  <a:lnTo>
                    <a:pt x="6358" y="981"/>
                  </a:lnTo>
                  <a:lnTo>
                    <a:pt x="6354" y="972"/>
                  </a:lnTo>
                  <a:lnTo>
                    <a:pt x="6351" y="963"/>
                  </a:lnTo>
                  <a:lnTo>
                    <a:pt x="6346" y="956"/>
                  </a:lnTo>
                  <a:lnTo>
                    <a:pt x="6340" y="949"/>
                  </a:lnTo>
                  <a:lnTo>
                    <a:pt x="6332" y="943"/>
                  </a:lnTo>
                  <a:lnTo>
                    <a:pt x="6328" y="941"/>
                  </a:lnTo>
                  <a:lnTo>
                    <a:pt x="6323" y="940"/>
                  </a:lnTo>
                  <a:lnTo>
                    <a:pt x="6317" y="939"/>
                  </a:lnTo>
                  <a:lnTo>
                    <a:pt x="6312" y="939"/>
                  </a:lnTo>
                  <a:lnTo>
                    <a:pt x="6392" y="889"/>
                  </a:lnTo>
                  <a:lnTo>
                    <a:pt x="6396" y="890"/>
                  </a:lnTo>
                  <a:lnTo>
                    <a:pt x="6399" y="894"/>
                  </a:lnTo>
                  <a:lnTo>
                    <a:pt x="6403" y="898"/>
                  </a:lnTo>
                  <a:lnTo>
                    <a:pt x="6405" y="902"/>
                  </a:lnTo>
                  <a:lnTo>
                    <a:pt x="6408" y="907"/>
                  </a:lnTo>
                  <a:lnTo>
                    <a:pt x="6413" y="911"/>
                  </a:lnTo>
                  <a:lnTo>
                    <a:pt x="6415" y="912"/>
                  </a:lnTo>
                  <a:lnTo>
                    <a:pt x="6418" y="913"/>
                  </a:lnTo>
                  <a:lnTo>
                    <a:pt x="6421" y="914"/>
                  </a:lnTo>
                  <a:lnTo>
                    <a:pt x="6425" y="914"/>
                  </a:lnTo>
                  <a:lnTo>
                    <a:pt x="6435" y="913"/>
                  </a:lnTo>
                  <a:lnTo>
                    <a:pt x="6446" y="910"/>
                  </a:lnTo>
                  <a:lnTo>
                    <a:pt x="6458" y="906"/>
                  </a:lnTo>
                  <a:lnTo>
                    <a:pt x="6470" y="901"/>
                  </a:lnTo>
                  <a:lnTo>
                    <a:pt x="6495" y="888"/>
                  </a:lnTo>
                  <a:lnTo>
                    <a:pt x="6525" y="877"/>
                  </a:lnTo>
                  <a:lnTo>
                    <a:pt x="6544" y="877"/>
                  </a:lnTo>
                  <a:lnTo>
                    <a:pt x="6547" y="885"/>
                  </a:lnTo>
                  <a:lnTo>
                    <a:pt x="6551" y="893"/>
                  </a:lnTo>
                  <a:lnTo>
                    <a:pt x="6556" y="899"/>
                  </a:lnTo>
                  <a:lnTo>
                    <a:pt x="6562" y="905"/>
                  </a:lnTo>
                  <a:lnTo>
                    <a:pt x="6576" y="915"/>
                  </a:lnTo>
                  <a:lnTo>
                    <a:pt x="6590" y="927"/>
                  </a:lnTo>
                  <a:lnTo>
                    <a:pt x="6596" y="906"/>
                  </a:lnTo>
                  <a:lnTo>
                    <a:pt x="6601" y="884"/>
                  </a:lnTo>
                  <a:lnTo>
                    <a:pt x="6605" y="873"/>
                  </a:lnTo>
                  <a:lnTo>
                    <a:pt x="6609" y="863"/>
                  </a:lnTo>
                  <a:lnTo>
                    <a:pt x="6614" y="854"/>
                  </a:lnTo>
                  <a:lnTo>
                    <a:pt x="6619" y="845"/>
                  </a:lnTo>
                  <a:lnTo>
                    <a:pt x="6626" y="835"/>
                  </a:lnTo>
                  <a:lnTo>
                    <a:pt x="6633" y="827"/>
                  </a:lnTo>
                  <a:lnTo>
                    <a:pt x="6642" y="821"/>
                  </a:lnTo>
                  <a:lnTo>
                    <a:pt x="6651" y="815"/>
                  </a:lnTo>
                  <a:lnTo>
                    <a:pt x="6662" y="810"/>
                  </a:lnTo>
                  <a:lnTo>
                    <a:pt x="6674" y="806"/>
                  </a:lnTo>
                  <a:lnTo>
                    <a:pt x="6688" y="804"/>
                  </a:lnTo>
                  <a:lnTo>
                    <a:pt x="6704" y="803"/>
                  </a:lnTo>
                  <a:lnTo>
                    <a:pt x="6701" y="799"/>
                  </a:lnTo>
                  <a:lnTo>
                    <a:pt x="6700" y="794"/>
                  </a:lnTo>
                  <a:lnTo>
                    <a:pt x="6700" y="790"/>
                  </a:lnTo>
                  <a:lnTo>
                    <a:pt x="6701" y="785"/>
                  </a:lnTo>
                  <a:lnTo>
                    <a:pt x="6702" y="775"/>
                  </a:lnTo>
                  <a:lnTo>
                    <a:pt x="6704" y="766"/>
                  </a:lnTo>
                  <a:lnTo>
                    <a:pt x="6709" y="770"/>
                  </a:lnTo>
                  <a:lnTo>
                    <a:pt x="6715" y="773"/>
                  </a:lnTo>
                  <a:lnTo>
                    <a:pt x="6721" y="775"/>
                  </a:lnTo>
                  <a:lnTo>
                    <a:pt x="6729" y="777"/>
                  </a:lnTo>
                  <a:lnTo>
                    <a:pt x="6744" y="778"/>
                  </a:lnTo>
                  <a:lnTo>
                    <a:pt x="6763" y="778"/>
                  </a:lnTo>
                  <a:lnTo>
                    <a:pt x="6774" y="781"/>
                  </a:lnTo>
                  <a:lnTo>
                    <a:pt x="6787" y="784"/>
                  </a:lnTo>
                  <a:lnTo>
                    <a:pt x="6795" y="785"/>
                  </a:lnTo>
                  <a:lnTo>
                    <a:pt x="6801" y="784"/>
                  </a:lnTo>
                  <a:lnTo>
                    <a:pt x="6809" y="783"/>
                  </a:lnTo>
                  <a:lnTo>
                    <a:pt x="6817" y="778"/>
                  </a:lnTo>
                  <a:lnTo>
                    <a:pt x="6813" y="767"/>
                  </a:lnTo>
                  <a:lnTo>
                    <a:pt x="6813" y="762"/>
                  </a:lnTo>
                  <a:lnTo>
                    <a:pt x="6816" y="757"/>
                  </a:lnTo>
                  <a:lnTo>
                    <a:pt x="6817" y="742"/>
                  </a:lnTo>
                  <a:lnTo>
                    <a:pt x="6790" y="738"/>
                  </a:lnTo>
                  <a:lnTo>
                    <a:pt x="6766" y="733"/>
                  </a:lnTo>
                  <a:lnTo>
                    <a:pt x="6743" y="727"/>
                  </a:lnTo>
                  <a:lnTo>
                    <a:pt x="6722" y="720"/>
                  </a:lnTo>
                  <a:lnTo>
                    <a:pt x="6685" y="706"/>
                  </a:lnTo>
                  <a:lnTo>
                    <a:pt x="6650" y="692"/>
                  </a:lnTo>
                  <a:lnTo>
                    <a:pt x="6632" y="685"/>
                  </a:lnTo>
                  <a:lnTo>
                    <a:pt x="6616" y="678"/>
                  </a:lnTo>
                  <a:lnTo>
                    <a:pt x="6598" y="672"/>
                  </a:lnTo>
                  <a:lnTo>
                    <a:pt x="6579" y="666"/>
                  </a:lnTo>
                  <a:lnTo>
                    <a:pt x="6561" y="662"/>
                  </a:lnTo>
                  <a:lnTo>
                    <a:pt x="6541" y="658"/>
                  </a:lnTo>
                  <a:lnTo>
                    <a:pt x="6520" y="656"/>
                  </a:lnTo>
                  <a:lnTo>
                    <a:pt x="6497" y="655"/>
                  </a:lnTo>
                  <a:lnTo>
                    <a:pt x="6543" y="659"/>
                  </a:lnTo>
                  <a:lnTo>
                    <a:pt x="6582" y="663"/>
                  </a:lnTo>
                  <a:lnTo>
                    <a:pt x="6592" y="663"/>
                  </a:lnTo>
                  <a:lnTo>
                    <a:pt x="6600" y="663"/>
                  </a:lnTo>
                  <a:lnTo>
                    <a:pt x="6610" y="662"/>
                  </a:lnTo>
                  <a:lnTo>
                    <a:pt x="6619" y="660"/>
                  </a:lnTo>
                  <a:lnTo>
                    <a:pt x="6628" y="658"/>
                  </a:lnTo>
                  <a:lnTo>
                    <a:pt x="6638" y="654"/>
                  </a:lnTo>
                  <a:lnTo>
                    <a:pt x="6648" y="649"/>
                  </a:lnTo>
                  <a:lnTo>
                    <a:pt x="6657" y="643"/>
                  </a:lnTo>
                  <a:lnTo>
                    <a:pt x="6653" y="637"/>
                  </a:lnTo>
                  <a:lnTo>
                    <a:pt x="6649" y="632"/>
                  </a:lnTo>
                  <a:lnTo>
                    <a:pt x="6644" y="627"/>
                  </a:lnTo>
                  <a:lnTo>
                    <a:pt x="6639" y="624"/>
                  </a:lnTo>
                  <a:lnTo>
                    <a:pt x="6628" y="618"/>
                  </a:lnTo>
                  <a:lnTo>
                    <a:pt x="6616" y="612"/>
                  </a:lnTo>
                  <a:lnTo>
                    <a:pt x="6605" y="607"/>
                  </a:lnTo>
                  <a:lnTo>
                    <a:pt x="6593" y="601"/>
                  </a:lnTo>
                  <a:lnTo>
                    <a:pt x="6587" y="598"/>
                  </a:lnTo>
                  <a:lnTo>
                    <a:pt x="6581" y="593"/>
                  </a:lnTo>
                  <a:lnTo>
                    <a:pt x="6576" y="588"/>
                  </a:lnTo>
                  <a:lnTo>
                    <a:pt x="6571" y="582"/>
                  </a:lnTo>
                  <a:lnTo>
                    <a:pt x="6597" y="582"/>
                  </a:lnTo>
                  <a:lnTo>
                    <a:pt x="6600" y="587"/>
                  </a:lnTo>
                  <a:lnTo>
                    <a:pt x="6605" y="592"/>
                  </a:lnTo>
                  <a:lnTo>
                    <a:pt x="6610" y="599"/>
                  </a:lnTo>
                  <a:lnTo>
                    <a:pt x="6617" y="604"/>
                  </a:lnTo>
                  <a:lnTo>
                    <a:pt x="6626" y="610"/>
                  </a:lnTo>
                  <a:lnTo>
                    <a:pt x="6634" y="615"/>
                  </a:lnTo>
                  <a:lnTo>
                    <a:pt x="6640" y="617"/>
                  </a:lnTo>
                  <a:lnTo>
                    <a:pt x="6645" y="618"/>
                  </a:lnTo>
                  <a:lnTo>
                    <a:pt x="6651" y="619"/>
                  </a:lnTo>
                  <a:lnTo>
                    <a:pt x="6657" y="619"/>
                  </a:lnTo>
                  <a:lnTo>
                    <a:pt x="6665" y="618"/>
                  </a:lnTo>
                  <a:lnTo>
                    <a:pt x="6670" y="617"/>
                  </a:lnTo>
                  <a:lnTo>
                    <a:pt x="6673" y="615"/>
                  </a:lnTo>
                  <a:lnTo>
                    <a:pt x="6675" y="612"/>
                  </a:lnTo>
                  <a:lnTo>
                    <a:pt x="6678" y="610"/>
                  </a:lnTo>
                  <a:lnTo>
                    <a:pt x="6683" y="608"/>
                  </a:lnTo>
                  <a:lnTo>
                    <a:pt x="6691" y="606"/>
                  </a:lnTo>
                  <a:lnTo>
                    <a:pt x="6704" y="606"/>
                  </a:lnTo>
                  <a:lnTo>
                    <a:pt x="6718" y="606"/>
                  </a:lnTo>
                  <a:lnTo>
                    <a:pt x="6730" y="607"/>
                  </a:lnTo>
                  <a:lnTo>
                    <a:pt x="6742" y="609"/>
                  </a:lnTo>
                  <a:lnTo>
                    <a:pt x="6752" y="612"/>
                  </a:lnTo>
                  <a:lnTo>
                    <a:pt x="6762" y="616"/>
                  </a:lnTo>
                  <a:lnTo>
                    <a:pt x="6771" y="619"/>
                  </a:lnTo>
                  <a:lnTo>
                    <a:pt x="6778" y="623"/>
                  </a:lnTo>
                  <a:lnTo>
                    <a:pt x="6786" y="627"/>
                  </a:lnTo>
                  <a:lnTo>
                    <a:pt x="6799" y="636"/>
                  </a:lnTo>
                  <a:lnTo>
                    <a:pt x="6812" y="645"/>
                  </a:lnTo>
                  <a:lnTo>
                    <a:pt x="6827" y="654"/>
                  </a:lnTo>
                  <a:lnTo>
                    <a:pt x="6843" y="661"/>
                  </a:lnTo>
                  <a:lnTo>
                    <a:pt x="6943" y="661"/>
                  </a:lnTo>
                  <a:lnTo>
                    <a:pt x="6945" y="667"/>
                  </a:lnTo>
                  <a:lnTo>
                    <a:pt x="6950" y="673"/>
                  </a:lnTo>
                  <a:lnTo>
                    <a:pt x="6955" y="676"/>
                  </a:lnTo>
                  <a:lnTo>
                    <a:pt x="6961" y="678"/>
                  </a:lnTo>
                  <a:lnTo>
                    <a:pt x="6971" y="680"/>
                  </a:lnTo>
                  <a:lnTo>
                    <a:pt x="6982" y="680"/>
                  </a:lnTo>
                  <a:lnTo>
                    <a:pt x="6989" y="680"/>
                  </a:lnTo>
                  <a:lnTo>
                    <a:pt x="7006" y="680"/>
                  </a:lnTo>
                  <a:lnTo>
                    <a:pt x="7027" y="678"/>
                  </a:lnTo>
                  <a:lnTo>
                    <a:pt x="7049" y="674"/>
                  </a:lnTo>
                  <a:lnTo>
                    <a:pt x="7031" y="668"/>
                  </a:lnTo>
                  <a:lnTo>
                    <a:pt x="7011" y="659"/>
                  </a:lnTo>
                  <a:lnTo>
                    <a:pt x="7002" y="654"/>
                  </a:lnTo>
                  <a:lnTo>
                    <a:pt x="6996" y="647"/>
                  </a:lnTo>
                  <a:lnTo>
                    <a:pt x="6993" y="644"/>
                  </a:lnTo>
                  <a:lnTo>
                    <a:pt x="6991" y="640"/>
                  </a:lnTo>
                  <a:lnTo>
                    <a:pt x="6989" y="636"/>
                  </a:lnTo>
                  <a:lnTo>
                    <a:pt x="6989" y="631"/>
                  </a:lnTo>
                  <a:lnTo>
                    <a:pt x="6990" y="621"/>
                  </a:lnTo>
                  <a:lnTo>
                    <a:pt x="6991" y="614"/>
                  </a:lnTo>
                  <a:lnTo>
                    <a:pt x="6992" y="608"/>
                  </a:lnTo>
                  <a:lnTo>
                    <a:pt x="6992" y="602"/>
                  </a:lnTo>
                  <a:lnTo>
                    <a:pt x="6991" y="593"/>
                  </a:lnTo>
                  <a:lnTo>
                    <a:pt x="6989" y="582"/>
                  </a:lnTo>
                  <a:lnTo>
                    <a:pt x="6975" y="581"/>
                  </a:lnTo>
                  <a:lnTo>
                    <a:pt x="6961" y="579"/>
                  </a:lnTo>
                  <a:lnTo>
                    <a:pt x="6947" y="577"/>
                  </a:lnTo>
                  <a:lnTo>
                    <a:pt x="6934" y="573"/>
                  </a:lnTo>
                  <a:lnTo>
                    <a:pt x="6910" y="564"/>
                  </a:lnTo>
                  <a:lnTo>
                    <a:pt x="6886" y="553"/>
                  </a:lnTo>
                  <a:lnTo>
                    <a:pt x="6861" y="543"/>
                  </a:lnTo>
                  <a:lnTo>
                    <a:pt x="6835" y="535"/>
                  </a:lnTo>
                  <a:lnTo>
                    <a:pt x="6821" y="531"/>
                  </a:lnTo>
                  <a:lnTo>
                    <a:pt x="6807" y="529"/>
                  </a:lnTo>
                  <a:lnTo>
                    <a:pt x="6793" y="527"/>
                  </a:lnTo>
                  <a:lnTo>
                    <a:pt x="6776" y="526"/>
                  </a:lnTo>
                  <a:lnTo>
                    <a:pt x="6769" y="527"/>
                  </a:lnTo>
                  <a:lnTo>
                    <a:pt x="6761" y="531"/>
                  </a:lnTo>
                  <a:lnTo>
                    <a:pt x="6756" y="533"/>
                  </a:lnTo>
                  <a:lnTo>
                    <a:pt x="6753" y="536"/>
                  </a:lnTo>
                  <a:lnTo>
                    <a:pt x="6751" y="540"/>
                  </a:lnTo>
                  <a:lnTo>
                    <a:pt x="6750" y="544"/>
                  </a:lnTo>
                  <a:lnTo>
                    <a:pt x="6751" y="547"/>
                  </a:lnTo>
                  <a:lnTo>
                    <a:pt x="6752" y="548"/>
                  </a:lnTo>
                  <a:lnTo>
                    <a:pt x="6754" y="550"/>
                  </a:lnTo>
                  <a:lnTo>
                    <a:pt x="6757" y="552"/>
                  </a:lnTo>
                  <a:lnTo>
                    <a:pt x="6765" y="555"/>
                  </a:lnTo>
                  <a:lnTo>
                    <a:pt x="6775" y="559"/>
                  </a:lnTo>
                  <a:lnTo>
                    <a:pt x="6785" y="563"/>
                  </a:lnTo>
                  <a:lnTo>
                    <a:pt x="6795" y="567"/>
                  </a:lnTo>
                  <a:lnTo>
                    <a:pt x="6799" y="570"/>
                  </a:lnTo>
                  <a:lnTo>
                    <a:pt x="6803" y="574"/>
                  </a:lnTo>
                  <a:lnTo>
                    <a:pt x="6807" y="577"/>
                  </a:lnTo>
                  <a:lnTo>
                    <a:pt x="6810" y="582"/>
                  </a:lnTo>
                  <a:lnTo>
                    <a:pt x="6778" y="567"/>
                  </a:lnTo>
                  <a:lnTo>
                    <a:pt x="6751" y="552"/>
                  </a:lnTo>
                  <a:lnTo>
                    <a:pt x="6728" y="539"/>
                  </a:lnTo>
                  <a:lnTo>
                    <a:pt x="6706" y="528"/>
                  </a:lnTo>
                  <a:lnTo>
                    <a:pt x="6684" y="517"/>
                  </a:lnTo>
                  <a:lnTo>
                    <a:pt x="6660" y="506"/>
                  </a:lnTo>
                  <a:lnTo>
                    <a:pt x="6631" y="494"/>
                  </a:lnTo>
                  <a:lnTo>
                    <a:pt x="6597" y="483"/>
                  </a:lnTo>
                  <a:lnTo>
                    <a:pt x="6573" y="477"/>
                  </a:lnTo>
                  <a:lnTo>
                    <a:pt x="6548" y="471"/>
                  </a:lnTo>
                  <a:lnTo>
                    <a:pt x="6525" y="466"/>
                  </a:lnTo>
                  <a:lnTo>
                    <a:pt x="6500" y="462"/>
                  </a:lnTo>
                  <a:lnTo>
                    <a:pt x="6454" y="455"/>
                  </a:lnTo>
                  <a:lnTo>
                    <a:pt x="6408" y="450"/>
                  </a:lnTo>
                  <a:lnTo>
                    <a:pt x="6363" y="443"/>
                  </a:lnTo>
                  <a:lnTo>
                    <a:pt x="6318" y="436"/>
                  </a:lnTo>
                  <a:lnTo>
                    <a:pt x="6295" y="432"/>
                  </a:lnTo>
                  <a:lnTo>
                    <a:pt x="6272" y="427"/>
                  </a:lnTo>
                  <a:lnTo>
                    <a:pt x="6249" y="422"/>
                  </a:lnTo>
                  <a:lnTo>
                    <a:pt x="6225" y="415"/>
                  </a:lnTo>
                  <a:lnTo>
                    <a:pt x="6146" y="415"/>
                  </a:lnTo>
                  <a:lnTo>
                    <a:pt x="6133" y="407"/>
                  </a:lnTo>
                  <a:lnTo>
                    <a:pt x="6121" y="402"/>
                  </a:lnTo>
                  <a:lnTo>
                    <a:pt x="6114" y="400"/>
                  </a:lnTo>
                  <a:lnTo>
                    <a:pt x="6106" y="398"/>
                  </a:lnTo>
                  <a:lnTo>
                    <a:pt x="6096" y="397"/>
                  </a:lnTo>
                  <a:lnTo>
                    <a:pt x="6085" y="397"/>
                  </a:lnTo>
                  <a:lnTo>
                    <a:pt x="6071" y="398"/>
                  </a:lnTo>
                  <a:lnTo>
                    <a:pt x="6058" y="400"/>
                  </a:lnTo>
                  <a:lnTo>
                    <a:pt x="6045" y="403"/>
                  </a:lnTo>
                  <a:lnTo>
                    <a:pt x="6033" y="406"/>
                  </a:lnTo>
                  <a:lnTo>
                    <a:pt x="6020" y="410"/>
                  </a:lnTo>
                  <a:lnTo>
                    <a:pt x="6007" y="412"/>
                  </a:lnTo>
                  <a:lnTo>
                    <a:pt x="5993" y="415"/>
                  </a:lnTo>
                  <a:lnTo>
                    <a:pt x="5979" y="415"/>
                  </a:lnTo>
                  <a:lnTo>
                    <a:pt x="5971" y="415"/>
                  </a:lnTo>
                  <a:lnTo>
                    <a:pt x="5960" y="412"/>
                  </a:lnTo>
                  <a:lnTo>
                    <a:pt x="5945" y="409"/>
                  </a:lnTo>
                  <a:lnTo>
                    <a:pt x="5929" y="405"/>
                  </a:lnTo>
                  <a:lnTo>
                    <a:pt x="5913" y="400"/>
                  </a:lnTo>
                  <a:lnTo>
                    <a:pt x="5899" y="395"/>
                  </a:lnTo>
                  <a:lnTo>
                    <a:pt x="5887" y="389"/>
                  </a:lnTo>
                  <a:lnTo>
                    <a:pt x="5880" y="384"/>
                  </a:lnTo>
                  <a:lnTo>
                    <a:pt x="5833" y="384"/>
                  </a:lnTo>
                  <a:lnTo>
                    <a:pt x="5835" y="394"/>
                  </a:lnTo>
                  <a:lnTo>
                    <a:pt x="5838" y="402"/>
                  </a:lnTo>
                  <a:lnTo>
                    <a:pt x="5843" y="410"/>
                  </a:lnTo>
                  <a:lnTo>
                    <a:pt x="5847" y="417"/>
                  </a:lnTo>
                  <a:lnTo>
                    <a:pt x="5853" y="423"/>
                  </a:lnTo>
                  <a:lnTo>
                    <a:pt x="5859" y="429"/>
                  </a:lnTo>
                  <a:lnTo>
                    <a:pt x="5866" y="435"/>
                  </a:lnTo>
                  <a:lnTo>
                    <a:pt x="5872" y="439"/>
                  </a:lnTo>
                  <a:lnTo>
                    <a:pt x="5895" y="454"/>
                  </a:lnTo>
                  <a:lnTo>
                    <a:pt x="5906" y="459"/>
                  </a:lnTo>
                  <a:lnTo>
                    <a:pt x="5883" y="448"/>
                  </a:lnTo>
                  <a:lnTo>
                    <a:pt x="5860" y="435"/>
                  </a:lnTo>
                  <a:lnTo>
                    <a:pt x="5848" y="430"/>
                  </a:lnTo>
                  <a:lnTo>
                    <a:pt x="5834" y="425"/>
                  </a:lnTo>
                  <a:lnTo>
                    <a:pt x="5826" y="424"/>
                  </a:lnTo>
                  <a:lnTo>
                    <a:pt x="5819" y="422"/>
                  </a:lnTo>
                  <a:lnTo>
                    <a:pt x="5810" y="422"/>
                  </a:lnTo>
                  <a:lnTo>
                    <a:pt x="5800" y="421"/>
                  </a:lnTo>
                  <a:lnTo>
                    <a:pt x="5804" y="417"/>
                  </a:lnTo>
                  <a:lnTo>
                    <a:pt x="5807" y="412"/>
                  </a:lnTo>
                  <a:lnTo>
                    <a:pt x="5809" y="405"/>
                  </a:lnTo>
                  <a:lnTo>
                    <a:pt x="5813" y="397"/>
                  </a:lnTo>
                  <a:lnTo>
                    <a:pt x="5796" y="397"/>
                  </a:lnTo>
                  <a:lnTo>
                    <a:pt x="5781" y="396"/>
                  </a:lnTo>
                  <a:lnTo>
                    <a:pt x="5767" y="395"/>
                  </a:lnTo>
                  <a:lnTo>
                    <a:pt x="5754" y="390"/>
                  </a:lnTo>
                  <a:lnTo>
                    <a:pt x="5753" y="395"/>
                  </a:lnTo>
                  <a:lnTo>
                    <a:pt x="5752" y="399"/>
                  </a:lnTo>
                  <a:lnTo>
                    <a:pt x="5751" y="402"/>
                  </a:lnTo>
                  <a:lnTo>
                    <a:pt x="5748" y="405"/>
                  </a:lnTo>
                  <a:lnTo>
                    <a:pt x="5745" y="407"/>
                  </a:lnTo>
                  <a:lnTo>
                    <a:pt x="5742" y="409"/>
                  </a:lnTo>
                  <a:lnTo>
                    <a:pt x="5737" y="411"/>
                  </a:lnTo>
                  <a:lnTo>
                    <a:pt x="5733" y="412"/>
                  </a:lnTo>
                  <a:lnTo>
                    <a:pt x="5724" y="414"/>
                  </a:lnTo>
                  <a:lnTo>
                    <a:pt x="5714" y="415"/>
                  </a:lnTo>
                  <a:lnTo>
                    <a:pt x="5703" y="415"/>
                  </a:lnTo>
                  <a:lnTo>
                    <a:pt x="5693" y="415"/>
                  </a:lnTo>
                  <a:lnTo>
                    <a:pt x="5667" y="415"/>
                  </a:lnTo>
                  <a:lnTo>
                    <a:pt x="5643" y="413"/>
                  </a:lnTo>
                  <a:lnTo>
                    <a:pt x="5621" y="411"/>
                  </a:lnTo>
                  <a:lnTo>
                    <a:pt x="5599" y="409"/>
                  </a:lnTo>
                  <a:lnTo>
                    <a:pt x="5578" y="407"/>
                  </a:lnTo>
                  <a:lnTo>
                    <a:pt x="5557" y="408"/>
                  </a:lnTo>
                  <a:lnTo>
                    <a:pt x="5546" y="409"/>
                  </a:lnTo>
                  <a:lnTo>
                    <a:pt x="5536" y="410"/>
                  </a:lnTo>
                  <a:lnTo>
                    <a:pt x="5525" y="412"/>
                  </a:lnTo>
                  <a:lnTo>
                    <a:pt x="5514" y="415"/>
                  </a:lnTo>
                  <a:lnTo>
                    <a:pt x="5528" y="430"/>
                  </a:lnTo>
                  <a:lnTo>
                    <a:pt x="5539" y="439"/>
                  </a:lnTo>
                  <a:lnTo>
                    <a:pt x="5551" y="450"/>
                  </a:lnTo>
                  <a:lnTo>
                    <a:pt x="5567" y="465"/>
                  </a:lnTo>
                  <a:lnTo>
                    <a:pt x="5531" y="450"/>
                  </a:lnTo>
                  <a:lnTo>
                    <a:pt x="5497" y="437"/>
                  </a:lnTo>
                  <a:lnTo>
                    <a:pt x="5465" y="426"/>
                  </a:lnTo>
                  <a:lnTo>
                    <a:pt x="5433" y="414"/>
                  </a:lnTo>
                  <a:lnTo>
                    <a:pt x="5419" y="407"/>
                  </a:lnTo>
                  <a:lnTo>
                    <a:pt x="5404" y="400"/>
                  </a:lnTo>
                  <a:lnTo>
                    <a:pt x="5388" y="392"/>
                  </a:lnTo>
                  <a:lnTo>
                    <a:pt x="5374" y="383"/>
                  </a:lnTo>
                  <a:lnTo>
                    <a:pt x="5360" y="373"/>
                  </a:lnTo>
                  <a:lnTo>
                    <a:pt x="5344" y="362"/>
                  </a:lnTo>
                  <a:lnTo>
                    <a:pt x="5330" y="350"/>
                  </a:lnTo>
                  <a:lnTo>
                    <a:pt x="5315" y="336"/>
                  </a:lnTo>
                  <a:lnTo>
                    <a:pt x="5109" y="336"/>
                  </a:lnTo>
                  <a:lnTo>
                    <a:pt x="5104" y="337"/>
                  </a:lnTo>
                  <a:lnTo>
                    <a:pt x="5099" y="339"/>
                  </a:lnTo>
                  <a:lnTo>
                    <a:pt x="5094" y="343"/>
                  </a:lnTo>
                  <a:lnTo>
                    <a:pt x="5090" y="348"/>
                  </a:lnTo>
                  <a:lnTo>
                    <a:pt x="5009" y="354"/>
                  </a:lnTo>
                  <a:lnTo>
                    <a:pt x="5003" y="353"/>
                  </a:lnTo>
                  <a:lnTo>
                    <a:pt x="4996" y="353"/>
                  </a:lnTo>
                  <a:lnTo>
                    <a:pt x="4991" y="351"/>
                  </a:lnTo>
                  <a:lnTo>
                    <a:pt x="4986" y="349"/>
                  </a:lnTo>
                  <a:lnTo>
                    <a:pt x="4979" y="344"/>
                  </a:lnTo>
                  <a:lnTo>
                    <a:pt x="4972" y="339"/>
                  </a:lnTo>
                  <a:lnTo>
                    <a:pt x="4964" y="332"/>
                  </a:lnTo>
                  <a:lnTo>
                    <a:pt x="4956" y="327"/>
                  </a:lnTo>
                  <a:lnTo>
                    <a:pt x="4951" y="325"/>
                  </a:lnTo>
                  <a:lnTo>
                    <a:pt x="4945" y="324"/>
                  </a:lnTo>
                  <a:lnTo>
                    <a:pt x="4938" y="323"/>
                  </a:lnTo>
                  <a:lnTo>
                    <a:pt x="4929" y="323"/>
                  </a:lnTo>
                  <a:lnTo>
                    <a:pt x="4924" y="323"/>
                  </a:lnTo>
                  <a:lnTo>
                    <a:pt x="4918" y="324"/>
                  </a:lnTo>
                  <a:lnTo>
                    <a:pt x="4916" y="326"/>
                  </a:lnTo>
                  <a:lnTo>
                    <a:pt x="4913" y="329"/>
                  </a:lnTo>
                  <a:lnTo>
                    <a:pt x="4911" y="331"/>
                  </a:lnTo>
                  <a:lnTo>
                    <a:pt x="4907" y="333"/>
                  </a:lnTo>
                  <a:lnTo>
                    <a:pt x="4903" y="334"/>
                  </a:lnTo>
                  <a:lnTo>
                    <a:pt x="4896" y="336"/>
                  </a:lnTo>
                  <a:lnTo>
                    <a:pt x="4884" y="334"/>
                  </a:lnTo>
                  <a:lnTo>
                    <a:pt x="4873" y="332"/>
                  </a:lnTo>
                  <a:lnTo>
                    <a:pt x="4863" y="328"/>
                  </a:lnTo>
                  <a:lnTo>
                    <a:pt x="4853" y="324"/>
                  </a:lnTo>
                  <a:lnTo>
                    <a:pt x="4836" y="314"/>
                  </a:lnTo>
                  <a:lnTo>
                    <a:pt x="4816" y="304"/>
                  </a:lnTo>
                  <a:lnTo>
                    <a:pt x="4830" y="292"/>
                  </a:lnTo>
                  <a:lnTo>
                    <a:pt x="4826" y="290"/>
                  </a:lnTo>
                  <a:lnTo>
                    <a:pt x="4816" y="286"/>
                  </a:lnTo>
                  <a:lnTo>
                    <a:pt x="4808" y="284"/>
                  </a:lnTo>
                  <a:lnTo>
                    <a:pt x="4799" y="282"/>
                  </a:lnTo>
                  <a:lnTo>
                    <a:pt x="4789" y="281"/>
                  </a:lnTo>
                  <a:lnTo>
                    <a:pt x="4777" y="279"/>
                  </a:lnTo>
                  <a:lnTo>
                    <a:pt x="4766" y="281"/>
                  </a:lnTo>
                  <a:lnTo>
                    <a:pt x="4757" y="281"/>
                  </a:lnTo>
                  <a:lnTo>
                    <a:pt x="4748" y="283"/>
                  </a:lnTo>
                  <a:lnTo>
                    <a:pt x="4740" y="285"/>
                  </a:lnTo>
                  <a:lnTo>
                    <a:pt x="4728" y="290"/>
                  </a:lnTo>
                  <a:lnTo>
                    <a:pt x="4717" y="295"/>
                  </a:lnTo>
                  <a:lnTo>
                    <a:pt x="4710" y="301"/>
                  </a:lnTo>
                  <a:lnTo>
                    <a:pt x="4701" y="306"/>
                  </a:lnTo>
                  <a:lnTo>
                    <a:pt x="4698" y="308"/>
                  </a:lnTo>
                  <a:lnTo>
                    <a:pt x="4693" y="309"/>
                  </a:lnTo>
                  <a:lnTo>
                    <a:pt x="4689" y="310"/>
                  </a:lnTo>
                  <a:lnTo>
                    <a:pt x="4683" y="310"/>
                  </a:lnTo>
                  <a:lnTo>
                    <a:pt x="4670" y="310"/>
                  </a:lnTo>
                  <a:lnTo>
                    <a:pt x="4657" y="310"/>
                  </a:lnTo>
                  <a:lnTo>
                    <a:pt x="4657" y="279"/>
                  </a:lnTo>
                  <a:lnTo>
                    <a:pt x="4650" y="275"/>
                  </a:lnTo>
                  <a:lnTo>
                    <a:pt x="4644" y="272"/>
                  </a:lnTo>
                  <a:lnTo>
                    <a:pt x="4638" y="271"/>
                  </a:lnTo>
                  <a:lnTo>
                    <a:pt x="4633" y="270"/>
                  </a:lnTo>
                  <a:lnTo>
                    <a:pt x="4627" y="271"/>
                  </a:lnTo>
                  <a:lnTo>
                    <a:pt x="4621" y="272"/>
                  </a:lnTo>
                  <a:lnTo>
                    <a:pt x="4613" y="275"/>
                  </a:lnTo>
                  <a:lnTo>
                    <a:pt x="4604" y="279"/>
                  </a:lnTo>
                  <a:lnTo>
                    <a:pt x="4603" y="277"/>
                  </a:lnTo>
                  <a:lnTo>
                    <a:pt x="4601" y="275"/>
                  </a:lnTo>
                  <a:lnTo>
                    <a:pt x="4599" y="273"/>
                  </a:lnTo>
                  <a:lnTo>
                    <a:pt x="4597" y="272"/>
                  </a:lnTo>
                  <a:lnTo>
                    <a:pt x="4589" y="270"/>
                  </a:lnTo>
                  <a:lnTo>
                    <a:pt x="4579" y="268"/>
                  </a:lnTo>
                  <a:lnTo>
                    <a:pt x="4557" y="267"/>
                  </a:lnTo>
                  <a:lnTo>
                    <a:pt x="4532" y="267"/>
                  </a:lnTo>
                  <a:lnTo>
                    <a:pt x="4486" y="271"/>
                  </a:lnTo>
                  <a:lnTo>
                    <a:pt x="4465" y="273"/>
                  </a:lnTo>
                  <a:lnTo>
                    <a:pt x="4398" y="273"/>
                  </a:lnTo>
                  <a:lnTo>
                    <a:pt x="4399" y="276"/>
                  </a:lnTo>
                  <a:lnTo>
                    <a:pt x="4400" y="279"/>
                  </a:lnTo>
                  <a:lnTo>
                    <a:pt x="4402" y="283"/>
                  </a:lnTo>
                  <a:lnTo>
                    <a:pt x="4405" y="285"/>
                  </a:lnTo>
                  <a:lnTo>
                    <a:pt x="4409" y="288"/>
                  </a:lnTo>
                  <a:lnTo>
                    <a:pt x="4412" y="290"/>
                  </a:lnTo>
                  <a:lnTo>
                    <a:pt x="4415" y="292"/>
                  </a:lnTo>
                  <a:lnTo>
                    <a:pt x="4418" y="292"/>
                  </a:lnTo>
                  <a:lnTo>
                    <a:pt x="4420" y="299"/>
                  </a:lnTo>
                  <a:lnTo>
                    <a:pt x="4425" y="307"/>
                  </a:lnTo>
                  <a:lnTo>
                    <a:pt x="4432" y="316"/>
                  </a:lnTo>
                  <a:lnTo>
                    <a:pt x="4438" y="323"/>
                  </a:lnTo>
                  <a:lnTo>
                    <a:pt x="4429" y="323"/>
                  </a:lnTo>
                  <a:lnTo>
                    <a:pt x="4420" y="324"/>
                  </a:lnTo>
                  <a:lnTo>
                    <a:pt x="4412" y="326"/>
                  </a:lnTo>
                  <a:lnTo>
                    <a:pt x="4403" y="329"/>
                  </a:lnTo>
                  <a:lnTo>
                    <a:pt x="4394" y="331"/>
                  </a:lnTo>
                  <a:lnTo>
                    <a:pt x="4383" y="333"/>
                  </a:lnTo>
                  <a:lnTo>
                    <a:pt x="4373" y="334"/>
                  </a:lnTo>
                  <a:lnTo>
                    <a:pt x="4358" y="336"/>
                  </a:lnTo>
                  <a:lnTo>
                    <a:pt x="4337" y="334"/>
                  </a:lnTo>
                  <a:lnTo>
                    <a:pt x="4317" y="331"/>
                  </a:lnTo>
                  <a:lnTo>
                    <a:pt x="4295" y="327"/>
                  </a:lnTo>
                  <a:lnTo>
                    <a:pt x="4272" y="323"/>
                  </a:lnTo>
                  <a:lnTo>
                    <a:pt x="4250" y="318"/>
                  </a:lnTo>
                  <a:lnTo>
                    <a:pt x="4228" y="314"/>
                  </a:lnTo>
                  <a:lnTo>
                    <a:pt x="4206" y="311"/>
                  </a:lnTo>
                  <a:lnTo>
                    <a:pt x="4186" y="310"/>
                  </a:lnTo>
                  <a:lnTo>
                    <a:pt x="4176" y="310"/>
                  </a:lnTo>
                  <a:lnTo>
                    <a:pt x="4166" y="310"/>
                  </a:lnTo>
                  <a:lnTo>
                    <a:pt x="4166" y="348"/>
                  </a:lnTo>
                  <a:lnTo>
                    <a:pt x="4139" y="348"/>
                  </a:lnTo>
                  <a:lnTo>
                    <a:pt x="4131" y="345"/>
                  </a:lnTo>
                  <a:lnTo>
                    <a:pt x="4122" y="342"/>
                  </a:lnTo>
                  <a:lnTo>
                    <a:pt x="4113" y="340"/>
                  </a:lnTo>
                  <a:lnTo>
                    <a:pt x="4102" y="338"/>
                  </a:lnTo>
                  <a:lnTo>
                    <a:pt x="4082" y="333"/>
                  </a:lnTo>
                  <a:lnTo>
                    <a:pt x="4060" y="330"/>
                  </a:lnTo>
                  <a:lnTo>
                    <a:pt x="4039" y="326"/>
                  </a:lnTo>
                  <a:lnTo>
                    <a:pt x="4019" y="321"/>
                  </a:lnTo>
                  <a:lnTo>
                    <a:pt x="4009" y="318"/>
                  </a:lnTo>
                  <a:lnTo>
                    <a:pt x="4000" y="314"/>
                  </a:lnTo>
                  <a:lnTo>
                    <a:pt x="3993" y="310"/>
                  </a:lnTo>
                  <a:lnTo>
                    <a:pt x="3986" y="304"/>
                  </a:lnTo>
                  <a:lnTo>
                    <a:pt x="3946" y="304"/>
                  </a:lnTo>
                  <a:lnTo>
                    <a:pt x="3953" y="317"/>
                  </a:lnTo>
                  <a:lnTo>
                    <a:pt x="3960" y="329"/>
                  </a:lnTo>
                  <a:lnTo>
                    <a:pt x="3941" y="318"/>
                  </a:lnTo>
                  <a:lnTo>
                    <a:pt x="3920" y="305"/>
                  </a:lnTo>
                  <a:lnTo>
                    <a:pt x="3898" y="294"/>
                  </a:lnTo>
                  <a:lnTo>
                    <a:pt x="3880" y="286"/>
                  </a:lnTo>
                  <a:lnTo>
                    <a:pt x="3820" y="286"/>
                  </a:lnTo>
                  <a:lnTo>
                    <a:pt x="3820" y="287"/>
                  </a:lnTo>
                  <a:lnTo>
                    <a:pt x="3819" y="288"/>
                  </a:lnTo>
                  <a:lnTo>
                    <a:pt x="3818" y="288"/>
                  </a:lnTo>
                  <a:lnTo>
                    <a:pt x="3816" y="287"/>
                  </a:lnTo>
                  <a:lnTo>
                    <a:pt x="3809" y="286"/>
                  </a:lnTo>
                  <a:lnTo>
                    <a:pt x="3800" y="283"/>
                  </a:lnTo>
                  <a:lnTo>
                    <a:pt x="3777" y="274"/>
                  </a:lnTo>
                  <a:lnTo>
                    <a:pt x="3752" y="265"/>
                  </a:lnTo>
                  <a:lnTo>
                    <a:pt x="3727" y="256"/>
                  </a:lnTo>
                  <a:lnTo>
                    <a:pt x="3706" y="249"/>
                  </a:lnTo>
                  <a:lnTo>
                    <a:pt x="3698" y="247"/>
                  </a:lnTo>
                  <a:lnTo>
                    <a:pt x="3694" y="246"/>
                  </a:lnTo>
                  <a:lnTo>
                    <a:pt x="3693" y="246"/>
                  </a:lnTo>
                  <a:lnTo>
                    <a:pt x="3692" y="247"/>
                  </a:lnTo>
                  <a:lnTo>
                    <a:pt x="3693" y="248"/>
                  </a:lnTo>
                  <a:lnTo>
                    <a:pt x="3694" y="249"/>
                  </a:lnTo>
                  <a:lnTo>
                    <a:pt x="3677" y="249"/>
                  </a:lnTo>
                  <a:lnTo>
                    <a:pt x="3663" y="251"/>
                  </a:lnTo>
                  <a:lnTo>
                    <a:pt x="3650" y="253"/>
                  </a:lnTo>
                  <a:lnTo>
                    <a:pt x="3637" y="255"/>
                  </a:lnTo>
                  <a:lnTo>
                    <a:pt x="3624" y="257"/>
                  </a:lnTo>
                  <a:lnTo>
                    <a:pt x="3608" y="259"/>
                  </a:lnTo>
                  <a:lnTo>
                    <a:pt x="3593" y="261"/>
                  </a:lnTo>
                  <a:lnTo>
                    <a:pt x="3574" y="261"/>
                  </a:lnTo>
                  <a:lnTo>
                    <a:pt x="3559" y="261"/>
                  </a:lnTo>
                  <a:lnTo>
                    <a:pt x="3544" y="260"/>
                  </a:lnTo>
                  <a:lnTo>
                    <a:pt x="3528" y="258"/>
                  </a:lnTo>
                  <a:lnTo>
                    <a:pt x="3515" y="256"/>
                  </a:lnTo>
                  <a:lnTo>
                    <a:pt x="3488" y="252"/>
                  </a:lnTo>
                  <a:lnTo>
                    <a:pt x="3461" y="246"/>
                  </a:lnTo>
                  <a:lnTo>
                    <a:pt x="3435" y="240"/>
                  </a:lnTo>
                  <a:lnTo>
                    <a:pt x="3408" y="236"/>
                  </a:lnTo>
                  <a:lnTo>
                    <a:pt x="3394" y="234"/>
                  </a:lnTo>
                  <a:lnTo>
                    <a:pt x="3379" y="232"/>
                  </a:lnTo>
                  <a:lnTo>
                    <a:pt x="3365" y="231"/>
                  </a:lnTo>
                  <a:lnTo>
                    <a:pt x="3348" y="231"/>
                  </a:lnTo>
                  <a:lnTo>
                    <a:pt x="3334" y="227"/>
                  </a:lnTo>
                  <a:lnTo>
                    <a:pt x="3313" y="219"/>
                  </a:lnTo>
                  <a:lnTo>
                    <a:pt x="3304" y="216"/>
                  </a:lnTo>
                  <a:lnTo>
                    <a:pt x="3296" y="214"/>
                  </a:lnTo>
                  <a:lnTo>
                    <a:pt x="3293" y="214"/>
                  </a:lnTo>
                  <a:lnTo>
                    <a:pt x="3291" y="215"/>
                  </a:lnTo>
                  <a:lnTo>
                    <a:pt x="3289" y="216"/>
                  </a:lnTo>
                  <a:lnTo>
                    <a:pt x="3289" y="218"/>
                  </a:lnTo>
                  <a:lnTo>
                    <a:pt x="3289" y="221"/>
                  </a:lnTo>
                  <a:lnTo>
                    <a:pt x="3290" y="226"/>
                  </a:lnTo>
                  <a:lnTo>
                    <a:pt x="3292" y="229"/>
                  </a:lnTo>
                  <a:lnTo>
                    <a:pt x="3295" y="233"/>
                  </a:lnTo>
                  <a:lnTo>
                    <a:pt x="3302" y="240"/>
                  </a:lnTo>
                  <a:lnTo>
                    <a:pt x="3310" y="247"/>
                  </a:lnTo>
                  <a:lnTo>
                    <a:pt x="3320" y="252"/>
                  </a:lnTo>
                  <a:lnTo>
                    <a:pt x="3328" y="257"/>
                  </a:lnTo>
                  <a:lnTo>
                    <a:pt x="3336" y="260"/>
                  </a:lnTo>
                  <a:lnTo>
                    <a:pt x="3341" y="261"/>
                  </a:lnTo>
                  <a:lnTo>
                    <a:pt x="3332" y="260"/>
                  </a:lnTo>
                  <a:lnTo>
                    <a:pt x="3323" y="257"/>
                  </a:lnTo>
                  <a:lnTo>
                    <a:pt x="3314" y="255"/>
                  </a:lnTo>
                  <a:lnTo>
                    <a:pt x="3305" y="251"/>
                  </a:lnTo>
                  <a:lnTo>
                    <a:pt x="3290" y="244"/>
                  </a:lnTo>
                  <a:lnTo>
                    <a:pt x="3273" y="235"/>
                  </a:lnTo>
                  <a:lnTo>
                    <a:pt x="3257" y="225"/>
                  </a:lnTo>
                  <a:lnTo>
                    <a:pt x="3239" y="213"/>
                  </a:lnTo>
                  <a:lnTo>
                    <a:pt x="3219" y="203"/>
                  </a:lnTo>
                  <a:lnTo>
                    <a:pt x="3195" y="193"/>
                  </a:lnTo>
                  <a:lnTo>
                    <a:pt x="3198" y="192"/>
                  </a:lnTo>
                  <a:lnTo>
                    <a:pt x="3200" y="190"/>
                  </a:lnTo>
                  <a:lnTo>
                    <a:pt x="3201" y="186"/>
                  </a:lnTo>
                  <a:lnTo>
                    <a:pt x="3201" y="181"/>
                  </a:lnTo>
                  <a:lnTo>
                    <a:pt x="3202" y="173"/>
                  </a:lnTo>
                  <a:lnTo>
                    <a:pt x="3202" y="169"/>
                  </a:lnTo>
                  <a:lnTo>
                    <a:pt x="3169" y="169"/>
                  </a:lnTo>
                  <a:lnTo>
                    <a:pt x="3164" y="170"/>
                  </a:lnTo>
                  <a:lnTo>
                    <a:pt x="3159" y="173"/>
                  </a:lnTo>
                  <a:lnTo>
                    <a:pt x="3154" y="177"/>
                  </a:lnTo>
                  <a:lnTo>
                    <a:pt x="3149" y="181"/>
                  </a:lnTo>
                  <a:lnTo>
                    <a:pt x="3153" y="187"/>
                  </a:lnTo>
                  <a:lnTo>
                    <a:pt x="3156" y="193"/>
                  </a:lnTo>
                  <a:lnTo>
                    <a:pt x="3144" y="196"/>
                  </a:lnTo>
                  <a:lnTo>
                    <a:pt x="3133" y="199"/>
                  </a:lnTo>
                  <a:lnTo>
                    <a:pt x="3122" y="203"/>
                  </a:lnTo>
                  <a:lnTo>
                    <a:pt x="3112" y="206"/>
                  </a:lnTo>
                  <a:lnTo>
                    <a:pt x="3093" y="215"/>
                  </a:lnTo>
                  <a:lnTo>
                    <a:pt x="3076" y="225"/>
                  </a:lnTo>
                  <a:lnTo>
                    <a:pt x="3058" y="235"/>
                  </a:lnTo>
                  <a:lnTo>
                    <a:pt x="3040" y="245"/>
                  </a:lnTo>
                  <a:lnTo>
                    <a:pt x="3030" y="249"/>
                  </a:lnTo>
                  <a:lnTo>
                    <a:pt x="3020" y="253"/>
                  </a:lnTo>
                  <a:lnTo>
                    <a:pt x="3008" y="257"/>
                  </a:lnTo>
                  <a:lnTo>
                    <a:pt x="2997" y="261"/>
                  </a:lnTo>
                  <a:lnTo>
                    <a:pt x="2997" y="257"/>
                  </a:lnTo>
                  <a:lnTo>
                    <a:pt x="2998" y="252"/>
                  </a:lnTo>
                  <a:lnTo>
                    <a:pt x="2999" y="248"/>
                  </a:lnTo>
                  <a:lnTo>
                    <a:pt x="3002" y="243"/>
                  </a:lnTo>
                  <a:lnTo>
                    <a:pt x="3008" y="235"/>
                  </a:lnTo>
                  <a:lnTo>
                    <a:pt x="3016" y="226"/>
                  </a:lnTo>
                  <a:lnTo>
                    <a:pt x="3026" y="217"/>
                  </a:lnTo>
                  <a:lnTo>
                    <a:pt x="3038" y="209"/>
                  </a:lnTo>
                  <a:lnTo>
                    <a:pt x="3052" y="201"/>
                  </a:lnTo>
                  <a:lnTo>
                    <a:pt x="3065" y="193"/>
                  </a:lnTo>
                  <a:lnTo>
                    <a:pt x="3093" y="179"/>
                  </a:lnTo>
                  <a:lnTo>
                    <a:pt x="3122" y="165"/>
                  </a:lnTo>
                  <a:lnTo>
                    <a:pt x="3148" y="154"/>
                  </a:lnTo>
                  <a:lnTo>
                    <a:pt x="3169" y="144"/>
                  </a:lnTo>
                  <a:lnTo>
                    <a:pt x="3157" y="136"/>
                  </a:lnTo>
                  <a:lnTo>
                    <a:pt x="3144" y="129"/>
                  </a:lnTo>
                  <a:lnTo>
                    <a:pt x="3130" y="122"/>
                  </a:lnTo>
                  <a:lnTo>
                    <a:pt x="3114" y="115"/>
                  </a:lnTo>
                  <a:lnTo>
                    <a:pt x="3098" y="107"/>
                  </a:lnTo>
                  <a:lnTo>
                    <a:pt x="3080" y="102"/>
                  </a:lnTo>
                  <a:lnTo>
                    <a:pt x="3063" y="96"/>
                  </a:lnTo>
                  <a:lnTo>
                    <a:pt x="3044" y="91"/>
                  </a:lnTo>
                  <a:lnTo>
                    <a:pt x="3024" y="86"/>
                  </a:lnTo>
                  <a:lnTo>
                    <a:pt x="3004" y="82"/>
                  </a:lnTo>
                  <a:lnTo>
                    <a:pt x="2985" y="79"/>
                  </a:lnTo>
                  <a:lnTo>
                    <a:pt x="2965" y="76"/>
                  </a:lnTo>
                  <a:lnTo>
                    <a:pt x="2944" y="74"/>
                  </a:lnTo>
                  <a:lnTo>
                    <a:pt x="2923" y="72"/>
                  </a:lnTo>
                  <a:lnTo>
                    <a:pt x="2903" y="71"/>
                  </a:lnTo>
                  <a:lnTo>
                    <a:pt x="2884" y="70"/>
                  </a:lnTo>
                  <a:lnTo>
                    <a:pt x="2875" y="71"/>
                  </a:lnTo>
                  <a:lnTo>
                    <a:pt x="2867" y="72"/>
                  </a:lnTo>
                  <a:lnTo>
                    <a:pt x="2862" y="74"/>
                  </a:lnTo>
                  <a:lnTo>
                    <a:pt x="2856" y="76"/>
                  </a:lnTo>
                  <a:lnTo>
                    <a:pt x="2850" y="79"/>
                  </a:lnTo>
                  <a:lnTo>
                    <a:pt x="2843" y="81"/>
                  </a:lnTo>
                  <a:lnTo>
                    <a:pt x="2834" y="82"/>
                  </a:lnTo>
                  <a:lnTo>
                    <a:pt x="2823" y="83"/>
                  </a:lnTo>
                  <a:lnTo>
                    <a:pt x="2723" y="64"/>
                  </a:lnTo>
                  <a:lnTo>
                    <a:pt x="2724" y="58"/>
                  </a:lnTo>
                  <a:lnTo>
                    <a:pt x="2726" y="52"/>
                  </a:lnTo>
                  <a:lnTo>
                    <a:pt x="2729" y="47"/>
                  </a:lnTo>
                  <a:lnTo>
                    <a:pt x="2731" y="42"/>
                  </a:lnTo>
                  <a:lnTo>
                    <a:pt x="2738" y="33"/>
                  </a:lnTo>
                  <a:lnTo>
                    <a:pt x="2744" y="21"/>
                  </a:lnTo>
                  <a:lnTo>
                    <a:pt x="2743" y="19"/>
                  </a:lnTo>
                  <a:lnTo>
                    <a:pt x="2742" y="17"/>
                  </a:lnTo>
                  <a:lnTo>
                    <a:pt x="2739" y="15"/>
                  </a:lnTo>
                  <a:lnTo>
                    <a:pt x="2735" y="13"/>
                  </a:lnTo>
                  <a:lnTo>
                    <a:pt x="2727" y="10"/>
                  </a:lnTo>
                  <a:lnTo>
                    <a:pt x="2717" y="9"/>
                  </a:lnTo>
                  <a:lnTo>
                    <a:pt x="2712" y="5"/>
                  </a:lnTo>
                  <a:lnTo>
                    <a:pt x="2707" y="1"/>
                  </a:lnTo>
                  <a:lnTo>
                    <a:pt x="2701" y="0"/>
                  </a:lnTo>
                  <a:lnTo>
                    <a:pt x="2696" y="0"/>
                  </a:lnTo>
                  <a:lnTo>
                    <a:pt x="2691" y="3"/>
                  </a:lnTo>
                  <a:lnTo>
                    <a:pt x="2687" y="7"/>
                  </a:lnTo>
                  <a:lnTo>
                    <a:pt x="2685" y="13"/>
                  </a:lnTo>
                  <a:lnTo>
                    <a:pt x="2684" y="21"/>
                  </a:lnTo>
                  <a:lnTo>
                    <a:pt x="2667" y="24"/>
                  </a:lnTo>
                  <a:lnTo>
                    <a:pt x="2653" y="29"/>
                  </a:lnTo>
                  <a:lnTo>
                    <a:pt x="2641" y="34"/>
                  </a:lnTo>
                  <a:lnTo>
                    <a:pt x="2630" y="40"/>
                  </a:lnTo>
                  <a:lnTo>
                    <a:pt x="2610" y="53"/>
                  </a:lnTo>
                  <a:lnTo>
                    <a:pt x="2590" y="64"/>
                  </a:lnTo>
                  <a:lnTo>
                    <a:pt x="2618" y="83"/>
                  </a:lnTo>
                  <a:lnTo>
                    <a:pt x="2611" y="83"/>
                  </a:lnTo>
                  <a:lnTo>
                    <a:pt x="2597" y="83"/>
                  </a:lnTo>
                  <a:lnTo>
                    <a:pt x="2575" y="83"/>
                  </a:lnTo>
                  <a:lnTo>
                    <a:pt x="2551" y="83"/>
                  </a:lnTo>
                  <a:lnTo>
                    <a:pt x="2567" y="97"/>
                  </a:lnTo>
                  <a:lnTo>
                    <a:pt x="2587" y="118"/>
                  </a:lnTo>
                  <a:lnTo>
                    <a:pt x="2598" y="128"/>
                  </a:lnTo>
                  <a:lnTo>
                    <a:pt x="2610" y="136"/>
                  </a:lnTo>
                  <a:lnTo>
                    <a:pt x="2617" y="140"/>
                  </a:lnTo>
                  <a:lnTo>
                    <a:pt x="2623" y="142"/>
                  </a:lnTo>
                  <a:lnTo>
                    <a:pt x="2630" y="144"/>
                  </a:lnTo>
                  <a:lnTo>
                    <a:pt x="2638" y="144"/>
                  </a:lnTo>
                  <a:lnTo>
                    <a:pt x="2630" y="144"/>
                  </a:lnTo>
                  <a:lnTo>
                    <a:pt x="2623" y="142"/>
                  </a:lnTo>
                  <a:lnTo>
                    <a:pt x="2618" y="140"/>
                  </a:lnTo>
                  <a:lnTo>
                    <a:pt x="2611" y="137"/>
                  </a:lnTo>
                  <a:lnTo>
                    <a:pt x="2600" y="130"/>
                  </a:lnTo>
                  <a:lnTo>
                    <a:pt x="2590" y="121"/>
                  </a:lnTo>
                  <a:lnTo>
                    <a:pt x="2579" y="110"/>
                  </a:lnTo>
                  <a:lnTo>
                    <a:pt x="2567" y="100"/>
                  </a:lnTo>
                  <a:lnTo>
                    <a:pt x="2561" y="95"/>
                  </a:lnTo>
                  <a:lnTo>
                    <a:pt x="2554" y="90"/>
                  </a:lnTo>
                  <a:lnTo>
                    <a:pt x="2547" y="86"/>
                  </a:lnTo>
                  <a:lnTo>
                    <a:pt x="2538" y="83"/>
                  </a:lnTo>
                  <a:lnTo>
                    <a:pt x="2465" y="114"/>
                  </a:lnTo>
                  <a:lnTo>
                    <a:pt x="2462" y="110"/>
                  </a:lnTo>
                  <a:lnTo>
                    <a:pt x="2455" y="104"/>
                  </a:lnTo>
                  <a:lnTo>
                    <a:pt x="2451" y="100"/>
                  </a:lnTo>
                  <a:lnTo>
                    <a:pt x="2446" y="98"/>
                  </a:lnTo>
                  <a:lnTo>
                    <a:pt x="2439" y="95"/>
                  </a:lnTo>
                  <a:lnTo>
                    <a:pt x="2431" y="95"/>
                  </a:lnTo>
                  <a:lnTo>
                    <a:pt x="2410" y="95"/>
                  </a:lnTo>
                  <a:lnTo>
                    <a:pt x="2391" y="98"/>
                  </a:lnTo>
                  <a:lnTo>
                    <a:pt x="2372" y="101"/>
                  </a:lnTo>
                  <a:lnTo>
                    <a:pt x="2354" y="105"/>
                  </a:lnTo>
                  <a:lnTo>
                    <a:pt x="2319" y="117"/>
                  </a:lnTo>
                  <a:lnTo>
                    <a:pt x="2284" y="129"/>
                  </a:lnTo>
                  <a:lnTo>
                    <a:pt x="2250" y="141"/>
                  </a:lnTo>
                  <a:lnTo>
                    <a:pt x="2214" y="152"/>
                  </a:lnTo>
                  <a:lnTo>
                    <a:pt x="2195" y="156"/>
                  </a:lnTo>
                  <a:lnTo>
                    <a:pt x="2175" y="159"/>
                  </a:lnTo>
                  <a:lnTo>
                    <a:pt x="2155" y="161"/>
                  </a:lnTo>
                  <a:lnTo>
                    <a:pt x="2133" y="162"/>
                  </a:lnTo>
                  <a:lnTo>
                    <a:pt x="2134" y="167"/>
                  </a:lnTo>
                  <a:lnTo>
                    <a:pt x="2137" y="173"/>
                  </a:lnTo>
                  <a:lnTo>
                    <a:pt x="2142" y="178"/>
                  </a:lnTo>
                  <a:lnTo>
                    <a:pt x="2149" y="183"/>
                  </a:lnTo>
                  <a:lnTo>
                    <a:pt x="2157" y="187"/>
                  </a:lnTo>
                  <a:lnTo>
                    <a:pt x="2167" y="190"/>
                  </a:lnTo>
                  <a:lnTo>
                    <a:pt x="2175" y="193"/>
                  </a:lnTo>
                  <a:lnTo>
                    <a:pt x="2185" y="193"/>
                  </a:lnTo>
                  <a:lnTo>
                    <a:pt x="2186" y="198"/>
                  </a:lnTo>
                  <a:lnTo>
                    <a:pt x="2187" y="203"/>
                  </a:lnTo>
                  <a:lnTo>
                    <a:pt x="2190" y="208"/>
                  </a:lnTo>
                  <a:lnTo>
                    <a:pt x="2192" y="213"/>
                  </a:lnTo>
                  <a:lnTo>
                    <a:pt x="2198" y="225"/>
                  </a:lnTo>
                  <a:lnTo>
                    <a:pt x="2207" y="235"/>
                  </a:lnTo>
                  <a:lnTo>
                    <a:pt x="2216" y="244"/>
                  </a:lnTo>
                  <a:lnTo>
                    <a:pt x="2225" y="251"/>
                  </a:lnTo>
                  <a:lnTo>
                    <a:pt x="2233" y="257"/>
                  </a:lnTo>
                  <a:lnTo>
                    <a:pt x="2239" y="261"/>
                  </a:lnTo>
                  <a:lnTo>
                    <a:pt x="2233" y="261"/>
                  </a:lnTo>
                  <a:lnTo>
                    <a:pt x="2227" y="260"/>
                  </a:lnTo>
                  <a:lnTo>
                    <a:pt x="2223" y="259"/>
                  </a:lnTo>
                  <a:lnTo>
                    <a:pt x="2217" y="257"/>
                  </a:lnTo>
                  <a:lnTo>
                    <a:pt x="2214" y="254"/>
                  </a:lnTo>
                  <a:lnTo>
                    <a:pt x="2209" y="251"/>
                  </a:lnTo>
                  <a:lnTo>
                    <a:pt x="2206" y="248"/>
                  </a:lnTo>
                  <a:lnTo>
                    <a:pt x="2203" y="244"/>
                  </a:lnTo>
                  <a:lnTo>
                    <a:pt x="2198" y="236"/>
                  </a:lnTo>
                  <a:lnTo>
                    <a:pt x="2195" y="225"/>
                  </a:lnTo>
                  <a:lnTo>
                    <a:pt x="2193" y="213"/>
                  </a:lnTo>
                  <a:lnTo>
                    <a:pt x="2192" y="200"/>
                  </a:lnTo>
                  <a:lnTo>
                    <a:pt x="2190" y="201"/>
                  </a:lnTo>
                  <a:lnTo>
                    <a:pt x="2186" y="202"/>
                  </a:lnTo>
                  <a:lnTo>
                    <a:pt x="2182" y="202"/>
                  </a:lnTo>
                  <a:lnTo>
                    <a:pt x="2179" y="202"/>
                  </a:lnTo>
                  <a:lnTo>
                    <a:pt x="2169" y="200"/>
                  </a:lnTo>
                  <a:lnTo>
                    <a:pt x="2159" y="200"/>
                  </a:lnTo>
                  <a:lnTo>
                    <a:pt x="2150" y="200"/>
                  </a:lnTo>
                  <a:lnTo>
                    <a:pt x="2141" y="202"/>
                  </a:lnTo>
                  <a:lnTo>
                    <a:pt x="2134" y="205"/>
                  </a:lnTo>
                  <a:lnTo>
                    <a:pt x="2126" y="209"/>
                  </a:lnTo>
                  <a:lnTo>
                    <a:pt x="2118" y="212"/>
                  </a:lnTo>
                  <a:lnTo>
                    <a:pt x="2111" y="215"/>
                  </a:lnTo>
                  <a:lnTo>
                    <a:pt x="2102" y="217"/>
                  </a:lnTo>
                  <a:lnTo>
                    <a:pt x="2093" y="218"/>
                  </a:lnTo>
                  <a:lnTo>
                    <a:pt x="2083" y="217"/>
                  </a:lnTo>
                  <a:lnTo>
                    <a:pt x="2073" y="214"/>
                  </a:lnTo>
                  <a:lnTo>
                    <a:pt x="2066" y="210"/>
                  </a:lnTo>
                  <a:lnTo>
                    <a:pt x="2059" y="206"/>
                  </a:lnTo>
                  <a:lnTo>
                    <a:pt x="2020" y="218"/>
                  </a:lnTo>
                  <a:lnTo>
                    <a:pt x="2013" y="218"/>
                  </a:lnTo>
                  <a:lnTo>
                    <a:pt x="2000" y="219"/>
                  </a:lnTo>
                  <a:lnTo>
                    <a:pt x="1992" y="221"/>
                  </a:lnTo>
                  <a:lnTo>
                    <a:pt x="1985" y="223"/>
                  </a:lnTo>
                  <a:lnTo>
                    <a:pt x="1983" y="225"/>
                  </a:lnTo>
                  <a:lnTo>
                    <a:pt x="1981" y="227"/>
                  </a:lnTo>
                  <a:lnTo>
                    <a:pt x="1980" y="229"/>
                  </a:lnTo>
                  <a:lnTo>
                    <a:pt x="1980" y="231"/>
                  </a:lnTo>
                  <a:lnTo>
                    <a:pt x="1980" y="234"/>
                  </a:lnTo>
                  <a:lnTo>
                    <a:pt x="1982" y="238"/>
                  </a:lnTo>
                  <a:lnTo>
                    <a:pt x="1984" y="242"/>
                  </a:lnTo>
                  <a:lnTo>
                    <a:pt x="1988" y="245"/>
                  </a:lnTo>
                  <a:lnTo>
                    <a:pt x="1996" y="253"/>
                  </a:lnTo>
                  <a:lnTo>
                    <a:pt x="2009" y="261"/>
                  </a:lnTo>
                  <a:lnTo>
                    <a:pt x="2023" y="270"/>
                  </a:lnTo>
                  <a:lnTo>
                    <a:pt x="2038" y="278"/>
                  </a:lnTo>
                  <a:lnTo>
                    <a:pt x="2056" y="287"/>
                  </a:lnTo>
                  <a:lnTo>
                    <a:pt x="2074" y="295"/>
                  </a:lnTo>
                  <a:lnTo>
                    <a:pt x="2112" y="311"/>
                  </a:lnTo>
                  <a:lnTo>
                    <a:pt x="2148" y="324"/>
                  </a:lnTo>
                  <a:lnTo>
                    <a:pt x="2178" y="334"/>
                  </a:lnTo>
                  <a:lnTo>
                    <a:pt x="2198" y="342"/>
                  </a:lnTo>
                  <a:lnTo>
                    <a:pt x="2200" y="352"/>
                  </a:lnTo>
                  <a:lnTo>
                    <a:pt x="2202" y="361"/>
                  </a:lnTo>
                  <a:lnTo>
                    <a:pt x="2204" y="369"/>
                  </a:lnTo>
                  <a:lnTo>
                    <a:pt x="2207" y="376"/>
                  </a:lnTo>
                  <a:lnTo>
                    <a:pt x="2216" y="389"/>
                  </a:lnTo>
                  <a:lnTo>
                    <a:pt x="2226" y="403"/>
                  </a:lnTo>
                  <a:lnTo>
                    <a:pt x="2214" y="405"/>
                  </a:lnTo>
                  <a:lnTo>
                    <a:pt x="2203" y="404"/>
                  </a:lnTo>
                  <a:lnTo>
                    <a:pt x="2193" y="402"/>
                  </a:lnTo>
                  <a:lnTo>
                    <a:pt x="2184" y="399"/>
                  </a:lnTo>
                  <a:lnTo>
                    <a:pt x="2177" y="394"/>
                  </a:lnTo>
                  <a:lnTo>
                    <a:pt x="2169" y="387"/>
                  </a:lnTo>
                  <a:lnTo>
                    <a:pt x="2161" y="381"/>
                  </a:lnTo>
                  <a:lnTo>
                    <a:pt x="2155" y="374"/>
                  </a:lnTo>
                  <a:lnTo>
                    <a:pt x="2142" y="360"/>
                  </a:lnTo>
                  <a:lnTo>
                    <a:pt x="2129" y="345"/>
                  </a:lnTo>
                  <a:lnTo>
                    <a:pt x="2123" y="339"/>
                  </a:lnTo>
                  <a:lnTo>
                    <a:pt x="2115" y="332"/>
                  </a:lnTo>
                  <a:lnTo>
                    <a:pt x="2107" y="327"/>
                  </a:lnTo>
                  <a:lnTo>
                    <a:pt x="2100" y="323"/>
                  </a:lnTo>
                  <a:lnTo>
                    <a:pt x="2065" y="315"/>
                  </a:lnTo>
                  <a:lnTo>
                    <a:pt x="2020" y="305"/>
                  </a:lnTo>
                  <a:lnTo>
                    <a:pt x="2009" y="302"/>
                  </a:lnTo>
                  <a:lnTo>
                    <a:pt x="1999" y="298"/>
                  </a:lnTo>
                  <a:lnTo>
                    <a:pt x="1989" y="293"/>
                  </a:lnTo>
                  <a:lnTo>
                    <a:pt x="1980" y="288"/>
                  </a:lnTo>
                  <a:lnTo>
                    <a:pt x="1972" y="281"/>
                  </a:lnTo>
                  <a:lnTo>
                    <a:pt x="1967" y="273"/>
                  </a:lnTo>
                  <a:lnTo>
                    <a:pt x="1964" y="269"/>
                  </a:lnTo>
                  <a:lnTo>
                    <a:pt x="1962" y="265"/>
                  </a:lnTo>
                  <a:lnTo>
                    <a:pt x="1960" y="260"/>
                  </a:lnTo>
                  <a:lnTo>
                    <a:pt x="1960" y="255"/>
                  </a:lnTo>
                  <a:lnTo>
                    <a:pt x="1947" y="255"/>
                  </a:lnTo>
                  <a:lnTo>
                    <a:pt x="1940" y="255"/>
                  </a:lnTo>
                  <a:lnTo>
                    <a:pt x="1933" y="256"/>
                  </a:lnTo>
                  <a:lnTo>
                    <a:pt x="1927" y="258"/>
                  </a:lnTo>
                  <a:lnTo>
                    <a:pt x="1922" y="261"/>
                  </a:lnTo>
                  <a:lnTo>
                    <a:pt x="1916" y="264"/>
                  </a:lnTo>
                  <a:lnTo>
                    <a:pt x="1910" y="267"/>
                  </a:lnTo>
                  <a:lnTo>
                    <a:pt x="1903" y="270"/>
                  </a:lnTo>
                  <a:lnTo>
                    <a:pt x="1895" y="272"/>
                  </a:lnTo>
                  <a:lnTo>
                    <a:pt x="1887" y="273"/>
                  </a:lnTo>
                  <a:lnTo>
                    <a:pt x="1882" y="287"/>
                  </a:lnTo>
                  <a:lnTo>
                    <a:pt x="1879" y="297"/>
                  </a:lnTo>
                  <a:lnTo>
                    <a:pt x="1877" y="301"/>
                  </a:lnTo>
                  <a:lnTo>
                    <a:pt x="1875" y="305"/>
                  </a:lnTo>
                  <a:lnTo>
                    <a:pt x="1871" y="308"/>
                  </a:lnTo>
                  <a:lnTo>
                    <a:pt x="1867" y="310"/>
                  </a:lnTo>
                  <a:lnTo>
                    <a:pt x="1871" y="316"/>
                  </a:lnTo>
                  <a:lnTo>
                    <a:pt x="1876" y="320"/>
                  </a:lnTo>
                  <a:lnTo>
                    <a:pt x="1882" y="325"/>
                  </a:lnTo>
                  <a:lnTo>
                    <a:pt x="1889" y="328"/>
                  </a:lnTo>
                  <a:lnTo>
                    <a:pt x="1903" y="334"/>
                  </a:lnTo>
                  <a:lnTo>
                    <a:pt x="1921" y="340"/>
                  </a:lnTo>
                  <a:lnTo>
                    <a:pt x="1959" y="349"/>
                  </a:lnTo>
                  <a:lnTo>
                    <a:pt x="2000" y="360"/>
                  </a:lnTo>
                  <a:lnTo>
                    <a:pt x="1954" y="360"/>
                  </a:lnTo>
                  <a:lnTo>
                    <a:pt x="1929" y="354"/>
                  </a:lnTo>
                  <a:lnTo>
                    <a:pt x="1906" y="349"/>
                  </a:lnTo>
                  <a:lnTo>
                    <a:pt x="1886" y="344"/>
                  </a:lnTo>
                  <a:lnTo>
                    <a:pt x="1866" y="338"/>
                  </a:lnTo>
                  <a:lnTo>
                    <a:pt x="1857" y="333"/>
                  </a:lnTo>
                  <a:lnTo>
                    <a:pt x="1849" y="328"/>
                  </a:lnTo>
                  <a:lnTo>
                    <a:pt x="1842" y="322"/>
                  </a:lnTo>
                  <a:lnTo>
                    <a:pt x="1835" y="315"/>
                  </a:lnTo>
                  <a:lnTo>
                    <a:pt x="1828" y="307"/>
                  </a:lnTo>
                  <a:lnTo>
                    <a:pt x="1823" y="298"/>
                  </a:lnTo>
                  <a:lnTo>
                    <a:pt x="1817" y="287"/>
                  </a:lnTo>
                  <a:lnTo>
                    <a:pt x="1814" y="273"/>
                  </a:lnTo>
                  <a:lnTo>
                    <a:pt x="1787" y="273"/>
                  </a:lnTo>
                  <a:lnTo>
                    <a:pt x="1787" y="282"/>
                  </a:lnTo>
                  <a:lnTo>
                    <a:pt x="1786" y="288"/>
                  </a:lnTo>
                  <a:lnTo>
                    <a:pt x="1785" y="293"/>
                  </a:lnTo>
                  <a:lnTo>
                    <a:pt x="1782" y="298"/>
                  </a:lnTo>
                  <a:lnTo>
                    <a:pt x="1776" y="306"/>
                  </a:lnTo>
                  <a:lnTo>
                    <a:pt x="1767" y="316"/>
                  </a:lnTo>
                  <a:lnTo>
                    <a:pt x="1771" y="323"/>
                  </a:lnTo>
                  <a:lnTo>
                    <a:pt x="1775" y="328"/>
                  </a:lnTo>
                  <a:lnTo>
                    <a:pt x="1779" y="332"/>
                  </a:lnTo>
                  <a:lnTo>
                    <a:pt x="1785" y="336"/>
                  </a:lnTo>
                  <a:lnTo>
                    <a:pt x="1793" y="342"/>
                  </a:lnTo>
                  <a:lnTo>
                    <a:pt x="1803" y="346"/>
                  </a:lnTo>
                  <a:lnTo>
                    <a:pt x="1813" y="351"/>
                  </a:lnTo>
                  <a:lnTo>
                    <a:pt x="1823" y="358"/>
                  </a:lnTo>
                  <a:lnTo>
                    <a:pt x="1827" y="363"/>
                  </a:lnTo>
                  <a:lnTo>
                    <a:pt x="1832" y="369"/>
                  </a:lnTo>
                  <a:lnTo>
                    <a:pt x="1836" y="376"/>
                  </a:lnTo>
                  <a:lnTo>
                    <a:pt x="1841" y="384"/>
                  </a:lnTo>
                  <a:lnTo>
                    <a:pt x="1842" y="389"/>
                  </a:lnTo>
                  <a:lnTo>
                    <a:pt x="1843" y="396"/>
                  </a:lnTo>
                  <a:lnTo>
                    <a:pt x="1844" y="402"/>
                  </a:lnTo>
                  <a:lnTo>
                    <a:pt x="1844" y="409"/>
                  </a:lnTo>
                  <a:lnTo>
                    <a:pt x="1844" y="415"/>
                  </a:lnTo>
                  <a:lnTo>
                    <a:pt x="1844" y="420"/>
                  </a:lnTo>
                  <a:lnTo>
                    <a:pt x="1845" y="424"/>
                  </a:lnTo>
                  <a:lnTo>
                    <a:pt x="1847" y="427"/>
                  </a:lnTo>
                  <a:lnTo>
                    <a:pt x="1859" y="436"/>
                  </a:lnTo>
                  <a:lnTo>
                    <a:pt x="1868" y="444"/>
                  </a:lnTo>
                  <a:lnTo>
                    <a:pt x="1872" y="448"/>
                  </a:lnTo>
                  <a:lnTo>
                    <a:pt x="1878" y="451"/>
                  </a:lnTo>
                  <a:lnTo>
                    <a:pt x="1884" y="452"/>
                  </a:lnTo>
                  <a:lnTo>
                    <a:pt x="1893" y="453"/>
                  </a:lnTo>
                  <a:lnTo>
                    <a:pt x="1902" y="452"/>
                  </a:lnTo>
                  <a:lnTo>
                    <a:pt x="1910" y="450"/>
                  </a:lnTo>
                  <a:lnTo>
                    <a:pt x="1917" y="446"/>
                  </a:lnTo>
                  <a:lnTo>
                    <a:pt x="1923" y="443"/>
                  </a:lnTo>
                  <a:lnTo>
                    <a:pt x="1929" y="439"/>
                  </a:lnTo>
                  <a:lnTo>
                    <a:pt x="1936" y="436"/>
                  </a:lnTo>
                  <a:lnTo>
                    <a:pt x="1944" y="434"/>
                  </a:lnTo>
                  <a:lnTo>
                    <a:pt x="1954" y="433"/>
                  </a:lnTo>
                  <a:lnTo>
                    <a:pt x="1961" y="434"/>
                  </a:lnTo>
                  <a:lnTo>
                    <a:pt x="1970" y="435"/>
                  </a:lnTo>
                  <a:lnTo>
                    <a:pt x="1978" y="437"/>
                  </a:lnTo>
                  <a:lnTo>
                    <a:pt x="1985" y="439"/>
                  </a:lnTo>
                  <a:lnTo>
                    <a:pt x="1999" y="445"/>
                  </a:lnTo>
                  <a:lnTo>
                    <a:pt x="2013" y="453"/>
                  </a:lnTo>
                  <a:lnTo>
                    <a:pt x="2027" y="459"/>
                  </a:lnTo>
                  <a:lnTo>
                    <a:pt x="2041" y="465"/>
                  </a:lnTo>
                  <a:lnTo>
                    <a:pt x="2048" y="467"/>
                  </a:lnTo>
                  <a:lnTo>
                    <a:pt x="2056" y="469"/>
                  </a:lnTo>
                  <a:lnTo>
                    <a:pt x="2065" y="470"/>
                  </a:lnTo>
                  <a:lnTo>
                    <a:pt x="2073" y="471"/>
                  </a:lnTo>
                  <a:lnTo>
                    <a:pt x="2076" y="482"/>
                  </a:lnTo>
                  <a:lnTo>
                    <a:pt x="2078" y="492"/>
                  </a:lnTo>
                  <a:lnTo>
                    <a:pt x="2082" y="503"/>
                  </a:lnTo>
                  <a:lnTo>
                    <a:pt x="2086" y="511"/>
                  </a:lnTo>
                  <a:lnTo>
                    <a:pt x="2090" y="515"/>
                  </a:lnTo>
                  <a:lnTo>
                    <a:pt x="2093" y="518"/>
                  </a:lnTo>
                  <a:lnTo>
                    <a:pt x="2097" y="522"/>
                  </a:lnTo>
                  <a:lnTo>
                    <a:pt x="2102" y="525"/>
                  </a:lnTo>
                  <a:lnTo>
                    <a:pt x="2106" y="527"/>
                  </a:lnTo>
                  <a:lnTo>
                    <a:pt x="2113" y="529"/>
                  </a:lnTo>
                  <a:lnTo>
                    <a:pt x="2118" y="531"/>
                  </a:lnTo>
                  <a:lnTo>
                    <a:pt x="2126" y="532"/>
                  </a:lnTo>
                  <a:lnTo>
                    <a:pt x="2111" y="532"/>
                  </a:lnTo>
                  <a:lnTo>
                    <a:pt x="2100" y="532"/>
                  </a:lnTo>
                  <a:lnTo>
                    <a:pt x="2093" y="532"/>
                  </a:lnTo>
                  <a:lnTo>
                    <a:pt x="2086" y="531"/>
                  </a:lnTo>
                  <a:lnTo>
                    <a:pt x="2081" y="530"/>
                  </a:lnTo>
                  <a:lnTo>
                    <a:pt x="2076" y="529"/>
                  </a:lnTo>
                  <a:lnTo>
                    <a:pt x="2067" y="524"/>
                  </a:lnTo>
                  <a:lnTo>
                    <a:pt x="2059" y="519"/>
                  </a:lnTo>
                  <a:lnTo>
                    <a:pt x="2052" y="513"/>
                  </a:lnTo>
                  <a:lnTo>
                    <a:pt x="2046" y="506"/>
                  </a:lnTo>
                  <a:lnTo>
                    <a:pt x="2040" y="497"/>
                  </a:lnTo>
                  <a:lnTo>
                    <a:pt x="2035" y="489"/>
                  </a:lnTo>
                  <a:lnTo>
                    <a:pt x="2030" y="481"/>
                  </a:lnTo>
                  <a:lnTo>
                    <a:pt x="2024" y="473"/>
                  </a:lnTo>
                  <a:lnTo>
                    <a:pt x="2017" y="466"/>
                  </a:lnTo>
                  <a:lnTo>
                    <a:pt x="2011" y="460"/>
                  </a:lnTo>
                  <a:lnTo>
                    <a:pt x="2002" y="454"/>
                  </a:lnTo>
                  <a:lnTo>
                    <a:pt x="1992" y="450"/>
                  </a:lnTo>
                  <a:lnTo>
                    <a:pt x="1980" y="448"/>
                  </a:lnTo>
                  <a:lnTo>
                    <a:pt x="1967" y="446"/>
                  </a:lnTo>
                  <a:lnTo>
                    <a:pt x="1959" y="446"/>
                  </a:lnTo>
                  <a:lnTo>
                    <a:pt x="1953" y="449"/>
                  </a:lnTo>
                  <a:lnTo>
                    <a:pt x="1946" y="451"/>
                  </a:lnTo>
                  <a:lnTo>
                    <a:pt x="1939" y="453"/>
                  </a:lnTo>
                  <a:lnTo>
                    <a:pt x="1927" y="459"/>
                  </a:lnTo>
                  <a:lnTo>
                    <a:pt x="1913" y="465"/>
                  </a:lnTo>
                  <a:lnTo>
                    <a:pt x="1918" y="477"/>
                  </a:lnTo>
                  <a:lnTo>
                    <a:pt x="1932" y="499"/>
                  </a:lnTo>
                  <a:lnTo>
                    <a:pt x="1939" y="512"/>
                  </a:lnTo>
                  <a:lnTo>
                    <a:pt x="1947" y="523"/>
                  </a:lnTo>
                  <a:lnTo>
                    <a:pt x="1954" y="532"/>
                  </a:lnTo>
                  <a:lnTo>
                    <a:pt x="1960" y="538"/>
                  </a:lnTo>
                  <a:lnTo>
                    <a:pt x="1945" y="554"/>
                  </a:lnTo>
                  <a:lnTo>
                    <a:pt x="1929" y="573"/>
                  </a:lnTo>
                  <a:lnTo>
                    <a:pt x="1924" y="578"/>
                  </a:lnTo>
                  <a:lnTo>
                    <a:pt x="1918" y="581"/>
                  </a:lnTo>
                  <a:lnTo>
                    <a:pt x="1913" y="585"/>
                  </a:lnTo>
                  <a:lnTo>
                    <a:pt x="1906" y="588"/>
                  </a:lnTo>
                  <a:lnTo>
                    <a:pt x="1900" y="590"/>
                  </a:lnTo>
                  <a:lnTo>
                    <a:pt x="1892" y="592"/>
                  </a:lnTo>
                  <a:lnTo>
                    <a:pt x="1883" y="593"/>
                  </a:lnTo>
                  <a:lnTo>
                    <a:pt x="1873" y="594"/>
                  </a:lnTo>
                  <a:lnTo>
                    <a:pt x="1855" y="595"/>
                  </a:lnTo>
                  <a:lnTo>
                    <a:pt x="1838" y="597"/>
                  </a:lnTo>
                  <a:lnTo>
                    <a:pt x="1823" y="600"/>
                  </a:lnTo>
                  <a:lnTo>
                    <a:pt x="1810" y="603"/>
                  </a:lnTo>
                  <a:lnTo>
                    <a:pt x="1797" y="604"/>
                  </a:lnTo>
                  <a:lnTo>
                    <a:pt x="1785" y="604"/>
                  </a:lnTo>
                  <a:lnTo>
                    <a:pt x="1779" y="603"/>
                  </a:lnTo>
                  <a:lnTo>
                    <a:pt x="1772" y="601"/>
                  </a:lnTo>
                  <a:lnTo>
                    <a:pt x="1767" y="598"/>
                  </a:lnTo>
                  <a:lnTo>
                    <a:pt x="1760" y="594"/>
                  </a:lnTo>
                  <a:lnTo>
                    <a:pt x="1778" y="593"/>
                  </a:lnTo>
                  <a:lnTo>
                    <a:pt x="1793" y="591"/>
                  </a:lnTo>
                  <a:lnTo>
                    <a:pt x="1806" y="589"/>
                  </a:lnTo>
                  <a:lnTo>
                    <a:pt x="1821" y="588"/>
                  </a:lnTo>
                  <a:lnTo>
                    <a:pt x="1826" y="587"/>
                  </a:lnTo>
                  <a:lnTo>
                    <a:pt x="1832" y="586"/>
                  </a:lnTo>
                  <a:lnTo>
                    <a:pt x="1837" y="585"/>
                  </a:lnTo>
                  <a:lnTo>
                    <a:pt x="1843" y="583"/>
                  </a:lnTo>
                  <a:lnTo>
                    <a:pt x="1847" y="580"/>
                  </a:lnTo>
                  <a:lnTo>
                    <a:pt x="1852" y="577"/>
                  </a:lnTo>
                  <a:lnTo>
                    <a:pt x="1856" y="573"/>
                  </a:lnTo>
                  <a:lnTo>
                    <a:pt x="1859" y="569"/>
                  </a:lnTo>
                  <a:lnTo>
                    <a:pt x="1866" y="560"/>
                  </a:lnTo>
                  <a:lnTo>
                    <a:pt x="1870" y="548"/>
                  </a:lnTo>
                  <a:lnTo>
                    <a:pt x="1872" y="538"/>
                  </a:lnTo>
                  <a:lnTo>
                    <a:pt x="1873" y="526"/>
                  </a:lnTo>
                  <a:lnTo>
                    <a:pt x="1873" y="520"/>
                  </a:lnTo>
                  <a:lnTo>
                    <a:pt x="1873" y="512"/>
                  </a:lnTo>
                  <a:lnTo>
                    <a:pt x="1873" y="499"/>
                  </a:lnTo>
                  <a:lnTo>
                    <a:pt x="1873" y="483"/>
                  </a:lnTo>
                  <a:lnTo>
                    <a:pt x="1860" y="480"/>
                  </a:lnTo>
                  <a:lnTo>
                    <a:pt x="1849" y="476"/>
                  </a:lnTo>
                  <a:lnTo>
                    <a:pt x="1839" y="470"/>
                  </a:lnTo>
                  <a:lnTo>
                    <a:pt x="1832" y="464"/>
                  </a:lnTo>
                  <a:lnTo>
                    <a:pt x="1824" y="457"/>
                  </a:lnTo>
                  <a:lnTo>
                    <a:pt x="1817" y="449"/>
                  </a:lnTo>
                  <a:lnTo>
                    <a:pt x="1812" y="440"/>
                  </a:lnTo>
                  <a:lnTo>
                    <a:pt x="1806" y="431"/>
                  </a:lnTo>
                  <a:lnTo>
                    <a:pt x="1796" y="413"/>
                  </a:lnTo>
                  <a:lnTo>
                    <a:pt x="1785" y="396"/>
                  </a:lnTo>
                  <a:lnTo>
                    <a:pt x="1778" y="387"/>
                  </a:lnTo>
                  <a:lnTo>
                    <a:pt x="1771" y="379"/>
                  </a:lnTo>
                  <a:lnTo>
                    <a:pt x="1764" y="372"/>
                  </a:lnTo>
                  <a:lnTo>
                    <a:pt x="1754" y="366"/>
                  </a:lnTo>
                  <a:lnTo>
                    <a:pt x="1708" y="348"/>
                  </a:lnTo>
                  <a:lnTo>
                    <a:pt x="1705" y="342"/>
                  </a:lnTo>
                  <a:lnTo>
                    <a:pt x="1707" y="333"/>
                  </a:lnTo>
                  <a:lnTo>
                    <a:pt x="1708" y="324"/>
                  </a:lnTo>
                  <a:lnTo>
                    <a:pt x="1709" y="313"/>
                  </a:lnTo>
                  <a:lnTo>
                    <a:pt x="1710" y="303"/>
                  </a:lnTo>
                  <a:lnTo>
                    <a:pt x="1709" y="294"/>
                  </a:lnTo>
                  <a:lnTo>
                    <a:pt x="1708" y="290"/>
                  </a:lnTo>
                  <a:lnTo>
                    <a:pt x="1707" y="286"/>
                  </a:lnTo>
                  <a:lnTo>
                    <a:pt x="1704" y="283"/>
                  </a:lnTo>
                  <a:lnTo>
                    <a:pt x="1701" y="279"/>
                  </a:lnTo>
                  <a:lnTo>
                    <a:pt x="1698" y="276"/>
                  </a:lnTo>
                  <a:lnTo>
                    <a:pt x="1693" y="273"/>
                  </a:lnTo>
                  <a:lnTo>
                    <a:pt x="1689" y="271"/>
                  </a:lnTo>
                  <a:lnTo>
                    <a:pt x="1682" y="269"/>
                  </a:lnTo>
                  <a:lnTo>
                    <a:pt x="1669" y="266"/>
                  </a:lnTo>
                  <a:lnTo>
                    <a:pt x="1654" y="263"/>
                  </a:lnTo>
                  <a:lnTo>
                    <a:pt x="1618" y="261"/>
                  </a:lnTo>
                  <a:lnTo>
                    <a:pt x="1581" y="261"/>
                  </a:lnTo>
                  <a:lnTo>
                    <a:pt x="1596" y="257"/>
                  </a:lnTo>
                  <a:lnTo>
                    <a:pt x="1609" y="253"/>
                  </a:lnTo>
                  <a:lnTo>
                    <a:pt x="1613" y="249"/>
                  </a:lnTo>
                  <a:lnTo>
                    <a:pt x="1618" y="245"/>
                  </a:lnTo>
                  <a:lnTo>
                    <a:pt x="1620" y="239"/>
                  </a:lnTo>
                  <a:lnTo>
                    <a:pt x="1621" y="231"/>
                  </a:lnTo>
                  <a:lnTo>
                    <a:pt x="1608" y="231"/>
                  </a:lnTo>
                  <a:lnTo>
                    <a:pt x="1596" y="231"/>
                  </a:lnTo>
                  <a:lnTo>
                    <a:pt x="1581" y="231"/>
                  </a:lnTo>
                  <a:lnTo>
                    <a:pt x="1562" y="231"/>
                  </a:lnTo>
                  <a:lnTo>
                    <a:pt x="1559" y="246"/>
                  </a:lnTo>
                  <a:lnTo>
                    <a:pt x="1555" y="263"/>
                  </a:lnTo>
                  <a:lnTo>
                    <a:pt x="1550" y="279"/>
                  </a:lnTo>
                  <a:lnTo>
                    <a:pt x="1548" y="292"/>
                  </a:lnTo>
                  <a:lnTo>
                    <a:pt x="1548" y="294"/>
                  </a:lnTo>
                  <a:lnTo>
                    <a:pt x="1550" y="295"/>
                  </a:lnTo>
                  <a:lnTo>
                    <a:pt x="1552" y="295"/>
                  </a:lnTo>
                  <a:lnTo>
                    <a:pt x="1555" y="295"/>
                  </a:lnTo>
                  <a:lnTo>
                    <a:pt x="1559" y="293"/>
                  </a:lnTo>
                  <a:lnTo>
                    <a:pt x="1562" y="292"/>
                  </a:lnTo>
                  <a:lnTo>
                    <a:pt x="1562" y="323"/>
                  </a:lnTo>
                  <a:lnTo>
                    <a:pt x="1552" y="327"/>
                  </a:lnTo>
                  <a:lnTo>
                    <a:pt x="1543" y="331"/>
                  </a:lnTo>
                  <a:lnTo>
                    <a:pt x="1537" y="332"/>
                  </a:lnTo>
                  <a:lnTo>
                    <a:pt x="1531" y="334"/>
                  </a:lnTo>
                  <a:lnTo>
                    <a:pt x="1524" y="334"/>
                  </a:lnTo>
                  <a:lnTo>
                    <a:pt x="1514" y="336"/>
                  </a:lnTo>
                  <a:lnTo>
                    <a:pt x="1514" y="345"/>
                  </a:lnTo>
                  <a:lnTo>
                    <a:pt x="1514" y="354"/>
                  </a:lnTo>
                  <a:lnTo>
                    <a:pt x="1532" y="375"/>
                  </a:lnTo>
                  <a:lnTo>
                    <a:pt x="1555" y="404"/>
                  </a:lnTo>
                  <a:lnTo>
                    <a:pt x="1562" y="411"/>
                  </a:lnTo>
                  <a:lnTo>
                    <a:pt x="1569" y="418"/>
                  </a:lnTo>
                  <a:lnTo>
                    <a:pt x="1577" y="424"/>
                  </a:lnTo>
                  <a:lnTo>
                    <a:pt x="1585" y="429"/>
                  </a:lnTo>
                  <a:lnTo>
                    <a:pt x="1593" y="433"/>
                  </a:lnTo>
                  <a:lnTo>
                    <a:pt x="1602" y="437"/>
                  </a:lnTo>
                  <a:lnTo>
                    <a:pt x="1611" y="439"/>
                  </a:lnTo>
                  <a:lnTo>
                    <a:pt x="1621" y="439"/>
                  </a:lnTo>
                  <a:lnTo>
                    <a:pt x="1622" y="445"/>
                  </a:lnTo>
                  <a:lnTo>
                    <a:pt x="1623" y="451"/>
                  </a:lnTo>
                  <a:lnTo>
                    <a:pt x="1625" y="455"/>
                  </a:lnTo>
                  <a:lnTo>
                    <a:pt x="1629" y="458"/>
                  </a:lnTo>
                  <a:lnTo>
                    <a:pt x="1636" y="465"/>
                  </a:lnTo>
                  <a:lnTo>
                    <a:pt x="1645" y="471"/>
                  </a:lnTo>
                  <a:lnTo>
                    <a:pt x="1654" y="477"/>
                  </a:lnTo>
                  <a:lnTo>
                    <a:pt x="1663" y="483"/>
                  </a:lnTo>
                  <a:lnTo>
                    <a:pt x="1667" y="487"/>
                  </a:lnTo>
                  <a:lnTo>
                    <a:pt x="1670" y="491"/>
                  </a:lnTo>
                  <a:lnTo>
                    <a:pt x="1673" y="496"/>
                  </a:lnTo>
                  <a:lnTo>
                    <a:pt x="1674" y="501"/>
                  </a:lnTo>
                  <a:lnTo>
                    <a:pt x="1667" y="501"/>
                  </a:lnTo>
                  <a:lnTo>
                    <a:pt x="1654" y="501"/>
                  </a:lnTo>
                  <a:lnTo>
                    <a:pt x="1645" y="499"/>
                  </a:lnTo>
                  <a:lnTo>
                    <a:pt x="1625" y="494"/>
                  </a:lnTo>
                  <a:lnTo>
                    <a:pt x="1599" y="487"/>
                  </a:lnTo>
                  <a:lnTo>
                    <a:pt x="1568" y="478"/>
                  </a:lnTo>
                  <a:lnTo>
                    <a:pt x="1539" y="468"/>
                  </a:lnTo>
                  <a:lnTo>
                    <a:pt x="1513" y="458"/>
                  </a:lnTo>
                  <a:lnTo>
                    <a:pt x="1502" y="453"/>
                  </a:lnTo>
                  <a:lnTo>
                    <a:pt x="1495" y="448"/>
                  </a:lnTo>
                  <a:lnTo>
                    <a:pt x="1492" y="445"/>
                  </a:lnTo>
                  <a:lnTo>
                    <a:pt x="1490" y="443"/>
                  </a:lnTo>
                  <a:lnTo>
                    <a:pt x="1488" y="441"/>
                  </a:lnTo>
                  <a:lnTo>
                    <a:pt x="1488" y="439"/>
                  </a:lnTo>
                  <a:lnTo>
                    <a:pt x="1467" y="439"/>
                  </a:lnTo>
                  <a:lnTo>
                    <a:pt x="1432" y="436"/>
                  </a:lnTo>
                  <a:lnTo>
                    <a:pt x="1389" y="432"/>
                  </a:lnTo>
                  <a:lnTo>
                    <a:pt x="1343" y="425"/>
                  </a:lnTo>
                  <a:lnTo>
                    <a:pt x="1320" y="421"/>
                  </a:lnTo>
                  <a:lnTo>
                    <a:pt x="1298" y="417"/>
                  </a:lnTo>
                  <a:lnTo>
                    <a:pt x="1277" y="412"/>
                  </a:lnTo>
                  <a:lnTo>
                    <a:pt x="1260" y="406"/>
                  </a:lnTo>
                  <a:lnTo>
                    <a:pt x="1251" y="403"/>
                  </a:lnTo>
                  <a:lnTo>
                    <a:pt x="1244" y="400"/>
                  </a:lnTo>
                  <a:lnTo>
                    <a:pt x="1238" y="397"/>
                  </a:lnTo>
                  <a:lnTo>
                    <a:pt x="1232" y="394"/>
                  </a:lnTo>
                  <a:lnTo>
                    <a:pt x="1228" y="389"/>
                  </a:lnTo>
                  <a:lnTo>
                    <a:pt x="1225" y="386"/>
                  </a:lnTo>
                  <a:lnTo>
                    <a:pt x="1223" y="382"/>
                  </a:lnTo>
                  <a:lnTo>
                    <a:pt x="1222" y="378"/>
                  </a:lnTo>
                  <a:lnTo>
                    <a:pt x="1210" y="381"/>
                  </a:lnTo>
                  <a:lnTo>
                    <a:pt x="1203" y="384"/>
                  </a:lnTo>
                  <a:lnTo>
                    <a:pt x="1203" y="389"/>
                  </a:lnTo>
                  <a:lnTo>
                    <a:pt x="1204" y="395"/>
                  </a:lnTo>
                  <a:lnTo>
                    <a:pt x="1205" y="399"/>
                  </a:lnTo>
                  <a:lnTo>
                    <a:pt x="1207" y="403"/>
                  </a:lnTo>
                  <a:lnTo>
                    <a:pt x="1211" y="410"/>
                  </a:lnTo>
                  <a:lnTo>
                    <a:pt x="1218" y="416"/>
                  </a:lnTo>
                  <a:lnTo>
                    <a:pt x="1225" y="421"/>
                  </a:lnTo>
                  <a:lnTo>
                    <a:pt x="1233" y="425"/>
                  </a:lnTo>
                  <a:lnTo>
                    <a:pt x="1243" y="429"/>
                  </a:lnTo>
                  <a:lnTo>
                    <a:pt x="1253" y="433"/>
                  </a:lnTo>
                  <a:lnTo>
                    <a:pt x="1274" y="442"/>
                  </a:lnTo>
                  <a:lnTo>
                    <a:pt x="1295" y="452"/>
                  </a:lnTo>
                  <a:lnTo>
                    <a:pt x="1305" y="458"/>
                  </a:lnTo>
                  <a:lnTo>
                    <a:pt x="1313" y="465"/>
                  </a:lnTo>
                  <a:lnTo>
                    <a:pt x="1322" y="473"/>
                  </a:lnTo>
                  <a:lnTo>
                    <a:pt x="1329" y="483"/>
                  </a:lnTo>
                  <a:lnTo>
                    <a:pt x="1319" y="483"/>
                  </a:lnTo>
                  <a:lnTo>
                    <a:pt x="1309" y="483"/>
                  </a:lnTo>
                  <a:lnTo>
                    <a:pt x="1297" y="481"/>
                  </a:lnTo>
                  <a:lnTo>
                    <a:pt x="1281" y="477"/>
                  </a:lnTo>
                  <a:lnTo>
                    <a:pt x="1272" y="475"/>
                  </a:lnTo>
                  <a:lnTo>
                    <a:pt x="1262" y="473"/>
                  </a:lnTo>
                  <a:lnTo>
                    <a:pt x="1252" y="471"/>
                  </a:lnTo>
                  <a:lnTo>
                    <a:pt x="1242" y="471"/>
                  </a:lnTo>
                  <a:lnTo>
                    <a:pt x="1232" y="471"/>
                  </a:lnTo>
                  <a:lnTo>
                    <a:pt x="1221" y="473"/>
                  </a:lnTo>
                  <a:lnTo>
                    <a:pt x="1210" y="475"/>
                  </a:lnTo>
                  <a:lnTo>
                    <a:pt x="1198" y="477"/>
                  </a:lnTo>
                  <a:lnTo>
                    <a:pt x="1174" y="484"/>
                  </a:lnTo>
                  <a:lnTo>
                    <a:pt x="1149" y="492"/>
                  </a:lnTo>
                  <a:lnTo>
                    <a:pt x="1122" y="500"/>
                  </a:lnTo>
                  <a:lnTo>
                    <a:pt x="1097" y="508"/>
                  </a:lnTo>
                  <a:lnTo>
                    <a:pt x="1085" y="510"/>
                  </a:lnTo>
                  <a:lnTo>
                    <a:pt x="1073" y="512"/>
                  </a:lnTo>
                  <a:lnTo>
                    <a:pt x="1061" y="514"/>
                  </a:lnTo>
                  <a:lnTo>
                    <a:pt x="1050" y="514"/>
                  </a:lnTo>
                  <a:lnTo>
                    <a:pt x="1046" y="513"/>
                  </a:lnTo>
                  <a:lnTo>
                    <a:pt x="1042" y="511"/>
                  </a:lnTo>
                  <a:lnTo>
                    <a:pt x="1040" y="507"/>
                  </a:lnTo>
                  <a:lnTo>
                    <a:pt x="1040" y="503"/>
                  </a:lnTo>
                  <a:lnTo>
                    <a:pt x="1040" y="496"/>
                  </a:lnTo>
                  <a:lnTo>
                    <a:pt x="1042" y="490"/>
                  </a:lnTo>
                  <a:lnTo>
                    <a:pt x="1046" y="484"/>
                  </a:lnTo>
                  <a:lnTo>
                    <a:pt x="1050" y="477"/>
                  </a:lnTo>
                  <a:lnTo>
                    <a:pt x="1040" y="473"/>
                  </a:lnTo>
                  <a:lnTo>
                    <a:pt x="1030" y="472"/>
                  </a:lnTo>
                  <a:lnTo>
                    <a:pt x="1019" y="471"/>
                  </a:lnTo>
                  <a:lnTo>
                    <a:pt x="1009" y="471"/>
                  </a:lnTo>
                  <a:lnTo>
                    <a:pt x="1007" y="475"/>
                  </a:lnTo>
                  <a:lnTo>
                    <a:pt x="1004" y="477"/>
                  </a:lnTo>
                  <a:lnTo>
                    <a:pt x="999" y="479"/>
                  </a:lnTo>
                  <a:lnTo>
                    <a:pt x="994" y="480"/>
                  </a:lnTo>
                  <a:lnTo>
                    <a:pt x="984" y="480"/>
                  </a:lnTo>
                  <a:lnTo>
                    <a:pt x="972" y="479"/>
                  </a:lnTo>
                  <a:lnTo>
                    <a:pt x="961" y="477"/>
                  </a:lnTo>
                  <a:lnTo>
                    <a:pt x="949" y="477"/>
                  </a:lnTo>
                  <a:lnTo>
                    <a:pt x="943" y="477"/>
                  </a:lnTo>
                  <a:lnTo>
                    <a:pt x="939" y="478"/>
                  </a:lnTo>
                  <a:lnTo>
                    <a:pt x="934" y="480"/>
                  </a:lnTo>
                  <a:lnTo>
                    <a:pt x="930" y="483"/>
                  </a:lnTo>
                  <a:lnTo>
                    <a:pt x="924" y="489"/>
                  </a:lnTo>
                  <a:lnTo>
                    <a:pt x="916" y="495"/>
                  </a:lnTo>
                  <a:lnTo>
                    <a:pt x="908" y="500"/>
                  </a:lnTo>
                  <a:lnTo>
                    <a:pt x="900" y="505"/>
                  </a:lnTo>
                  <a:lnTo>
                    <a:pt x="882" y="513"/>
                  </a:lnTo>
                  <a:lnTo>
                    <a:pt x="864" y="522"/>
                  </a:lnTo>
                  <a:lnTo>
                    <a:pt x="857" y="526"/>
                  </a:lnTo>
                  <a:lnTo>
                    <a:pt x="849" y="532"/>
                  </a:lnTo>
                  <a:lnTo>
                    <a:pt x="841" y="538"/>
                  </a:lnTo>
                  <a:lnTo>
                    <a:pt x="836" y="545"/>
                  </a:lnTo>
                  <a:lnTo>
                    <a:pt x="830" y="553"/>
                  </a:lnTo>
                  <a:lnTo>
                    <a:pt x="827" y="564"/>
                  </a:lnTo>
                  <a:lnTo>
                    <a:pt x="825" y="575"/>
                  </a:lnTo>
                  <a:lnTo>
                    <a:pt x="824" y="588"/>
                  </a:lnTo>
                  <a:lnTo>
                    <a:pt x="810" y="584"/>
                  </a:lnTo>
                  <a:lnTo>
                    <a:pt x="797" y="581"/>
                  </a:lnTo>
                  <a:lnTo>
                    <a:pt x="791" y="581"/>
                  </a:lnTo>
                  <a:lnTo>
                    <a:pt x="784" y="582"/>
                  </a:lnTo>
                  <a:lnTo>
                    <a:pt x="778" y="584"/>
                  </a:lnTo>
                  <a:lnTo>
                    <a:pt x="771" y="588"/>
                  </a:lnTo>
                  <a:lnTo>
                    <a:pt x="758" y="582"/>
                  </a:lnTo>
                  <a:lnTo>
                    <a:pt x="740" y="575"/>
                  </a:lnTo>
                  <a:lnTo>
                    <a:pt x="732" y="571"/>
                  </a:lnTo>
                  <a:lnTo>
                    <a:pt x="724" y="566"/>
                  </a:lnTo>
                  <a:lnTo>
                    <a:pt x="716" y="562"/>
                  </a:lnTo>
                  <a:lnTo>
                    <a:pt x="711" y="556"/>
                  </a:lnTo>
                  <a:lnTo>
                    <a:pt x="711" y="526"/>
                  </a:lnTo>
                  <a:lnTo>
                    <a:pt x="721" y="526"/>
                  </a:lnTo>
                  <a:lnTo>
                    <a:pt x="730" y="526"/>
                  </a:lnTo>
                  <a:lnTo>
                    <a:pt x="738" y="526"/>
                  </a:lnTo>
                  <a:lnTo>
                    <a:pt x="744" y="526"/>
                  </a:lnTo>
                  <a:lnTo>
                    <a:pt x="740" y="516"/>
                  </a:lnTo>
                  <a:lnTo>
                    <a:pt x="736" y="507"/>
                  </a:lnTo>
                  <a:lnTo>
                    <a:pt x="730" y="499"/>
                  </a:lnTo>
                  <a:lnTo>
                    <a:pt x="723" y="493"/>
                  </a:lnTo>
                  <a:lnTo>
                    <a:pt x="714" y="488"/>
                  </a:lnTo>
                  <a:lnTo>
                    <a:pt x="704" y="485"/>
                  </a:lnTo>
                  <a:lnTo>
                    <a:pt x="692" y="483"/>
                  </a:lnTo>
                  <a:lnTo>
                    <a:pt x="678" y="483"/>
                  </a:lnTo>
                  <a:lnTo>
                    <a:pt x="668" y="483"/>
                  </a:lnTo>
                  <a:lnTo>
                    <a:pt x="656" y="483"/>
                  </a:lnTo>
                  <a:lnTo>
                    <a:pt x="643" y="483"/>
                  </a:lnTo>
                  <a:lnTo>
                    <a:pt x="624" y="483"/>
                  </a:lnTo>
                  <a:lnTo>
                    <a:pt x="627" y="487"/>
                  </a:lnTo>
                  <a:lnTo>
                    <a:pt x="632" y="491"/>
                  </a:lnTo>
                  <a:lnTo>
                    <a:pt x="636" y="495"/>
                  </a:lnTo>
                  <a:lnTo>
                    <a:pt x="640" y="498"/>
                  </a:lnTo>
                  <a:lnTo>
                    <a:pt x="645" y="501"/>
                  </a:lnTo>
                  <a:lnTo>
                    <a:pt x="648" y="506"/>
                  </a:lnTo>
                  <a:lnTo>
                    <a:pt x="650" y="510"/>
                  </a:lnTo>
                  <a:lnTo>
                    <a:pt x="651" y="514"/>
                  </a:lnTo>
                  <a:lnTo>
                    <a:pt x="650" y="519"/>
                  </a:lnTo>
                  <a:lnTo>
                    <a:pt x="649" y="523"/>
                  </a:lnTo>
                  <a:lnTo>
                    <a:pt x="648" y="525"/>
                  </a:lnTo>
                  <a:lnTo>
                    <a:pt x="646" y="528"/>
                  </a:lnTo>
                  <a:lnTo>
                    <a:pt x="643" y="530"/>
                  </a:lnTo>
                  <a:lnTo>
                    <a:pt x="638" y="532"/>
                  </a:lnTo>
                  <a:lnTo>
                    <a:pt x="647" y="541"/>
                  </a:lnTo>
                  <a:lnTo>
                    <a:pt x="656" y="550"/>
                  </a:lnTo>
                  <a:lnTo>
                    <a:pt x="661" y="554"/>
                  </a:lnTo>
                  <a:lnTo>
                    <a:pt x="668" y="557"/>
                  </a:lnTo>
                  <a:lnTo>
                    <a:pt x="676" y="561"/>
                  </a:lnTo>
                  <a:lnTo>
                    <a:pt x="684" y="564"/>
                  </a:lnTo>
                  <a:lnTo>
                    <a:pt x="684" y="619"/>
                  </a:lnTo>
                  <a:lnTo>
                    <a:pt x="677" y="619"/>
                  </a:lnTo>
                  <a:lnTo>
                    <a:pt x="665" y="619"/>
                  </a:lnTo>
                  <a:lnTo>
                    <a:pt x="659" y="610"/>
                  </a:lnTo>
                  <a:lnTo>
                    <a:pt x="654" y="604"/>
                  </a:lnTo>
                  <a:lnTo>
                    <a:pt x="647" y="599"/>
                  </a:lnTo>
                  <a:lnTo>
                    <a:pt x="639" y="595"/>
                  </a:lnTo>
                  <a:lnTo>
                    <a:pt x="623" y="589"/>
                  </a:lnTo>
                  <a:lnTo>
                    <a:pt x="604" y="582"/>
                  </a:lnTo>
                  <a:lnTo>
                    <a:pt x="602" y="585"/>
                  </a:lnTo>
                  <a:lnTo>
                    <a:pt x="599" y="589"/>
                  </a:lnTo>
                  <a:lnTo>
                    <a:pt x="594" y="593"/>
                  </a:lnTo>
                  <a:lnTo>
                    <a:pt x="588" y="597"/>
                  </a:lnTo>
                  <a:lnTo>
                    <a:pt x="575" y="606"/>
                  </a:lnTo>
                  <a:lnTo>
                    <a:pt x="559" y="615"/>
                  </a:lnTo>
                  <a:lnTo>
                    <a:pt x="544" y="624"/>
                  </a:lnTo>
                  <a:lnTo>
                    <a:pt x="531" y="631"/>
                  </a:lnTo>
                  <a:lnTo>
                    <a:pt x="525" y="635"/>
                  </a:lnTo>
                  <a:lnTo>
                    <a:pt x="522" y="638"/>
                  </a:lnTo>
                  <a:lnTo>
                    <a:pt x="519" y="641"/>
                  </a:lnTo>
                  <a:lnTo>
                    <a:pt x="519" y="643"/>
                  </a:lnTo>
                  <a:lnTo>
                    <a:pt x="519" y="647"/>
                  </a:lnTo>
                  <a:lnTo>
                    <a:pt x="520" y="651"/>
                  </a:lnTo>
                  <a:lnTo>
                    <a:pt x="521" y="655"/>
                  </a:lnTo>
                  <a:lnTo>
                    <a:pt x="523" y="658"/>
                  </a:lnTo>
                  <a:lnTo>
                    <a:pt x="528" y="663"/>
                  </a:lnTo>
                  <a:lnTo>
                    <a:pt x="536" y="667"/>
                  </a:lnTo>
                  <a:lnTo>
                    <a:pt x="543" y="673"/>
                  </a:lnTo>
                  <a:lnTo>
                    <a:pt x="549" y="678"/>
                  </a:lnTo>
                  <a:lnTo>
                    <a:pt x="551" y="681"/>
                  </a:lnTo>
                  <a:lnTo>
                    <a:pt x="555" y="685"/>
                  </a:lnTo>
                  <a:lnTo>
                    <a:pt x="557" y="688"/>
                  </a:lnTo>
                  <a:lnTo>
                    <a:pt x="558" y="693"/>
                  </a:lnTo>
                  <a:lnTo>
                    <a:pt x="471" y="693"/>
                  </a:lnTo>
                  <a:lnTo>
                    <a:pt x="467" y="705"/>
                  </a:lnTo>
                  <a:lnTo>
                    <a:pt x="464" y="721"/>
                  </a:lnTo>
                  <a:lnTo>
                    <a:pt x="460" y="730"/>
                  </a:lnTo>
                  <a:lnTo>
                    <a:pt x="457" y="736"/>
                  </a:lnTo>
                  <a:lnTo>
                    <a:pt x="454" y="739"/>
                  </a:lnTo>
                  <a:lnTo>
                    <a:pt x="452" y="740"/>
                  </a:lnTo>
                  <a:lnTo>
                    <a:pt x="448" y="742"/>
                  </a:lnTo>
                  <a:lnTo>
                    <a:pt x="445" y="742"/>
                  </a:lnTo>
                  <a:lnTo>
                    <a:pt x="433" y="742"/>
                  </a:lnTo>
                  <a:lnTo>
                    <a:pt x="420" y="741"/>
                  </a:lnTo>
                  <a:lnTo>
                    <a:pt x="407" y="739"/>
                  </a:lnTo>
                  <a:lnTo>
                    <a:pt x="393" y="736"/>
                  </a:lnTo>
                  <a:lnTo>
                    <a:pt x="380" y="733"/>
                  </a:lnTo>
                  <a:lnTo>
                    <a:pt x="367" y="729"/>
                  </a:lnTo>
                  <a:lnTo>
                    <a:pt x="355" y="723"/>
                  </a:lnTo>
                  <a:lnTo>
                    <a:pt x="344" y="718"/>
                  </a:lnTo>
                  <a:lnTo>
                    <a:pt x="333" y="711"/>
                  </a:lnTo>
                  <a:lnTo>
                    <a:pt x="323" y="704"/>
                  </a:lnTo>
                  <a:lnTo>
                    <a:pt x="314" y="696"/>
                  </a:lnTo>
                  <a:lnTo>
                    <a:pt x="307" y="687"/>
                  </a:lnTo>
                  <a:lnTo>
                    <a:pt x="301" y="678"/>
                  </a:lnTo>
                  <a:lnTo>
                    <a:pt x="296" y="666"/>
                  </a:lnTo>
                  <a:lnTo>
                    <a:pt x="293" y="655"/>
                  </a:lnTo>
                  <a:lnTo>
                    <a:pt x="292" y="643"/>
                  </a:lnTo>
                  <a:lnTo>
                    <a:pt x="289" y="636"/>
                  </a:lnTo>
                  <a:lnTo>
                    <a:pt x="286" y="625"/>
                  </a:lnTo>
                  <a:lnTo>
                    <a:pt x="273" y="622"/>
                  </a:lnTo>
                  <a:lnTo>
                    <a:pt x="254" y="616"/>
                  </a:lnTo>
                  <a:lnTo>
                    <a:pt x="232" y="609"/>
                  </a:lnTo>
                  <a:lnTo>
                    <a:pt x="209" y="601"/>
                  </a:lnTo>
                  <a:lnTo>
                    <a:pt x="188" y="592"/>
                  </a:lnTo>
                  <a:lnTo>
                    <a:pt x="169" y="582"/>
                  </a:lnTo>
                  <a:lnTo>
                    <a:pt x="163" y="578"/>
                  </a:lnTo>
                  <a:lnTo>
                    <a:pt x="157" y="573"/>
                  </a:lnTo>
                  <a:lnTo>
                    <a:pt x="154" y="568"/>
                  </a:lnTo>
                  <a:lnTo>
                    <a:pt x="153" y="564"/>
                  </a:lnTo>
                  <a:lnTo>
                    <a:pt x="162" y="567"/>
                  </a:lnTo>
                  <a:lnTo>
                    <a:pt x="183" y="574"/>
                  </a:lnTo>
                  <a:lnTo>
                    <a:pt x="211" y="582"/>
                  </a:lnTo>
                  <a:lnTo>
                    <a:pt x="244" y="590"/>
                  </a:lnTo>
                  <a:lnTo>
                    <a:pt x="277" y="598"/>
                  </a:lnTo>
                  <a:lnTo>
                    <a:pt x="308" y="605"/>
                  </a:lnTo>
                  <a:lnTo>
                    <a:pt x="332" y="610"/>
                  </a:lnTo>
                  <a:lnTo>
                    <a:pt x="345" y="612"/>
                  </a:lnTo>
                  <a:lnTo>
                    <a:pt x="368" y="612"/>
                  </a:lnTo>
                  <a:lnTo>
                    <a:pt x="390" y="612"/>
                  </a:lnTo>
                  <a:lnTo>
                    <a:pt x="414" y="612"/>
                  </a:lnTo>
                  <a:lnTo>
                    <a:pt x="445" y="612"/>
                  </a:lnTo>
                  <a:lnTo>
                    <a:pt x="454" y="612"/>
                  </a:lnTo>
                  <a:lnTo>
                    <a:pt x="461" y="611"/>
                  </a:lnTo>
                  <a:lnTo>
                    <a:pt x="469" y="609"/>
                  </a:lnTo>
                  <a:lnTo>
                    <a:pt x="477" y="607"/>
                  </a:lnTo>
                  <a:lnTo>
                    <a:pt x="490" y="601"/>
                  </a:lnTo>
                  <a:lnTo>
                    <a:pt x="502" y="594"/>
                  </a:lnTo>
                  <a:lnTo>
                    <a:pt x="514" y="585"/>
                  </a:lnTo>
                  <a:lnTo>
                    <a:pt x="524" y="576"/>
                  </a:lnTo>
                  <a:lnTo>
                    <a:pt x="535" y="567"/>
                  </a:lnTo>
                  <a:lnTo>
                    <a:pt x="545" y="556"/>
                  </a:lnTo>
                  <a:lnTo>
                    <a:pt x="536" y="547"/>
                  </a:lnTo>
                  <a:lnTo>
                    <a:pt x="527" y="536"/>
                  </a:lnTo>
                  <a:lnTo>
                    <a:pt x="523" y="531"/>
                  </a:lnTo>
                  <a:lnTo>
                    <a:pt x="517" y="527"/>
                  </a:lnTo>
                  <a:lnTo>
                    <a:pt x="512" y="523"/>
                  </a:lnTo>
                  <a:lnTo>
                    <a:pt x="505" y="520"/>
                  </a:lnTo>
                  <a:lnTo>
                    <a:pt x="500" y="518"/>
                  </a:lnTo>
                  <a:lnTo>
                    <a:pt x="484" y="511"/>
                  </a:lnTo>
                  <a:lnTo>
                    <a:pt x="459" y="499"/>
                  </a:lnTo>
                  <a:lnTo>
                    <a:pt x="424" y="487"/>
                  </a:lnTo>
                  <a:lnTo>
                    <a:pt x="403" y="481"/>
                  </a:lnTo>
                  <a:lnTo>
                    <a:pt x="379" y="475"/>
                  </a:lnTo>
                  <a:lnTo>
                    <a:pt x="352" y="469"/>
                  </a:lnTo>
                  <a:lnTo>
                    <a:pt x="323" y="463"/>
                  </a:lnTo>
                  <a:lnTo>
                    <a:pt x="291" y="458"/>
                  </a:lnTo>
                  <a:lnTo>
                    <a:pt x="256" y="453"/>
                  </a:lnTo>
                  <a:lnTo>
                    <a:pt x="219" y="449"/>
                  </a:lnTo>
                  <a:lnTo>
                    <a:pt x="179" y="446"/>
                  </a:lnTo>
                  <a:lnTo>
                    <a:pt x="172" y="446"/>
                  </a:lnTo>
                  <a:lnTo>
                    <a:pt x="165" y="445"/>
                  </a:lnTo>
                  <a:lnTo>
                    <a:pt x="158" y="444"/>
                  </a:lnTo>
                  <a:lnTo>
                    <a:pt x="152" y="442"/>
                  </a:lnTo>
                  <a:lnTo>
                    <a:pt x="150" y="440"/>
                  </a:lnTo>
                  <a:lnTo>
                    <a:pt x="146" y="438"/>
                  </a:lnTo>
                  <a:lnTo>
                    <a:pt x="144" y="436"/>
                  </a:lnTo>
                  <a:lnTo>
                    <a:pt x="143" y="433"/>
                  </a:lnTo>
                  <a:lnTo>
                    <a:pt x="141" y="425"/>
                  </a:lnTo>
                  <a:lnTo>
                    <a:pt x="140" y="415"/>
                  </a:lnTo>
                  <a:lnTo>
                    <a:pt x="120" y="420"/>
                  </a:lnTo>
                  <a:lnTo>
                    <a:pt x="99" y="425"/>
                  </a:lnTo>
                  <a:lnTo>
                    <a:pt x="77" y="431"/>
                  </a:lnTo>
                  <a:lnTo>
                    <a:pt x="53" y="439"/>
                  </a:lnTo>
                  <a:lnTo>
                    <a:pt x="50" y="441"/>
                  </a:lnTo>
                  <a:lnTo>
                    <a:pt x="43" y="445"/>
                  </a:lnTo>
                  <a:lnTo>
                    <a:pt x="40" y="446"/>
                  </a:lnTo>
                  <a:lnTo>
                    <a:pt x="37" y="448"/>
                  </a:lnTo>
                  <a:lnTo>
                    <a:pt x="34" y="448"/>
                  </a:lnTo>
                  <a:lnTo>
                    <a:pt x="33" y="446"/>
                  </a:lnTo>
                  <a:lnTo>
                    <a:pt x="0" y="483"/>
                  </a:lnTo>
                  <a:lnTo>
                    <a:pt x="4" y="488"/>
                  </a:lnTo>
                  <a:lnTo>
                    <a:pt x="8" y="493"/>
                  </a:lnTo>
                  <a:lnTo>
                    <a:pt x="13" y="498"/>
                  </a:lnTo>
                  <a:lnTo>
                    <a:pt x="18" y="503"/>
                  </a:lnTo>
                  <a:lnTo>
                    <a:pt x="29" y="509"/>
                  </a:lnTo>
                  <a:lnTo>
                    <a:pt x="40" y="515"/>
                  </a:lnTo>
                  <a:lnTo>
                    <a:pt x="62" y="524"/>
                  </a:lnTo>
                  <a:lnTo>
                    <a:pt x="79" y="532"/>
                  </a:lnTo>
                  <a:lnTo>
                    <a:pt x="77" y="540"/>
                  </a:lnTo>
                  <a:lnTo>
                    <a:pt x="74" y="547"/>
                  </a:lnTo>
                  <a:lnTo>
                    <a:pt x="71" y="552"/>
                  </a:lnTo>
                  <a:lnTo>
                    <a:pt x="67" y="556"/>
                  </a:lnTo>
                  <a:lnTo>
                    <a:pt x="64" y="562"/>
                  </a:lnTo>
                  <a:lnTo>
                    <a:pt x="62" y="567"/>
                  </a:lnTo>
                  <a:lnTo>
                    <a:pt x="61" y="574"/>
                  </a:lnTo>
                  <a:lnTo>
                    <a:pt x="60" y="582"/>
                  </a:lnTo>
                  <a:lnTo>
                    <a:pt x="61" y="589"/>
                  </a:lnTo>
                  <a:lnTo>
                    <a:pt x="65" y="597"/>
                  </a:lnTo>
                  <a:lnTo>
                    <a:pt x="71" y="605"/>
                  </a:lnTo>
                  <a:lnTo>
                    <a:pt x="77" y="614"/>
                  </a:lnTo>
                  <a:lnTo>
                    <a:pt x="84" y="621"/>
                  </a:lnTo>
                  <a:lnTo>
                    <a:pt x="90" y="626"/>
                  </a:lnTo>
                  <a:lnTo>
                    <a:pt x="96" y="630"/>
                  </a:lnTo>
                  <a:lnTo>
                    <a:pt x="99" y="631"/>
                  </a:lnTo>
                  <a:lnTo>
                    <a:pt x="100" y="647"/>
                  </a:lnTo>
                  <a:lnTo>
                    <a:pt x="102" y="662"/>
                  </a:lnTo>
                  <a:lnTo>
                    <a:pt x="106" y="677"/>
                  </a:lnTo>
                  <a:lnTo>
                    <a:pt x="111" y="689"/>
                  </a:lnTo>
                  <a:lnTo>
                    <a:pt x="117" y="700"/>
                  </a:lnTo>
                  <a:lnTo>
                    <a:pt x="123" y="710"/>
                  </a:lnTo>
                  <a:lnTo>
                    <a:pt x="131" y="719"/>
                  </a:lnTo>
                  <a:lnTo>
                    <a:pt x="140" y="728"/>
                  </a:lnTo>
                  <a:lnTo>
                    <a:pt x="149" y="736"/>
                  </a:lnTo>
                  <a:lnTo>
                    <a:pt x="158" y="743"/>
                  </a:lnTo>
                  <a:lnTo>
                    <a:pt x="168" y="750"/>
                  </a:lnTo>
                  <a:lnTo>
                    <a:pt x="178" y="756"/>
                  </a:lnTo>
                  <a:lnTo>
                    <a:pt x="199" y="767"/>
                  </a:lnTo>
                  <a:lnTo>
                    <a:pt x="219" y="778"/>
                  </a:lnTo>
                  <a:lnTo>
                    <a:pt x="184" y="815"/>
                  </a:lnTo>
                  <a:lnTo>
                    <a:pt x="146" y="856"/>
                  </a:lnTo>
                  <a:lnTo>
                    <a:pt x="128" y="875"/>
                  </a:lnTo>
                  <a:lnTo>
                    <a:pt x="109" y="892"/>
                  </a:lnTo>
                  <a:lnTo>
                    <a:pt x="100" y="899"/>
                  </a:lnTo>
                  <a:lnTo>
                    <a:pt x="90" y="905"/>
                  </a:lnTo>
                  <a:lnTo>
                    <a:pt x="82" y="910"/>
                  </a:lnTo>
                  <a:lnTo>
                    <a:pt x="73" y="914"/>
                  </a:lnTo>
                  <a:lnTo>
                    <a:pt x="74" y="917"/>
                  </a:lnTo>
                  <a:lnTo>
                    <a:pt x="75" y="920"/>
                  </a:lnTo>
                  <a:lnTo>
                    <a:pt x="77" y="923"/>
                  </a:lnTo>
                  <a:lnTo>
                    <a:pt x="80" y="926"/>
                  </a:lnTo>
                  <a:lnTo>
                    <a:pt x="88" y="934"/>
                  </a:lnTo>
                  <a:lnTo>
                    <a:pt x="96" y="942"/>
                  </a:lnTo>
                  <a:lnTo>
                    <a:pt x="105" y="951"/>
                  </a:lnTo>
                  <a:lnTo>
                    <a:pt x="112" y="958"/>
                  </a:lnTo>
                  <a:lnTo>
                    <a:pt x="118" y="965"/>
                  </a:lnTo>
                  <a:lnTo>
                    <a:pt x="120" y="970"/>
                  </a:lnTo>
                  <a:lnTo>
                    <a:pt x="116" y="976"/>
                  </a:lnTo>
                  <a:lnTo>
                    <a:pt x="112" y="981"/>
                  </a:lnTo>
                  <a:lnTo>
                    <a:pt x="110" y="987"/>
                  </a:lnTo>
                  <a:lnTo>
                    <a:pt x="109" y="993"/>
                  </a:lnTo>
                  <a:lnTo>
                    <a:pt x="109" y="1005"/>
                  </a:lnTo>
                  <a:lnTo>
                    <a:pt x="111" y="1017"/>
                  </a:lnTo>
                  <a:lnTo>
                    <a:pt x="113" y="1029"/>
                  </a:lnTo>
                  <a:lnTo>
                    <a:pt x="116" y="1042"/>
                  </a:lnTo>
                  <a:lnTo>
                    <a:pt x="117" y="1048"/>
                  </a:lnTo>
                  <a:lnTo>
                    <a:pt x="116" y="1054"/>
                  </a:lnTo>
                  <a:lnTo>
                    <a:pt x="114" y="1062"/>
                  </a:lnTo>
                  <a:lnTo>
                    <a:pt x="113" y="1069"/>
                  </a:lnTo>
                  <a:lnTo>
                    <a:pt x="120" y="1090"/>
                  </a:lnTo>
                  <a:lnTo>
                    <a:pt x="130" y="1115"/>
                  </a:lnTo>
                  <a:lnTo>
                    <a:pt x="142" y="1139"/>
                  </a:lnTo>
                  <a:lnTo>
                    <a:pt x="153" y="1160"/>
                  </a:lnTo>
                  <a:lnTo>
                    <a:pt x="192" y="1180"/>
                  </a:lnTo>
                  <a:lnTo>
                    <a:pt x="232" y="1180"/>
                  </a:lnTo>
                  <a:lnTo>
                    <a:pt x="240" y="1204"/>
                  </a:lnTo>
                  <a:lnTo>
                    <a:pt x="279" y="1192"/>
                  </a:lnTo>
                  <a:lnTo>
                    <a:pt x="312" y="1204"/>
                  </a:lnTo>
                  <a:lnTo>
                    <a:pt x="319" y="1253"/>
                  </a:lnTo>
                  <a:lnTo>
                    <a:pt x="365" y="1291"/>
                  </a:lnTo>
                  <a:lnTo>
                    <a:pt x="399" y="1309"/>
                  </a:lnTo>
                  <a:lnTo>
                    <a:pt x="425" y="1327"/>
                  </a:lnTo>
                  <a:lnTo>
                    <a:pt x="399" y="1346"/>
                  </a:lnTo>
                  <a:lnTo>
                    <a:pt x="352" y="1333"/>
                  </a:lnTo>
                  <a:lnTo>
                    <a:pt x="358" y="1358"/>
                  </a:lnTo>
                  <a:lnTo>
                    <a:pt x="373" y="1370"/>
                  </a:lnTo>
                  <a:lnTo>
                    <a:pt x="373" y="1401"/>
                  </a:lnTo>
                  <a:lnTo>
                    <a:pt x="365" y="140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625" name="Freeform 23"/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5341798" y="2437409"/>
              <a:ext cx="334990" cy="297395"/>
            </a:xfrm>
            <a:custGeom>
              <a:avLst/>
              <a:gdLst>
                <a:gd name="T0" fmla="*/ 176323 w 647"/>
                <a:gd name="T1" fmla="*/ 14227 h 470"/>
                <a:gd name="T2" fmla="*/ 185877 w 647"/>
                <a:gd name="T3" fmla="*/ 23711 h 470"/>
                <a:gd name="T4" fmla="*/ 198906 w 647"/>
                <a:gd name="T5" fmla="*/ 31615 h 470"/>
                <a:gd name="T6" fmla="*/ 222358 w 647"/>
                <a:gd name="T7" fmla="*/ 41099 h 470"/>
                <a:gd name="T8" fmla="*/ 233649 w 647"/>
                <a:gd name="T9" fmla="*/ 42680 h 470"/>
                <a:gd name="T10" fmla="*/ 244072 w 647"/>
                <a:gd name="T11" fmla="*/ 52165 h 470"/>
                <a:gd name="T12" fmla="*/ 246244 w 647"/>
                <a:gd name="T13" fmla="*/ 51111 h 470"/>
                <a:gd name="T14" fmla="*/ 249718 w 647"/>
                <a:gd name="T15" fmla="*/ 44788 h 470"/>
                <a:gd name="T16" fmla="*/ 253192 w 647"/>
                <a:gd name="T17" fmla="*/ 41099 h 470"/>
                <a:gd name="T18" fmla="*/ 261878 w 647"/>
                <a:gd name="T19" fmla="*/ 42153 h 470"/>
                <a:gd name="T20" fmla="*/ 270998 w 647"/>
                <a:gd name="T21" fmla="*/ 41626 h 470"/>
                <a:gd name="T22" fmla="*/ 277947 w 647"/>
                <a:gd name="T23" fmla="*/ 44261 h 470"/>
                <a:gd name="T24" fmla="*/ 280553 w 647"/>
                <a:gd name="T25" fmla="*/ 54272 h 470"/>
                <a:gd name="T26" fmla="*/ 280553 w 647"/>
                <a:gd name="T27" fmla="*/ 64811 h 470"/>
                <a:gd name="T28" fmla="*/ 268393 w 647"/>
                <a:gd name="T29" fmla="*/ 69026 h 470"/>
                <a:gd name="T30" fmla="*/ 254495 w 647"/>
                <a:gd name="T31" fmla="*/ 76930 h 470"/>
                <a:gd name="T32" fmla="*/ 243204 w 647"/>
                <a:gd name="T33" fmla="*/ 86941 h 470"/>
                <a:gd name="T34" fmla="*/ 218883 w 647"/>
                <a:gd name="T35" fmla="*/ 112760 h 470"/>
                <a:gd name="T36" fmla="*/ 212369 w 647"/>
                <a:gd name="T37" fmla="*/ 119610 h 470"/>
                <a:gd name="T38" fmla="*/ 205854 w 647"/>
                <a:gd name="T39" fmla="*/ 133836 h 470"/>
                <a:gd name="T40" fmla="*/ 205420 w 647"/>
                <a:gd name="T41" fmla="*/ 148590 h 470"/>
                <a:gd name="T42" fmla="*/ 205420 w 647"/>
                <a:gd name="T43" fmla="*/ 163871 h 470"/>
                <a:gd name="T44" fmla="*/ 201077 w 647"/>
                <a:gd name="T45" fmla="*/ 179151 h 470"/>
                <a:gd name="T46" fmla="*/ 195431 w 647"/>
                <a:gd name="T47" fmla="*/ 186528 h 470"/>
                <a:gd name="T48" fmla="*/ 178494 w 647"/>
                <a:gd name="T49" fmla="*/ 202335 h 470"/>
                <a:gd name="T50" fmla="*/ 166334 w 647"/>
                <a:gd name="T51" fmla="*/ 216562 h 470"/>
                <a:gd name="T52" fmla="*/ 162425 w 647"/>
                <a:gd name="T53" fmla="*/ 223939 h 470"/>
                <a:gd name="T54" fmla="*/ 160254 w 647"/>
                <a:gd name="T55" fmla="*/ 227627 h 470"/>
                <a:gd name="T56" fmla="*/ 134631 w 647"/>
                <a:gd name="T57" fmla="*/ 226046 h 470"/>
                <a:gd name="T58" fmla="*/ 111613 w 647"/>
                <a:gd name="T59" fmla="*/ 228681 h 470"/>
                <a:gd name="T60" fmla="*/ 97281 w 647"/>
                <a:gd name="T61" fmla="*/ 235004 h 470"/>
                <a:gd name="T62" fmla="*/ 83818 w 647"/>
                <a:gd name="T63" fmla="*/ 246069 h 470"/>
                <a:gd name="T64" fmla="*/ 77738 w 647"/>
                <a:gd name="T65" fmla="*/ 247123 h 470"/>
                <a:gd name="T66" fmla="*/ 73395 w 647"/>
                <a:gd name="T67" fmla="*/ 242908 h 470"/>
                <a:gd name="T68" fmla="*/ 66447 w 647"/>
                <a:gd name="T69" fmla="*/ 227627 h 470"/>
                <a:gd name="T70" fmla="*/ 60801 w 647"/>
                <a:gd name="T71" fmla="*/ 218143 h 470"/>
                <a:gd name="T72" fmla="*/ 52984 w 647"/>
                <a:gd name="T73" fmla="*/ 210766 h 470"/>
                <a:gd name="T74" fmla="*/ 49509 w 647"/>
                <a:gd name="T75" fmla="*/ 199701 h 470"/>
                <a:gd name="T76" fmla="*/ 54721 w 647"/>
                <a:gd name="T77" fmla="*/ 177043 h 470"/>
                <a:gd name="T78" fmla="*/ 55155 w 647"/>
                <a:gd name="T79" fmla="*/ 140686 h 470"/>
                <a:gd name="T80" fmla="*/ 63841 w 647"/>
                <a:gd name="T81" fmla="*/ 108544 h 470"/>
                <a:gd name="T82" fmla="*/ 72961 w 647"/>
                <a:gd name="T83" fmla="*/ 78510 h 470"/>
                <a:gd name="T84" fmla="*/ 74698 w 647"/>
                <a:gd name="T85" fmla="*/ 69026 h 470"/>
                <a:gd name="T86" fmla="*/ 50378 w 647"/>
                <a:gd name="T87" fmla="*/ 64811 h 470"/>
                <a:gd name="T88" fmla="*/ 26926 w 647"/>
                <a:gd name="T89" fmla="*/ 57434 h 470"/>
                <a:gd name="T90" fmla="*/ 7383 w 647"/>
                <a:gd name="T91" fmla="*/ 49003 h 470"/>
                <a:gd name="T92" fmla="*/ 0 w 647"/>
                <a:gd name="T93" fmla="*/ 20023 h 470"/>
                <a:gd name="T94" fmla="*/ 9989 w 647"/>
                <a:gd name="T95" fmla="*/ 17915 h 470"/>
                <a:gd name="T96" fmla="*/ 22149 w 647"/>
                <a:gd name="T97" fmla="*/ 10538 h 470"/>
                <a:gd name="T98" fmla="*/ 31703 w 647"/>
                <a:gd name="T99" fmla="*/ 2108 h 470"/>
                <a:gd name="T100" fmla="*/ 37349 w 647"/>
                <a:gd name="T101" fmla="*/ 0 h 470"/>
                <a:gd name="T102" fmla="*/ 57327 w 647"/>
                <a:gd name="T103" fmla="*/ 3688 h 470"/>
                <a:gd name="T104" fmla="*/ 74264 w 647"/>
                <a:gd name="T105" fmla="*/ 8958 h 470"/>
                <a:gd name="T106" fmla="*/ 90767 w 647"/>
                <a:gd name="T107" fmla="*/ 10538 h 470"/>
                <a:gd name="T108" fmla="*/ 102059 w 647"/>
                <a:gd name="T109" fmla="*/ 15281 h 470"/>
                <a:gd name="T110" fmla="*/ 112047 w 647"/>
                <a:gd name="T111" fmla="*/ 19496 h 470"/>
                <a:gd name="T112" fmla="*/ 167202 w 647"/>
                <a:gd name="T113" fmla="*/ 13700 h 47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647" h="470">
                  <a:moveTo>
                    <a:pt x="399" y="14"/>
                  </a:moveTo>
                  <a:lnTo>
                    <a:pt x="402" y="20"/>
                  </a:lnTo>
                  <a:lnTo>
                    <a:pt x="406" y="27"/>
                  </a:lnTo>
                  <a:lnTo>
                    <a:pt x="413" y="33"/>
                  </a:lnTo>
                  <a:lnTo>
                    <a:pt x="421" y="39"/>
                  </a:lnTo>
                  <a:lnTo>
                    <a:pt x="428" y="45"/>
                  </a:lnTo>
                  <a:lnTo>
                    <a:pt x="438" y="51"/>
                  </a:lnTo>
                  <a:lnTo>
                    <a:pt x="448" y="56"/>
                  </a:lnTo>
                  <a:lnTo>
                    <a:pt x="458" y="60"/>
                  </a:lnTo>
                  <a:lnTo>
                    <a:pt x="480" y="70"/>
                  </a:lnTo>
                  <a:lnTo>
                    <a:pt x="501" y="76"/>
                  </a:lnTo>
                  <a:lnTo>
                    <a:pt x="512" y="78"/>
                  </a:lnTo>
                  <a:lnTo>
                    <a:pt x="521" y="80"/>
                  </a:lnTo>
                  <a:lnTo>
                    <a:pt x="530" y="81"/>
                  </a:lnTo>
                  <a:lnTo>
                    <a:pt x="538" y="81"/>
                  </a:lnTo>
                  <a:lnTo>
                    <a:pt x="548" y="88"/>
                  </a:lnTo>
                  <a:lnTo>
                    <a:pt x="561" y="99"/>
                  </a:lnTo>
                  <a:lnTo>
                    <a:pt x="562" y="99"/>
                  </a:lnTo>
                  <a:lnTo>
                    <a:pt x="564" y="99"/>
                  </a:lnTo>
                  <a:lnTo>
                    <a:pt x="566" y="98"/>
                  </a:lnTo>
                  <a:lnTo>
                    <a:pt x="567" y="97"/>
                  </a:lnTo>
                  <a:lnTo>
                    <a:pt x="570" y="93"/>
                  </a:lnTo>
                  <a:lnTo>
                    <a:pt x="572" y="89"/>
                  </a:lnTo>
                  <a:lnTo>
                    <a:pt x="575" y="85"/>
                  </a:lnTo>
                  <a:lnTo>
                    <a:pt x="578" y="81"/>
                  </a:lnTo>
                  <a:lnTo>
                    <a:pt x="580" y="79"/>
                  </a:lnTo>
                  <a:lnTo>
                    <a:pt x="583" y="78"/>
                  </a:lnTo>
                  <a:lnTo>
                    <a:pt x="590" y="80"/>
                  </a:lnTo>
                  <a:lnTo>
                    <a:pt x="596" y="80"/>
                  </a:lnTo>
                  <a:lnTo>
                    <a:pt x="603" y="80"/>
                  </a:lnTo>
                  <a:lnTo>
                    <a:pt x="609" y="80"/>
                  </a:lnTo>
                  <a:lnTo>
                    <a:pt x="617" y="79"/>
                  </a:lnTo>
                  <a:lnTo>
                    <a:pt x="624" y="79"/>
                  </a:lnTo>
                  <a:lnTo>
                    <a:pt x="631" y="80"/>
                  </a:lnTo>
                  <a:lnTo>
                    <a:pt x="638" y="81"/>
                  </a:lnTo>
                  <a:lnTo>
                    <a:pt x="640" y="84"/>
                  </a:lnTo>
                  <a:lnTo>
                    <a:pt x="642" y="89"/>
                  </a:lnTo>
                  <a:lnTo>
                    <a:pt x="645" y="95"/>
                  </a:lnTo>
                  <a:lnTo>
                    <a:pt x="646" y="103"/>
                  </a:lnTo>
                  <a:lnTo>
                    <a:pt x="647" y="111"/>
                  </a:lnTo>
                  <a:lnTo>
                    <a:pt x="647" y="118"/>
                  </a:lnTo>
                  <a:lnTo>
                    <a:pt x="646" y="123"/>
                  </a:lnTo>
                  <a:lnTo>
                    <a:pt x="645" y="124"/>
                  </a:lnTo>
                  <a:lnTo>
                    <a:pt x="631" y="127"/>
                  </a:lnTo>
                  <a:lnTo>
                    <a:pt x="618" y="131"/>
                  </a:lnTo>
                  <a:lnTo>
                    <a:pt x="607" y="135"/>
                  </a:lnTo>
                  <a:lnTo>
                    <a:pt x="596" y="140"/>
                  </a:lnTo>
                  <a:lnTo>
                    <a:pt x="586" y="146"/>
                  </a:lnTo>
                  <a:lnTo>
                    <a:pt x="577" y="152"/>
                  </a:lnTo>
                  <a:lnTo>
                    <a:pt x="569" y="158"/>
                  </a:lnTo>
                  <a:lnTo>
                    <a:pt x="560" y="165"/>
                  </a:lnTo>
                  <a:lnTo>
                    <a:pt x="533" y="191"/>
                  </a:lnTo>
                  <a:lnTo>
                    <a:pt x="512" y="210"/>
                  </a:lnTo>
                  <a:lnTo>
                    <a:pt x="504" y="214"/>
                  </a:lnTo>
                  <a:lnTo>
                    <a:pt x="499" y="218"/>
                  </a:lnTo>
                  <a:lnTo>
                    <a:pt x="493" y="222"/>
                  </a:lnTo>
                  <a:lnTo>
                    <a:pt x="489" y="227"/>
                  </a:lnTo>
                  <a:lnTo>
                    <a:pt x="481" y="236"/>
                  </a:lnTo>
                  <a:lnTo>
                    <a:pt x="477" y="245"/>
                  </a:lnTo>
                  <a:lnTo>
                    <a:pt x="474" y="254"/>
                  </a:lnTo>
                  <a:lnTo>
                    <a:pt x="473" y="263"/>
                  </a:lnTo>
                  <a:lnTo>
                    <a:pt x="472" y="272"/>
                  </a:lnTo>
                  <a:lnTo>
                    <a:pt x="473" y="282"/>
                  </a:lnTo>
                  <a:lnTo>
                    <a:pt x="473" y="292"/>
                  </a:lnTo>
                  <a:lnTo>
                    <a:pt x="474" y="301"/>
                  </a:lnTo>
                  <a:lnTo>
                    <a:pt x="473" y="311"/>
                  </a:lnTo>
                  <a:lnTo>
                    <a:pt x="472" y="320"/>
                  </a:lnTo>
                  <a:lnTo>
                    <a:pt x="469" y="330"/>
                  </a:lnTo>
                  <a:lnTo>
                    <a:pt x="463" y="340"/>
                  </a:lnTo>
                  <a:lnTo>
                    <a:pt x="460" y="345"/>
                  </a:lnTo>
                  <a:lnTo>
                    <a:pt x="456" y="349"/>
                  </a:lnTo>
                  <a:lnTo>
                    <a:pt x="450" y="354"/>
                  </a:lnTo>
                  <a:lnTo>
                    <a:pt x="445" y="358"/>
                  </a:lnTo>
                  <a:lnTo>
                    <a:pt x="426" y="372"/>
                  </a:lnTo>
                  <a:lnTo>
                    <a:pt x="411" y="384"/>
                  </a:lnTo>
                  <a:lnTo>
                    <a:pt x="399" y="394"/>
                  </a:lnTo>
                  <a:lnTo>
                    <a:pt x="390" y="404"/>
                  </a:lnTo>
                  <a:lnTo>
                    <a:pt x="383" y="411"/>
                  </a:lnTo>
                  <a:lnTo>
                    <a:pt x="379" y="417"/>
                  </a:lnTo>
                  <a:lnTo>
                    <a:pt x="376" y="422"/>
                  </a:lnTo>
                  <a:lnTo>
                    <a:pt x="374" y="425"/>
                  </a:lnTo>
                  <a:lnTo>
                    <a:pt x="373" y="430"/>
                  </a:lnTo>
                  <a:lnTo>
                    <a:pt x="373" y="432"/>
                  </a:lnTo>
                  <a:lnTo>
                    <a:pt x="369" y="432"/>
                  </a:lnTo>
                  <a:lnTo>
                    <a:pt x="358" y="432"/>
                  </a:lnTo>
                  <a:lnTo>
                    <a:pt x="333" y="430"/>
                  </a:lnTo>
                  <a:lnTo>
                    <a:pt x="310" y="429"/>
                  </a:lnTo>
                  <a:lnTo>
                    <a:pt x="290" y="429"/>
                  </a:lnTo>
                  <a:lnTo>
                    <a:pt x="272" y="431"/>
                  </a:lnTo>
                  <a:lnTo>
                    <a:pt x="257" y="434"/>
                  </a:lnTo>
                  <a:lnTo>
                    <a:pt x="245" y="437"/>
                  </a:lnTo>
                  <a:lnTo>
                    <a:pt x="234" y="441"/>
                  </a:lnTo>
                  <a:lnTo>
                    <a:pt x="224" y="446"/>
                  </a:lnTo>
                  <a:lnTo>
                    <a:pt x="209" y="456"/>
                  </a:lnTo>
                  <a:lnTo>
                    <a:pt x="198" y="464"/>
                  </a:lnTo>
                  <a:lnTo>
                    <a:pt x="193" y="467"/>
                  </a:lnTo>
                  <a:lnTo>
                    <a:pt x="189" y="469"/>
                  </a:lnTo>
                  <a:lnTo>
                    <a:pt x="183" y="470"/>
                  </a:lnTo>
                  <a:lnTo>
                    <a:pt x="179" y="469"/>
                  </a:lnTo>
                  <a:lnTo>
                    <a:pt x="176" y="468"/>
                  </a:lnTo>
                  <a:lnTo>
                    <a:pt x="172" y="465"/>
                  </a:lnTo>
                  <a:lnTo>
                    <a:pt x="169" y="461"/>
                  </a:lnTo>
                  <a:lnTo>
                    <a:pt x="166" y="456"/>
                  </a:lnTo>
                  <a:lnTo>
                    <a:pt x="159" y="444"/>
                  </a:lnTo>
                  <a:lnTo>
                    <a:pt x="153" y="432"/>
                  </a:lnTo>
                  <a:lnTo>
                    <a:pt x="148" y="426"/>
                  </a:lnTo>
                  <a:lnTo>
                    <a:pt x="144" y="420"/>
                  </a:lnTo>
                  <a:lnTo>
                    <a:pt x="140" y="414"/>
                  </a:lnTo>
                  <a:lnTo>
                    <a:pt x="134" y="409"/>
                  </a:lnTo>
                  <a:lnTo>
                    <a:pt x="129" y="404"/>
                  </a:lnTo>
                  <a:lnTo>
                    <a:pt x="122" y="400"/>
                  </a:lnTo>
                  <a:lnTo>
                    <a:pt x="114" y="397"/>
                  </a:lnTo>
                  <a:lnTo>
                    <a:pt x="107" y="396"/>
                  </a:lnTo>
                  <a:lnTo>
                    <a:pt x="114" y="379"/>
                  </a:lnTo>
                  <a:lnTo>
                    <a:pt x="121" y="365"/>
                  </a:lnTo>
                  <a:lnTo>
                    <a:pt x="124" y="351"/>
                  </a:lnTo>
                  <a:lnTo>
                    <a:pt x="126" y="336"/>
                  </a:lnTo>
                  <a:lnTo>
                    <a:pt x="126" y="309"/>
                  </a:lnTo>
                  <a:lnTo>
                    <a:pt x="126" y="278"/>
                  </a:lnTo>
                  <a:lnTo>
                    <a:pt x="127" y="267"/>
                  </a:lnTo>
                  <a:lnTo>
                    <a:pt x="132" y="250"/>
                  </a:lnTo>
                  <a:lnTo>
                    <a:pt x="138" y="229"/>
                  </a:lnTo>
                  <a:lnTo>
                    <a:pt x="147" y="206"/>
                  </a:lnTo>
                  <a:lnTo>
                    <a:pt x="155" y="184"/>
                  </a:lnTo>
                  <a:lnTo>
                    <a:pt x="163" y="163"/>
                  </a:lnTo>
                  <a:lnTo>
                    <a:pt x="168" y="149"/>
                  </a:lnTo>
                  <a:lnTo>
                    <a:pt x="172" y="143"/>
                  </a:lnTo>
                  <a:lnTo>
                    <a:pt x="172" y="137"/>
                  </a:lnTo>
                  <a:lnTo>
                    <a:pt x="172" y="131"/>
                  </a:lnTo>
                  <a:lnTo>
                    <a:pt x="153" y="130"/>
                  </a:lnTo>
                  <a:lnTo>
                    <a:pt x="135" y="127"/>
                  </a:lnTo>
                  <a:lnTo>
                    <a:pt x="116" y="123"/>
                  </a:lnTo>
                  <a:lnTo>
                    <a:pt x="99" y="118"/>
                  </a:lnTo>
                  <a:lnTo>
                    <a:pt x="80" y="113"/>
                  </a:lnTo>
                  <a:lnTo>
                    <a:pt x="62" y="109"/>
                  </a:lnTo>
                  <a:lnTo>
                    <a:pt x="42" y="106"/>
                  </a:lnTo>
                  <a:lnTo>
                    <a:pt x="20" y="105"/>
                  </a:lnTo>
                  <a:lnTo>
                    <a:pt x="17" y="93"/>
                  </a:lnTo>
                  <a:lnTo>
                    <a:pt x="10" y="72"/>
                  </a:lnTo>
                  <a:lnTo>
                    <a:pt x="3" y="50"/>
                  </a:lnTo>
                  <a:lnTo>
                    <a:pt x="0" y="38"/>
                  </a:lnTo>
                  <a:lnTo>
                    <a:pt x="8" y="37"/>
                  </a:lnTo>
                  <a:lnTo>
                    <a:pt x="15" y="36"/>
                  </a:lnTo>
                  <a:lnTo>
                    <a:pt x="23" y="34"/>
                  </a:lnTo>
                  <a:lnTo>
                    <a:pt x="29" y="32"/>
                  </a:lnTo>
                  <a:lnTo>
                    <a:pt x="41" y="26"/>
                  </a:lnTo>
                  <a:lnTo>
                    <a:pt x="51" y="20"/>
                  </a:lnTo>
                  <a:lnTo>
                    <a:pt x="59" y="13"/>
                  </a:lnTo>
                  <a:lnTo>
                    <a:pt x="68" y="7"/>
                  </a:lnTo>
                  <a:lnTo>
                    <a:pt x="73" y="4"/>
                  </a:lnTo>
                  <a:lnTo>
                    <a:pt x="77" y="2"/>
                  </a:lnTo>
                  <a:lnTo>
                    <a:pt x="81" y="1"/>
                  </a:lnTo>
                  <a:lnTo>
                    <a:pt x="86" y="0"/>
                  </a:lnTo>
                  <a:lnTo>
                    <a:pt x="102" y="1"/>
                  </a:lnTo>
                  <a:lnTo>
                    <a:pt x="118" y="3"/>
                  </a:lnTo>
                  <a:lnTo>
                    <a:pt x="132" y="7"/>
                  </a:lnTo>
                  <a:lnTo>
                    <a:pt x="145" y="11"/>
                  </a:lnTo>
                  <a:lnTo>
                    <a:pt x="158" y="14"/>
                  </a:lnTo>
                  <a:lnTo>
                    <a:pt x="171" y="17"/>
                  </a:lnTo>
                  <a:lnTo>
                    <a:pt x="185" y="19"/>
                  </a:lnTo>
                  <a:lnTo>
                    <a:pt x="199" y="20"/>
                  </a:lnTo>
                  <a:lnTo>
                    <a:pt x="209" y="20"/>
                  </a:lnTo>
                  <a:lnTo>
                    <a:pt x="217" y="22"/>
                  </a:lnTo>
                  <a:lnTo>
                    <a:pt x="226" y="25"/>
                  </a:lnTo>
                  <a:lnTo>
                    <a:pt x="235" y="29"/>
                  </a:lnTo>
                  <a:lnTo>
                    <a:pt x="243" y="32"/>
                  </a:lnTo>
                  <a:lnTo>
                    <a:pt x="250" y="35"/>
                  </a:lnTo>
                  <a:lnTo>
                    <a:pt x="258" y="37"/>
                  </a:lnTo>
                  <a:lnTo>
                    <a:pt x="266" y="38"/>
                  </a:lnTo>
                  <a:lnTo>
                    <a:pt x="372" y="38"/>
                  </a:lnTo>
                  <a:lnTo>
                    <a:pt x="385" y="26"/>
                  </a:lnTo>
                  <a:lnTo>
                    <a:pt x="399" y="14"/>
                  </a:lnTo>
                </a:path>
              </a:pathLst>
            </a:custGeom>
            <a:solidFill>
              <a:schemeClr val="accent2">
                <a:lumMod val="5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626" name="Freeform 24"/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8479730" y="3323876"/>
              <a:ext cx="247930" cy="547131"/>
            </a:xfrm>
            <a:custGeom>
              <a:avLst/>
              <a:gdLst>
                <a:gd name="T0" fmla="*/ 164546 w 479"/>
                <a:gd name="T1" fmla="*/ 187389 h 868"/>
                <a:gd name="T2" fmla="*/ 144575 w 479"/>
                <a:gd name="T3" fmla="*/ 194213 h 868"/>
                <a:gd name="T4" fmla="*/ 136326 w 479"/>
                <a:gd name="T5" fmla="*/ 204711 h 868"/>
                <a:gd name="T6" fmla="*/ 137194 w 479"/>
                <a:gd name="T7" fmla="*/ 224657 h 868"/>
                <a:gd name="T8" fmla="*/ 152824 w 479"/>
                <a:gd name="T9" fmla="*/ 258251 h 868"/>
                <a:gd name="T10" fmla="*/ 155863 w 479"/>
                <a:gd name="T11" fmla="*/ 278197 h 868"/>
                <a:gd name="T12" fmla="*/ 158902 w 479"/>
                <a:gd name="T13" fmla="*/ 291319 h 868"/>
                <a:gd name="T14" fmla="*/ 140233 w 479"/>
                <a:gd name="T15" fmla="*/ 276097 h 868"/>
                <a:gd name="T16" fmla="*/ 134155 w 479"/>
                <a:gd name="T17" fmla="*/ 258251 h 868"/>
                <a:gd name="T18" fmla="*/ 116789 w 479"/>
                <a:gd name="T19" fmla="*/ 245128 h 868"/>
                <a:gd name="T20" fmla="*/ 91173 w 479"/>
                <a:gd name="T21" fmla="*/ 230431 h 868"/>
                <a:gd name="T22" fmla="*/ 83793 w 479"/>
                <a:gd name="T23" fmla="*/ 213109 h 868"/>
                <a:gd name="T24" fmla="*/ 67729 w 479"/>
                <a:gd name="T25" fmla="*/ 250377 h 868"/>
                <a:gd name="T26" fmla="*/ 67729 w 479"/>
                <a:gd name="T27" fmla="*/ 275047 h 868"/>
                <a:gd name="T28" fmla="*/ 57309 w 479"/>
                <a:gd name="T29" fmla="*/ 301817 h 868"/>
                <a:gd name="T30" fmla="*/ 55572 w 479"/>
                <a:gd name="T31" fmla="*/ 325963 h 868"/>
                <a:gd name="T32" fmla="*/ 66860 w 479"/>
                <a:gd name="T33" fmla="*/ 341185 h 868"/>
                <a:gd name="T34" fmla="*/ 75978 w 479"/>
                <a:gd name="T35" fmla="*/ 359556 h 868"/>
                <a:gd name="T36" fmla="*/ 80319 w 479"/>
                <a:gd name="T37" fmla="*/ 383177 h 868"/>
                <a:gd name="T38" fmla="*/ 98120 w 479"/>
                <a:gd name="T39" fmla="*/ 409422 h 868"/>
                <a:gd name="T40" fmla="*/ 121999 w 479"/>
                <a:gd name="T41" fmla="*/ 433042 h 868"/>
                <a:gd name="T42" fmla="*/ 147614 w 479"/>
                <a:gd name="T43" fmla="*/ 446165 h 868"/>
                <a:gd name="T44" fmla="*/ 129379 w 479"/>
                <a:gd name="T45" fmla="*/ 455088 h 868"/>
                <a:gd name="T46" fmla="*/ 116789 w 479"/>
                <a:gd name="T47" fmla="*/ 453513 h 868"/>
                <a:gd name="T48" fmla="*/ 99422 w 479"/>
                <a:gd name="T49" fmla="*/ 441441 h 868"/>
                <a:gd name="T50" fmla="*/ 86832 w 479"/>
                <a:gd name="T51" fmla="*/ 431993 h 868"/>
                <a:gd name="T52" fmla="*/ 59480 w 479"/>
                <a:gd name="T53" fmla="*/ 398399 h 868"/>
                <a:gd name="T54" fmla="*/ 36035 w 479"/>
                <a:gd name="T55" fmla="*/ 383177 h 868"/>
                <a:gd name="T56" fmla="*/ 32128 w 479"/>
                <a:gd name="T57" fmla="*/ 361131 h 868"/>
                <a:gd name="T58" fmla="*/ 34733 w 479"/>
                <a:gd name="T59" fmla="*/ 342760 h 868"/>
                <a:gd name="T60" fmla="*/ 38206 w 479"/>
                <a:gd name="T61" fmla="*/ 323863 h 868"/>
                <a:gd name="T62" fmla="*/ 52099 w 479"/>
                <a:gd name="T63" fmla="*/ 261400 h 868"/>
                <a:gd name="T64" fmla="*/ 46889 w 479"/>
                <a:gd name="T65" fmla="*/ 212060 h 868"/>
                <a:gd name="T66" fmla="*/ 26918 w 479"/>
                <a:gd name="T67" fmla="*/ 167443 h 868"/>
                <a:gd name="T68" fmla="*/ 27786 w 479"/>
                <a:gd name="T69" fmla="*/ 149596 h 868"/>
                <a:gd name="T70" fmla="*/ 32128 w 479"/>
                <a:gd name="T71" fmla="*/ 139098 h 868"/>
                <a:gd name="T72" fmla="*/ 24313 w 479"/>
                <a:gd name="T73" fmla="*/ 106030 h 868"/>
                <a:gd name="T74" fmla="*/ 9986 w 479"/>
                <a:gd name="T75" fmla="*/ 82934 h 868"/>
                <a:gd name="T76" fmla="*/ 434 w 479"/>
                <a:gd name="T77" fmla="*/ 53540 h 868"/>
                <a:gd name="T78" fmla="*/ 4776 w 479"/>
                <a:gd name="T79" fmla="*/ 23096 h 868"/>
                <a:gd name="T80" fmla="*/ 21274 w 479"/>
                <a:gd name="T81" fmla="*/ 8398 h 868"/>
                <a:gd name="T82" fmla="*/ 52099 w 479"/>
                <a:gd name="T83" fmla="*/ 0 h 868"/>
                <a:gd name="T84" fmla="*/ 67729 w 479"/>
                <a:gd name="T85" fmla="*/ 14697 h 868"/>
                <a:gd name="T86" fmla="*/ 77714 w 479"/>
                <a:gd name="T87" fmla="*/ 18896 h 868"/>
                <a:gd name="T88" fmla="*/ 85529 w 479"/>
                <a:gd name="T89" fmla="*/ 71386 h 868"/>
                <a:gd name="T90" fmla="*/ 92476 w 479"/>
                <a:gd name="T91" fmla="*/ 87133 h 868"/>
                <a:gd name="T92" fmla="*/ 100291 w 479"/>
                <a:gd name="T93" fmla="*/ 81359 h 868"/>
                <a:gd name="T94" fmla="*/ 112013 w 479"/>
                <a:gd name="T95" fmla="*/ 66137 h 868"/>
                <a:gd name="T96" fmla="*/ 121999 w 479"/>
                <a:gd name="T97" fmla="*/ 74011 h 868"/>
                <a:gd name="T98" fmla="*/ 129379 w 479"/>
                <a:gd name="T99" fmla="*/ 71386 h 868"/>
                <a:gd name="T100" fmla="*/ 137194 w 479"/>
                <a:gd name="T101" fmla="*/ 56689 h 868"/>
                <a:gd name="T102" fmla="*/ 150219 w 479"/>
                <a:gd name="T103" fmla="*/ 56689 h 868"/>
                <a:gd name="T104" fmla="*/ 168019 w 479"/>
                <a:gd name="T105" fmla="*/ 82409 h 868"/>
                <a:gd name="T106" fmla="*/ 197108 w 479"/>
                <a:gd name="T107" fmla="*/ 129125 h 868"/>
                <a:gd name="T108" fmla="*/ 207528 w 479"/>
                <a:gd name="T109" fmla="*/ 161144 h 868"/>
                <a:gd name="T110" fmla="*/ 203186 w 479"/>
                <a:gd name="T111" fmla="*/ 177416 h 86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479" h="868">
                  <a:moveTo>
                    <a:pt x="445" y="357"/>
                  </a:moveTo>
                  <a:lnTo>
                    <a:pt x="425" y="357"/>
                  </a:lnTo>
                  <a:lnTo>
                    <a:pt x="408" y="357"/>
                  </a:lnTo>
                  <a:lnTo>
                    <a:pt x="391" y="357"/>
                  </a:lnTo>
                  <a:lnTo>
                    <a:pt x="379" y="357"/>
                  </a:lnTo>
                  <a:lnTo>
                    <a:pt x="370" y="358"/>
                  </a:lnTo>
                  <a:lnTo>
                    <a:pt x="360" y="359"/>
                  </a:lnTo>
                  <a:lnTo>
                    <a:pt x="349" y="362"/>
                  </a:lnTo>
                  <a:lnTo>
                    <a:pt x="338" y="367"/>
                  </a:lnTo>
                  <a:lnTo>
                    <a:pt x="333" y="370"/>
                  </a:lnTo>
                  <a:lnTo>
                    <a:pt x="329" y="374"/>
                  </a:lnTo>
                  <a:lnTo>
                    <a:pt x="324" y="377"/>
                  </a:lnTo>
                  <a:lnTo>
                    <a:pt x="320" y="381"/>
                  </a:lnTo>
                  <a:lnTo>
                    <a:pt x="316" y="385"/>
                  </a:lnTo>
                  <a:lnTo>
                    <a:pt x="314" y="390"/>
                  </a:lnTo>
                  <a:lnTo>
                    <a:pt x="313" y="395"/>
                  </a:lnTo>
                  <a:lnTo>
                    <a:pt x="312" y="400"/>
                  </a:lnTo>
                  <a:lnTo>
                    <a:pt x="313" y="410"/>
                  </a:lnTo>
                  <a:lnTo>
                    <a:pt x="314" y="419"/>
                  </a:lnTo>
                  <a:lnTo>
                    <a:pt x="316" y="428"/>
                  </a:lnTo>
                  <a:lnTo>
                    <a:pt x="320" y="436"/>
                  </a:lnTo>
                  <a:lnTo>
                    <a:pt x="327" y="451"/>
                  </a:lnTo>
                  <a:lnTo>
                    <a:pt x="336" y="464"/>
                  </a:lnTo>
                  <a:lnTo>
                    <a:pt x="344" y="477"/>
                  </a:lnTo>
                  <a:lnTo>
                    <a:pt x="352" y="492"/>
                  </a:lnTo>
                  <a:lnTo>
                    <a:pt x="355" y="499"/>
                  </a:lnTo>
                  <a:lnTo>
                    <a:pt x="357" y="507"/>
                  </a:lnTo>
                  <a:lnTo>
                    <a:pt x="358" y="515"/>
                  </a:lnTo>
                  <a:lnTo>
                    <a:pt x="359" y="523"/>
                  </a:lnTo>
                  <a:lnTo>
                    <a:pt x="359" y="530"/>
                  </a:lnTo>
                  <a:lnTo>
                    <a:pt x="359" y="539"/>
                  </a:lnTo>
                  <a:lnTo>
                    <a:pt x="360" y="544"/>
                  </a:lnTo>
                  <a:lnTo>
                    <a:pt x="361" y="548"/>
                  </a:lnTo>
                  <a:lnTo>
                    <a:pt x="364" y="552"/>
                  </a:lnTo>
                  <a:lnTo>
                    <a:pt x="366" y="555"/>
                  </a:lnTo>
                  <a:lnTo>
                    <a:pt x="354" y="552"/>
                  </a:lnTo>
                  <a:lnTo>
                    <a:pt x="344" y="547"/>
                  </a:lnTo>
                  <a:lnTo>
                    <a:pt x="336" y="541"/>
                  </a:lnTo>
                  <a:lnTo>
                    <a:pt x="329" y="533"/>
                  </a:lnTo>
                  <a:lnTo>
                    <a:pt x="323" y="526"/>
                  </a:lnTo>
                  <a:lnTo>
                    <a:pt x="319" y="517"/>
                  </a:lnTo>
                  <a:lnTo>
                    <a:pt x="315" y="508"/>
                  </a:lnTo>
                  <a:lnTo>
                    <a:pt x="312" y="499"/>
                  </a:lnTo>
                  <a:lnTo>
                    <a:pt x="311" y="495"/>
                  </a:lnTo>
                  <a:lnTo>
                    <a:pt x="309" y="492"/>
                  </a:lnTo>
                  <a:lnTo>
                    <a:pt x="307" y="489"/>
                  </a:lnTo>
                  <a:lnTo>
                    <a:pt x="303" y="486"/>
                  </a:lnTo>
                  <a:lnTo>
                    <a:pt x="297" y="479"/>
                  </a:lnTo>
                  <a:lnTo>
                    <a:pt x="288" y="475"/>
                  </a:lnTo>
                  <a:lnTo>
                    <a:pt x="269" y="467"/>
                  </a:lnTo>
                  <a:lnTo>
                    <a:pt x="247" y="459"/>
                  </a:lnTo>
                  <a:lnTo>
                    <a:pt x="237" y="455"/>
                  </a:lnTo>
                  <a:lnTo>
                    <a:pt x="228" y="450"/>
                  </a:lnTo>
                  <a:lnTo>
                    <a:pt x="218" y="445"/>
                  </a:lnTo>
                  <a:lnTo>
                    <a:pt x="210" y="439"/>
                  </a:lnTo>
                  <a:lnTo>
                    <a:pt x="202" y="431"/>
                  </a:lnTo>
                  <a:lnTo>
                    <a:pt x="198" y="422"/>
                  </a:lnTo>
                  <a:lnTo>
                    <a:pt x="196" y="417"/>
                  </a:lnTo>
                  <a:lnTo>
                    <a:pt x="195" y="412"/>
                  </a:lnTo>
                  <a:lnTo>
                    <a:pt x="193" y="406"/>
                  </a:lnTo>
                  <a:lnTo>
                    <a:pt x="192" y="400"/>
                  </a:lnTo>
                  <a:lnTo>
                    <a:pt x="153" y="394"/>
                  </a:lnTo>
                  <a:lnTo>
                    <a:pt x="153" y="450"/>
                  </a:lnTo>
                  <a:lnTo>
                    <a:pt x="154" y="463"/>
                  </a:lnTo>
                  <a:lnTo>
                    <a:pt x="156" y="477"/>
                  </a:lnTo>
                  <a:lnTo>
                    <a:pt x="158" y="492"/>
                  </a:lnTo>
                  <a:lnTo>
                    <a:pt x="159" y="505"/>
                  </a:lnTo>
                  <a:lnTo>
                    <a:pt x="159" y="512"/>
                  </a:lnTo>
                  <a:lnTo>
                    <a:pt x="158" y="518"/>
                  </a:lnTo>
                  <a:lnTo>
                    <a:pt x="156" y="524"/>
                  </a:lnTo>
                  <a:lnTo>
                    <a:pt x="154" y="529"/>
                  </a:lnTo>
                  <a:lnTo>
                    <a:pt x="150" y="539"/>
                  </a:lnTo>
                  <a:lnTo>
                    <a:pt x="143" y="551"/>
                  </a:lnTo>
                  <a:lnTo>
                    <a:pt x="136" y="562"/>
                  </a:lnTo>
                  <a:lnTo>
                    <a:pt x="132" y="575"/>
                  </a:lnTo>
                  <a:lnTo>
                    <a:pt x="130" y="583"/>
                  </a:lnTo>
                  <a:lnTo>
                    <a:pt x="128" y="591"/>
                  </a:lnTo>
                  <a:lnTo>
                    <a:pt x="127" y="600"/>
                  </a:lnTo>
                  <a:lnTo>
                    <a:pt x="127" y="610"/>
                  </a:lnTo>
                  <a:lnTo>
                    <a:pt x="128" y="621"/>
                  </a:lnTo>
                  <a:lnTo>
                    <a:pt x="130" y="630"/>
                  </a:lnTo>
                  <a:lnTo>
                    <a:pt x="134" y="637"/>
                  </a:lnTo>
                  <a:lnTo>
                    <a:pt x="140" y="643"/>
                  </a:lnTo>
                  <a:lnTo>
                    <a:pt x="146" y="647"/>
                  </a:lnTo>
                  <a:lnTo>
                    <a:pt x="154" y="650"/>
                  </a:lnTo>
                  <a:lnTo>
                    <a:pt x="163" y="653"/>
                  </a:lnTo>
                  <a:lnTo>
                    <a:pt x="173" y="653"/>
                  </a:lnTo>
                  <a:lnTo>
                    <a:pt x="173" y="667"/>
                  </a:lnTo>
                  <a:lnTo>
                    <a:pt x="174" y="679"/>
                  </a:lnTo>
                  <a:lnTo>
                    <a:pt x="175" y="685"/>
                  </a:lnTo>
                  <a:lnTo>
                    <a:pt x="176" y="689"/>
                  </a:lnTo>
                  <a:lnTo>
                    <a:pt x="177" y="693"/>
                  </a:lnTo>
                  <a:lnTo>
                    <a:pt x="179" y="696"/>
                  </a:lnTo>
                  <a:lnTo>
                    <a:pt x="179" y="721"/>
                  </a:lnTo>
                  <a:lnTo>
                    <a:pt x="185" y="730"/>
                  </a:lnTo>
                  <a:lnTo>
                    <a:pt x="191" y="740"/>
                  </a:lnTo>
                  <a:lnTo>
                    <a:pt x="199" y="750"/>
                  </a:lnTo>
                  <a:lnTo>
                    <a:pt x="208" y="760"/>
                  </a:lnTo>
                  <a:lnTo>
                    <a:pt x="217" y="771"/>
                  </a:lnTo>
                  <a:lnTo>
                    <a:pt x="226" y="780"/>
                  </a:lnTo>
                  <a:lnTo>
                    <a:pt x="236" y="790"/>
                  </a:lnTo>
                  <a:lnTo>
                    <a:pt x="247" y="799"/>
                  </a:lnTo>
                  <a:lnTo>
                    <a:pt x="258" y="808"/>
                  </a:lnTo>
                  <a:lnTo>
                    <a:pt x="269" y="816"/>
                  </a:lnTo>
                  <a:lnTo>
                    <a:pt x="281" y="825"/>
                  </a:lnTo>
                  <a:lnTo>
                    <a:pt x="292" y="832"/>
                  </a:lnTo>
                  <a:lnTo>
                    <a:pt x="304" y="838"/>
                  </a:lnTo>
                  <a:lnTo>
                    <a:pt x="316" y="843"/>
                  </a:lnTo>
                  <a:lnTo>
                    <a:pt x="327" y="847"/>
                  </a:lnTo>
                  <a:lnTo>
                    <a:pt x="340" y="850"/>
                  </a:lnTo>
                  <a:lnTo>
                    <a:pt x="333" y="854"/>
                  </a:lnTo>
                  <a:lnTo>
                    <a:pt x="327" y="858"/>
                  </a:lnTo>
                  <a:lnTo>
                    <a:pt x="320" y="861"/>
                  </a:lnTo>
                  <a:lnTo>
                    <a:pt x="312" y="864"/>
                  </a:lnTo>
                  <a:lnTo>
                    <a:pt x="298" y="867"/>
                  </a:lnTo>
                  <a:lnTo>
                    <a:pt x="286" y="868"/>
                  </a:lnTo>
                  <a:lnTo>
                    <a:pt x="281" y="868"/>
                  </a:lnTo>
                  <a:lnTo>
                    <a:pt x="277" y="867"/>
                  </a:lnTo>
                  <a:lnTo>
                    <a:pt x="273" y="866"/>
                  </a:lnTo>
                  <a:lnTo>
                    <a:pt x="269" y="864"/>
                  </a:lnTo>
                  <a:lnTo>
                    <a:pt x="262" y="859"/>
                  </a:lnTo>
                  <a:lnTo>
                    <a:pt x="254" y="853"/>
                  </a:lnTo>
                  <a:lnTo>
                    <a:pt x="245" y="848"/>
                  </a:lnTo>
                  <a:lnTo>
                    <a:pt x="234" y="843"/>
                  </a:lnTo>
                  <a:lnTo>
                    <a:pt x="229" y="841"/>
                  </a:lnTo>
                  <a:lnTo>
                    <a:pt x="222" y="839"/>
                  </a:lnTo>
                  <a:lnTo>
                    <a:pt x="214" y="838"/>
                  </a:lnTo>
                  <a:lnTo>
                    <a:pt x="207" y="838"/>
                  </a:lnTo>
                  <a:lnTo>
                    <a:pt x="203" y="830"/>
                  </a:lnTo>
                  <a:lnTo>
                    <a:pt x="200" y="823"/>
                  </a:lnTo>
                  <a:lnTo>
                    <a:pt x="196" y="815"/>
                  </a:lnTo>
                  <a:lnTo>
                    <a:pt x="191" y="809"/>
                  </a:lnTo>
                  <a:lnTo>
                    <a:pt x="180" y="797"/>
                  </a:lnTo>
                  <a:lnTo>
                    <a:pt x="168" y="785"/>
                  </a:lnTo>
                  <a:lnTo>
                    <a:pt x="137" y="759"/>
                  </a:lnTo>
                  <a:lnTo>
                    <a:pt x="100" y="727"/>
                  </a:lnTo>
                  <a:lnTo>
                    <a:pt x="95" y="728"/>
                  </a:lnTo>
                  <a:lnTo>
                    <a:pt x="89" y="729"/>
                  </a:lnTo>
                  <a:lnTo>
                    <a:pt x="86" y="730"/>
                  </a:lnTo>
                  <a:lnTo>
                    <a:pt x="83" y="730"/>
                  </a:lnTo>
                  <a:lnTo>
                    <a:pt x="78" y="729"/>
                  </a:lnTo>
                  <a:lnTo>
                    <a:pt x="74" y="727"/>
                  </a:lnTo>
                  <a:lnTo>
                    <a:pt x="74" y="714"/>
                  </a:lnTo>
                  <a:lnTo>
                    <a:pt x="74" y="700"/>
                  </a:lnTo>
                  <a:lnTo>
                    <a:pt x="74" y="688"/>
                  </a:lnTo>
                  <a:lnTo>
                    <a:pt x="74" y="678"/>
                  </a:lnTo>
                  <a:lnTo>
                    <a:pt x="74" y="671"/>
                  </a:lnTo>
                  <a:lnTo>
                    <a:pt x="75" y="665"/>
                  </a:lnTo>
                  <a:lnTo>
                    <a:pt x="77" y="659"/>
                  </a:lnTo>
                  <a:lnTo>
                    <a:pt x="80" y="653"/>
                  </a:lnTo>
                  <a:lnTo>
                    <a:pt x="83" y="645"/>
                  </a:lnTo>
                  <a:lnTo>
                    <a:pt x="85" y="638"/>
                  </a:lnTo>
                  <a:lnTo>
                    <a:pt x="86" y="631"/>
                  </a:lnTo>
                  <a:lnTo>
                    <a:pt x="87" y="622"/>
                  </a:lnTo>
                  <a:lnTo>
                    <a:pt x="88" y="617"/>
                  </a:lnTo>
                  <a:lnTo>
                    <a:pt x="92" y="604"/>
                  </a:lnTo>
                  <a:lnTo>
                    <a:pt x="99" y="583"/>
                  </a:lnTo>
                  <a:lnTo>
                    <a:pt x="107" y="558"/>
                  </a:lnTo>
                  <a:lnTo>
                    <a:pt x="113" y="528"/>
                  </a:lnTo>
                  <a:lnTo>
                    <a:pt x="120" y="498"/>
                  </a:lnTo>
                  <a:lnTo>
                    <a:pt x="123" y="481"/>
                  </a:lnTo>
                  <a:lnTo>
                    <a:pt x="124" y="466"/>
                  </a:lnTo>
                  <a:lnTo>
                    <a:pt x="127" y="452"/>
                  </a:lnTo>
                  <a:lnTo>
                    <a:pt x="127" y="438"/>
                  </a:lnTo>
                  <a:lnTo>
                    <a:pt x="108" y="404"/>
                  </a:lnTo>
                  <a:lnTo>
                    <a:pt x="86" y="369"/>
                  </a:lnTo>
                  <a:lnTo>
                    <a:pt x="76" y="352"/>
                  </a:lnTo>
                  <a:lnTo>
                    <a:pt x="67" y="335"/>
                  </a:lnTo>
                  <a:lnTo>
                    <a:pt x="64" y="327"/>
                  </a:lnTo>
                  <a:lnTo>
                    <a:pt x="62" y="319"/>
                  </a:lnTo>
                  <a:lnTo>
                    <a:pt x="61" y="310"/>
                  </a:lnTo>
                  <a:lnTo>
                    <a:pt x="60" y="302"/>
                  </a:lnTo>
                  <a:lnTo>
                    <a:pt x="61" y="295"/>
                  </a:lnTo>
                  <a:lnTo>
                    <a:pt x="62" y="290"/>
                  </a:lnTo>
                  <a:lnTo>
                    <a:pt x="64" y="285"/>
                  </a:lnTo>
                  <a:lnTo>
                    <a:pt x="66" y="281"/>
                  </a:lnTo>
                  <a:lnTo>
                    <a:pt x="69" y="277"/>
                  </a:lnTo>
                  <a:lnTo>
                    <a:pt x="72" y="274"/>
                  </a:lnTo>
                  <a:lnTo>
                    <a:pt x="73" y="270"/>
                  </a:lnTo>
                  <a:lnTo>
                    <a:pt x="74" y="265"/>
                  </a:lnTo>
                  <a:lnTo>
                    <a:pt x="73" y="249"/>
                  </a:lnTo>
                  <a:lnTo>
                    <a:pt x="71" y="236"/>
                  </a:lnTo>
                  <a:lnTo>
                    <a:pt x="66" y="224"/>
                  </a:lnTo>
                  <a:lnTo>
                    <a:pt x="62" y="213"/>
                  </a:lnTo>
                  <a:lnTo>
                    <a:pt x="56" y="202"/>
                  </a:lnTo>
                  <a:lnTo>
                    <a:pt x="50" y="193"/>
                  </a:lnTo>
                  <a:lnTo>
                    <a:pt x="43" y="184"/>
                  </a:lnTo>
                  <a:lnTo>
                    <a:pt x="36" y="176"/>
                  </a:lnTo>
                  <a:lnTo>
                    <a:pt x="30" y="167"/>
                  </a:lnTo>
                  <a:lnTo>
                    <a:pt x="23" y="158"/>
                  </a:lnTo>
                  <a:lnTo>
                    <a:pt x="17" y="148"/>
                  </a:lnTo>
                  <a:lnTo>
                    <a:pt x="11" y="138"/>
                  </a:lnTo>
                  <a:lnTo>
                    <a:pt x="7" y="127"/>
                  </a:lnTo>
                  <a:lnTo>
                    <a:pt x="4" y="115"/>
                  </a:lnTo>
                  <a:lnTo>
                    <a:pt x="1" y="102"/>
                  </a:lnTo>
                  <a:lnTo>
                    <a:pt x="0" y="86"/>
                  </a:lnTo>
                  <a:lnTo>
                    <a:pt x="1" y="73"/>
                  </a:lnTo>
                  <a:lnTo>
                    <a:pt x="4" y="62"/>
                  </a:lnTo>
                  <a:lnTo>
                    <a:pt x="7" y="52"/>
                  </a:lnTo>
                  <a:lnTo>
                    <a:pt x="11" y="44"/>
                  </a:lnTo>
                  <a:lnTo>
                    <a:pt x="17" y="35"/>
                  </a:lnTo>
                  <a:lnTo>
                    <a:pt x="24" y="29"/>
                  </a:lnTo>
                  <a:lnTo>
                    <a:pt x="32" y="24"/>
                  </a:lnTo>
                  <a:lnTo>
                    <a:pt x="40" y="20"/>
                  </a:lnTo>
                  <a:lnTo>
                    <a:pt x="49" y="16"/>
                  </a:lnTo>
                  <a:lnTo>
                    <a:pt x="58" y="13"/>
                  </a:lnTo>
                  <a:lnTo>
                    <a:pt x="68" y="11"/>
                  </a:lnTo>
                  <a:lnTo>
                    <a:pt x="78" y="8"/>
                  </a:lnTo>
                  <a:lnTo>
                    <a:pt x="99" y="4"/>
                  </a:lnTo>
                  <a:lnTo>
                    <a:pt x="120" y="0"/>
                  </a:lnTo>
                  <a:lnTo>
                    <a:pt x="129" y="5"/>
                  </a:lnTo>
                  <a:lnTo>
                    <a:pt x="136" y="11"/>
                  </a:lnTo>
                  <a:lnTo>
                    <a:pt x="143" y="17"/>
                  </a:lnTo>
                  <a:lnTo>
                    <a:pt x="150" y="23"/>
                  </a:lnTo>
                  <a:lnTo>
                    <a:pt x="156" y="28"/>
                  </a:lnTo>
                  <a:lnTo>
                    <a:pt x="163" y="32"/>
                  </a:lnTo>
                  <a:lnTo>
                    <a:pt x="166" y="34"/>
                  </a:lnTo>
                  <a:lnTo>
                    <a:pt x="170" y="35"/>
                  </a:lnTo>
                  <a:lnTo>
                    <a:pt x="175" y="36"/>
                  </a:lnTo>
                  <a:lnTo>
                    <a:pt x="179" y="36"/>
                  </a:lnTo>
                  <a:lnTo>
                    <a:pt x="184" y="55"/>
                  </a:lnTo>
                  <a:lnTo>
                    <a:pt x="188" y="75"/>
                  </a:lnTo>
                  <a:lnTo>
                    <a:pt x="190" y="97"/>
                  </a:lnTo>
                  <a:lnTo>
                    <a:pt x="193" y="118"/>
                  </a:lnTo>
                  <a:lnTo>
                    <a:pt x="197" y="136"/>
                  </a:lnTo>
                  <a:lnTo>
                    <a:pt x="201" y="153"/>
                  </a:lnTo>
                  <a:lnTo>
                    <a:pt x="203" y="158"/>
                  </a:lnTo>
                  <a:lnTo>
                    <a:pt x="207" y="163"/>
                  </a:lnTo>
                  <a:lnTo>
                    <a:pt x="209" y="166"/>
                  </a:lnTo>
                  <a:lnTo>
                    <a:pt x="213" y="166"/>
                  </a:lnTo>
                  <a:lnTo>
                    <a:pt x="217" y="166"/>
                  </a:lnTo>
                  <a:lnTo>
                    <a:pt x="220" y="165"/>
                  </a:lnTo>
                  <a:lnTo>
                    <a:pt x="223" y="163"/>
                  </a:lnTo>
                  <a:lnTo>
                    <a:pt x="225" y="161"/>
                  </a:lnTo>
                  <a:lnTo>
                    <a:pt x="231" y="155"/>
                  </a:lnTo>
                  <a:lnTo>
                    <a:pt x="234" y="147"/>
                  </a:lnTo>
                  <a:lnTo>
                    <a:pt x="241" y="132"/>
                  </a:lnTo>
                  <a:lnTo>
                    <a:pt x="246" y="123"/>
                  </a:lnTo>
                  <a:lnTo>
                    <a:pt x="253" y="124"/>
                  </a:lnTo>
                  <a:lnTo>
                    <a:pt x="258" y="126"/>
                  </a:lnTo>
                  <a:lnTo>
                    <a:pt x="264" y="129"/>
                  </a:lnTo>
                  <a:lnTo>
                    <a:pt x="268" y="132"/>
                  </a:lnTo>
                  <a:lnTo>
                    <a:pt x="273" y="136"/>
                  </a:lnTo>
                  <a:lnTo>
                    <a:pt x="277" y="138"/>
                  </a:lnTo>
                  <a:lnTo>
                    <a:pt x="281" y="141"/>
                  </a:lnTo>
                  <a:lnTo>
                    <a:pt x="286" y="141"/>
                  </a:lnTo>
                  <a:lnTo>
                    <a:pt x="289" y="141"/>
                  </a:lnTo>
                  <a:lnTo>
                    <a:pt x="292" y="140"/>
                  </a:lnTo>
                  <a:lnTo>
                    <a:pt x="296" y="138"/>
                  </a:lnTo>
                  <a:lnTo>
                    <a:pt x="298" y="136"/>
                  </a:lnTo>
                  <a:lnTo>
                    <a:pt x="302" y="130"/>
                  </a:lnTo>
                  <a:lnTo>
                    <a:pt x="305" y="123"/>
                  </a:lnTo>
                  <a:lnTo>
                    <a:pt x="310" y="116"/>
                  </a:lnTo>
                  <a:lnTo>
                    <a:pt x="314" y="111"/>
                  </a:lnTo>
                  <a:lnTo>
                    <a:pt x="316" y="108"/>
                  </a:lnTo>
                  <a:lnTo>
                    <a:pt x="319" y="107"/>
                  </a:lnTo>
                  <a:lnTo>
                    <a:pt x="322" y="105"/>
                  </a:lnTo>
                  <a:lnTo>
                    <a:pt x="325" y="105"/>
                  </a:lnTo>
                  <a:lnTo>
                    <a:pt x="337" y="106"/>
                  </a:lnTo>
                  <a:lnTo>
                    <a:pt x="346" y="108"/>
                  </a:lnTo>
                  <a:lnTo>
                    <a:pt x="354" y="111"/>
                  </a:lnTo>
                  <a:lnTo>
                    <a:pt x="359" y="116"/>
                  </a:lnTo>
                  <a:lnTo>
                    <a:pt x="367" y="125"/>
                  </a:lnTo>
                  <a:lnTo>
                    <a:pt x="372" y="135"/>
                  </a:lnTo>
                  <a:lnTo>
                    <a:pt x="387" y="157"/>
                  </a:lnTo>
                  <a:lnTo>
                    <a:pt x="403" y="178"/>
                  </a:lnTo>
                  <a:lnTo>
                    <a:pt x="421" y="200"/>
                  </a:lnTo>
                  <a:lnTo>
                    <a:pt x="438" y="223"/>
                  </a:lnTo>
                  <a:lnTo>
                    <a:pt x="446" y="235"/>
                  </a:lnTo>
                  <a:lnTo>
                    <a:pt x="454" y="246"/>
                  </a:lnTo>
                  <a:lnTo>
                    <a:pt x="460" y="258"/>
                  </a:lnTo>
                  <a:lnTo>
                    <a:pt x="467" y="271"/>
                  </a:lnTo>
                  <a:lnTo>
                    <a:pt x="471" y="283"/>
                  </a:lnTo>
                  <a:lnTo>
                    <a:pt x="476" y="295"/>
                  </a:lnTo>
                  <a:lnTo>
                    <a:pt x="478" y="307"/>
                  </a:lnTo>
                  <a:lnTo>
                    <a:pt x="479" y="321"/>
                  </a:lnTo>
                  <a:lnTo>
                    <a:pt x="478" y="325"/>
                  </a:lnTo>
                  <a:lnTo>
                    <a:pt x="476" y="330"/>
                  </a:lnTo>
                  <a:lnTo>
                    <a:pt x="472" y="334"/>
                  </a:lnTo>
                  <a:lnTo>
                    <a:pt x="468" y="338"/>
                  </a:lnTo>
                  <a:lnTo>
                    <a:pt x="459" y="345"/>
                  </a:lnTo>
                  <a:lnTo>
                    <a:pt x="452" y="351"/>
                  </a:lnTo>
                  <a:lnTo>
                    <a:pt x="445" y="357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627" name="Line 26" descr="Horizontal dunkel"/>
            <p:cNvSpPr>
              <a:spLocks noChangeShapeType="1"/>
            </p:cNvSpPr>
            <p:nvPr>
              <p:custDataLst>
                <p:tags r:id="rId19"/>
              </p:custDataLst>
            </p:nvPr>
          </p:nvSpPr>
          <p:spPr bwMode="auto">
            <a:xfrm>
              <a:off x="2007035" y="2494602"/>
              <a:ext cx="3785" cy="11438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628" name="Freeform 27"/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2010821" y="2490788"/>
              <a:ext cx="3785" cy="66723"/>
            </a:xfrm>
            <a:custGeom>
              <a:avLst/>
              <a:gdLst>
                <a:gd name="T0" fmla="*/ 0 w 6"/>
                <a:gd name="T1" fmla="*/ 55562 h 24"/>
                <a:gd name="T2" fmla="*/ 0 w 6"/>
                <a:gd name="T3" fmla="*/ 43987 h 24"/>
                <a:gd name="T4" fmla="*/ 529 w 6"/>
                <a:gd name="T5" fmla="*/ 32411 h 24"/>
                <a:gd name="T6" fmla="*/ 1588 w 6"/>
                <a:gd name="T7" fmla="*/ 18521 h 24"/>
                <a:gd name="T8" fmla="*/ 3175 w 6"/>
                <a:gd name="T9" fmla="*/ 0 h 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" h="24">
                  <a:moveTo>
                    <a:pt x="0" y="24"/>
                  </a:moveTo>
                  <a:lnTo>
                    <a:pt x="0" y="19"/>
                  </a:lnTo>
                  <a:lnTo>
                    <a:pt x="1" y="14"/>
                  </a:lnTo>
                  <a:lnTo>
                    <a:pt x="3" y="8"/>
                  </a:lnTo>
                  <a:lnTo>
                    <a:pt x="6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629" name="Freeform 28"/>
            <p:cNvSpPr>
              <a:spLocks/>
            </p:cNvSpPr>
            <p:nvPr>
              <p:custDataLst>
                <p:tags r:id="rId21"/>
              </p:custDataLst>
            </p:nvPr>
          </p:nvSpPr>
          <p:spPr bwMode="auto">
            <a:xfrm>
              <a:off x="1982431" y="2555605"/>
              <a:ext cx="28390" cy="68630"/>
            </a:xfrm>
            <a:custGeom>
              <a:avLst/>
              <a:gdLst>
                <a:gd name="T0" fmla="*/ 0 w 47"/>
                <a:gd name="T1" fmla="*/ 20472 h 67"/>
                <a:gd name="T2" fmla="*/ 0 w 47"/>
                <a:gd name="T3" fmla="*/ 25590 h 67"/>
                <a:gd name="T4" fmla="*/ 1013 w 47"/>
                <a:gd name="T5" fmla="*/ 30707 h 67"/>
                <a:gd name="T6" fmla="*/ 1520 w 47"/>
                <a:gd name="T7" fmla="*/ 35825 h 67"/>
                <a:gd name="T8" fmla="*/ 2533 w 47"/>
                <a:gd name="T9" fmla="*/ 40090 h 67"/>
                <a:gd name="T10" fmla="*/ 4560 w 47"/>
                <a:gd name="T11" fmla="*/ 49473 h 67"/>
                <a:gd name="T12" fmla="*/ 7093 w 47"/>
                <a:gd name="T13" fmla="*/ 57150 h 67"/>
                <a:gd name="T14" fmla="*/ 23813 w 47"/>
                <a:gd name="T15" fmla="*/ 57150 h 67"/>
                <a:gd name="T16" fmla="*/ 23813 w 47"/>
                <a:gd name="T17" fmla="*/ 0 h 67"/>
                <a:gd name="T18" fmla="*/ 18240 w 47"/>
                <a:gd name="T19" fmla="*/ 1706 h 67"/>
                <a:gd name="T20" fmla="*/ 13173 w 47"/>
                <a:gd name="T21" fmla="*/ 3412 h 67"/>
                <a:gd name="T22" fmla="*/ 9120 w 47"/>
                <a:gd name="T23" fmla="*/ 5971 h 67"/>
                <a:gd name="T24" fmla="*/ 5573 w 47"/>
                <a:gd name="T25" fmla="*/ 7677 h 67"/>
                <a:gd name="T26" fmla="*/ 3040 w 47"/>
                <a:gd name="T27" fmla="*/ 10236 h 67"/>
                <a:gd name="T28" fmla="*/ 1520 w 47"/>
                <a:gd name="T29" fmla="*/ 13648 h 67"/>
                <a:gd name="T30" fmla="*/ 0 w 47"/>
                <a:gd name="T31" fmla="*/ 17060 h 67"/>
                <a:gd name="T32" fmla="*/ 0 w 47"/>
                <a:gd name="T33" fmla="*/ 20472 h 67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47" h="67">
                  <a:moveTo>
                    <a:pt x="0" y="24"/>
                  </a:moveTo>
                  <a:lnTo>
                    <a:pt x="0" y="30"/>
                  </a:lnTo>
                  <a:lnTo>
                    <a:pt x="2" y="36"/>
                  </a:lnTo>
                  <a:lnTo>
                    <a:pt x="3" y="42"/>
                  </a:lnTo>
                  <a:lnTo>
                    <a:pt x="5" y="47"/>
                  </a:lnTo>
                  <a:lnTo>
                    <a:pt x="9" y="58"/>
                  </a:lnTo>
                  <a:lnTo>
                    <a:pt x="14" y="67"/>
                  </a:lnTo>
                  <a:lnTo>
                    <a:pt x="47" y="67"/>
                  </a:lnTo>
                  <a:lnTo>
                    <a:pt x="47" y="0"/>
                  </a:lnTo>
                  <a:lnTo>
                    <a:pt x="36" y="2"/>
                  </a:lnTo>
                  <a:lnTo>
                    <a:pt x="26" y="4"/>
                  </a:lnTo>
                  <a:lnTo>
                    <a:pt x="18" y="7"/>
                  </a:lnTo>
                  <a:lnTo>
                    <a:pt x="11" y="9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0" y="20"/>
                  </a:lnTo>
                  <a:lnTo>
                    <a:pt x="0" y="24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630" name="Freeform 29"/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>
              <a:off x="3562752" y="2549885"/>
              <a:ext cx="58670" cy="68630"/>
            </a:xfrm>
            <a:custGeom>
              <a:avLst/>
              <a:gdLst>
                <a:gd name="T0" fmla="*/ 0 w 112"/>
                <a:gd name="T1" fmla="*/ 57150 h 36"/>
                <a:gd name="T2" fmla="*/ 25924 w 112"/>
                <a:gd name="T3" fmla="*/ 57150 h 36"/>
                <a:gd name="T4" fmla="*/ 29439 w 112"/>
                <a:gd name="T5" fmla="*/ 47625 h 36"/>
                <a:gd name="T6" fmla="*/ 32954 w 112"/>
                <a:gd name="T7" fmla="*/ 41275 h 36"/>
                <a:gd name="T8" fmla="*/ 36909 w 112"/>
                <a:gd name="T9" fmla="*/ 36513 h 36"/>
                <a:gd name="T10" fmla="*/ 39985 w 112"/>
                <a:gd name="T11" fmla="*/ 31750 h 36"/>
                <a:gd name="T12" fmla="*/ 43061 w 112"/>
                <a:gd name="T13" fmla="*/ 26988 h 36"/>
                <a:gd name="T14" fmla="*/ 45697 w 112"/>
                <a:gd name="T15" fmla="*/ 20638 h 36"/>
                <a:gd name="T16" fmla="*/ 47015 w 112"/>
                <a:gd name="T17" fmla="*/ 17463 h 36"/>
                <a:gd name="T18" fmla="*/ 47894 w 112"/>
                <a:gd name="T19" fmla="*/ 12700 h 36"/>
                <a:gd name="T20" fmla="*/ 48773 w 112"/>
                <a:gd name="T21" fmla="*/ 6350 h 36"/>
                <a:gd name="T22" fmla="*/ 49212 w 112"/>
                <a:gd name="T23" fmla="*/ 0 h 36"/>
                <a:gd name="T24" fmla="*/ 43939 w 112"/>
                <a:gd name="T25" fmla="*/ 0 h 36"/>
                <a:gd name="T26" fmla="*/ 37348 w 112"/>
                <a:gd name="T27" fmla="*/ 1588 h 36"/>
                <a:gd name="T28" fmla="*/ 29439 w 112"/>
                <a:gd name="T29" fmla="*/ 4763 h 36"/>
                <a:gd name="T30" fmla="*/ 21091 w 112"/>
                <a:gd name="T31" fmla="*/ 11113 h 36"/>
                <a:gd name="T32" fmla="*/ 17576 w 112"/>
                <a:gd name="T33" fmla="*/ 14288 h 36"/>
                <a:gd name="T34" fmla="*/ 13621 w 112"/>
                <a:gd name="T35" fmla="*/ 17463 h 36"/>
                <a:gd name="T36" fmla="*/ 10106 w 112"/>
                <a:gd name="T37" fmla="*/ 22225 h 36"/>
                <a:gd name="T38" fmla="*/ 7470 w 112"/>
                <a:gd name="T39" fmla="*/ 28575 h 36"/>
                <a:gd name="T40" fmla="*/ 4394 w 112"/>
                <a:gd name="T41" fmla="*/ 34925 h 36"/>
                <a:gd name="T42" fmla="*/ 2636 w 112"/>
                <a:gd name="T43" fmla="*/ 41275 h 36"/>
                <a:gd name="T44" fmla="*/ 439 w 112"/>
                <a:gd name="T45" fmla="*/ 49213 h 36"/>
                <a:gd name="T46" fmla="*/ 0 w 112"/>
                <a:gd name="T47" fmla="*/ 57150 h 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12" h="36">
                  <a:moveTo>
                    <a:pt x="0" y="36"/>
                  </a:moveTo>
                  <a:lnTo>
                    <a:pt x="59" y="36"/>
                  </a:lnTo>
                  <a:lnTo>
                    <a:pt x="67" y="30"/>
                  </a:lnTo>
                  <a:lnTo>
                    <a:pt x="75" y="26"/>
                  </a:lnTo>
                  <a:lnTo>
                    <a:pt x="84" y="23"/>
                  </a:lnTo>
                  <a:lnTo>
                    <a:pt x="91" y="20"/>
                  </a:lnTo>
                  <a:lnTo>
                    <a:pt x="98" y="17"/>
                  </a:lnTo>
                  <a:lnTo>
                    <a:pt x="104" y="13"/>
                  </a:lnTo>
                  <a:lnTo>
                    <a:pt x="107" y="11"/>
                  </a:lnTo>
                  <a:lnTo>
                    <a:pt x="109" y="8"/>
                  </a:lnTo>
                  <a:lnTo>
                    <a:pt x="111" y="4"/>
                  </a:lnTo>
                  <a:lnTo>
                    <a:pt x="112" y="0"/>
                  </a:lnTo>
                  <a:lnTo>
                    <a:pt x="100" y="0"/>
                  </a:lnTo>
                  <a:lnTo>
                    <a:pt x="85" y="1"/>
                  </a:lnTo>
                  <a:lnTo>
                    <a:pt x="67" y="3"/>
                  </a:lnTo>
                  <a:lnTo>
                    <a:pt x="48" y="7"/>
                  </a:lnTo>
                  <a:lnTo>
                    <a:pt x="40" y="9"/>
                  </a:lnTo>
                  <a:lnTo>
                    <a:pt x="31" y="11"/>
                  </a:lnTo>
                  <a:lnTo>
                    <a:pt x="23" y="14"/>
                  </a:lnTo>
                  <a:lnTo>
                    <a:pt x="17" y="18"/>
                  </a:lnTo>
                  <a:lnTo>
                    <a:pt x="10" y="22"/>
                  </a:lnTo>
                  <a:lnTo>
                    <a:pt x="6" y="26"/>
                  </a:lnTo>
                  <a:lnTo>
                    <a:pt x="1" y="31"/>
                  </a:lnTo>
                  <a:lnTo>
                    <a:pt x="0" y="3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631" name="Freeform 30"/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6827489" y="2018007"/>
              <a:ext cx="1042824" cy="543317"/>
            </a:xfrm>
            <a:custGeom>
              <a:avLst/>
              <a:gdLst>
                <a:gd name="T0" fmla="*/ 188809 w 2006"/>
                <a:gd name="T1" fmla="*/ 401059 h 863"/>
                <a:gd name="T2" fmla="*/ 179652 w 2006"/>
                <a:gd name="T3" fmla="*/ 400535 h 863"/>
                <a:gd name="T4" fmla="*/ 170059 w 2006"/>
                <a:gd name="T5" fmla="*/ 416263 h 863"/>
                <a:gd name="T6" fmla="*/ 163518 w 2006"/>
                <a:gd name="T7" fmla="*/ 415214 h 863"/>
                <a:gd name="T8" fmla="*/ 161338 w 2006"/>
                <a:gd name="T9" fmla="*/ 393720 h 863"/>
                <a:gd name="T10" fmla="*/ 141280 w 2006"/>
                <a:gd name="T11" fmla="*/ 379565 h 863"/>
                <a:gd name="T12" fmla="*/ 136047 w 2006"/>
                <a:gd name="T13" fmla="*/ 371177 h 863"/>
                <a:gd name="T14" fmla="*/ 125582 w 2006"/>
                <a:gd name="T15" fmla="*/ 362788 h 863"/>
                <a:gd name="T16" fmla="*/ 109448 w 2006"/>
                <a:gd name="T17" fmla="*/ 336051 h 863"/>
                <a:gd name="T18" fmla="*/ 101163 w 2006"/>
                <a:gd name="T19" fmla="*/ 319799 h 863"/>
                <a:gd name="T20" fmla="*/ 110320 w 2006"/>
                <a:gd name="T21" fmla="*/ 311411 h 863"/>
                <a:gd name="T22" fmla="*/ 121657 w 2006"/>
                <a:gd name="T23" fmla="*/ 300401 h 863"/>
                <a:gd name="T24" fmla="*/ 147384 w 2006"/>
                <a:gd name="T25" fmla="*/ 285198 h 863"/>
                <a:gd name="T26" fmla="*/ 139099 w 2006"/>
                <a:gd name="T27" fmla="*/ 255315 h 863"/>
                <a:gd name="T28" fmla="*/ 112500 w 2006"/>
                <a:gd name="T29" fmla="*/ 249024 h 863"/>
                <a:gd name="T30" fmla="*/ 91134 w 2006"/>
                <a:gd name="T31" fmla="*/ 246403 h 863"/>
                <a:gd name="T32" fmla="*/ 68460 w 2006"/>
                <a:gd name="T33" fmla="*/ 259509 h 863"/>
                <a:gd name="T34" fmla="*/ 46221 w 2006"/>
                <a:gd name="T35" fmla="*/ 264752 h 863"/>
                <a:gd name="T36" fmla="*/ 11773 w 2006"/>
                <a:gd name="T37" fmla="*/ 216520 h 863"/>
                <a:gd name="T38" fmla="*/ 8721 w 2006"/>
                <a:gd name="T39" fmla="*/ 148366 h 863"/>
                <a:gd name="T40" fmla="*/ 49273 w 2006"/>
                <a:gd name="T41" fmla="*/ 135784 h 863"/>
                <a:gd name="T42" fmla="*/ 127326 w 2006"/>
                <a:gd name="T43" fmla="*/ 116386 h 863"/>
                <a:gd name="T44" fmla="*/ 217152 w 2006"/>
                <a:gd name="T45" fmla="*/ 132638 h 863"/>
                <a:gd name="T46" fmla="*/ 312647 w 2006"/>
                <a:gd name="T47" fmla="*/ 132638 h 863"/>
                <a:gd name="T48" fmla="*/ 286920 w 2006"/>
                <a:gd name="T49" fmla="*/ 96988 h 863"/>
                <a:gd name="T50" fmla="*/ 361920 w 2006"/>
                <a:gd name="T51" fmla="*/ 35650 h 863"/>
                <a:gd name="T52" fmla="*/ 457851 w 2006"/>
                <a:gd name="T53" fmla="*/ 6815 h 863"/>
                <a:gd name="T54" fmla="*/ 512793 w 2006"/>
                <a:gd name="T55" fmla="*/ 31980 h 863"/>
                <a:gd name="T56" fmla="*/ 565119 w 2006"/>
                <a:gd name="T57" fmla="*/ 58193 h 863"/>
                <a:gd name="T58" fmla="*/ 628782 w 2006"/>
                <a:gd name="T59" fmla="*/ 51902 h 863"/>
                <a:gd name="T60" fmla="*/ 718172 w 2006"/>
                <a:gd name="T61" fmla="*/ 142075 h 863"/>
                <a:gd name="T62" fmla="*/ 781835 w 2006"/>
                <a:gd name="T63" fmla="*/ 138929 h 863"/>
                <a:gd name="T64" fmla="*/ 872097 w 2006"/>
                <a:gd name="T65" fmla="*/ 177724 h 863"/>
                <a:gd name="T66" fmla="*/ 872969 w 2006"/>
                <a:gd name="T67" fmla="*/ 199743 h 863"/>
                <a:gd name="T68" fmla="*/ 863812 w 2006"/>
                <a:gd name="T69" fmla="*/ 209180 h 863"/>
                <a:gd name="T70" fmla="*/ 854655 w 2006"/>
                <a:gd name="T71" fmla="*/ 211801 h 863"/>
                <a:gd name="T72" fmla="*/ 855963 w 2006"/>
                <a:gd name="T73" fmla="*/ 222811 h 863"/>
                <a:gd name="T74" fmla="*/ 865556 w 2006"/>
                <a:gd name="T75" fmla="*/ 244305 h 863"/>
                <a:gd name="T76" fmla="*/ 862940 w 2006"/>
                <a:gd name="T77" fmla="*/ 250597 h 863"/>
                <a:gd name="T78" fmla="*/ 845498 w 2006"/>
                <a:gd name="T79" fmla="*/ 252169 h 863"/>
                <a:gd name="T80" fmla="*/ 825440 w 2006"/>
                <a:gd name="T81" fmla="*/ 248500 h 863"/>
                <a:gd name="T82" fmla="*/ 812794 w 2006"/>
                <a:gd name="T83" fmla="*/ 248500 h 863"/>
                <a:gd name="T84" fmla="*/ 818899 w 2006"/>
                <a:gd name="T85" fmla="*/ 287295 h 863"/>
                <a:gd name="T86" fmla="*/ 819771 w 2006"/>
                <a:gd name="T87" fmla="*/ 307217 h 863"/>
                <a:gd name="T88" fmla="*/ 780091 w 2006"/>
                <a:gd name="T89" fmla="*/ 308265 h 863"/>
                <a:gd name="T90" fmla="*/ 770933 w 2006"/>
                <a:gd name="T91" fmla="*/ 316653 h 863"/>
                <a:gd name="T92" fmla="*/ 782707 w 2006"/>
                <a:gd name="T93" fmla="*/ 324517 h 863"/>
                <a:gd name="T94" fmla="*/ 790992 w 2006"/>
                <a:gd name="T95" fmla="*/ 340769 h 863"/>
                <a:gd name="T96" fmla="*/ 799713 w 2006"/>
                <a:gd name="T97" fmla="*/ 361216 h 863"/>
                <a:gd name="T98" fmla="*/ 801021 w 2006"/>
                <a:gd name="T99" fmla="*/ 370128 h 863"/>
                <a:gd name="T100" fmla="*/ 801021 w 2006"/>
                <a:gd name="T101" fmla="*/ 395293 h 863"/>
                <a:gd name="T102" fmla="*/ 759160 w 2006"/>
                <a:gd name="T103" fmla="*/ 387953 h 863"/>
                <a:gd name="T104" fmla="*/ 643171 w 2006"/>
                <a:gd name="T105" fmla="*/ 400535 h 863"/>
                <a:gd name="T106" fmla="*/ 573840 w 2006"/>
                <a:gd name="T107" fmla="*/ 416787 h 863"/>
                <a:gd name="T108" fmla="*/ 497967 w 2006"/>
                <a:gd name="T109" fmla="*/ 439330 h 863"/>
                <a:gd name="T110" fmla="*/ 419915 w 2006"/>
                <a:gd name="T111" fmla="*/ 365410 h 863"/>
                <a:gd name="T112" fmla="*/ 298257 w 2006"/>
                <a:gd name="T113" fmla="*/ 307217 h 863"/>
                <a:gd name="T114" fmla="*/ 254652 w 2006"/>
                <a:gd name="T115" fmla="*/ 436185 h 863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2006" h="863">
                  <a:moveTo>
                    <a:pt x="571" y="826"/>
                  </a:moveTo>
                  <a:lnTo>
                    <a:pt x="538" y="826"/>
                  </a:lnTo>
                  <a:lnTo>
                    <a:pt x="512" y="789"/>
                  </a:lnTo>
                  <a:lnTo>
                    <a:pt x="438" y="764"/>
                  </a:lnTo>
                  <a:lnTo>
                    <a:pt x="433" y="765"/>
                  </a:lnTo>
                  <a:lnTo>
                    <a:pt x="427" y="766"/>
                  </a:lnTo>
                  <a:lnTo>
                    <a:pt x="424" y="767"/>
                  </a:lnTo>
                  <a:lnTo>
                    <a:pt x="421" y="767"/>
                  </a:lnTo>
                  <a:lnTo>
                    <a:pt x="416" y="766"/>
                  </a:lnTo>
                  <a:lnTo>
                    <a:pt x="412" y="764"/>
                  </a:lnTo>
                  <a:lnTo>
                    <a:pt x="405" y="772"/>
                  </a:lnTo>
                  <a:lnTo>
                    <a:pt x="397" y="778"/>
                  </a:lnTo>
                  <a:lnTo>
                    <a:pt x="393" y="782"/>
                  </a:lnTo>
                  <a:lnTo>
                    <a:pt x="391" y="786"/>
                  </a:lnTo>
                  <a:lnTo>
                    <a:pt x="390" y="794"/>
                  </a:lnTo>
                  <a:lnTo>
                    <a:pt x="392" y="802"/>
                  </a:lnTo>
                  <a:lnTo>
                    <a:pt x="386" y="800"/>
                  </a:lnTo>
                  <a:lnTo>
                    <a:pt x="381" y="798"/>
                  </a:lnTo>
                  <a:lnTo>
                    <a:pt x="378" y="795"/>
                  </a:lnTo>
                  <a:lnTo>
                    <a:pt x="375" y="792"/>
                  </a:lnTo>
                  <a:lnTo>
                    <a:pt x="372" y="787"/>
                  </a:lnTo>
                  <a:lnTo>
                    <a:pt x="371" y="783"/>
                  </a:lnTo>
                  <a:lnTo>
                    <a:pt x="370" y="778"/>
                  </a:lnTo>
                  <a:lnTo>
                    <a:pt x="369" y="773"/>
                  </a:lnTo>
                  <a:lnTo>
                    <a:pt x="370" y="751"/>
                  </a:lnTo>
                  <a:lnTo>
                    <a:pt x="372" y="727"/>
                  </a:lnTo>
                  <a:lnTo>
                    <a:pt x="352" y="727"/>
                  </a:lnTo>
                  <a:lnTo>
                    <a:pt x="332" y="726"/>
                  </a:lnTo>
                  <a:lnTo>
                    <a:pt x="327" y="725"/>
                  </a:lnTo>
                  <a:lnTo>
                    <a:pt x="324" y="724"/>
                  </a:lnTo>
                  <a:lnTo>
                    <a:pt x="321" y="722"/>
                  </a:lnTo>
                  <a:lnTo>
                    <a:pt x="318" y="719"/>
                  </a:lnTo>
                  <a:lnTo>
                    <a:pt x="315" y="716"/>
                  </a:lnTo>
                  <a:lnTo>
                    <a:pt x="313" y="712"/>
                  </a:lnTo>
                  <a:lnTo>
                    <a:pt x="312" y="708"/>
                  </a:lnTo>
                  <a:lnTo>
                    <a:pt x="312" y="703"/>
                  </a:lnTo>
                  <a:lnTo>
                    <a:pt x="305" y="702"/>
                  </a:lnTo>
                  <a:lnTo>
                    <a:pt x="299" y="700"/>
                  </a:lnTo>
                  <a:lnTo>
                    <a:pt x="293" y="697"/>
                  </a:lnTo>
                  <a:lnTo>
                    <a:pt x="288" y="692"/>
                  </a:lnTo>
                  <a:lnTo>
                    <a:pt x="280" y="682"/>
                  </a:lnTo>
                  <a:lnTo>
                    <a:pt x="273" y="668"/>
                  </a:lnTo>
                  <a:lnTo>
                    <a:pt x="265" y="656"/>
                  </a:lnTo>
                  <a:lnTo>
                    <a:pt x="256" y="646"/>
                  </a:lnTo>
                  <a:lnTo>
                    <a:pt x="251" y="641"/>
                  </a:lnTo>
                  <a:lnTo>
                    <a:pt x="245" y="638"/>
                  </a:lnTo>
                  <a:lnTo>
                    <a:pt x="240" y="636"/>
                  </a:lnTo>
                  <a:lnTo>
                    <a:pt x="232" y="635"/>
                  </a:lnTo>
                  <a:lnTo>
                    <a:pt x="232" y="623"/>
                  </a:lnTo>
                  <a:lnTo>
                    <a:pt x="232" y="610"/>
                  </a:lnTo>
                  <a:lnTo>
                    <a:pt x="239" y="608"/>
                  </a:lnTo>
                  <a:lnTo>
                    <a:pt x="245" y="604"/>
                  </a:lnTo>
                  <a:lnTo>
                    <a:pt x="251" y="600"/>
                  </a:lnTo>
                  <a:lnTo>
                    <a:pt x="253" y="598"/>
                  </a:lnTo>
                  <a:lnTo>
                    <a:pt x="253" y="594"/>
                  </a:lnTo>
                  <a:lnTo>
                    <a:pt x="254" y="591"/>
                  </a:lnTo>
                  <a:lnTo>
                    <a:pt x="256" y="588"/>
                  </a:lnTo>
                  <a:lnTo>
                    <a:pt x="259" y="585"/>
                  </a:lnTo>
                  <a:lnTo>
                    <a:pt x="268" y="578"/>
                  </a:lnTo>
                  <a:lnTo>
                    <a:pt x="279" y="573"/>
                  </a:lnTo>
                  <a:lnTo>
                    <a:pt x="292" y="568"/>
                  </a:lnTo>
                  <a:lnTo>
                    <a:pt x="309" y="564"/>
                  </a:lnTo>
                  <a:lnTo>
                    <a:pt x="326" y="561"/>
                  </a:lnTo>
                  <a:lnTo>
                    <a:pt x="345" y="561"/>
                  </a:lnTo>
                  <a:lnTo>
                    <a:pt x="338" y="544"/>
                  </a:lnTo>
                  <a:lnTo>
                    <a:pt x="330" y="529"/>
                  </a:lnTo>
                  <a:lnTo>
                    <a:pt x="325" y="520"/>
                  </a:lnTo>
                  <a:lnTo>
                    <a:pt x="322" y="511"/>
                  </a:lnTo>
                  <a:lnTo>
                    <a:pt x="320" y="499"/>
                  </a:lnTo>
                  <a:lnTo>
                    <a:pt x="319" y="487"/>
                  </a:lnTo>
                  <a:lnTo>
                    <a:pt x="307" y="486"/>
                  </a:lnTo>
                  <a:lnTo>
                    <a:pt x="293" y="484"/>
                  </a:lnTo>
                  <a:lnTo>
                    <a:pt x="281" y="481"/>
                  </a:lnTo>
                  <a:lnTo>
                    <a:pt x="269" y="478"/>
                  </a:lnTo>
                  <a:lnTo>
                    <a:pt x="258" y="475"/>
                  </a:lnTo>
                  <a:lnTo>
                    <a:pt x="247" y="472"/>
                  </a:lnTo>
                  <a:lnTo>
                    <a:pt x="236" y="470"/>
                  </a:lnTo>
                  <a:lnTo>
                    <a:pt x="225" y="469"/>
                  </a:lnTo>
                  <a:lnTo>
                    <a:pt x="218" y="469"/>
                  </a:lnTo>
                  <a:lnTo>
                    <a:pt x="209" y="470"/>
                  </a:lnTo>
                  <a:lnTo>
                    <a:pt x="201" y="472"/>
                  </a:lnTo>
                  <a:lnTo>
                    <a:pt x="195" y="474"/>
                  </a:lnTo>
                  <a:lnTo>
                    <a:pt x="180" y="480"/>
                  </a:lnTo>
                  <a:lnTo>
                    <a:pt x="168" y="487"/>
                  </a:lnTo>
                  <a:lnTo>
                    <a:pt x="157" y="495"/>
                  </a:lnTo>
                  <a:lnTo>
                    <a:pt x="146" y="505"/>
                  </a:lnTo>
                  <a:lnTo>
                    <a:pt x="136" y="515"/>
                  </a:lnTo>
                  <a:lnTo>
                    <a:pt x="127" y="524"/>
                  </a:lnTo>
                  <a:lnTo>
                    <a:pt x="133" y="512"/>
                  </a:lnTo>
                  <a:lnTo>
                    <a:pt x="106" y="505"/>
                  </a:lnTo>
                  <a:lnTo>
                    <a:pt x="133" y="487"/>
                  </a:lnTo>
                  <a:lnTo>
                    <a:pt x="106" y="463"/>
                  </a:lnTo>
                  <a:lnTo>
                    <a:pt x="79" y="438"/>
                  </a:lnTo>
                  <a:lnTo>
                    <a:pt x="40" y="438"/>
                  </a:lnTo>
                  <a:lnTo>
                    <a:pt x="27" y="413"/>
                  </a:lnTo>
                  <a:lnTo>
                    <a:pt x="7" y="401"/>
                  </a:lnTo>
                  <a:lnTo>
                    <a:pt x="0" y="370"/>
                  </a:lnTo>
                  <a:lnTo>
                    <a:pt x="0" y="333"/>
                  </a:lnTo>
                  <a:lnTo>
                    <a:pt x="13" y="308"/>
                  </a:lnTo>
                  <a:lnTo>
                    <a:pt x="20" y="283"/>
                  </a:lnTo>
                  <a:lnTo>
                    <a:pt x="53" y="302"/>
                  </a:lnTo>
                  <a:lnTo>
                    <a:pt x="86" y="314"/>
                  </a:lnTo>
                  <a:lnTo>
                    <a:pt x="106" y="308"/>
                  </a:lnTo>
                  <a:lnTo>
                    <a:pt x="79" y="277"/>
                  </a:lnTo>
                  <a:lnTo>
                    <a:pt x="113" y="259"/>
                  </a:lnTo>
                  <a:lnTo>
                    <a:pt x="146" y="228"/>
                  </a:lnTo>
                  <a:lnTo>
                    <a:pt x="179" y="222"/>
                  </a:lnTo>
                  <a:lnTo>
                    <a:pt x="219" y="222"/>
                  </a:lnTo>
                  <a:lnTo>
                    <a:pt x="246" y="210"/>
                  </a:lnTo>
                  <a:lnTo>
                    <a:pt x="292" y="222"/>
                  </a:lnTo>
                  <a:lnTo>
                    <a:pt x="338" y="241"/>
                  </a:lnTo>
                  <a:lnTo>
                    <a:pt x="379" y="277"/>
                  </a:lnTo>
                  <a:lnTo>
                    <a:pt x="425" y="271"/>
                  </a:lnTo>
                  <a:lnTo>
                    <a:pt x="465" y="253"/>
                  </a:lnTo>
                  <a:lnTo>
                    <a:pt x="498" y="253"/>
                  </a:lnTo>
                  <a:lnTo>
                    <a:pt x="538" y="247"/>
                  </a:lnTo>
                  <a:lnTo>
                    <a:pt x="578" y="265"/>
                  </a:lnTo>
                  <a:lnTo>
                    <a:pt x="624" y="277"/>
                  </a:lnTo>
                  <a:lnTo>
                    <a:pt x="671" y="271"/>
                  </a:lnTo>
                  <a:lnTo>
                    <a:pt x="717" y="253"/>
                  </a:lnTo>
                  <a:lnTo>
                    <a:pt x="717" y="228"/>
                  </a:lnTo>
                  <a:lnTo>
                    <a:pt x="684" y="222"/>
                  </a:lnTo>
                  <a:lnTo>
                    <a:pt x="645" y="210"/>
                  </a:lnTo>
                  <a:lnTo>
                    <a:pt x="617" y="198"/>
                  </a:lnTo>
                  <a:lnTo>
                    <a:pt x="658" y="185"/>
                  </a:lnTo>
                  <a:lnTo>
                    <a:pt x="651" y="148"/>
                  </a:lnTo>
                  <a:lnTo>
                    <a:pt x="704" y="142"/>
                  </a:lnTo>
                  <a:lnTo>
                    <a:pt x="638" y="93"/>
                  </a:lnTo>
                  <a:lnTo>
                    <a:pt x="744" y="75"/>
                  </a:lnTo>
                  <a:lnTo>
                    <a:pt x="830" y="68"/>
                  </a:lnTo>
                  <a:lnTo>
                    <a:pt x="844" y="43"/>
                  </a:lnTo>
                  <a:lnTo>
                    <a:pt x="904" y="37"/>
                  </a:lnTo>
                  <a:lnTo>
                    <a:pt x="963" y="25"/>
                  </a:lnTo>
                  <a:lnTo>
                    <a:pt x="983" y="0"/>
                  </a:lnTo>
                  <a:lnTo>
                    <a:pt x="1050" y="13"/>
                  </a:lnTo>
                  <a:lnTo>
                    <a:pt x="1089" y="6"/>
                  </a:lnTo>
                  <a:lnTo>
                    <a:pt x="1116" y="25"/>
                  </a:lnTo>
                  <a:lnTo>
                    <a:pt x="1122" y="75"/>
                  </a:lnTo>
                  <a:lnTo>
                    <a:pt x="1163" y="75"/>
                  </a:lnTo>
                  <a:lnTo>
                    <a:pt x="1176" y="61"/>
                  </a:lnTo>
                  <a:lnTo>
                    <a:pt x="1196" y="75"/>
                  </a:lnTo>
                  <a:lnTo>
                    <a:pt x="1235" y="81"/>
                  </a:lnTo>
                  <a:lnTo>
                    <a:pt x="1255" y="81"/>
                  </a:lnTo>
                  <a:lnTo>
                    <a:pt x="1255" y="117"/>
                  </a:lnTo>
                  <a:lnTo>
                    <a:pt x="1296" y="111"/>
                  </a:lnTo>
                  <a:lnTo>
                    <a:pt x="1335" y="93"/>
                  </a:lnTo>
                  <a:lnTo>
                    <a:pt x="1375" y="61"/>
                  </a:lnTo>
                  <a:lnTo>
                    <a:pt x="1401" y="49"/>
                  </a:lnTo>
                  <a:lnTo>
                    <a:pt x="1401" y="81"/>
                  </a:lnTo>
                  <a:lnTo>
                    <a:pt x="1442" y="99"/>
                  </a:lnTo>
                  <a:lnTo>
                    <a:pt x="1488" y="117"/>
                  </a:lnTo>
                  <a:lnTo>
                    <a:pt x="1528" y="160"/>
                  </a:lnTo>
                  <a:lnTo>
                    <a:pt x="1581" y="204"/>
                  </a:lnTo>
                  <a:lnTo>
                    <a:pt x="1627" y="241"/>
                  </a:lnTo>
                  <a:lnTo>
                    <a:pt x="1647" y="271"/>
                  </a:lnTo>
                  <a:lnTo>
                    <a:pt x="1660" y="241"/>
                  </a:lnTo>
                  <a:lnTo>
                    <a:pt x="1688" y="235"/>
                  </a:lnTo>
                  <a:lnTo>
                    <a:pt x="1708" y="259"/>
                  </a:lnTo>
                  <a:lnTo>
                    <a:pt x="1747" y="271"/>
                  </a:lnTo>
                  <a:lnTo>
                    <a:pt x="1793" y="265"/>
                  </a:lnTo>
                  <a:lnTo>
                    <a:pt x="1821" y="253"/>
                  </a:lnTo>
                  <a:lnTo>
                    <a:pt x="1860" y="283"/>
                  </a:lnTo>
                  <a:lnTo>
                    <a:pt x="1906" y="308"/>
                  </a:lnTo>
                  <a:lnTo>
                    <a:pt x="1947" y="333"/>
                  </a:lnTo>
                  <a:lnTo>
                    <a:pt x="2000" y="339"/>
                  </a:lnTo>
                  <a:lnTo>
                    <a:pt x="2006" y="346"/>
                  </a:lnTo>
                  <a:lnTo>
                    <a:pt x="2005" y="358"/>
                  </a:lnTo>
                  <a:lnTo>
                    <a:pt x="2004" y="373"/>
                  </a:lnTo>
                  <a:lnTo>
                    <a:pt x="2004" y="377"/>
                  </a:lnTo>
                  <a:lnTo>
                    <a:pt x="2002" y="381"/>
                  </a:lnTo>
                  <a:lnTo>
                    <a:pt x="2000" y="385"/>
                  </a:lnTo>
                  <a:lnTo>
                    <a:pt x="1996" y="388"/>
                  </a:lnTo>
                  <a:lnTo>
                    <a:pt x="1993" y="392"/>
                  </a:lnTo>
                  <a:lnTo>
                    <a:pt x="1988" y="395"/>
                  </a:lnTo>
                  <a:lnTo>
                    <a:pt x="1981" y="399"/>
                  </a:lnTo>
                  <a:lnTo>
                    <a:pt x="1973" y="401"/>
                  </a:lnTo>
                  <a:lnTo>
                    <a:pt x="1969" y="401"/>
                  </a:lnTo>
                  <a:lnTo>
                    <a:pt x="1965" y="402"/>
                  </a:lnTo>
                  <a:lnTo>
                    <a:pt x="1962" y="403"/>
                  </a:lnTo>
                  <a:lnTo>
                    <a:pt x="1960" y="404"/>
                  </a:lnTo>
                  <a:lnTo>
                    <a:pt x="1959" y="406"/>
                  </a:lnTo>
                  <a:lnTo>
                    <a:pt x="1958" y="408"/>
                  </a:lnTo>
                  <a:lnTo>
                    <a:pt x="1958" y="410"/>
                  </a:lnTo>
                  <a:lnTo>
                    <a:pt x="1958" y="413"/>
                  </a:lnTo>
                  <a:lnTo>
                    <a:pt x="1963" y="425"/>
                  </a:lnTo>
                  <a:lnTo>
                    <a:pt x="1972" y="438"/>
                  </a:lnTo>
                  <a:lnTo>
                    <a:pt x="1977" y="445"/>
                  </a:lnTo>
                  <a:lnTo>
                    <a:pt x="1981" y="452"/>
                  </a:lnTo>
                  <a:lnTo>
                    <a:pt x="1983" y="460"/>
                  </a:lnTo>
                  <a:lnTo>
                    <a:pt x="1985" y="466"/>
                  </a:lnTo>
                  <a:lnTo>
                    <a:pt x="1985" y="469"/>
                  </a:lnTo>
                  <a:lnTo>
                    <a:pt x="1984" y="471"/>
                  </a:lnTo>
                  <a:lnTo>
                    <a:pt x="1983" y="474"/>
                  </a:lnTo>
                  <a:lnTo>
                    <a:pt x="1982" y="476"/>
                  </a:lnTo>
                  <a:lnTo>
                    <a:pt x="1979" y="478"/>
                  </a:lnTo>
                  <a:lnTo>
                    <a:pt x="1976" y="479"/>
                  </a:lnTo>
                  <a:lnTo>
                    <a:pt x="1971" y="480"/>
                  </a:lnTo>
                  <a:lnTo>
                    <a:pt x="1967" y="481"/>
                  </a:lnTo>
                  <a:lnTo>
                    <a:pt x="1954" y="481"/>
                  </a:lnTo>
                  <a:lnTo>
                    <a:pt x="1939" y="481"/>
                  </a:lnTo>
                  <a:lnTo>
                    <a:pt x="1932" y="481"/>
                  </a:lnTo>
                  <a:lnTo>
                    <a:pt x="1923" y="480"/>
                  </a:lnTo>
                  <a:lnTo>
                    <a:pt x="1913" y="478"/>
                  </a:lnTo>
                  <a:lnTo>
                    <a:pt x="1903" y="476"/>
                  </a:lnTo>
                  <a:lnTo>
                    <a:pt x="1893" y="474"/>
                  </a:lnTo>
                  <a:lnTo>
                    <a:pt x="1883" y="471"/>
                  </a:lnTo>
                  <a:lnTo>
                    <a:pt x="1875" y="467"/>
                  </a:lnTo>
                  <a:lnTo>
                    <a:pt x="1867" y="463"/>
                  </a:lnTo>
                  <a:lnTo>
                    <a:pt x="1865" y="468"/>
                  </a:lnTo>
                  <a:lnTo>
                    <a:pt x="1864" y="474"/>
                  </a:lnTo>
                  <a:lnTo>
                    <a:pt x="1865" y="482"/>
                  </a:lnTo>
                  <a:lnTo>
                    <a:pt x="1865" y="490"/>
                  </a:lnTo>
                  <a:lnTo>
                    <a:pt x="1869" y="508"/>
                  </a:lnTo>
                  <a:lnTo>
                    <a:pt x="1873" y="529"/>
                  </a:lnTo>
                  <a:lnTo>
                    <a:pt x="1878" y="548"/>
                  </a:lnTo>
                  <a:lnTo>
                    <a:pt x="1882" y="564"/>
                  </a:lnTo>
                  <a:lnTo>
                    <a:pt x="1882" y="572"/>
                  </a:lnTo>
                  <a:lnTo>
                    <a:pt x="1882" y="578"/>
                  </a:lnTo>
                  <a:lnTo>
                    <a:pt x="1882" y="583"/>
                  </a:lnTo>
                  <a:lnTo>
                    <a:pt x="1880" y="586"/>
                  </a:lnTo>
                  <a:lnTo>
                    <a:pt x="1854" y="584"/>
                  </a:lnTo>
                  <a:lnTo>
                    <a:pt x="1816" y="584"/>
                  </a:lnTo>
                  <a:lnTo>
                    <a:pt x="1806" y="585"/>
                  </a:lnTo>
                  <a:lnTo>
                    <a:pt x="1798" y="586"/>
                  </a:lnTo>
                  <a:lnTo>
                    <a:pt x="1789" y="588"/>
                  </a:lnTo>
                  <a:lnTo>
                    <a:pt x="1782" y="591"/>
                  </a:lnTo>
                  <a:lnTo>
                    <a:pt x="1776" y="594"/>
                  </a:lnTo>
                  <a:lnTo>
                    <a:pt x="1771" y="598"/>
                  </a:lnTo>
                  <a:lnTo>
                    <a:pt x="1769" y="601"/>
                  </a:lnTo>
                  <a:lnTo>
                    <a:pt x="1768" y="604"/>
                  </a:lnTo>
                  <a:lnTo>
                    <a:pt x="1767" y="607"/>
                  </a:lnTo>
                  <a:lnTo>
                    <a:pt x="1767" y="610"/>
                  </a:lnTo>
                  <a:lnTo>
                    <a:pt x="1778" y="612"/>
                  </a:lnTo>
                  <a:lnTo>
                    <a:pt x="1788" y="615"/>
                  </a:lnTo>
                  <a:lnTo>
                    <a:pt x="1795" y="619"/>
                  </a:lnTo>
                  <a:lnTo>
                    <a:pt x="1801" y="625"/>
                  </a:lnTo>
                  <a:lnTo>
                    <a:pt x="1805" y="631"/>
                  </a:lnTo>
                  <a:lnTo>
                    <a:pt x="1809" y="637"/>
                  </a:lnTo>
                  <a:lnTo>
                    <a:pt x="1812" y="644"/>
                  </a:lnTo>
                  <a:lnTo>
                    <a:pt x="1814" y="650"/>
                  </a:lnTo>
                  <a:lnTo>
                    <a:pt x="1817" y="664"/>
                  </a:lnTo>
                  <a:lnTo>
                    <a:pt x="1822" y="676"/>
                  </a:lnTo>
                  <a:lnTo>
                    <a:pt x="1824" y="682"/>
                  </a:lnTo>
                  <a:lnTo>
                    <a:pt x="1828" y="686"/>
                  </a:lnTo>
                  <a:lnTo>
                    <a:pt x="1834" y="689"/>
                  </a:lnTo>
                  <a:lnTo>
                    <a:pt x="1840" y="691"/>
                  </a:lnTo>
                  <a:lnTo>
                    <a:pt x="1838" y="695"/>
                  </a:lnTo>
                  <a:lnTo>
                    <a:pt x="1837" y="699"/>
                  </a:lnTo>
                  <a:lnTo>
                    <a:pt x="1837" y="702"/>
                  </a:lnTo>
                  <a:lnTo>
                    <a:pt x="1837" y="706"/>
                  </a:lnTo>
                  <a:lnTo>
                    <a:pt x="1839" y="713"/>
                  </a:lnTo>
                  <a:lnTo>
                    <a:pt x="1840" y="721"/>
                  </a:lnTo>
                  <a:lnTo>
                    <a:pt x="1840" y="735"/>
                  </a:lnTo>
                  <a:lnTo>
                    <a:pt x="1838" y="748"/>
                  </a:lnTo>
                  <a:lnTo>
                    <a:pt x="1837" y="754"/>
                  </a:lnTo>
                  <a:lnTo>
                    <a:pt x="1835" y="760"/>
                  </a:lnTo>
                  <a:lnTo>
                    <a:pt x="1832" y="765"/>
                  </a:lnTo>
                  <a:lnTo>
                    <a:pt x="1827" y="770"/>
                  </a:lnTo>
                  <a:lnTo>
                    <a:pt x="1814" y="764"/>
                  </a:lnTo>
                  <a:lnTo>
                    <a:pt x="1741" y="740"/>
                  </a:lnTo>
                  <a:lnTo>
                    <a:pt x="1674" y="740"/>
                  </a:lnTo>
                  <a:lnTo>
                    <a:pt x="1614" y="734"/>
                  </a:lnTo>
                  <a:lnTo>
                    <a:pt x="1534" y="727"/>
                  </a:lnTo>
                  <a:lnTo>
                    <a:pt x="1488" y="715"/>
                  </a:lnTo>
                  <a:lnTo>
                    <a:pt x="1475" y="764"/>
                  </a:lnTo>
                  <a:lnTo>
                    <a:pt x="1414" y="740"/>
                  </a:lnTo>
                  <a:lnTo>
                    <a:pt x="1368" y="734"/>
                  </a:lnTo>
                  <a:lnTo>
                    <a:pt x="1342" y="758"/>
                  </a:lnTo>
                  <a:lnTo>
                    <a:pt x="1342" y="770"/>
                  </a:lnTo>
                  <a:lnTo>
                    <a:pt x="1316" y="795"/>
                  </a:lnTo>
                  <a:lnTo>
                    <a:pt x="1282" y="808"/>
                  </a:lnTo>
                  <a:lnTo>
                    <a:pt x="1255" y="838"/>
                  </a:lnTo>
                  <a:lnTo>
                    <a:pt x="1235" y="863"/>
                  </a:lnTo>
                  <a:lnTo>
                    <a:pt x="1196" y="832"/>
                  </a:lnTo>
                  <a:lnTo>
                    <a:pt x="1142" y="838"/>
                  </a:lnTo>
                  <a:lnTo>
                    <a:pt x="1122" y="808"/>
                  </a:lnTo>
                  <a:lnTo>
                    <a:pt x="1083" y="746"/>
                  </a:lnTo>
                  <a:lnTo>
                    <a:pt x="1050" y="715"/>
                  </a:lnTo>
                  <a:lnTo>
                    <a:pt x="1003" y="685"/>
                  </a:lnTo>
                  <a:lnTo>
                    <a:pt x="963" y="697"/>
                  </a:lnTo>
                  <a:lnTo>
                    <a:pt x="917" y="691"/>
                  </a:lnTo>
                  <a:lnTo>
                    <a:pt x="857" y="697"/>
                  </a:lnTo>
                  <a:lnTo>
                    <a:pt x="730" y="616"/>
                  </a:lnTo>
                  <a:lnTo>
                    <a:pt x="682" y="595"/>
                  </a:lnTo>
                  <a:lnTo>
                    <a:pt x="684" y="586"/>
                  </a:lnTo>
                  <a:lnTo>
                    <a:pt x="638" y="548"/>
                  </a:lnTo>
                  <a:lnTo>
                    <a:pt x="610" y="580"/>
                  </a:lnTo>
                  <a:lnTo>
                    <a:pt x="525" y="604"/>
                  </a:lnTo>
                  <a:lnTo>
                    <a:pt x="565" y="826"/>
                  </a:lnTo>
                  <a:lnTo>
                    <a:pt x="584" y="832"/>
                  </a:lnTo>
                  <a:lnTo>
                    <a:pt x="571" y="82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632" name="Freeform 31"/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7101917" y="2382124"/>
              <a:ext cx="488291" cy="299302"/>
            </a:xfrm>
            <a:custGeom>
              <a:avLst/>
              <a:gdLst>
                <a:gd name="T0" fmla="*/ 275062 w 950"/>
                <a:gd name="T1" fmla="*/ 235924 h 468"/>
                <a:gd name="T2" fmla="*/ 240571 w 950"/>
                <a:gd name="T3" fmla="*/ 222610 h 468"/>
                <a:gd name="T4" fmla="*/ 203063 w 950"/>
                <a:gd name="T5" fmla="*/ 200242 h 468"/>
                <a:gd name="T6" fmla="*/ 169004 w 950"/>
                <a:gd name="T7" fmla="*/ 163496 h 468"/>
                <a:gd name="T8" fmla="*/ 131495 w 950"/>
                <a:gd name="T9" fmla="*/ 137400 h 468"/>
                <a:gd name="T10" fmla="*/ 109076 w 950"/>
                <a:gd name="T11" fmla="*/ 111305 h 468"/>
                <a:gd name="T12" fmla="*/ 80190 w 950"/>
                <a:gd name="T13" fmla="*/ 91600 h 468"/>
                <a:gd name="T14" fmla="*/ 57341 w 950"/>
                <a:gd name="T15" fmla="*/ 101186 h 468"/>
                <a:gd name="T16" fmla="*/ 42682 w 950"/>
                <a:gd name="T17" fmla="*/ 127814 h 468"/>
                <a:gd name="T18" fmla="*/ 17245 w 950"/>
                <a:gd name="T19" fmla="*/ 131010 h 468"/>
                <a:gd name="T20" fmla="*/ 0 w 950"/>
                <a:gd name="T21" fmla="*/ 12781 h 468"/>
                <a:gd name="T22" fmla="*/ 34059 w 950"/>
                <a:gd name="T23" fmla="*/ 3195 h 468"/>
                <a:gd name="T24" fmla="*/ 57341 w 950"/>
                <a:gd name="T25" fmla="*/ 29291 h 468"/>
                <a:gd name="T26" fmla="*/ 67688 w 950"/>
                <a:gd name="T27" fmla="*/ 7988 h 468"/>
                <a:gd name="T28" fmla="*/ 143136 w 950"/>
                <a:gd name="T29" fmla="*/ 62310 h 468"/>
                <a:gd name="T30" fmla="*/ 188836 w 950"/>
                <a:gd name="T31" fmla="*/ 62310 h 468"/>
                <a:gd name="T32" fmla="*/ 226344 w 950"/>
                <a:gd name="T33" fmla="*/ 71896 h 468"/>
                <a:gd name="T34" fmla="*/ 257386 w 950"/>
                <a:gd name="T35" fmla="*/ 121424 h 468"/>
                <a:gd name="T36" fmla="*/ 289289 w 950"/>
                <a:gd name="T37" fmla="*/ 134205 h 468"/>
                <a:gd name="T38" fmla="*/ 314726 w 950"/>
                <a:gd name="T39" fmla="*/ 137400 h 468"/>
                <a:gd name="T40" fmla="*/ 341025 w 950"/>
                <a:gd name="T41" fmla="*/ 114500 h 468"/>
                <a:gd name="T42" fmla="*/ 363444 w 950"/>
                <a:gd name="T43" fmla="*/ 104382 h 468"/>
                <a:gd name="T44" fmla="*/ 355252 w 950"/>
                <a:gd name="T45" fmla="*/ 134205 h 468"/>
                <a:gd name="T46" fmla="*/ 375084 w 950"/>
                <a:gd name="T47" fmla="*/ 127814 h 468"/>
                <a:gd name="T48" fmla="*/ 409575 w 950"/>
                <a:gd name="T49" fmla="*/ 150714 h 468"/>
                <a:gd name="T50" fmla="*/ 380689 w 950"/>
                <a:gd name="T51" fmla="*/ 170419 h 468"/>
                <a:gd name="T52" fmla="*/ 355252 w 950"/>
                <a:gd name="T53" fmla="*/ 150714 h 468"/>
                <a:gd name="T54" fmla="*/ 329385 w 950"/>
                <a:gd name="T55" fmla="*/ 147519 h 468"/>
                <a:gd name="T56" fmla="*/ 317744 w 950"/>
                <a:gd name="T57" fmla="*/ 170419 h 468"/>
                <a:gd name="T58" fmla="*/ 294894 w 950"/>
                <a:gd name="T59" fmla="*/ 190124 h 468"/>
                <a:gd name="T60" fmla="*/ 306103 w 950"/>
                <a:gd name="T61" fmla="*/ 206633 h 468"/>
                <a:gd name="T62" fmla="*/ 320331 w 950"/>
                <a:gd name="T63" fmla="*/ 232729 h 468"/>
                <a:gd name="T64" fmla="*/ 309121 w 950"/>
                <a:gd name="T65" fmla="*/ 249238 h 468"/>
                <a:gd name="T66" fmla="*/ 303086 w 950"/>
                <a:gd name="T67" fmla="*/ 247640 h 468"/>
                <a:gd name="T68" fmla="*/ 294894 w 950"/>
                <a:gd name="T69" fmla="*/ 245510 h 468"/>
                <a:gd name="T70" fmla="*/ 283685 w 950"/>
                <a:gd name="T71" fmla="*/ 245510 h 46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950" h="468">
                  <a:moveTo>
                    <a:pt x="664" y="455"/>
                  </a:moveTo>
                  <a:lnTo>
                    <a:pt x="638" y="443"/>
                  </a:lnTo>
                  <a:lnTo>
                    <a:pt x="604" y="431"/>
                  </a:lnTo>
                  <a:lnTo>
                    <a:pt x="558" y="418"/>
                  </a:lnTo>
                  <a:lnTo>
                    <a:pt x="512" y="388"/>
                  </a:lnTo>
                  <a:lnTo>
                    <a:pt x="471" y="376"/>
                  </a:lnTo>
                  <a:lnTo>
                    <a:pt x="425" y="345"/>
                  </a:lnTo>
                  <a:lnTo>
                    <a:pt x="392" y="307"/>
                  </a:lnTo>
                  <a:lnTo>
                    <a:pt x="345" y="258"/>
                  </a:lnTo>
                  <a:lnTo>
                    <a:pt x="305" y="258"/>
                  </a:lnTo>
                  <a:lnTo>
                    <a:pt x="266" y="246"/>
                  </a:lnTo>
                  <a:lnTo>
                    <a:pt x="253" y="209"/>
                  </a:lnTo>
                  <a:lnTo>
                    <a:pt x="219" y="190"/>
                  </a:lnTo>
                  <a:lnTo>
                    <a:pt x="186" y="172"/>
                  </a:lnTo>
                  <a:lnTo>
                    <a:pt x="153" y="166"/>
                  </a:lnTo>
                  <a:lnTo>
                    <a:pt x="133" y="190"/>
                  </a:lnTo>
                  <a:lnTo>
                    <a:pt x="92" y="209"/>
                  </a:lnTo>
                  <a:lnTo>
                    <a:pt x="99" y="240"/>
                  </a:lnTo>
                  <a:lnTo>
                    <a:pt x="59" y="252"/>
                  </a:lnTo>
                  <a:lnTo>
                    <a:pt x="40" y="246"/>
                  </a:lnTo>
                  <a:lnTo>
                    <a:pt x="46" y="240"/>
                  </a:lnTo>
                  <a:lnTo>
                    <a:pt x="0" y="24"/>
                  </a:lnTo>
                  <a:lnTo>
                    <a:pt x="85" y="0"/>
                  </a:lnTo>
                  <a:lnTo>
                    <a:pt x="79" y="6"/>
                  </a:lnTo>
                  <a:lnTo>
                    <a:pt x="86" y="55"/>
                  </a:lnTo>
                  <a:lnTo>
                    <a:pt x="133" y="55"/>
                  </a:lnTo>
                  <a:lnTo>
                    <a:pt x="153" y="30"/>
                  </a:lnTo>
                  <a:lnTo>
                    <a:pt x="157" y="15"/>
                  </a:lnTo>
                  <a:lnTo>
                    <a:pt x="205" y="36"/>
                  </a:lnTo>
                  <a:lnTo>
                    <a:pt x="332" y="117"/>
                  </a:lnTo>
                  <a:lnTo>
                    <a:pt x="392" y="111"/>
                  </a:lnTo>
                  <a:lnTo>
                    <a:pt x="438" y="117"/>
                  </a:lnTo>
                  <a:lnTo>
                    <a:pt x="478" y="105"/>
                  </a:lnTo>
                  <a:lnTo>
                    <a:pt x="525" y="135"/>
                  </a:lnTo>
                  <a:lnTo>
                    <a:pt x="558" y="166"/>
                  </a:lnTo>
                  <a:lnTo>
                    <a:pt x="597" y="228"/>
                  </a:lnTo>
                  <a:lnTo>
                    <a:pt x="617" y="258"/>
                  </a:lnTo>
                  <a:lnTo>
                    <a:pt x="671" y="252"/>
                  </a:lnTo>
                  <a:lnTo>
                    <a:pt x="710" y="283"/>
                  </a:lnTo>
                  <a:lnTo>
                    <a:pt x="730" y="258"/>
                  </a:lnTo>
                  <a:lnTo>
                    <a:pt x="757" y="228"/>
                  </a:lnTo>
                  <a:lnTo>
                    <a:pt x="791" y="215"/>
                  </a:lnTo>
                  <a:lnTo>
                    <a:pt x="817" y="190"/>
                  </a:lnTo>
                  <a:lnTo>
                    <a:pt x="843" y="196"/>
                  </a:lnTo>
                  <a:lnTo>
                    <a:pt x="810" y="228"/>
                  </a:lnTo>
                  <a:lnTo>
                    <a:pt x="824" y="252"/>
                  </a:lnTo>
                  <a:lnTo>
                    <a:pt x="850" y="258"/>
                  </a:lnTo>
                  <a:lnTo>
                    <a:pt x="870" y="240"/>
                  </a:lnTo>
                  <a:lnTo>
                    <a:pt x="910" y="258"/>
                  </a:lnTo>
                  <a:lnTo>
                    <a:pt x="950" y="283"/>
                  </a:lnTo>
                  <a:lnTo>
                    <a:pt x="917" y="313"/>
                  </a:lnTo>
                  <a:lnTo>
                    <a:pt x="883" y="320"/>
                  </a:lnTo>
                  <a:lnTo>
                    <a:pt x="837" y="313"/>
                  </a:lnTo>
                  <a:lnTo>
                    <a:pt x="824" y="283"/>
                  </a:lnTo>
                  <a:lnTo>
                    <a:pt x="804" y="271"/>
                  </a:lnTo>
                  <a:lnTo>
                    <a:pt x="764" y="277"/>
                  </a:lnTo>
                  <a:lnTo>
                    <a:pt x="757" y="301"/>
                  </a:lnTo>
                  <a:lnTo>
                    <a:pt x="737" y="320"/>
                  </a:lnTo>
                  <a:lnTo>
                    <a:pt x="724" y="351"/>
                  </a:lnTo>
                  <a:lnTo>
                    <a:pt x="684" y="357"/>
                  </a:lnTo>
                  <a:lnTo>
                    <a:pt x="671" y="369"/>
                  </a:lnTo>
                  <a:lnTo>
                    <a:pt x="710" y="388"/>
                  </a:lnTo>
                  <a:lnTo>
                    <a:pt x="730" y="406"/>
                  </a:lnTo>
                  <a:lnTo>
                    <a:pt x="743" y="437"/>
                  </a:lnTo>
                  <a:lnTo>
                    <a:pt x="730" y="468"/>
                  </a:lnTo>
                  <a:lnTo>
                    <a:pt x="717" y="468"/>
                  </a:lnTo>
                  <a:lnTo>
                    <a:pt x="712" y="467"/>
                  </a:lnTo>
                  <a:lnTo>
                    <a:pt x="703" y="465"/>
                  </a:lnTo>
                  <a:lnTo>
                    <a:pt x="694" y="462"/>
                  </a:lnTo>
                  <a:lnTo>
                    <a:pt x="684" y="461"/>
                  </a:lnTo>
                  <a:lnTo>
                    <a:pt x="669" y="461"/>
                  </a:lnTo>
                  <a:lnTo>
                    <a:pt x="658" y="461"/>
                  </a:lnTo>
                  <a:lnTo>
                    <a:pt x="664" y="45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633" name="Freeform 32"/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5680573" y="3586956"/>
              <a:ext cx="353917" cy="346961"/>
            </a:xfrm>
            <a:custGeom>
              <a:avLst/>
              <a:gdLst>
                <a:gd name="T0" fmla="*/ 2655 w 671"/>
                <a:gd name="T1" fmla="*/ 201563 h 549"/>
                <a:gd name="T2" fmla="*/ 3539 w 671"/>
                <a:gd name="T3" fmla="*/ 166303 h 549"/>
                <a:gd name="T4" fmla="*/ 7521 w 671"/>
                <a:gd name="T5" fmla="*/ 151041 h 549"/>
                <a:gd name="T6" fmla="*/ 23006 w 671"/>
                <a:gd name="T7" fmla="*/ 125253 h 549"/>
                <a:gd name="T8" fmla="*/ 31412 w 671"/>
                <a:gd name="T9" fmla="*/ 107886 h 549"/>
                <a:gd name="T10" fmla="*/ 32297 w 671"/>
                <a:gd name="T11" fmla="*/ 87888 h 549"/>
                <a:gd name="T12" fmla="*/ 32297 w 671"/>
                <a:gd name="T13" fmla="*/ 72100 h 549"/>
                <a:gd name="T14" fmla="*/ 23891 w 671"/>
                <a:gd name="T15" fmla="*/ 56838 h 549"/>
                <a:gd name="T16" fmla="*/ 26988 w 671"/>
                <a:gd name="T17" fmla="*/ 41576 h 549"/>
                <a:gd name="T18" fmla="*/ 33624 w 671"/>
                <a:gd name="T19" fmla="*/ 26314 h 549"/>
                <a:gd name="T20" fmla="*/ 42472 w 671"/>
                <a:gd name="T21" fmla="*/ 13157 h 549"/>
                <a:gd name="T22" fmla="*/ 53090 w 671"/>
                <a:gd name="T23" fmla="*/ 3684 h 549"/>
                <a:gd name="T24" fmla="*/ 64593 w 671"/>
                <a:gd name="T25" fmla="*/ 0 h 549"/>
                <a:gd name="T26" fmla="*/ 76538 w 671"/>
                <a:gd name="T27" fmla="*/ 2631 h 549"/>
                <a:gd name="T28" fmla="*/ 91138 w 671"/>
                <a:gd name="T29" fmla="*/ 13683 h 549"/>
                <a:gd name="T30" fmla="*/ 104411 w 671"/>
                <a:gd name="T31" fmla="*/ 23682 h 549"/>
                <a:gd name="T32" fmla="*/ 114586 w 671"/>
                <a:gd name="T33" fmla="*/ 26314 h 549"/>
                <a:gd name="T34" fmla="*/ 120338 w 671"/>
                <a:gd name="T35" fmla="*/ 23156 h 549"/>
                <a:gd name="T36" fmla="*/ 125647 w 671"/>
                <a:gd name="T37" fmla="*/ 18420 h 549"/>
                <a:gd name="T38" fmla="*/ 132726 w 671"/>
                <a:gd name="T39" fmla="*/ 16841 h 549"/>
                <a:gd name="T40" fmla="*/ 140689 w 671"/>
                <a:gd name="T41" fmla="*/ 20525 h 549"/>
                <a:gd name="T42" fmla="*/ 149095 w 671"/>
                <a:gd name="T43" fmla="*/ 34208 h 549"/>
                <a:gd name="T44" fmla="*/ 156174 w 671"/>
                <a:gd name="T45" fmla="*/ 41576 h 549"/>
                <a:gd name="T46" fmla="*/ 163695 w 671"/>
                <a:gd name="T47" fmla="*/ 42628 h 549"/>
                <a:gd name="T48" fmla="*/ 168562 w 671"/>
                <a:gd name="T49" fmla="*/ 39471 h 549"/>
                <a:gd name="T50" fmla="*/ 175640 w 671"/>
                <a:gd name="T51" fmla="*/ 29471 h 549"/>
                <a:gd name="T52" fmla="*/ 185373 w 671"/>
                <a:gd name="T53" fmla="*/ 19998 h 549"/>
                <a:gd name="T54" fmla="*/ 202628 w 671"/>
                <a:gd name="T55" fmla="*/ 11578 h 549"/>
                <a:gd name="T56" fmla="*/ 215458 w 671"/>
                <a:gd name="T57" fmla="*/ 13157 h 549"/>
                <a:gd name="T58" fmla="*/ 226076 w 671"/>
                <a:gd name="T59" fmla="*/ 18420 h 549"/>
                <a:gd name="T60" fmla="*/ 237579 w 671"/>
                <a:gd name="T61" fmla="*/ 22630 h 549"/>
                <a:gd name="T62" fmla="*/ 252621 w 671"/>
                <a:gd name="T63" fmla="*/ 20525 h 549"/>
                <a:gd name="T64" fmla="*/ 285803 w 671"/>
                <a:gd name="T65" fmla="*/ 35260 h 549"/>
                <a:gd name="T66" fmla="*/ 294208 w 671"/>
                <a:gd name="T67" fmla="*/ 55259 h 549"/>
                <a:gd name="T68" fmla="*/ 275627 w 671"/>
                <a:gd name="T69" fmla="*/ 96308 h 549"/>
                <a:gd name="T70" fmla="*/ 262354 w 671"/>
                <a:gd name="T71" fmla="*/ 122622 h 549"/>
                <a:gd name="T72" fmla="*/ 252179 w 671"/>
                <a:gd name="T73" fmla="*/ 153146 h 549"/>
                <a:gd name="T74" fmla="*/ 243330 w 671"/>
                <a:gd name="T75" fmla="*/ 180512 h 549"/>
                <a:gd name="T76" fmla="*/ 232270 w 671"/>
                <a:gd name="T77" fmla="*/ 214194 h 549"/>
                <a:gd name="T78" fmla="*/ 228288 w 671"/>
                <a:gd name="T79" fmla="*/ 222088 h 549"/>
                <a:gd name="T80" fmla="*/ 221209 w 671"/>
                <a:gd name="T81" fmla="*/ 231035 h 549"/>
                <a:gd name="T82" fmla="*/ 213246 w 671"/>
                <a:gd name="T83" fmla="*/ 233140 h 549"/>
                <a:gd name="T84" fmla="*/ 203070 w 671"/>
                <a:gd name="T85" fmla="*/ 227351 h 549"/>
                <a:gd name="T86" fmla="*/ 194664 w 671"/>
                <a:gd name="T87" fmla="*/ 221562 h 549"/>
                <a:gd name="T88" fmla="*/ 180507 w 671"/>
                <a:gd name="T89" fmla="*/ 223141 h 549"/>
                <a:gd name="T90" fmla="*/ 168562 w 671"/>
                <a:gd name="T91" fmla="*/ 232087 h 549"/>
                <a:gd name="T92" fmla="*/ 161040 w 671"/>
                <a:gd name="T93" fmla="*/ 246823 h 549"/>
                <a:gd name="T94" fmla="*/ 151307 w 671"/>
                <a:gd name="T95" fmla="*/ 274189 h 549"/>
                <a:gd name="T96" fmla="*/ 143786 w 671"/>
                <a:gd name="T97" fmla="*/ 288925 h 549"/>
                <a:gd name="T98" fmla="*/ 101314 w 671"/>
                <a:gd name="T99" fmla="*/ 287346 h 549"/>
                <a:gd name="T100" fmla="*/ 96005 w 671"/>
                <a:gd name="T101" fmla="*/ 288399 h 549"/>
                <a:gd name="T102" fmla="*/ 79193 w 671"/>
                <a:gd name="T103" fmla="*/ 285767 h 549"/>
                <a:gd name="T104" fmla="*/ 71229 w 671"/>
                <a:gd name="T105" fmla="*/ 284189 h 549"/>
                <a:gd name="T106" fmla="*/ 63708 w 671"/>
                <a:gd name="T107" fmla="*/ 279452 h 549"/>
                <a:gd name="T108" fmla="*/ 57072 w 671"/>
                <a:gd name="T109" fmla="*/ 271032 h 549"/>
                <a:gd name="T110" fmla="*/ 52648 w 671"/>
                <a:gd name="T111" fmla="*/ 261032 h 549"/>
                <a:gd name="T112" fmla="*/ 49993 w 671"/>
                <a:gd name="T113" fmla="*/ 248402 h 549"/>
                <a:gd name="T114" fmla="*/ 44242 w 671"/>
                <a:gd name="T115" fmla="*/ 242087 h 549"/>
                <a:gd name="T116" fmla="*/ 36721 w 671"/>
                <a:gd name="T117" fmla="*/ 235245 h 549"/>
                <a:gd name="T118" fmla="*/ 27872 w 671"/>
                <a:gd name="T119" fmla="*/ 227351 h 549"/>
                <a:gd name="T120" fmla="*/ 17254 w 671"/>
                <a:gd name="T121" fmla="*/ 225772 h 549"/>
                <a:gd name="T122" fmla="*/ 0 w 671"/>
                <a:gd name="T123" fmla="*/ 230508 h 549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671" h="549">
                  <a:moveTo>
                    <a:pt x="0" y="438"/>
                  </a:moveTo>
                  <a:lnTo>
                    <a:pt x="4" y="405"/>
                  </a:lnTo>
                  <a:lnTo>
                    <a:pt x="6" y="383"/>
                  </a:lnTo>
                  <a:lnTo>
                    <a:pt x="7" y="360"/>
                  </a:lnTo>
                  <a:lnTo>
                    <a:pt x="7" y="327"/>
                  </a:lnTo>
                  <a:lnTo>
                    <a:pt x="8" y="316"/>
                  </a:lnTo>
                  <a:lnTo>
                    <a:pt x="9" y="306"/>
                  </a:lnTo>
                  <a:lnTo>
                    <a:pt x="12" y="296"/>
                  </a:lnTo>
                  <a:lnTo>
                    <a:pt x="17" y="287"/>
                  </a:lnTo>
                  <a:lnTo>
                    <a:pt x="28" y="270"/>
                  </a:lnTo>
                  <a:lnTo>
                    <a:pt x="40" y="254"/>
                  </a:lnTo>
                  <a:lnTo>
                    <a:pt x="52" y="238"/>
                  </a:lnTo>
                  <a:lnTo>
                    <a:pt x="63" y="222"/>
                  </a:lnTo>
                  <a:lnTo>
                    <a:pt x="67" y="214"/>
                  </a:lnTo>
                  <a:lnTo>
                    <a:pt x="71" y="205"/>
                  </a:lnTo>
                  <a:lnTo>
                    <a:pt x="73" y="196"/>
                  </a:lnTo>
                  <a:lnTo>
                    <a:pt x="73" y="185"/>
                  </a:lnTo>
                  <a:lnTo>
                    <a:pt x="73" y="167"/>
                  </a:lnTo>
                  <a:lnTo>
                    <a:pt x="73" y="156"/>
                  </a:lnTo>
                  <a:lnTo>
                    <a:pt x="73" y="148"/>
                  </a:lnTo>
                  <a:lnTo>
                    <a:pt x="73" y="137"/>
                  </a:lnTo>
                  <a:lnTo>
                    <a:pt x="63" y="126"/>
                  </a:lnTo>
                  <a:lnTo>
                    <a:pt x="53" y="117"/>
                  </a:lnTo>
                  <a:lnTo>
                    <a:pt x="54" y="108"/>
                  </a:lnTo>
                  <a:lnTo>
                    <a:pt x="55" y="99"/>
                  </a:lnTo>
                  <a:lnTo>
                    <a:pt x="57" y="89"/>
                  </a:lnTo>
                  <a:lnTo>
                    <a:pt x="61" y="79"/>
                  </a:lnTo>
                  <a:lnTo>
                    <a:pt x="65" y="68"/>
                  </a:lnTo>
                  <a:lnTo>
                    <a:pt x="71" y="59"/>
                  </a:lnTo>
                  <a:lnTo>
                    <a:pt x="76" y="50"/>
                  </a:lnTo>
                  <a:lnTo>
                    <a:pt x="83" y="41"/>
                  </a:lnTo>
                  <a:lnTo>
                    <a:pt x="89" y="33"/>
                  </a:lnTo>
                  <a:lnTo>
                    <a:pt x="96" y="25"/>
                  </a:lnTo>
                  <a:lnTo>
                    <a:pt x="104" y="17"/>
                  </a:lnTo>
                  <a:lnTo>
                    <a:pt x="112" y="12"/>
                  </a:lnTo>
                  <a:lnTo>
                    <a:pt x="120" y="7"/>
                  </a:lnTo>
                  <a:lnTo>
                    <a:pt x="129" y="3"/>
                  </a:lnTo>
                  <a:lnTo>
                    <a:pt x="138" y="1"/>
                  </a:lnTo>
                  <a:lnTo>
                    <a:pt x="146" y="0"/>
                  </a:lnTo>
                  <a:lnTo>
                    <a:pt x="156" y="1"/>
                  </a:lnTo>
                  <a:lnTo>
                    <a:pt x="164" y="3"/>
                  </a:lnTo>
                  <a:lnTo>
                    <a:pt x="173" y="5"/>
                  </a:lnTo>
                  <a:lnTo>
                    <a:pt x="179" y="8"/>
                  </a:lnTo>
                  <a:lnTo>
                    <a:pt x="194" y="16"/>
                  </a:lnTo>
                  <a:lnTo>
                    <a:pt x="206" y="26"/>
                  </a:lnTo>
                  <a:lnTo>
                    <a:pt x="217" y="35"/>
                  </a:lnTo>
                  <a:lnTo>
                    <a:pt x="230" y="42"/>
                  </a:lnTo>
                  <a:lnTo>
                    <a:pt x="236" y="45"/>
                  </a:lnTo>
                  <a:lnTo>
                    <a:pt x="243" y="48"/>
                  </a:lnTo>
                  <a:lnTo>
                    <a:pt x="251" y="49"/>
                  </a:lnTo>
                  <a:lnTo>
                    <a:pt x="259" y="50"/>
                  </a:lnTo>
                  <a:lnTo>
                    <a:pt x="264" y="49"/>
                  </a:lnTo>
                  <a:lnTo>
                    <a:pt x="268" y="47"/>
                  </a:lnTo>
                  <a:lnTo>
                    <a:pt x="272" y="44"/>
                  </a:lnTo>
                  <a:lnTo>
                    <a:pt x="276" y="41"/>
                  </a:lnTo>
                  <a:lnTo>
                    <a:pt x="279" y="37"/>
                  </a:lnTo>
                  <a:lnTo>
                    <a:pt x="284" y="35"/>
                  </a:lnTo>
                  <a:lnTo>
                    <a:pt x="288" y="32"/>
                  </a:lnTo>
                  <a:lnTo>
                    <a:pt x="292" y="32"/>
                  </a:lnTo>
                  <a:lnTo>
                    <a:pt x="300" y="32"/>
                  </a:lnTo>
                  <a:lnTo>
                    <a:pt x="308" y="34"/>
                  </a:lnTo>
                  <a:lnTo>
                    <a:pt x="313" y="36"/>
                  </a:lnTo>
                  <a:lnTo>
                    <a:pt x="318" y="39"/>
                  </a:lnTo>
                  <a:lnTo>
                    <a:pt x="325" y="47"/>
                  </a:lnTo>
                  <a:lnTo>
                    <a:pt x="332" y="56"/>
                  </a:lnTo>
                  <a:lnTo>
                    <a:pt x="337" y="65"/>
                  </a:lnTo>
                  <a:lnTo>
                    <a:pt x="344" y="73"/>
                  </a:lnTo>
                  <a:lnTo>
                    <a:pt x="348" y="76"/>
                  </a:lnTo>
                  <a:lnTo>
                    <a:pt x="353" y="79"/>
                  </a:lnTo>
                  <a:lnTo>
                    <a:pt x="358" y="81"/>
                  </a:lnTo>
                  <a:lnTo>
                    <a:pt x="366" y="81"/>
                  </a:lnTo>
                  <a:lnTo>
                    <a:pt x="370" y="81"/>
                  </a:lnTo>
                  <a:lnTo>
                    <a:pt x="375" y="80"/>
                  </a:lnTo>
                  <a:lnTo>
                    <a:pt x="378" y="77"/>
                  </a:lnTo>
                  <a:lnTo>
                    <a:pt x="381" y="75"/>
                  </a:lnTo>
                  <a:lnTo>
                    <a:pt x="387" y="70"/>
                  </a:lnTo>
                  <a:lnTo>
                    <a:pt x="392" y="63"/>
                  </a:lnTo>
                  <a:lnTo>
                    <a:pt x="397" y="56"/>
                  </a:lnTo>
                  <a:lnTo>
                    <a:pt x="403" y="49"/>
                  </a:lnTo>
                  <a:lnTo>
                    <a:pt x="410" y="43"/>
                  </a:lnTo>
                  <a:lnTo>
                    <a:pt x="419" y="38"/>
                  </a:lnTo>
                  <a:lnTo>
                    <a:pt x="433" y="30"/>
                  </a:lnTo>
                  <a:lnTo>
                    <a:pt x="446" y="25"/>
                  </a:lnTo>
                  <a:lnTo>
                    <a:pt x="458" y="22"/>
                  </a:lnTo>
                  <a:lnTo>
                    <a:pt x="468" y="21"/>
                  </a:lnTo>
                  <a:lnTo>
                    <a:pt x="478" y="22"/>
                  </a:lnTo>
                  <a:lnTo>
                    <a:pt x="487" y="25"/>
                  </a:lnTo>
                  <a:lnTo>
                    <a:pt x="496" y="28"/>
                  </a:lnTo>
                  <a:lnTo>
                    <a:pt x="503" y="31"/>
                  </a:lnTo>
                  <a:lnTo>
                    <a:pt x="511" y="35"/>
                  </a:lnTo>
                  <a:lnTo>
                    <a:pt x="520" y="38"/>
                  </a:lnTo>
                  <a:lnTo>
                    <a:pt x="528" y="41"/>
                  </a:lnTo>
                  <a:lnTo>
                    <a:pt x="537" y="43"/>
                  </a:lnTo>
                  <a:lnTo>
                    <a:pt x="547" y="43"/>
                  </a:lnTo>
                  <a:lnTo>
                    <a:pt x="559" y="42"/>
                  </a:lnTo>
                  <a:lnTo>
                    <a:pt x="571" y="39"/>
                  </a:lnTo>
                  <a:lnTo>
                    <a:pt x="586" y="33"/>
                  </a:lnTo>
                  <a:lnTo>
                    <a:pt x="632" y="74"/>
                  </a:lnTo>
                  <a:lnTo>
                    <a:pt x="646" y="67"/>
                  </a:lnTo>
                  <a:lnTo>
                    <a:pt x="651" y="81"/>
                  </a:lnTo>
                  <a:lnTo>
                    <a:pt x="658" y="93"/>
                  </a:lnTo>
                  <a:lnTo>
                    <a:pt x="665" y="105"/>
                  </a:lnTo>
                  <a:lnTo>
                    <a:pt x="671" y="117"/>
                  </a:lnTo>
                  <a:lnTo>
                    <a:pt x="646" y="152"/>
                  </a:lnTo>
                  <a:lnTo>
                    <a:pt x="623" y="183"/>
                  </a:lnTo>
                  <a:lnTo>
                    <a:pt x="612" y="199"/>
                  </a:lnTo>
                  <a:lnTo>
                    <a:pt x="602" y="216"/>
                  </a:lnTo>
                  <a:lnTo>
                    <a:pt x="593" y="233"/>
                  </a:lnTo>
                  <a:lnTo>
                    <a:pt x="584" y="254"/>
                  </a:lnTo>
                  <a:lnTo>
                    <a:pt x="578" y="273"/>
                  </a:lnTo>
                  <a:lnTo>
                    <a:pt x="570" y="291"/>
                  </a:lnTo>
                  <a:lnTo>
                    <a:pt x="564" y="309"/>
                  </a:lnTo>
                  <a:lnTo>
                    <a:pt x="557" y="326"/>
                  </a:lnTo>
                  <a:lnTo>
                    <a:pt x="550" y="343"/>
                  </a:lnTo>
                  <a:lnTo>
                    <a:pt x="543" y="363"/>
                  </a:lnTo>
                  <a:lnTo>
                    <a:pt x="534" y="383"/>
                  </a:lnTo>
                  <a:lnTo>
                    <a:pt x="525" y="407"/>
                  </a:lnTo>
                  <a:lnTo>
                    <a:pt x="524" y="410"/>
                  </a:lnTo>
                  <a:lnTo>
                    <a:pt x="521" y="416"/>
                  </a:lnTo>
                  <a:lnTo>
                    <a:pt x="516" y="422"/>
                  </a:lnTo>
                  <a:lnTo>
                    <a:pt x="511" y="428"/>
                  </a:lnTo>
                  <a:lnTo>
                    <a:pt x="505" y="434"/>
                  </a:lnTo>
                  <a:lnTo>
                    <a:pt x="500" y="439"/>
                  </a:lnTo>
                  <a:lnTo>
                    <a:pt x="496" y="443"/>
                  </a:lnTo>
                  <a:lnTo>
                    <a:pt x="492" y="444"/>
                  </a:lnTo>
                  <a:lnTo>
                    <a:pt x="482" y="443"/>
                  </a:lnTo>
                  <a:lnTo>
                    <a:pt x="474" y="440"/>
                  </a:lnTo>
                  <a:lnTo>
                    <a:pt x="466" y="436"/>
                  </a:lnTo>
                  <a:lnTo>
                    <a:pt x="459" y="432"/>
                  </a:lnTo>
                  <a:lnTo>
                    <a:pt x="453" y="428"/>
                  </a:lnTo>
                  <a:lnTo>
                    <a:pt x="446" y="424"/>
                  </a:lnTo>
                  <a:lnTo>
                    <a:pt x="440" y="421"/>
                  </a:lnTo>
                  <a:lnTo>
                    <a:pt x="432" y="420"/>
                  </a:lnTo>
                  <a:lnTo>
                    <a:pt x="419" y="421"/>
                  </a:lnTo>
                  <a:lnTo>
                    <a:pt x="408" y="424"/>
                  </a:lnTo>
                  <a:lnTo>
                    <a:pt x="398" y="428"/>
                  </a:lnTo>
                  <a:lnTo>
                    <a:pt x="389" y="434"/>
                  </a:lnTo>
                  <a:lnTo>
                    <a:pt x="381" y="441"/>
                  </a:lnTo>
                  <a:lnTo>
                    <a:pt x="375" y="449"/>
                  </a:lnTo>
                  <a:lnTo>
                    <a:pt x="369" y="458"/>
                  </a:lnTo>
                  <a:lnTo>
                    <a:pt x="364" y="469"/>
                  </a:lnTo>
                  <a:lnTo>
                    <a:pt x="355" y="489"/>
                  </a:lnTo>
                  <a:lnTo>
                    <a:pt x="346" y="510"/>
                  </a:lnTo>
                  <a:lnTo>
                    <a:pt x="342" y="521"/>
                  </a:lnTo>
                  <a:lnTo>
                    <a:pt x="336" y="531"/>
                  </a:lnTo>
                  <a:lnTo>
                    <a:pt x="332" y="541"/>
                  </a:lnTo>
                  <a:lnTo>
                    <a:pt x="325" y="549"/>
                  </a:lnTo>
                  <a:lnTo>
                    <a:pt x="233" y="543"/>
                  </a:lnTo>
                  <a:lnTo>
                    <a:pt x="231" y="545"/>
                  </a:lnTo>
                  <a:lnTo>
                    <a:pt x="229" y="546"/>
                  </a:lnTo>
                  <a:lnTo>
                    <a:pt x="227" y="547"/>
                  </a:lnTo>
                  <a:lnTo>
                    <a:pt x="223" y="548"/>
                  </a:lnTo>
                  <a:lnTo>
                    <a:pt x="217" y="548"/>
                  </a:lnTo>
                  <a:lnTo>
                    <a:pt x="209" y="547"/>
                  </a:lnTo>
                  <a:lnTo>
                    <a:pt x="193" y="545"/>
                  </a:lnTo>
                  <a:lnTo>
                    <a:pt x="179" y="543"/>
                  </a:lnTo>
                  <a:lnTo>
                    <a:pt x="173" y="543"/>
                  </a:lnTo>
                  <a:lnTo>
                    <a:pt x="167" y="542"/>
                  </a:lnTo>
                  <a:lnTo>
                    <a:pt x="161" y="540"/>
                  </a:lnTo>
                  <a:lnTo>
                    <a:pt x="155" y="537"/>
                  </a:lnTo>
                  <a:lnTo>
                    <a:pt x="150" y="534"/>
                  </a:lnTo>
                  <a:lnTo>
                    <a:pt x="144" y="531"/>
                  </a:lnTo>
                  <a:lnTo>
                    <a:pt x="139" y="527"/>
                  </a:lnTo>
                  <a:lnTo>
                    <a:pt x="134" y="521"/>
                  </a:lnTo>
                  <a:lnTo>
                    <a:pt x="129" y="515"/>
                  </a:lnTo>
                  <a:lnTo>
                    <a:pt x="126" y="509"/>
                  </a:lnTo>
                  <a:lnTo>
                    <a:pt x="122" y="503"/>
                  </a:lnTo>
                  <a:lnTo>
                    <a:pt x="119" y="496"/>
                  </a:lnTo>
                  <a:lnTo>
                    <a:pt x="117" y="489"/>
                  </a:lnTo>
                  <a:lnTo>
                    <a:pt x="115" y="481"/>
                  </a:lnTo>
                  <a:lnTo>
                    <a:pt x="113" y="472"/>
                  </a:lnTo>
                  <a:lnTo>
                    <a:pt x="113" y="462"/>
                  </a:lnTo>
                  <a:lnTo>
                    <a:pt x="106" y="462"/>
                  </a:lnTo>
                  <a:lnTo>
                    <a:pt x="100" y="460"/>
                  </a:lnTo>
                  <a:lnTo>
                    <a:pt x="95" y="457"/>
                  </a:lnTo>
                  <a:lnTo>
                    <a:pt x="90" y="454"/>
                  </a:lnTo>
                  <a:lnTo>
                    <a:pt x="83" y="447"/>
                  </a:lnTo>
                  <a:lnTo>
                    <a:pt x="74" y="439"/>
                  </a:lnTo>
                  <a:lnTo>
                    <a:pt x="70" y="435"/>
                  </a:lnTo>
                  <a:lnTo>
                    <a:pt x="63" y="432"/>
                  </a:lnTo>
                  <a:lnTo>
                    <a:pt x="56" y="430"/>
                  </a:lnTo>
                  <a:lnTo>
                    <a:pt x="49" y="429"/>
                  </a:lnTo>
                  <a:lnTo>
                    <a:pt x="39" y="429"/>
                  </a:lnTo>
                  <a:lnTo>
                    <a:pt x="28" y="430"/>
                  </a:lnTo>
                  <a:lnTo>
                    <a:pt x="15" y="433"/>
                  </a:lnTo>
                  <a:lnTo>
                    <a:pt x="0" y="43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634" name="Freeform 33"/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6685544" y="3424913"/>
              <a:ext cx="181690" cy="203982"/>
            </a:xfrm>
            <a:custGeom>
              <a:avLst/>
              <a:gdLst>
                <a:gd name="T0" fmla="*/ 138778 w 358"/>
                <a:gd name="T1" fmla="*/ 168304 h 327"/>
                <a:gd name="T2" fmla="*/ 140906 w 358"/>
                <a:gd name="T3" fmla="*/ 166745 h 327"/>
                <a:gd name="T4" fmla="*/ 143460 w 358"/>
                <a:gd name="T5" fmla="*/ 165187 h 327"/>
                <a:gd name="T6" fmla="*/ 147292 w 358"/>
                <a:gd name="T7" fmla="*/ 165187 h 327"/>
                <a:gd name="T8" fmla="*/ 151549 w 358"/>
                <a:gd name="T9" fmla="*/ 168304 h 327"/>
                <a:gd name="T10" fmla="*/ 135798 w 358"/>
                <a:gd name="T11" fmla="*/ 148045 h 327"/>
                <a:gd name="T12" fmla="*/ 118344 w 358"/>
                <a:gd name="T13" fmla="*/ 122072 h 327"/>
                <a:gd name="T14" fmla="*/ 107702 w 358"/>
                <a:gd name="T15" fmla="*/ 105969 h 327"/>
                <a:gd name="T16" fmla="*/ 98762 w 358"/>
                <a:gd name="T17" fmla="*/ 96619 h 327"/>
                <a:gd name="T18" fmla="*/ 93228 w 358"/>
                <a:gd name="T19" fmla="*/ 94021 h 327"/>
                <a:gd name="T20" fmla="*/ 88545 w 358"/>
                <a:gd name="T21" fmla="*/ 93502 h 327"/>
                <a:gd name="T22" fmla="*/ 85565 w 358"/>
                <a:gd name="T23" fmla="*/ 92983 h 327"/>
                <a:gd name="T24" fmla="*/ 84714 w 358"/>
                <a:gd name="T25" fmla="*/ 90385 h 327"/>
                <a:gd name="T26" fmla="*/ 84288 w 358"/>
                <a:gd name="T27" fmla="*/ 88307 h 327"/>
                <a:gd name="T28" fmla="*/ 83011 w 358"/>
                <a:gd name="T29" fmla="*/ 87788 h 327"/>
                <a:gd name="T30" fmla="*/ 78328 w 358"/>
                <a:gd name="T31" fmla="*/ 89346 h 327"/>
                <a:gd name="T32" fmla="*/ 72794 w 358"/>
                <a:gd name="T33" fmla="*/ 89346 h 327"/>
                <a:gd name="T34" fmla="*/ 70240 w 358"/>
                <a:gd name="T35" fmla="*/ 87269 h 327"/>
                <a:gd name="T36" fmla="*/ 68112 w 358"/>
                <a:gd name="T37" fmla="*/ 83632 h 327"/>
                <a:gd name="T38" fmla="*/ 64706 w 358"/>
                <a:gd name="T39" fmla="*/ 74802 h 327"/>
                <a:gd name="T40" fmla="*/ 60875 w 358"/>
                <a:gd name="T41" fmla="*/ 68049 h 327"/>
                <a:gd name="T42" fmla="*/ 56618 w 358"/>
                <a:gd name="T43" fmla="*/ 61815 h 327"/>
                <a:gd name="T44" fmla="*/ 54064 w 358"/>
                <a:gd name="T45" fmla="*/ 54543 h 327"/>
                <a:gd name="T46" fmla="*/ 51935 w 358"/>
                <a:gd name="T47" fmla="*/ 43634 h 327"/>
                <a:gd name="T48" fmla="*/ 50658 w 358"/>
                <a:gd name="T49" fmla="*/ 27531 h 327"/>
                <a:gd name="T50" fmla="*/ 49807 w 358"/>
                <a:gd name="T51" fmla="*/ 11947 h 327"/>
                <a:gd name="T52" fmla="*/ 47678 w 358"/>
                <a:gd name="T53" fmla="*/ 0 h 327"/>
                <a:gd name="T54" fmla="*/ 31076 w 358"/>
                <a:gd name="T55" fmla="*/ 13506 h 327"/>
                <a:gd name="T56" fmla="*/ 25968 w 358"/>
                <a:gd name="T57" fmla="*/ 17142 h 327"/>
                <a:gd name="T58" fmla="*/ 14048 w 358"/>
                <a:gd name="T59" fmla="*/ 25973 h 327"/>
                <a:gd name="T60" fmla="*/ 8940 w 358"/>
                <a:gd name="T61" fmla="*/ 31687 h 327"/>
                <a:gd name="T62" fmla="*/ 7237 w 358"/>
                <a:gd name="T63" fmla="*/ 37401 h 327"/>
                <a:gd name="T64" fmla="*/ 6811 w 358"/>
                <a:gd name="T65" fmla="*/ 43115 h 327"/>
                <a:gd name="T66" fmla="*/ 8514 w 358"/>
                <a:gd name="T67" fmla="*/ 48309 h 327"/>
                <a:gd name="T68" fmla="*/ 9365 w 358"/>
                <a:gd name="T69" fmla="*/ 51946 h 327"/>
                <a:gd name="T70" fmla="*/ 8514 w 358"/>
                <a:gd name="T71" fmla="*/ 57140 h 327"/>
                <a:gd name="T72" fmla="*/ 6385 w 358"/>
                <a:gd name="T73" fmla="*/ 63893 h 327"/>
                <a:gd name="T74" fmla="*/ 2980 w 358"/>
                <a:gd name="T75" fmla="*/ 70646 h 327"/>
                <a:gd name="T76" fmla="*/ 0 w 358"/>
                <a:gd name="T77" fmla="*/ 80516 h 327"/>
                <a:gd name="T78" fmla="*/ 0 w 358"/>
                <a:gd name="T79" fmla="*/ 90385 h 327"/>
                <a:gd name="T80" fmla="*/ 2128 w 358"/>
                <a:gd name="T81" fmla="*/ 94541 h 327"/>
                <a:gd name="T82" fmla="*/ 4683 w 358"/>
                <a:gd name="T83" fmla="*/ 97138 h 327"/>
                <a:gd name="T84" fmla="*/ 8514 w 358"/>
                <a:gd name="T85" fmla="*/ 96619 h 327"/>
                <a:gd name="T86" fmla="*/ 18731 w 358"/>
                <a:gd name="T87" fmla="*/ 87269 h 327"/>
                <a:gd name="T88" fmla="*/ 25542 w 358"/>
                <a:gd name="T89" fmla="*/ 83632 h 327"/>
                <a:gd name="T90" fmla="*/ 32353 w 358"/>
                <a:gd name="T91" fmla="*/ 77918 h 327"/>
                <a:gd name="T92" fmla="*/ 39590 w 358"/>
                <a:gd name="T93" fmla="*/ 82593 h 327"/>
                <a:gd name="T94" fmla="*/ 46827 w 358"/>
                <a:gd name="T95" fmla="*/ 85191 h 327"/>
                <a:gd name="T96" fmla="*/ 60449 w 358"/>
                <a:gd name="T97" fmla="*/ 93502 h 327"/>
                <a:gd name="T98" fmla="*/ 69389 w 358"/>
                <a:gd name="T99" fmla="*/ 98697 h 327"/>
                <a:gd name="T100" fmla="*/ 83437 w 358"/>
                <a:gd name="T101" fmla="*/ 108566 h 327"/>
                <a:gd name="T102" fmla="*/ 93228 w 358"/>
                <a:gd name="T103" fmla="*/ 116878 h 327"/>
                <a:gd name="T104" fmla="*/ 104296 w 358"/>
                <a:gd name="T105" fmla="*/ 126747 h 327"/>
                <a:gd name="T106" fmla="*/ 108979 w 358"/>
                <a:gd name="T107" fmla="*/ 131942 h 327"/>
                <a:gd name="T108" fmla="*/ 113661 w 358"/>
                <a:gd name="T109" fmla="*/ 140253 h 327"/>
                <a:gd name="T110" fmla="*/ 114513 w 358"/>
                <a:gd name="T111" fmla="*/ 144928 h 327"/>
                <a:gd name="T112" fmla="*/ 114513 w 358"/>
                <a:gd name="T113" fmla="*/ 148564 h 327"/>
                <a:gd name="T114" fmla="*/ 114939 w 358"/>
                <a:gd name="T115" fmla="*/ 150642 h 327"/>
                <a:gd name="T116" fmla="*/ 117493 w 358"/>
                <a:gd name="T117" fmla="*/ 151681 h 327"/>
                <a:gd name="T118" fmla="*/ 124304 w 358"/>
                <a:gd name="T119" fmla="*/ 156876 h 327"/>
                <a:gd name="T120" fmla="*/ 135372 w 358"/>
                <a:gd name="T121" fmla="*/ 166745 h 32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358" h="327">
                  <a:moveTo>
                    <a:pt x="325" y="327"/>
                  </a:moveTo>
                  <a:lnTo>
                    <a:pt x="326" y="324"/>
                  </a:lnTo>
                  <a:lnTo>
                    <a:pt x="329" y="322"/>
                  </a:lnTo>
                  <a:lnTo>
                    <a:pt x="331" y="321"/>
                  </a:lnTo>
                  <a:lnTo>
                    <a:pt x="332" y="321"/>
                  </a:lnTo>
                  <a:lnTo>
                    <a:pt x="337" y="318"/>
                  </a:lnTo>
                  <a:lnTo>
                    <a:pt x="342" y="317"/>
                  </a:lnTo>
                  <a:lnTo>
                    <a:pt x="346" y="318"/>
                  </a:lnTo>
                  <a:lnTo>
                    <a:pt x="351" y="319"/>
                  </a:lnTo>
                  <a:lnTo>
                    <a:pt x="356" y="324"/>
                  </a:lnTo>
                  <a:lnTo>
                    <a:pt x="358" y="327"/>
                  </a:lnTo>
                  <a:lnTo>
                    <a:pt x="319" y="285"/>
                  </a:lnTo>
                  <a:lnTo>
                    <a:pt x="302" y="265"/>
                  </a:lnTo>
                  <a:lnTo>
                    <a:pt x="278" y="235"/>
                  </a:lnTo>
                  <a:lnTo>
                    <a:pt x="265" y="219"/>
                  </a:lnTo>
                  <a:lnTo>
                    <a:pt x="253" y="204"/>
                  </a:lnTo>
                  <a:lnTo>
                    <a:pt x="241" y="193"/>
                  </a:lnTo>
                  <a:lnTo>
                    <a:pt x="232" y="186"/>
                  </a:lnTo>
                  <a:lnTo>
                    <a:pt x="225" y="182"/>
                  </a:lnTo>
                  <a:lnTo>
                    <a:pt x="219" y="181"/>
                  </a:lnTo>
                  <a:lnTo>
                    <a:pt x="213" y="180"/>
                  </a:lnTo>
                  <a:lnTo>
                    <a:pt x="208" y="180"/>
                  </a:lnTo>
                  <a:lnTo>
                    <a:pt x="205" y="180"/>
                  </a:lnTo>
                  <a:lnTo>
                    <a:pt x="201" y="179"/>
                  </a:lnTo>
                  <a:lnTo>
                    <a:pt x="200" y="177"/>
                  </a:lnTo>
                  <a:lnTo>
                    <a:pt x="199" y="174"/>
                  </a:lnTo>
                  <a:lnTo>
                    <a:pt x="199" y="172"/>
                  </a:lnTo>
                  <a:lnTo>
                    <a:pt x="198" y="170"/>
                  </a:lnTo>
                  <a:lnTo>
                    <a:pt x="197" y="169"/>
                  </a:lnTo>
                  <a:lnTo>
                    <a:pt x="195" y="169"/>
                  </a:lnTo>
                  <a:lnTo>
                    <a:pt x="190" y="170"/>
                  </a:lnTo>
                  <a:lnTo>
                    <a:pt x="184" y="172"/>
                  </a:lnTo>
                  <a:lnTo>
                    <a:pt x="178" y="173"/>
                  </a:lnTo>
                  <a:lnTo>
                    <a:pt x="171" y="172"/>
                  </a:lnTo>
                  <a:lnTo>
                    <a:pt x="168" y="170"/>
                  </a:lnTo>
                  <a:lnTo>
                    <a:pt x="165" y="168"/>
                  </a:lnTo>
                  <a:lnTo>
                    <a:pt x="162" y="165"/>
                  </a:lnTo>
                  <a:lnTo>
                    <a:pt x="160" y="161"/>
                  </a:lnTo>
                  <a:lnTo>
                    <a:pt x="156" y="152"/>
                  </a:lnTo>
                  <a:lnTo>
                    <a:pt x="152" y="144"/>
                  </a:lnTo>
                  <a:lnTo>
                    <a:pt x="147" y="138"/>
                  </a:lnTo>
                  <a:lnTo>
                    <a:pt x="143" y="131"/>
                  </a:lnTo>
                  <a:lnTo>
                    <a:pt x="138" y="125"/>
                  </a:lnTo>
                  <a:lnTo>
                    <a:pt x="133" y="119"/>
                  </a:lnTo>
                  <a:lnTo>
                    <a:pt x="129" y="112"/>
                  </a:lnTo>
                  <a:lnTo>
                    <a:pt x="127" y="105"/>
                  </a:lnTo>
                  <a:lnTo>
                    <a:pt x="123" y="96"/>
                  </a:lnTo>
                  <a:lnTo>
                    <a:pt x="122" y="84"/>
                  </a:lnTo>
                  <a:lnTo>
                    <a:pt x="121" y="69"/>
                  </a:lnTo>
                  <a:lnTo>
                    <a:pt x="119" y="53"/>
                  </a:lnTo>
                  <a:lnTo>
                    <a:pt x="118" y="37"/>
                  </a:lnTo>
                  <a:lnTo>
                    <a:pt x="117" y="23"/>
                  </a:lnTo>
                  <a:lnTo>
                    <a:pt x="115" y="10"/>
                  </a:lnTo>
                  <a:lnTo>
                    <a:pt x="112" y="0"/>
                  </a:lnTo>
                  <a:lnTo>
                    <a:pt x="93" y="0"/>
                  </a:lnTo>
                  <a:lnTo>
                    <a:pt x="73" y="26"/>
                  </a:lnTo>
                  <a:lnTo>
                    <a:pt x="70" y="28"/>
                  </a:lnTo>
                  <a:lnTo>
                    <a:pt x="61" y="33"/>
                  </a:lnTo>
                  <a:lnTo>
                    <a:pt x="48" y="41"/>
                  </a:lnTo>
                  <a:lnTo>
                    <a:pt x="33" y="50"/>
                  </a:lnTo>
                  <a:lnTo>
                    <a:pt x="27" y="55"/>
                  </a:lnTo>
                  <a:lnTo>
                    <a:pt x="21" y="61"/>
                  </a:lnTo>
                  <a:lnTo>
                    <a:pt x="18" y="66"/>
                  </a:lnTo>
                  <a:lnTo>
                    <a:pt x="17" y="72"/>
                  </a:lnTo>
                  <a:lnTo>
                    <a:pt x="16" y="78"/>
                  </a:lnTo>
                  <a:lnTo>
                    <a:pt x="16" y="83"/>
                  </a:lnTo>
                  <a:lnTo>
                    <a:pt x="18" y="88"/>
                  </a:lnTo>
                  <a:lnTo>
                    <a:pt x="20" y="93"/>
                  </a:lnTo>
                  <a:lnTo>
                    <a:pt x="21" y="96"/>
                  </a:lnTo>
                  <a:lnTo>
                    <a:pt x="22" y="100"/>
                  </a:lnTo>
                  <a:lnTo>
                    <a:pt x="22" y="104"/>
                  </a:lnTo>
                  <a:lnTo>
                    <a:pt x="20" y="110"/>
                  </a:lnTo>
                  <a:lnTo>
                    <a:pt x="18" y="117"/>
                  </a:lnTo>
                  <a:lnTo>
                    <a:pt x="15" y="123"/>
                  </a:lnTo>
                  <a:lnTo>
                    <a:pt x="11" y="130"/>
                  </a:lnTo>
                  <a:lnTo>
                    <a:pt x="7" y="136"/>
                  </a:lnTo>
                  <a:lnTo>
                    <a:pt x="3" y="146"/>
                  </a:lnTo>
                  <a:lnTo>
                    <a:pt x="0" y="155"/>
                  </a:lnTo>
                  <a:lnTo>
                    <a:pt x="0" y="164"/>
                  </a:lnTo>
                  <a:lnTo>
                    <a:pt x="0" y="174"/>
                  </a:lnTo>
                  <a:lnTo>
                    <a:pt x="1" y="176"/>
                  </a:lnTo>
                  <a:lnTo>
                    <a:pt x="5" y="182"/>
                  </a:lnTo>
                  <a:lnTo>
                    <a:pt x="8" y="185"/>
                  </a:lnTo>
                  <a:lnTo>
                    <a:pt x="11" y="187"/>
                  </a:lnTo>
                  <a:lnTo>
                    <a:pt x="15" y="187"/>
                  </a:lnTo>
                  <a:lnTo>
                    <a:pt x="20" y="186"/>
                  </a:lnTo>
                  <a:lnTo>
                    <a:pt x="31" y="177"/>
                  </a:lnTo>
                  <a:lnTo>
                    <a:pt x="44" y="168"/>
                  </a:lnTo>
                  <a:lnTo>
                    <a:pt x="55" y="163"/>
                  </a:lnTo>
                  <a:lnTo>
                    <a:pt x="60" y="161"/>
                  </a:lnTo>
                  <a:lnTo>
                    <a:pt x="73" y="149"/>
                  </a:lnTo>
                  <a:lnTo>
                    <a:pt x="76" y="150"/>
                  </a:lnTo>
                  <a:lnTo>
                    <a:pt x="84" y="155"/>
                  </a:lnTo>
                  <a:lnTo>
                    <a:pt x="93" y="159"/>
                  </a:lnTo>
                  <a:lnTo>
                    <a:pt x="99" y="161"/>
                  </a:lnTo>
                  <a:lnTo>
                    <a:pt x="110" y="164"/>
                  </a:lnTo>
                  <a:lnTo>
                    <a:pt x="126" y="170"/>
                  </a:lnTo>
                  <a:lnTo>
                    <a:pt x="142" y="180"/>
                  </a:lnTo>
                  <a:lnTo>
                    <a:pt x="153" y="186"/>
                  </a:lnTo>
                  <a:lnTo>
                    <a:pt x="163" y="190"/>
                  </a:lnTo>
                  <a:lnTo>
                    <a:pt x="179" y="199"/>
                  </a:lnTo>
                  <a:lnTo>
                    <a:pt x="196" y="209"/>
                  </a:lnTo>
                  <a:lnTo>
                    <a:pt x="206" y="216"/>
                  </a:lnTo>
                  <a:lnTo>
                    <a:pt x="219" y="225"/>
                  </a:lnTo>
                  <a:lnTo>
                    <a:pt x="232" y="235"/>
                  </a:lnTo>
                  <a:lnTo>
                    <a:pt x="245" y="244"/>
                  </a:lnTo>
                  <a:lnTo>
                    <a:pt x="252" y="247"/>
                  </a:lnTo>
                  <a:lnTo>
                    <a:pt x="256" y="254"/>
                  </a:lnTo>
                  <a:lnTo>
                    <a:pt x="266" y="265"/>
                  </a:lnTo>
                  <a:lnTo>
                    <a:pt x="267" y="270"/>
                  </a:lnTo>
                  <a:lnTo>
                    <a:pt x="268" y="274"/>
                  </a:lnTo>
                  <a:lnTo>
                    <a:pt x="269" y="279"/>
                  </a:lnTo>
                  <a:lnTo>
                    <a:pt x="269" y="283"/>
                  </a:lnTo>
                  <a:lnTo>
                    <a:pt x="269" y="286"/>
                  </a:lnTo>
                  <a:lnTo>
                    <a:pt x="269" y="289"/>
                  </a:lnTo>
                  <a:lnTo>
                    <a:pt x="270" y="290"/>
                  </a:lnTo>
                  <a:lnTo>
                    <a:pt x="273" y="291"/>
                  </a:lnTo>
                  <a:lnTo>
                    <a:pt x="276" y="292"/>
                  </a:lnTo>
                  <a:lnTo>
                    <a:pt x="284" y="296"/>
                  </a:lnTo>
                  <a:lnTo>
                    <a:pt x="292" y="302"/>
                  </a:lnTo>
                  <a:lnTo>
                    <a:pt x="301" y="309"/>
                  </a:lnTo>
                  <a:lnTo>
                    <a:pt x="318" y="321"/>
                  </a:lnTo>
                  <a:lnTo>
                    <a:pt x="325" y="327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635" name="Freeform 34"/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6043953" y="2229613"/>
              <a:ext cx="149516" cy="68630"/>
            </a:xfrm>
            <a:custGeom>
              <a:avLst/>
              <a:gdLst>
                <a:gd name="T0" fmla="*/ 54117 w 292"/>
                <a:gd name="T1" fmla="*/ 0 h 99"/>
                <a:gd name="T2" fmla="*/ 65713 w 292"/>
                <a:gd name="T3" fmla="*/ 0 h 99"/>
                <a:gd name="T4" fmla="*/ 85040 w 292"/>
                <a:gd name="T5" fmla="*/ 577 h 99"/>
                <a:gd name="T6" fmla="*/ 107374 w 292"/>
                <a:gd name="T7" fmla="*/ 3464 h 99"/>
                <a:gd name="T8" fmla="*/ 125413 w 292"/>
                <a:gd name="T9" fmla="*/ 4041 h 99"/>
                <a:gd name="T10" fmla="*/ 124554 w 292"/>
                <a:gd name="T11" fmla="*/ 11545 h 99"/>
                <a:gd name="T12" fmla="*/ 122407 w 292"/>
                <a:gd name="T13" fmla="*/ 19050 h 99"/>
                <a:gd name="T14" fmla="*/ 119830 w 292"/>
                <a:gd name="T15" fmla="*/ 31750 h 99"/>
                <a:gd name="T16" fmla="*/ 57982 w 292"/>
                <a:gd name="T17" fmla="*/ 40409 h 99"/>
                <a:gd name="T18" fmla="*/ 42520 w 292"/>
                <a:gd name="T19" fmla="*/ 51377 h 99"/>
                <a:gd name="T20" fmla="*/ 33930 w 292"/>
                <a:gd name="T21" fmla="*/ 55418 h 99"/>
                <a:gd name="T22" fmla="*/ 28347 w 292"/>
                <a:gd name="T23" fmla="*/ 56573 h 99"/>
                <a:gd name="T24" fmla="*/ 23622 w 292"/>
                <a:gd name="T25" fmla="*/ 56573 h 99"/>
                <a:gd name="T26" fmla="*/ 19327 w 292"/>
                <a:gd name="T27" fmla="*/ 54264 h 99"/>
                <a:gd name="T28" fmla="*/ 14173 w 292"/>
                <a:gd name="T29" fmla="*/ 49645 h 99"/>
                <a:gd name="T30" fmla="*/ 8590 w 292"/>
                <a:gd name="T31" fmla="*/ 44450 h 99"/>
                <a:gd name="T32" fmla="*/ 3006 w 292"/>
                <a:gd name="T33" fmla="*/ 39832 h 99"/>
                <a:gd name="T34" fmla="*/ 429 w 292"/>
                <a:gd name="T35" fmla="*/ 32905 h 99"/>
                <a:gd name="T36" fmla="*/ 0 w 292"/>
                <a:gd name="T37" fmla="*/ 24245 h 99"/>
                <a:gd name="T38" fmla="*/ 429 w 292"/>
                <a:gd name="T39" fmla="*/ 14432 h 99"/>
                <a:gd name="T40" fmla="*/ 1288 w 292"/>
                <a:gd name="T41" fmla="*/ 11545 h 99"/>
                <a:gd name="T42" fmla="*/ 3865 w 292"/>
                <a:gd name="T43" fmla="*/ 10391 h 99"/>
                <a:gd name="T44" fmla="*/ 6442 w 292"/>
                <a:gd name="T45" fmla="*/ 12123 h 99"/>
                <a:gd name="T46" fmla="*/ 10737 w 292"/>
                <a:gd name="T47" fmla="*/ 16164 h 99"/>
                <a:gd name="T48" fmla="*/ 15032 w 292"/>
                <a:gd name="T49" fmla="*/ 18473 h 99"/>
                <a:gd name="T50" fmla="*/ 19327 w 292"/>
                <a:gd name="T51" fmla="*/ 19627 h 99"/>
                <a:gd name="T52" fmla="*/ 23193 w 292"/>
                <a:gd name="T53" fmla="*/ 19050 h 99"/>
                <a:gd name="T54" fmla="*/ 28776 w 292"/>
                <a:gd name="T55" fmla="*/ 16741 h 99"/>
                <a:gd name="T56" fmla="*/ 34789 w 292"/>
                <a:gd name="T57" fmla="*/ 10968 h 99"/>
                <a:gd name="T58" fmla="*/ 37796 w 292"/>
                <a:gd name="T59" fmla="*/ 6350 h 99"/>
                <a:gd name="T60" fmla="*/ 40373 w 292"/>
                <a:gd name="T61" fmla="*/ 3464 h 99"/>
                <a:gd name="T62" fmla="*/ 46815 w 292"/>
                <a:gd name="T63" fmla="*/ 577 h 99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92" h="99">
                  <a:moveTo>
                    <a:pt x="113" y="0"/>
                  </a:moveTo>
                  <a:lnTo>
                    <a:pt x="126" y="0"/>
                  </a:lnTo>
                  <a:lnTo>
                    <a:pt x="138" y="0"/>
                  </a:lnTo>
                  <a:lnTo>
                    <a:pt x="153" y="0"/>
                  </a:lnTo>
                  <a:lnTo>
                    <a:pt x="172" y="0"/>
                  </a:lnTo>
                  <a:lnTo>
                    <a:pt x="198" y="1"/>
                  </a:lnTo>
                  <a:lnTo>
                    <a:pt x="224" y="3"/>
                  </a:lnTo>
                  <a:lnTo>
                    <a:pt x="250" y="6"/>
                  </a:lnTo>
                  <a:lnTo>
                    <a:pt x="279" y="7"/>
                  </a:lnTo>
                  <a:lnTo>
                    <a:pt x="292" y="7"/>
                  </a:lnTo>
                  <a:lnTo>
                    <a:pt x="292" y="14"/>
                  </a:lnTo>
                  <a:lnTo>
                    <a:pt x="290" y="20"/>
                  </a:lnTo>
                  <a:lnTo>
                    <a:pt x="288" y="27"/>
                  </a:lnTo>
                  <a:lnTo>
                    <a:pt x="285" y="33"/>
                  </a:lnTo>
                  <a:lnTo>
                    <a:pt x="281" y="45"/>
                  </a:lnTo>
                  <a:lnTo>
                    <a:pt x="279" y="55"/>
                  </a:lnTo>
                  <a:lnTo>
                    <a:pt x="153" y="62"/>
                  </a:lnTo>
                  <a:lnTo>
                    <a:pt x="135" y="70"/>
                  </a:lnTo>
                  <a:lnTo>
                    <a:pt x="111" y="83"/>
                  </a:lnTo>
                  <a:lnTo>
                    <a:pt x="99" y="89"/>
                  </a:lnTo>
                  <a:lnTo>
                    <a:pt x="86" y="94"/>
                  </a:lnTo>
                  <a:lnTo>
                    <a:pt x="79" y="96"/>
                  </a:lnTo>
                  <a:lnTo>
                    <a:pt x="72" y="97"/>
                  </a:lnTo>
                  <a:lnTo>
                    <a:pt x="66" y="98"/>
                  </a:lnTo>
                  <a:lnTo>
                    <a:pt x="60" y="99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5" y="94"/>
                  </a:lnTo>
                  <a:lnTo>
                    <a:pt x="41" y="92"/>
                  </a:lnTo>
                  <a:lnTo>
                    <a:pt x="33" y="86"/>
                  </a:lnTo>
                  <a:lnTo>
                    <a:pt x="26" y="80"/>
                  </a:lnTo>
                  <a:lnTo>
                    <a:pt x="20" y="77"/>
                  </a:lnTo>
                  <a:lnTo>
                    <a:pt x="11" y="72"/>
                  </a:lnTo>
                  <a:lnTo>
                    <a:pt x="7" y="69"/>
                  </a:lnTo>
                  <a:lnTo>
                    <a:pt x="3" y="64"/>
                  </a:lnTo>
                  <a:lnTo>
                    <a:pt x="1" y="57"/>
                  </a:lnTo>
                  <a:lnTo>
                    <a:pt x="0" y="49"/>
                  </a:lnTo>
                  <a:lnTo>
                    <a:pt x="0" y="42"/>
                  </a:lnTo>
                  <a:lnTo>
                    <a:pt x="0" y="28"/>
                  </a:lnTo>
                  <a:lnTo>
                    <a:pt x="1" y="25"/>
                  </a:lnTo>
                  <a:lnTo>
                    <a:pt x="2" y="22"/>
                  </a:lnTo>
                  <a:lnTo>
                    <a:pt x="3" y="20"/>
                  </a:lnTo>
                  <a:lnTo>
                    <a:pt x="5" y="18"/>
                  </a:lnTo>
                  <a:lnTo>
                    <a:pt x="9" y="18"/>
                  </a:lnTo>
                  <a:lnTo>
                    <a:pt x="11" y="19"/>
                  </a:lnTo>
                  <a:lnTo>
                    <a:pt x="15" y="21"/>
                  </a:lnTo>
                  <a:lnTo>
                    <a:pt x="20" y="25"/>
                  </a:lnTo>
                  <a:lnTo>
                    <a:pt x="25" y="28"/>
                  </a:lnTo>
                  <a:lnTo>
                    <a:pt x="30" y="30"/>
                  </a:lnTo>
                  <a:lnTo>
                    <a:pt x="35" y="32"/>
                  </a:lnTo>
                  <a:lnTo>
                    <a:pt x="40" y="33"/>
                  </a:lnTo>
                  <a:lnTo>
                    <a:pt x="45" y="34"/>
                  </a:lnTo>
                  <a:lnTo>
                    <a:pt x="49" y="34"/>
                  </a:lnTo>
                  <a:lnTo>
                    <a:pt x="54" y="33"/>
                  </a:lnTo>
                  <a:lnTo>
                    <a:pt x="58" y="32"/>
                  </a:lnTo>
                  <a:lnTo>
                    <a:pt x="67" y="29"/>
                  </a:lnTo>
                  <a:lnTo>
                    <a:pt x="75" y="25"/>
                  </a:lnTo>
                  <a:lnTo>
                    <a:pt x="81" y="19"/>
                  </a:lnTo>
                  <a:lnTo>
                    <a:pt x="87" y="13"/>
                  </a:lnTo>
                  <a:lnTo>
                    <a:pt x="88" y="11"/>
                  </a:lnTo>
                  <a:lnTo>
                    <a:pt x="91" y="8"/>
                  </a:lnTo>
                  <a:lnTo>
                    <a:pt x="94" y="6"/>
                  </a:lnTo>
                  <a:lnTo>
                    <a:pt x="100" y="3"/>
                  </a:lnTo>
                  <a:lnTo>
                    <a:pt x="109" y="1"/>
                  </a:lnTo>
                  <a:lnTo>
                    <a:pt x="11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636" name="Freeform 35"/>
            <p:cNvSpPr>
              <a:spLocks/>
            </p:cNvSpPr>
            <p:nvPr>
              <p:custDataLst>
                <p:tags r:id="rId28"/>
              </p:custDataLst>
            </p:nvPr>
          </p:nvSpPr>
          <p:spPr bwMode="auto">
            <a:xfrm>
              <a:off x="7073526" y="3095109"/>
              <a:ext cx="22711" cy="68630"/>
            </a:xfrm>
            <a:custGeom>
              <a:avLst/>
              <a:gdLst>
                <a:gd name="T0" fmla="*/ 17278 w 43"/>
                <a:gd name="T1" fmla="*/ 57150 h 93"/>
                <a:gd name="T2" fmla="*/ 13734 w 43"/>
                <a:gd name="T3" fmla="*/ 55921 h 93"/>
                <a:gd name="T4" fmla="*/ 11519 w 43"/>
                <a:gd name="T5" fmla="*/ 54692 h 93"/>
                <a:gd name="T6" fmla="*/ 9303 w 43"/>
                <a:gd name="T7" fmla="*/ 53463 h 93"/>
                <a:gd name="T8" fmla="*/ 7974 w 43"/>
                <a:gd name="T9" fmla="*/ 51619 h 93"/>
                <a:gd name="T10" fmla="*/ 6645 w 43"/>
                <a:gd name="T11" fmla="*/ 48547 h 93"/>
                <a:gd name="T12" fmla="*/ 6202 w 43"/>
                <a:gd name="T13" fmla="*/ 44860 h 93"/>
                <a:gd name="T14" fmla="*/ 5759 w 43"/>
                <a:gd name="T15" fmla="*/ 39944 h 93"/>
                <a:gd name="T16" fmla="*/ 4873 w 43"/>
                <a:gd name="T17" fmla="*/ 33798 h 93"/>
                <a:gd name="T18" fmla="*/ 4873 w 43"/>
                <a:gd name="T19" fmla="*/ 29497 h 93"/>
                <a:gd name="T20" fmla="*/ 3987 w 43"/>
                <a:gd name="T21" fmla="*/ 25810 h 93"/>
                <a:gd name="T22" fmla="*/ 2658 w 43"/>
                <a:gd name="T23" fmla="*/ 23352 h 93"/>
                <a:gd name="T24" fmla="*/ 1772 w 43"/>
                <a:gd name="T25" fmla="*/ 22123 h 93"/>
                <a:gd name="T26" fmla="*/ 886 w 43"/>
                <a:gd name="T27" fmla="*/ 20894 h 93"/>
                <a:gd name="T28" fmla="*/ 0 w 43"/>
                <a:gd name="T29" fmla="*/ 19665 h 93"/>
                <a:gd name="T30" fmla="*/ 886 w 43"/>
                <a:gd name="T31" fmla="*/ 17821 h 93"/>
                <a:gd name="T32" fmla="*/ 2215 w 43"/>
                <a:gd name="T33" fmla="*/ 14748 h 93"/>
                <a:gd name="T34" fmla="*/ 2658 w 43"/>
                <a:gd name="T35" fmla="*/ 17206 h 93"/>
                <a:gd name="T36" fmla="*/ 3101 w 43"/>
                <a:gd name="T37" fmla="*/ 17821 h 93"/>
                <a:gd name="T38" fmla="*/ 3544 w 43"/>
                <a:gd name="T39" fmla="*/ 18435 h 93"/>
                <a:gd name="T40" fmla="*/ 3987 w 43"/>
                <a:gd name="T41" fmla="*/ 17821 h 93"/>
                <a:gd name="T42" fmla="*/ 4873 w 43"/>
                <a:gd name="T43" fmla="*/ 15363 h 93"/>
                <a:gd name="T44" fmla="*/ 6202 w 43"/>
                <a:gd name="T45" fmla="*/ 11676 h 93"/>
                <a:gd name="T46" fmla="*/ 7088 w 43"/>
                <a:gd name="T47" fmla="*/ 7374 h 93"/>
                <a:gd name="T48" fmla="*/ 8860 w 43"/>
                <a:gd name="T49" fmla="*/ 3687 h 93"/>
                <a:gd name="T50" fmla="*/ 9747 w 43"/>
                <a:gd name="T51" fmla="*/ 2458 h 93"/>
                <a:gd name="T52" fmla="*/ 11076 w 43"/>
                <a:gd name="T53" fmla="*/ 1229 h 93"/>
                <a:gd name="T54" fmla="*/ 12405 w 43"/>
                <a:gd name="T55" fmla="*/ 0 h 93"/>
                <a:gd name="T56" fmla="*/ 14177 w 43"/>
                <a:gd name="T57" fmla="*/ 0 h 93"/>
                <a:gd name="T58" fmla="*/ 14620 w 43"/>
                <a:gd name="T59" fmla="*/ 6145 h 93"/>
                <a:gd name="T60" fmla="*/ 14620 w 43"/>
                <a:gd name="T61" fmla="*/ 9832 h 93"/>
                <a:gd name="T62" fmla="*/ 14620 w 43"/>
                <a:gd name="T63" fmla="*/ 12290 h 93"/>
                <a:gd name="T64" fmla="*/ 14177 w 43"/>
                <a:gd name="T65" fmla="*/ 14134 h 93"/>
                <a:gd name="T66" fmla="*/ 14177 w 43"/>
                <a:gd name="T67" fmla="*/ 16592 h 93"/>
                <a:gd name="T68" fmla="*/ 14177 w 43"/>
                <a:gd name="T69" fmla="*/ 19050 h 93"/>
                <a:gd name="T70" fmla="*/ 15506 w 43"/>
                <a:gd name="T71" fmla="*/ 22123 h 93"/>
                <a:gd name="T72" fmla="*/ 17278 w 43"/>
                <a:gd name="T73" fmla="*/ 26424 h 93"/>
                <a:gd name="T74" fmla="*/ 16835 w 43"/>
                <a:gd name="T75" fmla="*/ 27039 h 93"/>
                <a:gd name="T76" fmla="*/ 16392 w 43"/>
                <a:gd name="T77" fmla="*/ 27653 h 93"/>
                <a:gd name="T78" fmla="*/ 16392 w 43"/>
                <a:gd name="T79" fmla="*/ 29497 h 93"/>
                <a:gd name="T80" fmla="*/ 16835 w 43"/>
                <a:gd name="T81" fmla="*/ 31340 h 93"/>
                <a:gd name="T82" fmla="*/ 17278 w 43"/>
                <a:gd name="T83" fmla="*/ 36256 h 93"/>
                <a:gd name="T84" fmla="*/ 18164 w 43"/>
                <a:gd name="T85" fmla="*/ 41787 h 93"/>
                <a:gd name="T86" fmla="*/ 18607 w 43"/>
                <a:gd name="T87" fmla="*/ 46703 h 93"/>
                <a:gd name="T88" fmla="*/ 19050 w 43"/>
                <a:gd name="T89" fmla="*/ 52234 h 93"/>
                <a:gd name="T90" fmla="*/ 19050 w 43"/>
                <a:gd name="T91" fmla="*/ 54077 h 93"/>
                <a:gd name="T92" fmla="*/ 18607 w 43"/>
                <a:gd name="T93" fmla="*/ 55921 h 93"/>
                <a:gd name="T94" fmla="*/ 17721 w 43"/>
                <a:gd name="T95" fmla="*/ 56535 h 93"/>
                <a:gd name="T96" fmla="*/ 17278 w 43"/>
                <a:gd name="T97" fmla="*/ 57150 h 9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43" h="93">
                  <a:moveTo>
                    <a:pt x="39" y="93"/>
                  </a:moveTo>
                  <a:lnTo>
                    <a:pt x="31" y="91"/>
                  </a:lnTo>
                  <a:lnTo>
                    <a:pt x="26" y="89"/>
                  </a:lnTo>
                  <a:lnTo>
                    <a:pt x="21" y="87"/>
                  </a:lnTo>
                  <a:lnTo>
                    <a:pt x="18" y="84"/>
                  </a:lnTo>
                  <a:lnTo>
                    <a:pt x="15" y="79"/>
                  </a:lnTo>
                  <a:lnTo>
                    <a:pt x="14" y="73"/>
                  </a:lnTo>
                  <a:lnTo>
                    <a:pt x="13" y="65"/>
                  </a:lnTo>
                  <a:lnTo>
                    <a:pt x="11" y="55"/>
                  </a:lnTo>
                  <a:lnTo>
                    <a:pt x="11" y="48"/>
                  </a:lnTo>
                  <a:lnTo>
                    <a:pt x="9" y="42"/>
                  </a:lnTo>
                  <a:lnTo>
                    <a:pt x="6" y="38"/>
                  </a:lnTo>
                  <a:lnTo>
                    <a:pt x="4" y="36"/>
                  </a:lnTo>
                  <a:lnTo>
                    <a:pt x="2" y="34"/>
                  </a:lnTo>
                  <a:lnTo>
                    <a:pt x="0" y="32"/>
                  </a:lnTo>
                  <a:lnTo>
                    <a:pt x="2" y="29"/>
                  </a:lnTo>
                  <a:lnTo>
                    <a:pt x="5" y="24"/>
                  </a:lnTo>
                  <a:lnTo>
                    <a:pt x="6" y="28"/>
                  </a:lnTo>
                  <a:lnTo>
                    <a:pt x="7" y="29"/>
                  </a:lnTo>
                  <a:lnTo>
                    <a:pt x="8" y="30"/>
                  </a:lnTo>
                  <a:lnTo>
                    <a:pt x="9" y="29"/>
                  </a:lnTo>
                  <a:lnTo>
                    <a:pt x="11" y="25"/>
                  </a:lnTo>
                  <a:lnTo>
                    <a:pt x="14" y="19"/>
                  </a:lnTo>
                  <a:lnTo>
                    <a:pt x="16" y="12"/>
                  </a:lnTo>
                  <a:lnTo>
                    <a:pt x="20" y="6"/>
                  </a:lnTo>
                  <a:lnTo>
                    <a:pt x="22" y="4"/>
                  </a:lnTo>
                  <a:lnTo>
                    <a:pt x="25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3" y="10"/>
                  </a:lnTo>
                  <a:lnTo>
                    <a:pt x="33" y="16"/>
                  </a:lnTo>
                  <a:lnTo>
                    <a:pt x="33" y="20"/>
                  </a:lnTo>
                  <a:lnTo>
                    <a:pt x="32" y="23"/>
                  </a:lnTo>
                  <a:lnTo>
                    <a:pt x="32" y="27"/>
                  </a:lnTo>
                  <a:lnTo>
                    <a:pt x="32" y="31"/>
                  </a:lnTo>
                  <a:lnTo>
                    <a:pt x="35" y="36"/>
                  </a:lnTo>
                  <a:lnTo>
                    <a:pt x="39" y="43"/>
                  </a:lnTo>
                  <a:lnTo>
                    <a:pt x="38" y="44"/>
                  </a:lnTo>
                  <a:lnTo>
                    <a:pt x="37" y="45"/>
                  </a:lnTo>
                  <a:lnTo>
                    <a:pt x="37" y="48"/>
                  </a:lnTo>
                  <a:lnTo>
                    <a:pt x="38" y="51"/>
                  </a:lnTo>
                  <a:lnTo>
                    <a:pt x="39" y="59"/>
                  </a:lnTo>
                  <a:lnTo>
                    <a:pt x="41" y="68"/>
                  </a:lnTo>
                  <a:lnTo>
                    <a:pt x="42" y="76"/>
                  </a:lnTo>
                  <a:lnTo>
                    <a:pt x="43" y="85"/>
                  </a:lnTo>
                  <a:lnTo>
                    <a:pt x="43" y="88"/>
                  </a:lnTo>
                  <a:lnTo>
                    <a:pt x="42" y="91"/>
                  </a:lnTo>
                  <a:lnTo>
                    <a:pt x="40" y="92"/>
                  </a:lnTo>
                  <a:lnTo>
                    <a:pt x="39" y="9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637" name="Freeform 36"/>
            <p:cNvSpPr>
              <a:spLocks/>
            </p:cNvSpPr>
            <p:nvPr>
              <p:custDataLst>
                <p:tags r:id="rId29"/>
              </p:custDataLst>
            </p:nvPr>
          </p:nvSpPr>
          <p:spPr bwMode="auto">
            <a:xfrm>
              <a:off x="7215473" y="3100829"/>
              <a:ext cx="17033" cy="68630"/>
            </a:xfrm>
            <a:custGeom>
              <a:avLst/>
              <a:gdLst>
                <a:gd name="T0" fmla="*/ 14287 w 40"/>
                <a:gd name="T1" fmla="*/ 57150 h 56"/>
                <a:gd name="T2" fmla="*/ 13215 w 40"/>
                <a:gd name="T3" fmla="*/ 46945 h 56"/>
                <a:gd name="T4" fmla="*/ 11787 w 40"/>
                <a:gd name="T5" fmla="*/ 38780 h 56"/>
                <a:gd name="T6" fmla="*/ 10001 w 40"/>
                <a:gd name="T7" fmla="*/ 32657 h 56"/>
                <a:gd name="T8" fmla="*/ 8215 w 40"/>
                <a:gd name="T9" fmla="*/ 28575 h 56"/>
                <a:gd name="T10" fmla="*/ 3929 w 40"/>
                <a:gd name="T11" fmla="*/ 21431 h 56"/>
                <a:gd name="T12" fmla="*/ 0 w 40"/>
                <a:gd name="T13" fmla="*/ 12246 h 56"/>
                <a:gd name="T14" fmla="*/ 4643 w 40"/>
                <a:gd name="T15" fmla="*/ 4082 h 56"/>
                <a:gd name="T16" fmla="*/ 7144 w 40"/>
                <a:gd name="T17" fmla="*/ 0 h 56"/>
                <a:gd name="T18" fmla="*/ 10001 w 40"/>
                <a:gd name="T19" fmla="*/ 12246 h 56"/>
                <a:gd name="T20" fmla="*/ 12501 w 40"/>
                <a:gd name="T21" fmla="*/ 22452 h 56"/>
                <a:gd name="T22" fmla="*/ 13215 w 40"/>
                <a:gd name="T23" fmla="*/ 25513 h 56"/>
                <a:gd name="T24" fmla="*/ 13930 w 40"/>
                <a:gd name="T25" fmla="*/ 29596 h 56"/>
                <a:gd name="T26" fmla="*/ 13930 w 40"/>
                <a:gd name="T27" fmla="*/ 33678 h 56"/>
                <a:gd name="T28" fmla="*/ 14287 w 40"/>
                <a:gd name="T29" fmla="*/ 37760 h 56"/>
                <a:gd name="T30" fmla="*/ 14287 w 40"/>
                <a:gd name="T31" fmla="*/ 44904 h 56"/>
                <a:gd name="T32" fmla="*/ 14287 w 40"/>
                <a:gd name="T33" fmla="*/ 46945 h 56"/>
                <a:gd name="T34" fmla="*/ 14287 w 40"/>
                <a:gd name="T35" fmla="*/ 50006 h 56"/>
                <a:gd name="T36" fmla="*/ 14287 w 40"/>
                <a:gd name="T37" fmla="*/ 57150 h 5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40" h="56">
                  <a:moveTo>
                    <a:pt x="40" y="56"/>
                  </a:moveTo>
                  <a:lnTo>
                    <a:pt x="37" y="46"/>
                  </a:lnTo>
                  <a:lnTo>
                    <a:pt x="33" y="38"/>
                  </a:lnTo>
                  <a:lnTo>
                    <a:pt x="28" y="32"/>
                  </a:lnTo>
                  <a:lnTo>
                    <a:pt x="23" y="28"/>
                  </a:lnTo>
                  <a:lnTo>
                    <a:pt x="11" y="21"/>
                  </a:lnTo>
                  <a:lnTo>
                    <a:pt x="0" y="12"/>
                  </a:lnTo>
                  <a:lnTo>
                    <a:pt x="13" y="4"/>
                  </a:lnTo>
                  <a:lnTo>
                    <a:pt x="20" y="0"/>
                  </a:lnTo>
                  <a:lnTo>
                    <a:pt x="28" y="12"/>
                  </a:lnTo>
                  <a:lnTo>
                    <a:pt x="35" y="22"/>
                  </a:lnTo>
                  <a:lnTo>
                    <a:pt x="37" y="25"/>
                  </a:lnTo>
                  <a:lnTo>
                    <a:pt x="39" y="29"/>
                  </a:lnTo>
                  <a:lnTo>
                    <a:pt x="39" y="33"/>
                  </a:lnTo>
                  <a:lnTo>
                    <a:pt x="40" y="37"/>
                  </a:lnTo>
                  <a:lnTo>
                    <a:pt x="40" y="44"/>
                  </a:lnTo>
                  <a:lnTo>
                    <a:pt x="40" y="46"/>
                  </a:lnTo>
                  <a:lnTo>
                    <a:pt x="40" y="49"/>
                  </a:lnTo>
                  <a:lnTo>
                    <a:pt x="40" y="5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638" name="Freeform 37"/>
            <p:cNvSpPr>
              <a:spLocks/>
            </p:cNvSpPr>
            <p:nvPr>
              <p:custDataLst>
                <p:tags r:id="rId30"/>
              </p:custDataLst>
            </p:nvPr>
          </p:nvSpPr>
          <p:spPr bwMode="auto">
            <a:xfrm>
              <a:off x="8988839" y="3893882"/>
              <a:ext cx="52993" cy="68630"/>
            </a:xfrm>
            <a:custGeom>
              <a:avLst/>
              <a:gdLst>
                <a:gd name="T0" fmla="*/ 0 w 106"/>
                <a:gd name="T1" fmla="*/ 5635 h 71"/>
                <a:gd name="T2" fmla="*/ 5032 w 106"/>
                <a:gd name="T3" fmla="*/ 8049 h 71"/>
                <a:gd name="T4" fmla="*/ 10064 w 106"/>
                <a:gd name="T5" fmla="*/ 9659 h 71"/>
                <a:gd name="T6" fmla="*/ 14677 w 106"/>
                <a:gd name="T7" fmla="*/ 10464 h 71"/>
                <a:gd name="T8" fmla="*/ 18870 w 106"/>
                <a:gd name="T9" fmla="*/ 10464 h 71"/>
                <a:gd name="T10" fmla="*/ 22644 w 106"/>
                <a:gd name="T11" fmla="*/ 8854 h 71"/>
                <a:gd name="T12" fmla="*/ 25580 w 106"/>
                <a:gd name="T13" fmla="*/ 6439 h 71"/>
                <a:gd name="T14" fmla="*/ 28515 w 106"/>
                <a:gd name="T15" fmla="*/ 4025 h 71"/>
                <a:gd name="T16" fmla="*/ 31031 w 106"/>
                <a:gd name="T17" fmla="*/ 0 h 71"/>
                <a:gd name="T18" fmla="*/ 35225 w 106"/>
                <a:gd name="T19" fmla="*/ 12879 h 71"/>
                <a:gd name="T20" fmla="*/ 39418 w 106"/>
                <a:gd name="T21" fmla="*/ 24148 h 71"/>
                <a:gd name="T22" fmla="*/ 42353 w 106"/>
                <a:gd name="T23" fmla="*/ 35417 h 71"/>
                <a:gd name="T24" fmla="*/ 44031 w 106"/>
                <a:gd name="T25" fmla="*/ 44271 h 71"/>
                <a:gd name="T26" fmla="*/ 44450 w 106"/>
                <a:gd name="T27" fmla="*/ 48296 h 71"/>
                <a:gd name="T28" fmla="*/ 44450 w 106"/>
                <a:gd name="T29" fmla="*/ 50711 h 71"/>
                <a:gd name="T30" fmla="*/ 44031 w 106"/>
                <a:gd name="T31" fmla="*/ 53930 h 71"/>
                <a:gd name="T32" fmla="*/ 43192 w 106"/>
                <a:gd name="T33" fmla="*/ 55540 h 71"/>
                <a:gd name="T34" fmla="*/ 42353 w 106"/>
                <a:gd name="T35" fmla="*/ 56345 h 71"/>
                <a:gd name="T36" fmla="*/ 41095 w 106"/>
                <a:gd name="T37" fmla="*/ 56345 h 71"/>
                <a:gd name="T38" fmla="*/ 38579 w 106"/>
                <a:gd name="T39" fmla="*/ 56345 h 71"/>
                <a:gd name="T40" fmla="*/ 36483 w 106"/>
                <a:gd name="T41" fmla="*/ 54735 h 71"/>
                <a:gd name="T42" fmla="*/ 31031 w 106"/>
                <a:gd name="T43" fmla="*/ 56345 h 71"/>
                <a:gd name="T44" fmla="*/ 26418 w 106"/>
                <a:gd name="T45" fmla="*/ 57150 h 71"/>
                <a:gd name="T46" fmla="*/ 22225 w 106"/>
                <a:gd name="T47" fmla="*/ 55540 h 71"/>
                <a:gd name="T48" fmla="*/ 18870 w 106"/>
                <a:gd name="T49" fmla="*/ 53125 h 71"/>
                <a:gd name="T50" fmla="*/ 15516 w 106"/>
                <a:gd name="T51" fmla="*/ 49906 h 71"/>
                <a:gd name="T52" fmla="*/ 13419 w 106"/>
                <a:gd name="T53" fmla="*/ 45881 h 71"/>
                <a:gd name="T54" fmla="*/ 11322 w 106"/>
                <a:gd name="T55" fmla="*/ 41051 h 71"/>
                <a:gd name="T56" fmla="*/ 10064 w 106"/>
                <a:gd name="T57" fmla="*/ 36222 h 71"/>
                <a:gd name="T58" fmla="*/ 8806 w 106"/>
                <a:gd name="T59" fmla="*/ 30587 h 71"/>
                <a:gd name="T60" fmla="*/ 8387 w 106"/>
                <a:gd name="T61" fmla="*/ 24148 h 71"/>
                <a:gd name="T62" fmla="*/ 7967 w 106"/>
                <a:gd name="T63" fmla="*/ 19318 h 71"/>
                <a:gd name="T64" fmla="*/ 7548 w 106"/>
                <a:gd name="T65" fmla="*/ 15294 h 71"/>
                <a:gd name="T66" fmla="*/ 7548 w 106"/>
                <a:gd name="T67" fmla="*/ 11269 h 71"/>
                <a:gd name="T68" fmla="*/ 7967 w 106"/>
                <a:gd name="T69" fmla="*/ 8049 h 71"/>
                <a:gd name="T70" fmla="*/ 8387 w 106"/>
                <a:gd name="T71" fmla="*/ 5635 h 71"/>
                <a:gd name="T72" fmla="*/ 8806 w 106"/>
                <a:gd name="T73" fmla="*/ 5635 h 71"/>
                <a:gd name="T74" fmla="*/ 8387 w 106"/>
                <a:gd name="T75" fmla="*/ 8049 h 71"/>
                <a:gd name="T76" fmla="*/ 7967 w 106"/>
                <a:gd name="T77" fmla="*/ 12879 h 71"/>
                <a:gd name="T78" fmla="*/ 7967 w 106"/>
                <a:gd name="T79" fmla="*/ 13684 h 71"/>
                <a:gd name="T80" fmla="*/ 7967 w 106"/>
                <a:gd name="T81" fmla="*/ 13684 h 71"/>
                <a:gd name="T82" fmla="*/ 8387 w 106"/>
                <a:gd name="T83" fmla="*/ 13684 h 71"/>
                <a:gd name="T84" fmla="*/ 8806 w 106"/>
                <a:gd name="T85" fmla="*/ 13684 h 71"/>
                <a:gd name="T86" fmla="*/ 9645 w 106"/>
                <a:gd name="T87" fmla="*/ 10464 h 71"/>
                <a:gd name="T88" fmla="*/ 11322 w 106"/>
                <a:gd name="T89" fmla="*/ 5635 h 71"/>
                <a:gd name="T90" fmla="*/ 0 w 106"/>
                <a:gd name="T91" fmla="*/ 5635 h 71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106" h="71">
                  <a:moveTo>
                    <a:pt x="0" y="7"/>
                  </a:moveTo>
                  <a:lnTo>
                    <a:pt x="12" y="10"/>
                  </a:lnTo>
                  <a:lnTo>
                    <a:pt x="24" y="12"/>
                  </a:lnTo>
                  <a:lnTo>
                    <a:pt x="35" y="13"/>
                  </a:lnTo>
                  <a:lnTo>
                    <a:pt x="45" y="13"/>
                  </a:lnTo>
                  <a:lnTo>
                    <a:pt x="54" y="11"/>
                  </a:lnTo>
                  <a:lnTo>
                    <a:pt x="61" y="8"/>
                  </a:lnTo>
                  <a:lnTo>
                    <a:pt x="68" y="5"/>
                  </a:lnTo>
                  <a:lnTo>
                    <a:pt x="74" y="0"/>
                  </a:lnTo>
                  <a:lnTo>
                    <a:pt x="84" y="16"/>
                  </a:lnTo>
                  <a:lnTo>
                    <a:pt x="94" y="30"/>
                  </a:lnTo>
                  <a:lnTo>
                    <a:pt x="101" y="44"/>
                  </a:lnTo>
                  <a:lnTo>
                    <a:pt x="105" y="55"/>
                  </a:lnTo>
                  <a:lnTo>
                    <a:pt x="106" y="60"/>
                  </a:lnTo>
                  <a:lnTo>
                    <a:pt x="106" y="63"/>
                  </a:lnTo>
                  <a:lnTo>
                    <a:pt x="105" y="67"/>
                  </a:lnTo>
                  <a:lnTo>
                    <a:pt x="103" y="69"/>
                  </a:lnTo>
                  <a:lnTo>
                    <a:pt x="101" y="70"/>
                  </a:lnTo>
                  <a:lnTo>
                    <a:pt x="98" y="70"/>
                  </a:lnTo>
                  <a:lnTo>
                    <a:pt x="92" y="70"/>
                  </a:lnTo>
                  <a:lnTo>
                    <a:pt x="87" y="68"/>
                  </a:lnTo>
                  <a:lnTo>
                    <a:pt x="74" y="70"/>
                  </a:lnTo>
                  <a:lnTo>
                    <a:pt x="63" y="71"/>
                  </a:lnTo>
                  <a:lnTo>
                    <a:pt x="53" y="69"/>
                  </a:lnTo>
                  <a:lnTo>
                    <a:pt x="45" y="66"/>
                  </a:lnTo>
                  <a:lnTo>
                    <a:pt x="37" y="62"/>
                  </a:lnTo>
                  <a:lnTo>
                    <a:pt x="32" y="57"/>
                  </a:lnTo>
                  <a:lnTo>
                    <a:pt x="27" y="51"/>
                  </a:lnTo>
                  <a:lnTo>
                    <a:pt x="24" y="45"/>
                  </a:lnTo>
                  <a:lnTo>
                    <a:pt x="21" y="38"/>
                  </a:lnTo>
                  <a:lnTo>
                    <a:pt x="20" y="30"/>
                  </a:lnTo>
                  <a:lnTo>
                    <a:pt x="19" y="24"/>
                  </a:lnTo>
                  <a:lnTo>
                    <a:pt x="18" y="19"/>
                  </a:lnTo>
                  <a:lnTo>
                    <a:pt x="18" y="14"/>
                  </a:lnTo>
                  <a:lnTo>
                    <a:pt x="19" y="10"/>
                  </a:lnTo>
                  <a:lnTo>
                    <a:pt x="20" y="7"/>
                  </a:lnTo>
                  <a:lnTo>
                    <a:pt x="21" y="7"/>
                  </a:lnTo>
                  <a:lnTo>
                    <a:pt x="20" y="10"/>
                  </a:lnTo>
                  <a:lnTo>
                    <a:pt x="19" y="16"/>
                  </a:lnTo>
                  <a:lnTo>
                    <a:pt x="19" y="17"/>
                  </a:lnTo>
                  <a:lnTo>
                    <a:pt x="20" y="17"/>
                  </a:lnTo>
                  <a:lnTo>
                    <a:pt x="21" y="17"/>
                  </a:lnTo>
                  <a:lnTo>
                    <a:pt x="23" y="13"/>
                  </a:lnTo>
                  <a:lnTo>
                    <a:pt x="27" y="7"/>
                  </a:lnTo>
                  <a:lnTo>
                    <a:pt x="0" y="7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grpSp>
          <p:nvGrpSpPr>
            <p:cNvPr id="639" name="Group 38"/>
            <p:cNvGrpSpPr>
              <a:grpSpLocks/>
            </p:cNvGrpSpPr>
            <p:nvPr>
              <p:custDataLst>
                <p:tags r:id="rId31"/>
              </p:custDataLst>
            </p:nvPr>
          </p:nvGrpSpPr>
          <p:grpSpPr bwMode="auto">
            <a:xfrm>
              <a:off x="4043474" y="6065247"/>
              <a:ext cx="77596" cy="66724"/>
              <a:chOff x="1654" y="3671"/>
              <a:chExt cx="49" cy="17"/>
            </a:xfrm>
            <a:grpFill/>
          </p:grpSpPr>
          <p:sp>
            <p:nvSpPr>
              <p:cNvPr id="1148" name="Freeform 39"/>
              <p:cNvSpPr>
                <a:spLocks/>
              </p:cNvSpPr>
              <p:nvPr/>
            </p:nvSpPr>
            <p:spPr bwMode="auto">
              <a:xfrm>
                <a:off x="1654" y="3672"/>
                <a:ext cx="20" cy="14"/>
              </a:xfrm>
              <a:custGeom>
                <a:avLst/>
                <a:gdLst>
                  <a:gd name="T0" fmla="*/ 9 w 59"/>
                  <a:gd name="T1" fmla="*/ 14 h 43"/>
                  <a:gd name="T2" fmla="*/ 20 w 59"/>
                  <a:gd name="T3" fmla="*/ 6 h 43"/>
                  <a:gd name="T4" fmla="*/ 19 w 59"/>
                  <a:gd name="T5" fmla="*/ 5 h 43"/>
                  <a:gd name="T6" fmla="*/ 17 w 59"/>
                  <a:gd name="T7" fmla="*/ 3 h 43"/>
                  <a:gd name="T8" fmla="*/ 16 w 59"/>
                  <a:gd name="T9" fmla="*/ 2 h 43"/>
                  <a:gd name="T10" fmla="*/ 16 w 59"/>
                  <a:gd name="T11" fmla="*/ 0 h 43"/>
                  <a:gd name="T12" fmla="*/ 14 w 59"/>
                  <a:gd name="T13" fmla="*/ 0 h 43"/>
                  <a:gd name="T14" fmla="*/ 12 w 59"/>
                  <a:gd name="T15" fmla="*/ 1 h 43"/>
                  <a:gd name="T16" fmla="*/ 11 w 59"/>
                  <a:gd name="T17" fmla="*/ 2 h 43"/>
                  <a:gd name="T18" fmla="*/ 10 w 59"/>
                  <a:gd name="T19" fmla="*/ 3 h 43"/>
                  <a:gd name="T20" fmla="*/ 9 w 59"/>
                  <a:gd name="T21" fmla="*/ 3 h 43"/>
                  <a:gd name="T22" fmla="*/ 9 w 59"/>
                  <a:gd name="T23" fmla="*/ 4 h 43"/>
                  <a:gd name="T24" fmla="*/ 7 w 59"/>
                  <a:gd name="T25" fmla="*/ 4 h 43"/>
                  <a:gd name="T26" fmla="*/ 4 w 59"/>
                  <a:gd name="T27" fmla="*/ 5 h 43"/>
                  <a:gd name="T28" fmla="*/ 2 w 59"/>
                  <a:gd name="T29" fmla="*/ 7 h 43"/>
                  <a:gd name="T30" fmla="*/ 0 w 59"/>
                  <a:gd name="T31" fmla="*/ 8 h 43"/>
                  <a:gd name="T32" fmla="*/ 2 w 59"/>
                  <a:gd name="T33" fmla="*/ 9 h 43"/>
                  <a:gd name="T34" fmla="*/ 3 w 59"/>
                  <a:gd name="T35" fmla="*/ 11 h 43"/>
                  <a:gd name="T36" fmla="*/ 6 w 59"/>
                  <a:gd name="T37" fmla="*/ 13 h 43"/>
                  <a:gd name="T38" fmla="*/ 9 w 59"/>
                  <a:gd name="T39" fmla="*/ 14 h 43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59" h="43">
                    <a:moveTo>
                      <a:pt x="26" y="43"/>
                    </a:moveTo>
                    <a:lnTo>
                      <a:pt x="59" y="18"/>
                    </a:lnTo>
                    <a:lnTo>
                      <a:pt x="55" y="14"/>
                    </a:lnTo>
                    <a:lnTo>
                      <a:pt x="51" y="9"/>
                    </a:lnTo>
                    <a:lnTo>
                      <a:pt x="47" y="5"/>
                    </a:lnTo>
                    <a:lnTo>
                      <a:pt x="46" y="0"/>
                    </a:lnTo>
                    <a:lnTo>
                      <a:pt x="41" y="1"/>
                    </a:lnTo>
                    <a:lnTo>
                      <a:pt x="34" y="4"/>
                    </a:lnTo>
                    <a:lnTo>
                      <a:pt x="31" y="6"/>
                    </a:lnTo>
                    <a:lnTo>
                      <a:pt x="29" y="8"/>
                    </a:lnTo>
                    <a:lnTo>
                      <a:pt x="26" y="10"/>
                    </a:lnTo>
                    <a:lnTo>
                      <a:pt x="26" y="12"/>
                    </a:lnTo>
                    <a:lnTo>
                      <a:pt x="20" y="13"/>
                    </a:lnTo>
                    <a:lnTo>
                      <a:pt x="13" y="16"/>
                    </a:lnTo>
                    <a:lnTo>
                      <a:pt x="6" y="20"/>
                    </a:lnTo>
                    <a:lnTo>
                      <a:pt x="0" y="24"/>
                    </a:lnTo>
                    <a:lnTo>
                      <a:pt x="5" y="29"/>
                    </a:lnTo>
                    <a:lnTo>
                      <a:pt x="10" y="34"/>
                    </a:lnTo>
                    <a:lnTo>
                      <a:pt x="18" y="39"/>
                    </a:lnTo>
                    <a:lnTo>
                      <a:pt x="26" y="43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149" name="Freeform 40"/>
              <p:cNvSpPr>
                <a:spLocks/>
              </p:cNvSpPr>
              <p:nvPr/>
            </p:nvSpPr>
            <p:spPr bwMode="auto">
              <a:xfrm>
                <a:off x="1681" y="3671"/>
                <a:ext cx="22" cy="17"/>
              </a:xfrm>
              <a:custGeom>
                <a:avLst/>
                <a:gdLst>
                  <a:gd name="T0" fmla="*/ 0 w 67"/>
                  <a:gd name="T1" fmla="*/ 1 h 51"/>
                  <a:gd name="T2" fmla="*/ 8 w 67"/>
                  <a:gd name="T3" fmla="*/ 0 h 51"/>
                  <a:gd name="T4" fmla="*/ 13 w 67"/>
                  <a:gd name="T5" fmla="*/ 0 h 51"/>
                  <a:gd name="T6" fmla="*/ 15 w 67"/>
                  <a:gd name="T7" fmla="*/ 0 h 51"/>
                  <a:gd name="T8" fmla="*/ 17 w 67"/>
                  <a:gd name="T9" fmla="*/ 1 h 51"/>
                  <a:gd name="T10" fmla="*/ 19 w 67"/>
                  <a:gd name="T11" fmla="*/ 1 h 51"/>
                  <a:gd name="T12" fmla="*/ 22 w 67"/>
                  <a:gd name="T13" fmla="*/ 3 h 51"/>
                  <a:gd name="T14" fmla="*/ 18 w 67"/>
                  <a:gd name="T15" fmla="*/ 4 h 51"/>
                  <a:gd name="T16" fmla="*/ 15 w 67"/>
                  <a:gd name="T17" fmla="*/ 6 h 51"/>
                  <a:gd name="T18" fmla="*/ 14 w 67"/>
                  <a:gd name="T19" fmla="*/ 7 h 51"/>
                  <a:gd name="T20" fmla="*/ 12 w 67"/>
                  <a:gd name="T21" fmla="*/ 8 h 51"/>
                  <a:gd name="T22" fmla="*/ 10 w 67"/>
                  <a:gd name="T23" fmla="*/ 9 h 51"/>
                  <a:gd name="T24" fmla="*/ 7 w 67"/>
                  <a:gd name="T25" fmla="*/ 9 h 51"/>
                  <a:gd name="T26" fmla="*/ 8 w 67"/>
                  <a:gd name="T27" fmla="*/ 9 h 51"/>
                  <a:gd name="T28" fmla="*/ 11 w 67"/>
                  <a:gd name="T29" fmla="*/ 9 h 51"/>
                  <a:gd name="T30" fmla="*/ 10 w 67"/>
                  <a:gd name="T31" fmla="*/ 11 h 51"/>
                  <a:gd name="T32" fmla="*/ 8 w 67"/>
                  <a:gd name="T33" fmla="*/ 13 h 51"/>
                  <a:gd name="T34" fmla="*/ 7 w 67"/>
                  <a:gd name="T35" fmla="*/ 15 h 51"/>
                  <a:gd name="T36" fmla="*/ 7 w 67"/>
                  <a:gd name="T37" fmla="*/ 15 h 51"/>
                  <a:gd name="T38" fmla="*/ 4 w 67"/>
                  <a:gd name="T39" fmla="*/ 16 h 51"/>
                  <a:gd name="T40" fmla="*/ 0 w 67"/>
                  <a:gd name="T41" fmla="*/ 17 h 51"/>
                  <a:gd name="T42" fmla="*/ 0 w 67"/>
                  <a:gd name="T43" fmla="*/ 1 h 51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67" h="51">
                    <a:moveTo>
                      <a:pt x="0" y="2"/>
                    </a:moveTo>
                    <a:lnTo>
                      <a:pt x="24" y="1"/>
                    </a:lnTo>
                    <a:lnTo>
                      <a:pt x="39" y="0"/>
                    </a:lnTo>
                    <a:lnTo>
                      <a:pt x="45" y="1"/>
                    </a:lnTo>
                    <a:lnTo>
                      <a:pt x="51" y="2"/>
                    </a:lnTo>
                    <a:lnTo>
                      <a:pt x="58" y="4"/>
                    </a:lnTo>
                    <a:lnTo>
                      <a:pt x="67" y="8"/>
                    </a:lnTo>
                    <a:lnTo>
                      <a:pt x="55" y="13"/>
                    </a:lnTo>
                    <a:lnTo>
                      <a:pt x="46" y="19"/>
                    </a:lnTo>
                    <a:lnTo>
                      <a:pt x="42" y="22"/>
                    </a:lnTo>
                    <a:lnTo>
                      <a:pt x="36" y="24"/>
                    </a:lnTo>
                    <a:lnTo>
                      <a:pt x="29" y="26"/>
                    </a:lnTo>
                    <a:lnTo>
                      <a:pt x="20" y="26"/>
                    </a:lnTo>
                    <a:lnTo>
                      <a:pt x="24" y="26"/>
                    </a:lnTo>
                    <a:lnTo>
                      <a:pt x="34" y="26"/>
                    </a:lnTo>
                    <a:lnTo>
                      <a:pt x="29" y="34"/>
                    </a:lnTo>
                    <a:lnTo>
                      <a:pt x="25" y="40"/>
                    </a:lnTo>
                    <a:lnTo>
                      <a:pt x="22" y="44"/>
                    </a:lnTo>
                    <a:lnTo>
                      <a:pt x="20" y="46"/>
                    </a:lnTo>
                    <a:lnTo>
                      <a:pt x="12" y="48"/>
                    </a:lnTo>
                    <a:lnTo>
                      <a:pt x="0" y="51"/>
                    </a:lnTo>
                    <a:lnTo>
                      <a:pt x="0" y="2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640" name="Freeform 41"/>
            <p:cNvSpPr>
              <a:spLocks/>
            </p:cNvSpPr>
            <p:nvPr>
              <p:custDataLst>
                <p:tags r:id="rId32"/>
              </p:custDataLst>
            </p:nvPr>
          </p:nvSpPr>
          <p:spPr bwMode="auto">
            <a:xfrm>
              <a:off x="3623315" y="3417289"/>
              <a:ext cx="37852" cy="70535"/>
            </a:xfrm>
            <a:custGeom>
              <a:avLst/>
              <a:gdLst>
                <a:gd name="T0" fmla="*/ 0 w 80"/>
                <a:gd name="T1" fmla="*/ 25913 h 34"/>
                <a:gd name="T2" fmla="*/ 397 w 80"/>
                <a:gd name="T3" fmla="*/ 32824 h 34"/>
                <a:gd name="T4" fmla="*/ 794 w 80"/>
                <a:gd name="T5" fmla="*/ 36279 h 34"/>
                <a:gd name="T6" fmla="*/ 1588 w 80"/>
                <a:gd name="T7" fmla="*/ 41461 h 34"/>
                <a:gd name="T8" fmla="*/ 2778 w 80"/>
                <a:gd name="T9" fmla="*/ 44917 h 34"/>
                <a:gd name="T10" fmla="*/ 5159 w 80"/>
                <a:gd name="T11" fmla="*/ 50099 h 34"/>
                <a:gd name="T12" fmla="*/ 8731 w 80"/>
                <a:gd name="T13" fmla="*/ 53554 h 34"/>
                <a:gd name="T14" fmla="*/ 15875 w 80"/>
                <a:gd name="T15" fmla="*/ 57009 h 34"/>
                <a:gd name="T16" fmla="*/ 21431 w 80"/>
                <a:gd name="T17" fmla="*/ 58737 h 34"/>
                <a:gd name="T18" fmla="*/ 23019 w 80"/>
                <a:gd name="T19" fmla="*/ 57009 h 34"/>
                <a:gd name="T20" fmla="*/ 24606 w 80"/>
                <a:gd name="T21" fmla="*/ 55282 h 34"/>
                <a:gd name="T22" fmla="*/ 25797 w 80"/>
                <a:gd name="T23" fmla="*/ 50099 h 34"/>
                <a:gd name="T24" fmla="*/ 26591 w 80"/>
                <a:gd name="T25" fmla="*/ 46644 h 34"/>
                <a:gd name="T26" fmla="*/ 28972 w 80"/>
                <a:gd name="T27" fmla="*/ 36279 h 34"/>
                <a:gd name="T28" fmla="*/ 31750 w 80"/>
                <a:gd name="T29" fmla="*/ 25913 h 34"/>
                <a:gd name="T30" fmla="*/ 29766 w 80"/>
                <a:gd name="T31" fmla="*/ 17276 h 34"/>
                <a:gd name="T32" fmla="*/ 27781 w 80"/>
                <a:gd name="T33" fmla="*/ 12093 h 34"/>
                <a:gd name="T34" fmla="*/ 25797 w 80"/>
                <a:gd name="T35" fmla="*/ 6910 h 34"/>
                <a:gd name="T36" fmla="*/ 23813 w 80"/>
                <a:gd name="T37" fmla="*/ 3455 h 34"/>
                <a:gd name="T38" fmla="*/ 21828 w 80"/>
                <a:gd name="T39" fmla="*/ 0 h 34"/>
                <a:gd name="T40" fmla="*/ 20241 w 80"/>
                <a:gd name="T41" fmla="*/ 0 h 34"/>
                <a:gd name="T42" fmla="*/ 17859 w 80"/>
                <a:gd name="T43" fmla="*/ 1728 h 34"/>
                <a:gd name="T44" fmla="*/ 16272 w 80"/>
                <a:gd name="T45" fmla="*/ 3455 h 34"/>
                <a:gd name="T46" fmla="*/ 13494 w 80"/>
                <a:gd name="T47" fmla="*/ 3455 h 34"/>
                <a:gd name="T48" fmla="*/ 8334 w 80"/>
                <a:gd name="T49" fmla="*/ 3455 h 34"/>
                <a:gd name="T50" fmla="*/ 5159 w 80"/>
                <a:gd name="T51" fmla="*/ 5183 h 34"/>
                <a:gd name="T52" fmla="*/ 2778 w 80"/>
                <a:gd name="T53" fmla="*/ 8638 h 34"/>
                <a:gd name="T54" fmla="*/ 1588 w 80"/>
                <a:gd name="T55" fmla="*/ 12093 h 34"/>
                <a:gd name="T56" fmla="*/ 794 w 80"/>
                <a:gd name="T57" fmla="*/ 15548 h 34"/>
                <a:gd name="T58" fmla="*/ 397 w 80"/>
                <a:gd name="T59" fmla="*/ 19003 h 34"/>
                <a:gd name="T60" fmla="*/ 0 w 80"/>
                <a:gd name="T61" fmla="*/ 25913 h 3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80" h="34">
                  <a:moveTo>
                    <a:pt x="0" y="15"/>
                  </a:moveTo>
                  <a:lnTo>
                    <a:pt x="1" y="19"/>
                  </a:lnTo>
                  <a:lnTo>
                    <a:pt x="2" y="21"/>
                  </a:lnTo>
                  <a:lnTo>
                    <a:pt x="4" y="24"/>
                  </a:lnTo>
                  <a:lnTo>
                    <a:pt x="7" y="26"/>
                  </a:lnTo>
                  <a:lnTo>
                    <a:pt x="13" y="29"/>
                  </a:lnTo>
                  <a:lnTo>
                    <a:pt x="22" y="31"/>
                  </a:lnTo>
                  <a:lnTo>
                    <a:pt x="40" y="33"/>
                  </a:lnTo>
                  <a:lnTo>
                    <a:pt x="54" y="34"/>
                  </a:lnTo>
                  <a:lnTo>
                    <a:pt x="58" y="33"/>
                  </a:lnTo>
                  <a:lnTo>
                    <a:pt x="62" y="32"/>
                  </a:lnTo>
                  <a:lnTo>
                    <a:pt x="65" y="29"/>
                  </a:lnTo>
                  <a:lnTo>
                    <a:pt x="67" y="27"/>
                  </a:lnTo>
                  <a:lnTo>
                    <a:pt x="73" y="21"/>
                  </a:lnTo>
                  <a:lnTo>
                    <a:pt x="80" y="15"/>
                  </a:lnTo>
                  <a:lnTo>
                    <a:pt x="75" y="10"/>
                  </a:lnTo>
                  <a:lnTo>
                    <a:pt x="70" y="7"/>
                  </a:lnTo>
                  <a:lnTo>
                    <a:pt x="65" y="4"/>
                  </a:lnTo>
                  <a:lnTo>
                    <a:pt x="60" y="2"/>
                  </a:lnTo>
                  <a:lnTo>
                    <a:pt x="55" y="0"/>
                  </a:lnTo>
                  <a:lnTo>
                    <a:pt x="51" y="0"/>
                  </a:lnTo>
                  <a:lnTo>
                    <a:pt x="45" y="1"/>
                  </a:lnTo>
                  <a:lnTo>
                    <a:pt x="41" y="2"/>
                  </a:lnTo>
                  <a:lnTo>
                    <a:pt x="34" y="2"/>
                  </a:lnTo>
                  <a:lnTo>
                    <a:pt x="21" y="2"/>
                  </a:lnTo>
                  <a:lnTo>
                    <a:pt x="13" y="3"/>
                  </a:lnTo>
                  <a:lnTo>
                    <a:pt x="7" y="5"/>
                  </a:lnTo>
                  <a:lnTo>
                    <a:pt x="4" y="7"/>
                  </a:lnTo>
                  <a:lnTo>
                    <a:pt x="2" y="9"/>
                  </a:lnTo>
                  <a:lnTo>
                    <a:pt x="1" y="11"/>
                  </a:lnTo>
                  <a:lnTo>
                    <a:pt x="0" y="1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641" name="Freeform 42"/>
            <p:cNvSpPr>
              <a:spLocks/>
            </p:cNvSpPr>
            <p:nvPr>
              <p:custDataLst>
                <p:tags r:id="rId33"/>
              </p:custDataLst>
            </p:nvPr>
          </p:nvSpPr>
          <p:spPr bwMode="auto">
            <a:xfrm>
              <a:off x="3689556" y="3424914"/>
              <a:ext cx="1893" cy="70535"/>
            </a:xfrm>
            <a:custGeom>
              <a:avLst/>
              <a:gdLst>
                <a:gd name="T0" fmla="*/ 0 w 7"/>
                <a:gd name="T1" fmla="*/ 0 h 13"/>
                <a:gd name="T2" fmla="*/ 1588 w 7"/>
                <a:gd name="T3" fmla="*/ 58737 h 13"/>
                <a:gd name="T4" fmla="*/ 1588 w 7"/>
                <a:gd name="T5" fmla="*/ 31628 h 1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7" h="13">
                  <a:moveTo>
                    <a:pt x="0" y="0"/>
                  </a:moveTo>
                  <a:lnTo>
                    <a:pt x="7" y="13"/>
                  </a:lnTo>
                  <a:lnTo>
                    <a:pt x="7" y="7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642" name="Freeform 43"/>
            <p:cNvSpPr>
              <a:spLocks/>
            </p:cNvSpPr>
            <p:nvPr>
              <p:custDataLst>
                <p:tags r:id="rId34"/>
              </p:custDataLst>
            </p:nvPr>
          </p:nvSpPr>
          <p:spPr bwMode="auto">
            <a:xfrm>
              <a:off x="3704697" y="3426819"/>
              <a:ext cx="7570" cy="70537"/>
            </a:xfrm>
            <a:custGeom>
              <a:avLst/>
              <a:gdLst>
                <a:gd name="T0" fmla="*/ 0 w 20"/>
                <a:gd name="T1" fmla="*/ 0 h 6"/>
                <a:gd name="T2" fmla="*/ 2223 w 20"/>
                <a:gd name="T3" fmla="*/ 29369 h 6"/>
                <a:gd name="T4" fmla="*/ 6350 w 20"/>
                <a:gd name="T5" fmla="*/ 58738 h 6"/>
                <a:gd name="T6" fmla="*/ 0 w 20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0" h="6">
                  <a:moveTo>
                    <a:pt x="0" y="0"/>
                  </a:moveTo>
                  <a:lnTo>
                    <a:pt x="7" y="3"/>
                  </a:lnTo>
                  <a:lnTo>
                    <a:pt x="20" y="6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643" name="Freeform 44"/>
            <p:cNvSpPr>
              <a:spLocks/>
            </p:cNvSpPr>
            <p:nvPr>
              <p:custDataLst>
                <p:tags r:id="rId35"/>
              </p:custDataLst>
            </p:nvPr>
          </p:nvSpPr>
          <p:spPr bwMode="auto">
            <a:xfrm>
              <a:off x="3721732" y="3415380"/>
              <a:ext cx="9462" cy="68630"/>
            </a:xfrm>
            <a:custGeom>
              <a:avLst/>
              <a:gdLst>
                <a:gd name="T0" fmla="*/ 0 w 14"/>
                <a:gd name="T1" fmla="*/ 57150 h 12"/>
                <a:gd name="T2" fmla="*/ 7937 w 14"/>
                <a:gd name="T3" fmla="*/ 0 h 12"/>
                <a:gd name="T4" fmla="*/ 0 w 14"/>
                <a:gd name="T5" fmla="*/ 57150 h 1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4" h="12">
                  <a:moveTo>
                    <a:pt x="0" y="12"/>
                  </a:moveTo>
                  <a:lnTo>
                    <a:pt x="14" y="0"/>
                  </a:lnTo>
                  <a:lnTo>
                    <a:pt x="0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644" name="Freeform 45"/>
            <p:cNvSpPr>
              <a:spLocks/>
            </p:cNvSpPr>
            <p:nvPr>
              <p:custDataLst>
                <p:tags r:id="rId36"/>
              </p:custDataLst>
            </p:nvPr>
          </p:nvSpPr>
          <p:spPr bwMode="auto">
            <a:xfrm>
              <a:off x="3697127" y="3405850"/>
              <a:ext cx="13249" cy="70535"/>
            </a:xfrm>
            <a:custGeom>
              <a:avLst/>
              <a:gdLst>
                <a:gd name="T0" fmla="*/ 0 w 27"/>
                <a:gd name="T1" fmla="*/ 0 h 7"/>
                <a:gd name="T2" fmla="*/ 0 w 27"/>
                <a:gd name="T3" fmla="*/ 33564 h 7"/>
                <a:gd name="T4" fmla="*/ 823 w 27"/>
                <a:gd name="T5" fmla="*/ 50346 h 7"/>
                <a:gd name="T6" fmla="*/ 2881 w 27"/>
                <a:gd name="T7" fmla="*/ 58737 h 7"/>
                <a:gd name="T8" fmla="*/ 4116 w 27"/>
                <a:gd name="T9" fmla="*/ 58737 h 7"/>
                <a:gd name="T10" fmla="*/ 6174 w 27"/>
                <a:gd name="T11" fmla="*/ 50346 h 7"/>
                <a:gd name="T12" fmla="*/ 7820 w 27"/>
                <a:gd name="T13" fmla="*/ 33564 h 7"/>
                <a:gd name="T14" fmla="*/ 9467 w 27"/>
                <a:gd name="T15" fmla="*/ 16782 h 7"/>
                <a:gd name="T16" fmla="*/ 11113 w 27"/>
                <a:gd name="T17" fmla="*/ 0 h 7"/>
                <a:gd name="T18" fmla="*/ 0 w 27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7" h="7">
                  <a:moveTo>
                    <a:pt x="0" y="0"/>
                  </a:moveTo>
                  <a:lnTo>
                    <a:pt x="0" y="4"/>
                  </a:lnTo>
                  <a:lnTo>
                    <a:pt x="2" y="6"/>
                  </a:lnTo>
                  <a:lnTo>
                    <a:pt x="7" y="7"/>
                  </a:lnTo>
                  <a:lnTo>
                    <a:pt x="10" y="7"/>
                  </a:lnTo>
                  <a:lnTo>
                    <a:pt x="15" y="6"/>
                  </a:lnTo>
                  <a:lnTo>
                    <a:pt x="19" y="4"/>
                  </a:lnTo>
                  <a:lnTo>
                    <a:pt x="23" y="2"/>
                  </a:lnTo>
                  <a:lnTo>
                    <a:pt x="27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645" name="Freeform 46"/>
            <p:cNvSpPr>
              <a:spLocks/>
            </p:cNvSpPr>
            <p:nvPr>
              <p:custDataLst>
                <p:tags r:id="rId37"/>
              </p:custDataLst>
            </p:nvPr>
          </p:nvSpPr>
          <p:spPr bwMode="auto">
            <a:xfrm>
              <a:off x="3755799" y="3440165"/>
              <a:ext cx="17033" cy="72442"/>
            </a:xfrm>
            <a:custGeom>
              <a:avLst/>
              <a:gdLst>
                <a:gd name="T0" fmla="*/ 0 w 27"/>
                <a:gd name="T1" fmla="*/ 0 h 6"/>
                <a:gd name="T2" fmla="*/ 5821 w 27"/>
                <a:gd name="T3" fmla="*/ 30163 h 6"/>
                <a:gd name="T4" fmla="*/ 14287 w 27"/>
                <a:gd name="T5" fmla="*/ 60325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7" h="6">
                  <a:moveTo>
                    <a:pt x="0" y="0"/>
                  </a:moveTo>
                  <a:lnTo>
                    <a:pt x="11" y="3"/>
                  </a:lnTo>
                  <a:lnTo>
                    <a:pt x="27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646" name="Line 47"/>
            <p:cNvSpPr>
              <a:spLocks noChangeShapeType="1"/>
            </p:cNvSpPr>
            <p:nvPr>
              <p:custDataLst>
                <p:tags r:id="rId38"/>
              </p:custDataLst>
            </p:nvPr>
          </p:nvSpPr>
          <p:spPr bwMode="auto">
            <a:xfrm flipH="1" flipV="1">
              <a:off x="3765260" y="3436352"/>
              <a:ext cx="7570" cy="11438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647" name="Line 48"/>
            <p:cNvSpPr>
              <a:spLocks noChangeShapeType="1"/>
            </p:cNvSpPr>
            <p:nvPr>
              <p:custDataLst>
                <p:tags r:id="rId39"/>
              </p:custDataLst>
            </p:nvPr>
          </p:nvSpPr>
          <p:spPr bwMode="auto">
            <a:xfrm flipH="1">
              <a:off x="3765260" y="3466853"/>
              <a:ext cx="7570" cy="13344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648" name="Freeform 49"/>
            <p:cNvSpPr>
              <a:spLocks/>
            </p:cNvSpPr>
            <p:nvPr>
              <p:custDataLst>
                <p:tags r:id="rId40"/>
              </p:custDataLst>
            </p:nvPr>
          </p:nvSpPr>
          <p:spPr bwMode="auto">
            <a:xfrm>
              <a:off x="3765261" y="3461134"/>
              <a:ext cx="13249" cy="70537"/>
            </a:xfrm>
            <a:custGeom>
              <a:avLst/>
              <a:gdLst>
                <a:gd name="T0" fmla="*/ 0 w 20"/>
                <a:gd name="T1" fmla="*/ 58738 h 24"/>
                <a:gd name="T2" fmla="*/ 1111 w 20"/>
                <a:gd name="T3" fmla="*/ 58738 h 24"/>
                <a:gd name="T4" fmla="*/ 3334 w 20"/>
                <a:gd name="T5" fmla="*/ 53843 h 24"/>
                <a:gd name="T6" fmla="*/ 5001 w 20"/>
                <a:gd name="T7" fmla="*/ 48948 h 24"/>
                <a:gd name="T8" fmla="*/ 6668 w 20"/>
                <a:gd name="T9" fmla="*/ 39159 h 24"/>
                <a:gd name="T10" fmla="*/ 8335 w 20"/>
                <a:gd name="T11" fmla="*/ 31816 h 24"/>
                <a:gd name="T12" fmla="*/ 10002 w 20"/>
                <a:gd name="T13" fmla="*/ 22027 h 24"/>
                <a:gd name="T14" fmla="*/ 10557 w 20"/>
                <a:gd name="T15" fmla="*/ 9790 h 24"/>
                <a:gd name="T16" fmla="*/ 11113 w 20"/>
                <a:gd name="T17" fmla="*/ 0 h 2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0" h="24">
                  <a:moveTo>
                    <a:pt x="0" y="24"/>
                  </a:moveTo>
                  <a:lnTo>
                    <a:pt x="2" y="24"/>
                  </a:lnTo>
                  <a:lnTo>
                    <a:pt x="6" y="22"/>
                  </a:lnTo>
                  <a:lnTo>
                    <a:pt x="9" y="20"/>
                  </a:lnTo>
                  <a:lnTo>
                    <a:pt x="12" y="16"/>
                  </a:lnTo>
                  <a:lnTo>
                    <a:pt x="15" y="13"/>
                  </a:lnTo>
                  <a:lnTo>
                    <a:pt x="18" y="9"/>
                  </a:lnTo>
                  <a:lnTo>
                    <a:pt x="19" y="4"/>
                  </a:lnTo>
                  <a:lnTo>
                    <a:pt x="2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649" name="Freeform 50"/>
            <p:cNvSpPr>
              <a:spLocks/>
            </p:cNvSpPr>
            <p:nvPr>
              <p:custDataLst>
                <p:tags r:id="rId41"/>
              </p:custDataLst>
            </p:nvPr>
          </p:nvSpPr>
          <p:spPr bwMode="auto">
            <a:xfrm>
              <a:off x="3772831" y="3495450"/>
              <a:ext cx="20819" cy="66724"/>
            </a:xfrm>
            <a:custGeom>
              <a:avLst/>
              <a:gdLst>
                <a:gd name="T0" fmla="*/ 6879 w 33"/>
                <a:gd name="T1" fmla="*/ 15558 h 25"/>
                <a:gd name="T2" fmla="*/ 0 w 33"/>
                <a:gd name="T3" fmla="*/ 42228 h 25"/>
                <a:gd name="T4" fmla="*/ 5292 w 33"/>
                <a:gd name="T5" fmla="*/ 44450 h 25"/>
                <a:gd name="T6" fmla="*/ 10054 w 33"/>
                <a:gd name="T7" fmla="*/ 48895 h 25"/>
                <a:gd name="T8" fmla="*/ 14288 w 33"/>
                <a:gd name="T9" fmla="*/ 55563 h 25"/>
                <a:gd name="T10" fmla="*/ 17463 w 33"/>
                <a:gd name="T11" fmla="*/ 55563 h 25"/>
                <a:gd name="T12" fmla="*/ 17463 w 33"/>
                <a:gd name="T13" fmla="*/ 0 h 25"/>
                <a:gd name="T14" fmla="*/ 14288 w 33"/>
                <a:gd name="T15" fmla="*/ 0 h 25"/>
                <a:gd name="T16" fmla="*/ 6879 w 33"/>
                <a:gd name="T17" fmla="*/ 15558 h 2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3" h="25">
                  <a:moveTo>
                    <a:pt x="13" y="7"/>
                  </a:moveTo>
                  <a:lnTo>
                    <a:pt x="0" y="19"/>
                  </a:lnTo>
                  <a:lnTo>
                    <a:pt x="10" y="20"/>
                  </a:lnTo>
                  <a:lnTo>
                    <a:pt x="19" y="22"/>
                  </a:lnTo>
                  <a:lnTo>
                    <a:pt x="27" y="25"/>
                  </a:lnTo>
                  <a:lnTo>
                    <a:pt x="33" y="25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3" y="7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650" name="Freeform 51"/>
            <p:cNvSpPr>
              <a:spLocks/>
            </p:cNvSpPr>
            <p:nvPr>
              <p:custDataLst>
                <p:tags r:id="rId42"/>
              </p:custDataLst>
            </p:nvPr>
          </p:nvSpPr>
          <p:spPr bwMode="auto">
            <a:xfrm>
              <a:off x="3780402" y="3552640"/>
              <a:ext cx="18926" cy="68630"/>
            </a:xfrm>
            <a:custGeom>
              <a:avLst/>
              <a:gdLst>
                <a:gd name="T0" fmla="*/ 0 w 40"/>
                <a:gd name="T1" fmla="*/ 0 h 18"/>
                <a:gd name="T2" fmla="*/ 1191 w 40"/>
                <a:gd name="T3" fmla="*/ 19050 h 18"/>
                <a:gd name="T4" fmla="*/ 2381 w 40"/>
                <a:gd name="T5" fmla="*/ 34925 h 18"/>
                <a:gd name="T6" fmla="*/ 3969 w 40"/>
                <a:gd name="T7" fmla="*/ 44450 h 18"/>
                <a:gd name="T8" fmla="*/ 5953 w 40"/>
                <a:gd name="T9" fmla="*/ 50800 h 18"/>
                <a:gd name="T10" fmla="*/ 10716 w 40"/>
                <a:gd name="T11" fmla="*/ 57150 h 18"/>
                <a:gd name="T12" fmla="*/ 15875 w 40"/>
                <a:gd name="T13" fmla="*/ 57150 h 18"/>
                <a:gd name="T14" fmla="*/ 15875 w 40"/>
                <a:gd name="T15" fmla="*/ 0 h 18"/>
                <a:gd name="T16" fmla="*/ 11906 w 40"/>
                <a:gd name="T17" fmla="*/ 0 h 18"/>
                <a:gd name="T18" fmla="*/ 7938 w 40"/>
                <a:gd name="T19" fmla="*/ 0 h 18"/>
                <a:gd name="T20" fmla="*/ 3969 w 40"/>
                <a:gd name="T21" fmla="*/ 0 h 18"/>
                <a:gd name="T22" fmla="*/ 0 w 40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0" h="18">
                  <a:moveTo>
                    <a:pt x="0" y="0"/>
                  </a:moveTo>
                  <a:lnTo>
                    <a:pt x="3" y="6"/>
                  </a:lnTo>
                  <a:lnTo>
                    <a:pt x="6" y="11"/>
                  </a:lnTo>
                  <a:lnTo>
                    <a:pt x="10" y="14"/>
                  </a:lnTo>
                  <a:lnTo>
                    <a:pt x="15" y="16"/>
                  </a:lnTo>
                  <a:lnTo>
                    <a:pt x="27" y="18"/>
                  </a:lnTo>
                  <a:lnTo>
                    <a:pt x="40" y="18"/>
                  </a:lnTo>
                  <a:lnTo>
                    <a:pt x="40" y="0"/>
                  </a:lnTo>
                  <a:lnTo>
                    <a:pt x="30" y="0"/>
                  </a:lnTo>
                  <a:lnTo>
                    <a:pt x="20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651" name="Freeform 52"/>
            <p:cNvSpPr>
              <a:spLocks/>
            </p:cNvSpPr>
            <p:nvPr>
              <p:custDataLst>
                <p:tags r:id="rId43"/>
              </p:custDataLst>
            </p:nvPr>
          </p:nvSpPr>
          <p:spPr bwMode="auto">
            <a:xfrm>
              <a:off x="3791757" y="3583142"/>
              <a:ext cx="3785" cy="68630"/>
            </a:xfrm>
            <a:custGeom>
              <a:avLst/>
              <a:gdLst>
                <a:gd name="T0" fmla="*/ 1155 w 11"/>
                <a:gd name="T1" fmla="*/ 57150 h 32"/>
                <a:gd name="T2" fmla="*/ 1732 w 11"/>
                <a:gd name="T3" fmla="*/ 50006 h 32"/>
                <a:gd name="T4" fmla="*/ 2309 w 11"/>
                <a:gd name="T5" fmla="*/ 44648 h 32"/>
                <a:gd name="T6" fmla="*/ 2598 w 11"/>
                <a:gd name="T7" fmla="*/ 39291 h 32"/>
                <a:gd name="T8" fmla="*/ 2886 w 11"/>
                <a:gd name="T9" fmla="*/ 32147 h 32"/>
                <a:gd name="T10" fmla="*/ 3175 w 11"/>
                <a:gd name="T11" fmla="*/ 16073 h 32"/>
                <a:gd name="T12" fmla="*/ 3175 w 11"/>
                <a:gd name="T13" fmla="*/ 0 h 32"/>
                <a:gd name="T14" fmla="*/ 1732 w 11"/>
                <a:gd name="T15" fmla="*/ 5358 h 32"/>
                <a:gd name="T16" fmla="*/ 866 w 11"/>
                <a:gd name="T17" fmla="*/ 12502 h 32"/>
                <a:gd name="T18" fmla="*/ 289 w 11"/>
                <a:gd name="T19" fmla="*/ 19645 h 32"/>
                <a:gd name="T20" fmla="*/ 0 w 11"/>
                <a:gd name="T21" fmla="*/ 28575 h 32"/>
                <a:gd name="T22" fmla="*/ 0 w 11"/>
                <a:gd name="T23" fmla="*/ 35719 h 32"/>
                <a:gd name="T24" fmla="*/ 289 w 11"/>
                <a:gd name="T25" fmla="*/ 42863 h 32"/>
                <a:gd name="T26" fmla="*/ 577 w 11"/>
                <a:gd name="T27" fmla="*/ 50006 h 32"/>
                <a:gd name="T28" fmla="*/ 1155 w 11"/>
                <a:gd name="T29" fmla="*/ 57150 h 32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1" h="32">
                  <a:moveTo>
                    <a:pt x="4" y="32"/>
                  </a:moveTo>
                  <a:lnTo>
                    <a:pt x="6" y="28"/>
                  </a:lnTo>
                  <a:lnTo>
                    <a:pt x="8" y="25"/>
                  </a:lnTo>
                  <a:lnTo>
                    <a:pt x="9" y="22"/>
                  </a:lnTo>
                  <a:lnTo>
                    <a:pt x="10" y="18"/>
                  </a:lnTo>
                  <a:lnTo>
                    <a:pt x="11" y="9"/>
                  </a:lnTo>
                  <a:lnTo>
                    <a:pt x="11" y="0"/>
                  </a:lnTo>
                  <a:lnTo>
                    <a:pt x="6" y="3"/>
                  </a:lnTo>
                  <a:lnTo>
                    <a:pt x="3" y="7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0"/>
                  </a:lnTo>
                  <a:lnTo>
                    <a:pt x="1" y="24"/>
                  </a:lnTo>
                  <a:lnTo>
                    <a:pt x="2" y="28"/>
                  </a:lnTo>
                  <a:lnTo>
                    <a:pt x="4" y="3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652" name="Freeform 53"/>
            <p:cNvSpPr>
              <a:spLocks/>
            </p:cNvSpPr>
            <p:nvPr>
              <p:custDataLst>
                <p:tags r:id="rId44"/>
              </p:custDataLst>
            </p:nvPr>
          </p:nvSpPr>
          <p:spPr bwMode="auto">
            <a:xfrm>
              <a:off x="3818253" y="3619364"/>
              <a:ext cx="1893" cy="66723"/>
            </a:xfrm>
            <a:custGeom>
              <a:avLst/>
              <a:gdLst>
                <a:gd name="T0" fmla="*/ 0 w 14"/>
                <a:gd name="T1" fmla="*/ 0 h 24"/>
                <a:gd name="T2" fmla="*/ 0 w 14"/>
                <a:gd name="T3" fmla="*/ 55562 h 24"/>
                <a:gd name="T4" fmla="*/ 1588 w 14"/>
                <a:gd name="T5" fmla="*/ 27781 h 24"/>
                <a:gd name="T6" fmla="*/ 0 w 14"/>
                <a:gd name="T7" fmla="*/ 0 h 2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4" h="24">
                  <a:moveTo>
                    <a:pt x="0" y="0"/>
                  </a:moveTo>
                  <a:lnTo>
                    <a:pt x="0" y="24"/>
                  </a:lnTo>
                  <a:lnTo>
                    <a:pt x="14" y="12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653" name="Freeform 54"/>
            <p:cNvSpPr>
              <a:spLocks/>
            </p:cNvSpPr>
            <p:nvPr>
              <p:custDataLst>
                <p:tags r:id="rId45"/>
              </p:custDataLst>
            </p:nvPr>
          </p:nvSpPr>
          <p:spPr bwMode="auto">
            <a:xfrm>
              <a:off x="3772831" y="3634616"/>
              <a:ext cx="18926" cy="70535"/>
            </a:xfrm>
            <a:custGeom>
              <a:avLst/>
              <a:gdLst>
                <a:gd name="T0" fmla="*/ 0 w 27"/>
                <a:gd name="T1" fmla="*/ 39158 h 18"/>
                <a:gd name="T2" fmla="*/ 4116 w 27"/>
                <a:gd name="T3" fmla="*/ 48948 h 18"/>
                <a:gd name="T4" fmla="*/ 7644 w 27"/>
                <a:gd name="T5" fmla="*/ 58737 h 18"/>
                <a:gd name="T6" fmla="*/ 12935 w 27"/>
                <a:gd name="T7" fmla="*/ 22842 h 18"/>
                <a:gd name="T8" fmla="*/ 15875 w 27"/>
                <a:gd name="T9" fmla="*/ 0 h 18"/>
                <a:gd name="T10" fmla="*/ 12935 w 27"/>
                <a:gd name="T11" fmla="*/ 0 h 18"/>
                <a:gd name="T12" fmla="*/ 10583 w 27"/>
                <a:gd name="T13" fmla="*/ 3263 h 18"/>
                <a:gd name="T14" fmla="*/ 7644 w 27"/>
                <a:gd name="T15" fmla="*/ 6526 h 18"/>
                <a:gd name="T16" fmla="*/ 5880 w 27"/>
                <a:gd name="T17" fmla="*/ 13053 h 18"/>
                <a:gd name="T18" fmla="*/ 2940 w 27"/>
                <a:gd name="T19" fmla="*/ 26105 h 18"/>
                <a:gd name="T20" fmla="*/ 0 w 27"/>
                <a:gd name="T21" fmla="*/ 39158 h 1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7" h="18">
                  <a:moveTo>
                    <a:pt x="0" y="12"/>
                  </a:moveTo>
                  <a:lnTo>
                    <a:pt x="7" y="15"/>
                  </a:lnTo>
                  <a:lnTo>
                    <a:pt x="13" y="18"/>
                  </a:lnTo>
                  <a:lnTo>
                    <a:pt x="22" y="7"/>
                  </a:lnTo>
                  <a:lnTo>
                    <a:pt x="27" y="0"/>
                  </a:lnTo>
                  <a:lnTo>
                    <a:pt x="22" y="0"/>
                  </a:lnTo>
                  <a:lnTo>
                    <a:pt x="18" y="1"/>
                  </a:lnTo>
                  <a:lnTo>
                    <a:pt x="13" y="2"/>
                  </a:lnTo>
                  <a:lnTo>
                    <a:pt x="10" y="4"/>
                  </a:lnTo>
                  <a:lnTo>
                    <a:pt x="5" y="8"/>
                  </a:lnTo>
                  <a:lnTo>
                    <a:pt x="0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654" name="Freeform 55"/>
            <p:cNvSpPr>
              <a:spLocks/>
            </p:cNvSpPr>
            <p:nvPr>
              <p:custDataLst>
                <p:tags r:id="rId46"/>
              </p:custDataLst>
            </p:nvPr>
          </p:nvSpPr>
          <p:spPr bwMode="auto">
            <a:xfrm>
              <a:off x="3755797" y="3712775"/>
              <a:ext cx="28388" cy="68630"/>
            </a:xfrm>
            <a:custGeom>
              <a:avLst/>
              <a:gdLst>
                <a:gd name="T0" fmla="*/ 0 w 47"/>
                <a:gd name="T1" fmla="*/ 41988 h 49"/>
                <a:gd name="T2" fmla="*/ 507 w 47"/>
                <a:gd name="T3" fmla="*/ 45487 h 49"/>
                <a:gd name="T4" fmla="*/ 1013 w 47"/>
                <a:gd name="T5" fmla="*/ 47819 h 49"/>
                <a:gd name="T6" fmla="*/ 2027 w 47"/>
                <a:gd name="T7" fmla="*/ 50152 h 49"/>
                <a:gd name="T8" fmla="*/ 3040 w 47"/>
                <a:gd name="T9" fmla="*/ 52485 h 49"/>
                <a:gd name="T10" fmla="*/ 6080 w 47"/>
                <a:gd name="T11" fmla="*/ 55984 h 49"/>
                <a:gd name="T12" fmla="*/ 7093 w 47"/>
                <a:gd name="T13" fmla="*/ 57150 h 49"/>
                <a:gd name="T14" fmla="*/ 9119 w 47"/>
                <a:gd name="T15" fmla="*/ 57150 h 49"/>
                <a:gd name="T16" fmla="*/ 12159 w 47"/>
                <a:gd name="T17" fmla="*/ 53651 h 49"/>
                <a:gd name="T18" fmla="*/ 14693 w 47"/>
                <a:gd name="T19" fmla="*/ 48986 h 49"/>
                <a:gd name="T20" fmla="*/ 17732 w 47"/>
                <a:gd name="T21" fmla="*/ 45487 h 49"/>
                <a:gd name="T22" fmla="*/ 19759 w 47"/>
                <a:gd name="T23" fmla="*/ 40821 h 49"/>
                <a:gd name="T24" fmla="*/ 22292 w 47"/>
                <a:gd name="T25" fmla="*/ 36156 h 49"/>
                <a:gd name="T26" fmla="*/ 23305 w 47"/>
                <a:gd name="T27" fmla="*/ 31491 h 49"/>
                <a:gd name="T28" fmla="*/ 23812 w 47"/>
                <a:gd name="T29" fmla="*/ 27992 h 49"/>
                <a:gd name="T30" fmla="*/ 23812 w 47"/>
                <a:gd name="T31" fmla="*/ 13996 h 49"/>
                <a:gd name="T32" fmla="*/ 23812 w 47"/>
                <a:gd name="T33" fmla="*/ 0 h 49"/>
                <a:gd name="T34" fmla="*/ 13679 w 47"/>
                <a:gd name="T35" fmla="*/ 0 h 49"/>
                <a:gd name="T36" fmla="*/ 8613 w 47"/>
                <a:gd name="T37" fmla="*/ 9331 h 49"/>
                <a:gd name="T38" fmla="*/ 4560 w 47"/>
                <a:gd name="T39" fmla="*/ 18661 h 49"/>
                <a:gd name="T40" fmla="*/ 2533 w 47"/>
                <a:gd name="T41" fmla="*/ 23327 h 49"/>
                <a:gd name="T42" fmla="*/ 1013 w 47"/>
                <a:gd name="T43" fmla="*/ 29158 h 49"/>
                <a:gd name="T44" fmla="*/ 507 w 47"/>
                <a:gd name="T45" fmla="*/ 34990 h 49"/>
                <a:gd name="T46" fmla="*/ 0 w 47"/>
                <a:gd name="T47" fmla="*/ 41988 h 49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47" h="49">
                  <a:moveTo>
                    <a:pt x="0" y="36"/>
                  </a:moveTo>
                  <a:lnTo>
                    <a:pt x="1" y="39"/>
                  </a:lnTo>
                  <a:lnTo>
                    <a:pt x="2" y="41"/>
                  </a:lnTo>
                  <a:lnTo>
                    <a:pt x="4" y="43"/>
                  </a:lnTo>
                  <a:lnTo>
                    <a:pt x="6" y="45"/>
                  </a:lnTo>
                  <a:lnTo>
                    <a:pt x="12" y="48"/>
                  </a:lnTo>
                  <a:lnTo>
                    <a:pt x="14" y="49"/>
                  </a:lnTo>
                  <a:lnTo>
                    <a:pt x="18" y="49"/>
                  </a:lnTo>
                  <a:lnTo>
                    <a:pt x="24" y="46"/>
                  </a:lnTo>
                  <a:lnTo>
                    <a:pt x="29" y="42"/>
                  </a:lnTo>
                  <a:lnTo>
                    <a:pt x="35" y="39"/>
                  </a:lnTo>
                  <a:lnTo>
                    <a:pt x="39" y="35"/>
                  </a:lnTo>
                  <a:lnTo>
                    <a:pt x="44" y="31"/>
                  </a:lnTo>
                  <a:lnTo>
                    <a:pt x="46" y="27"/>
                  </a:lnTo>
                  <a:lnTo>
                    <a:pt x="47" y="24"/>
                  </a:lnTo>
                  <a:lnTo>
                    <a:pt x="47" y="12"/>
                  </a:lnTo>
                  <a:lnTo>
                    <a:pt x="47" y="0"/>
                  </a:lnTo>
                  <a:lnTo>
                    <a:pt x="27" y="0"/>
                  </a:lnTo>
                  <a:lnTo>
                    <a:pt x="17" y="8"/>
                  </a:lnTo>
                  <a:lnTo>
                    <a:pt x="9" y="16"/>
                  </a:lnTo>
                  <a:lnTo>
                    <a:pt x="5" y="20"/>
                  </a:lnTo>
                  <a:lnTo>
                    <a:pt x="2" y="25"/>
                  </a:lnTo>
                  <a:lnTo>
                    <a:pt x="1" y="30"/>
                  </a:lnTo>
                  <a:lnTo>
                    <a:pt x="0" y="3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655" name="Freeform 56"/>
            <p:cNvSpPr>
              <a:spLocks/>
            </p:cNvSpPr>
            <p:nvPr>
              <p:custDataLst>
                <p:tags r:id="rId47"/>
              </p:custDataLst>
            </p:nvPr>
          </p:nvSpPr>
          <p:spPr bwMode="auto">
            <a:xfrm>
              <a:off x="3778509" y="3684180"/>
              <a:ext cx="15141" cy="68630"/>
            </a:xfrm>
            <a:custGeom>
              <a:avLst/>
              <a:gdLst>
                <a:gd name="T0" fmla="*/ 0 w 26"/>
                <a:gd name="T1" fmla="*/ 0 h 9"/>
                <a:gd name="T2" fmla="*/ 0 w 26"/>
                <a:gd name="T3" fmla="*/ 25400 h 9"/>
                <a:gd name="T4" fmla="*/ 1465 w 26"/>
                <a:gd name="T5" fmla="*/ 44450 h 9"/>
                <a:gd name="T6" fmla="*/ 2931 w 26"/>
                <a:gd name="T7" fmla="*/ 50800 h 9"/>
                <a:gd name="T8" fmla="*/ 5373 w 26"/>
                <a:gd name="T9" fmla="*/ 57150 h 9"/>
                <a:gd name="T10" fmla="*/ 7327 w 26"/>
                <a:gd name="T11" fmla="*/ 50800 h 9"/>
                <a:gd name="T12" fmla="*/ 9769 w 26"/>
                <a:gd name="T13" fmla="*/ 44450 h 9"/>
                <a:gd name="T14" fmla="*/ 11235 w 26"/>
                <a:gd name="T15" fmla="*/ 25400 h 9"/>
                <a:gd name="T16" fmla="*/ 12700 w 26"/>
                <a:gd name="T17" fmla="*/ 0 h 9"/>
                <a:gd name="T18" fmla="*/ 0 w 26"/>
                <a:gd name="T19" fmla="*/ 0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6" h="9">
                  <a:moveTo>
                    <a:pt x="0" y="0"/>
                  </a:moveTo>
                  <a:lnTo>
                    <a:pt x="0" y="4"/>
                  </a:lnTo>
                  <a:lnTo>
                    <a:pt x="3" y="7"/>
                  </a:lnTo>
                  <a:lnTo>
                    <a:pt x="6" y="8"/>
                  </a:lnTo>
                  <a:lnTo>
                    <a:pt x="11" y="9"/>
                  </a:lnTo>
                  <a:lnTo>
                    <a:pt x="15" y="8"/>
                  </a:lnTo>
                  <a:lnTo>
                    <a:pt x="20" y="7"/>
                  </a:lnTo>
                  <a:lnTo>
                    <a:pt x="23" y="4"/>
                  </a:lnTo>
                  <a:lnTo>
                    <a:pt x="26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656" name="Freeform 57"/>
            <p:cNvSpPr>
              <a:spLocks/>
            </p:cNvSpPr>
            <p:nvPr>
              <p:custDataLst>
                <p:tags r:id="rId48"/>
              </p:custDataLst>
            </p:nvPr>
          </p:nvSpPr>
          <p:spPr bwMode="auto">
            <a:xfrm>
              <a:off x="3161522" y="3289560"/>
              <a:ext cx="18926" cy="68630"/>
            </a:xfrm>
            <a:custGeom>
              <a:avLst/>
              <a:gdLst>
                <a:gd name="T0" fmla="*/ 0 w 39"/>
                <a:gd name="T1" fmla="*/ 0 h 18"/>
                <a:gd name="T2" fmla="*/ 0 w 39"/>
                <a:gd name="T3" fmla="*/ 57150 h 18"/>
                <a:gd name="T4" fmla="*/ 2442 w 39"/>
                <a:gd name="T5" fmla="*/ 57150 h 18"/>
                <a:gd name="T6" fmla="*/ 5292 w 39"/>
                <a:gd name="T7" fmla="*/ 57150 h 18"/>
                <a:gd name="T8" fmla="*/ 9362 w 39"/>
                <a:gd name="T9" fmla="*/ 53975 h 18"/>
                <a:gd name="T10" fmla="*/ 12212 w 39"/>
                <a:gd name="T11" fmla="*/ 44450 h 18"/>
                <a:gd name="T12" fmla="*/ 13840 w 39"/>
                <a:gd name="T13" fmla="*/ 38100 h 18"/>
                <a:gd name="T14" fmla="*/ 15061 w 39"/>
                <a:gd name="T15" fmla="*/ 31750 h 18"/>
                <a:gd name="T16" fmla="*/ 15468 w 39"/>
                <a:gd name="T17" fmla="*/ 25400 h 18"/>
                <a:gd name="T18" fmla="*/ 15875 w 39"/>
                <a:gd name="T19" fmla="*/ 19050 h 18"/>
                <a:gd name="T20" fmla="*/ 11804 w 39"/>
                <a:gd name="T21" fmla="*/ 15875 h 18"/>
                <a:gd name="T22" fmla="*/ 7734 w 39"/>
                <a:gd name="T23" fmla="*/ 9525 h 18"/>
                <a:gd name="T24" fmla="*/ 4071 w 39"/>
                <a:gd name="T25" fmla="*/ 0 h 18"/>
                <a:gd name="T26" fmla="*/ 0 w 39"/>
                <a:gd name="T27" fmla="*/ 0 h 1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39" h="18">
                  <a:moveTo>
                    <a:pt x="0" y="0"/>
                  </a:moveTo>
                  <a:lnTo>
                    <a:pt x="0" y="18"/>
                  </a:lnTo>
                  <a:lnTo>
                    <a:pt x="6" y="18"/>
                  </a:lnTo>
                  <a:lnTo>
                    <a:pt x="13" y="18"/>
                  </a:lnTo>
                  <a:lnTo>
                    <a:pt x="23" y="17"/>
                  </a:lnTo>
                  <a:lnTo>
                    <a:pt x="30" y="14"/>
                  </a:lnTo>
                  <a:lnTo>
                    <a:pt x="34" y="12"/>
                  </a:lnTo>
                  <a:lnTo>
                    <a:pt x="37" y="10"/>
                  </a:lnTo>
                  <a:lnTo>
                    <a:pt x="38" y="8"/>
                  </a:lnTo>
                  <a:lnTo>
                    <a:pt x="39" y="6"/>
                  </a:lnTo>
                  <a:lnTo>
                    <a:pt x="29" y="5"/>
                  </a:lnTo>
                  <a:lnTo>
                    <a:pt x="19" y="3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grpSp>
          <p:nvGrpSpPr>
            <p:cNvPr id="657" name="Group 58"/>
            <p:cNvGrpSpPr>
              <a:grpSpLocks/>
            </p:cNvGrpSpPr>
            <p:nvPr>
              <p:custDataLst>
                <p:tags r:id="rId49"/>
              </p:custDataLst>
            </p:nvPr>
          </p:nvGrpSpPr>
          <p:grpSpPr bwMode="auto">
            <a:xfrm>
              <a:off x="3311037" y="3089390"/>
              <a:ext cx="157086" cy="234484"/>
              <a:chOff x="1199" y="2121"/>
              <a:chExt cx="97" cy="123"/>
            </a:xfrm>
            <a:grpFill/>
          </p:grpSpPr>
          <p:sp>
            <p:nvSpPr>
              <p:cNvPr id="1138" name="Freeform 59"/>
              <p:cNvSpPr>
                <a:spLocks/>
              </p:cNvSpPr>
              <p:nvPr/>
            </p:nvSpPr>
            <p:spPr bwMode="auto">
              <a:xfrm>
                <a:off x="1274" y="2236"/>
                <a:ext cx="16" cy="8"/>
              </a:xfrm>
              <a:custGeom>
                <a:avLst/>
                <a:gdLst>
                  <a:gd name="T0" fmla="*/ 0 w 52"/>
                  <a:gd name="T1" fmla="*/ 8 h 25"/>
                  <a:gd name="T2" fmla="*/ 2 w 52"/>
                  <a:gd name="T3" fmla="*/ 8 h 25"/>
                  <a:gd name="T4" fmla="*/ 5 w 52"/>
                  <a:gd name="T5" fmla="*/ 8 h 25"/>
                  <a:gd name="T6" fmla="*/ 7 w 52"/>
                  <a:gd name="T7" fmla="*/ 7 h 25"/>
                  <a:gd name="T8" fmla="*/ 9 w 52"/>
                  <a:gd name="T9" fmla="*/ 6 h 25"/>
                  <a:gd name="T10" fmla="*/ 12 w 52"/>
                  <a:gd name="T11" fmla="*/ 5 h 25"/>
                  <a:gd name="T12" fmla="*/ 13 w 52"/>
                  <a:gd name="T13" fmla="*/ 4 h 25"/>
                  <a:gd name="T14" fmla="*/ 15 w 52"/>
                  <a:gd name="T15" fmla="*/ 2 h 25"/>
                  <a:gd name="T16" fmla="*/ 16 w 52"/>
                  <a:gd name="T17" fmla="*/ 0 h 25"/>
                  <a:gd name="T18" fmla="*/ 12 w 52"/>
                  <a:gd name="T19" fmla="*/ 0 h 25"/>
                  <a:gd name="T20" fmla="*/ 10 w 52"/>
                  <a:gd name="T21" fmla="*/ 0 h 25"/>
                  <a:gd name="T22" fmla="*/ 7 w 52"/>
                  <a:gd name="T23" fmla="*/ 0 h 25"/>
                  <a:gd name="T24" fmla="*/ 5 w 52"/>
                  <a:gd name="T25" fmla="*/ 1 h 25"/>
                  <a:gd name="T26" fmla="*/ 3 w 52"/>
                  <a:gd name="T27" fmla="*/ 2 h 25"/>
                  <a:gd name="T28" fmla="*/ 2 w 52"/>
                  <a:gd name="T29" fmla="*/ 3 h 25"/>
                  <a:gd name="T30" fmla="*/ 1 w 52"/>
                  <a:gd name="T31" fmla="*/ 5 h 25"/>
                  <a:gd name="T32" fmla="*/ 0 w 52"/>
                  <a:gd name="T33" fmla="*/ 8 h 2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52" h="25">
                    <a:moveTo>
                      <a:pt x="0" y="25"/>
                    </a:moveTo>
                    <a:lnTo>
                      <a:pt x="7" y="25"/>
                    </a:lnTo>
                    <a:lnTo>
                      <a:pt x="15" y="24"/>
                    </a:lnTo>
                    <a:lnTo>
                      <a:pt x="23" y="22"/>
                    </a:lnTo>
                    <a:lnTo>
                      <a:pt x="30" y="19"/>
                    </a:lnTo>
                    <a:lnTo>
                      <a:pt x="38" y="15"/>
                    </a:lnTo>
                    <a:lnTo>
                      <a:pt x="43" y="11"/>
                    </a:lnTo>
                    <a:lnTo>
                      <a:pt x="49" y="6"/>
                    </a:lnTo>
                    <a:lnTo>
                      <a:pt x="52" y="0"/>
                    </a:lnTo>
                    <a:lnTo>
                      <a:pt x="40" y="0"/>
                    </a:lnTo>
                    <a:lnTo>
                      <a:pt x="31" y="0"/>
                    </a:lnTo>
                    <a:lnTo>
                      <a:pt x="23" y="1"/>
                    </a:lnTo>
                    <a:lnTo>
                      <a:pt x="16" y="3"/>
                    </a:lnTo>
                    <a:lnTo>
                      <a:pt x="11" y="6"/>
                    </a:lnTo>
                    <a:lnTo>
                      <a:pt x="5" y="10"/>
                    </a:lnTo>
                    <a:lnTo>
                      <a:pt x="2" y="16"/>
                    </a:lnTo>
                    <a:lnTo>
                      <a:pt x="0" y="25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139" name="Freeform 60"/>
              <p:cNvSpPr>
                <a:spLocks/>
              </p:cNvSpPr>
              <p:nvPr/>
            </p:nvSpPr>
            <p:spPr bwMode="auto">
              <a:xfrm>
                <a:off x="1199" y="2131"/>
                <a:ext cx="11" cy="4"/>
              </a:xfrm>
              <a:custGeom>
                <a:avLst/>
                <a:gdLst>
                  <a:gd name="T0" fmla="*/ 0 w 33"/>
                  <a:gd name="T1" fmla="*/ 0 h 13"/>
                  <a:gd name="T2" fmla="*/ 0 w 33"/>
                  <a:gd name="T3" fmla="*/ 2 h 13"/>
                  <a:gd name="T4" fmla="*/ 0 w 33"/>
                  <a:gd name="T5" fmla="*/ 4 h 13"/>
                  <a:gd name="T6" fmla="*/ 3 w 33"/>
                  <a:gd name="T7" fmla="*/ 4 h 13"/>
                  <a:gd name="T8" fmla="*/ 5 w 33"/>
                  <a:gd name="T9" fmla="*/ 4 h 13"/>
                  <a:gd name="T10" fmla="*/ 8 w 33"/>
                  <a:gd name="T11" fmla="*/ 3 h 13"/>
                  <a:gd name="T12" fmla="*/ 11 w 33"/>
                  <a:gd name="T13" fmla="*/ 2 h 13"/>
                  <a:gd name="T14" fmla="*/ 8 w 33"/>
                  <a:gd name="T15" fmla="*/ 1 h 13"/>
                  <a:gd name="T16" fmla="*/ 5 w 33"/>
                  <a:gd name="T17" fmla="*/ 0 h 13"/>
                  <a:gd name="T18" fmla="*/ 3 w 33"/>
                  <a:gd name="T19" fmla="*/ 0 h 13"/>
                  <a:gd name="T20" fmla="*/ 0 w 33"/>
                  <a:gd name="T21" fmla="*/ 0 h 13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33" h="13">
                    <a:moveTo>
                      <a:pt x="0" y="0"/>
                    </a:moveTo>
                    <a:lnTo>
                      <a:pt x="0" y="6"/>
                    </a:lnTo>
                    <a:lnTo>
                      <a:pt x="0" y="13"/>
                    </a:lnTo>
                    <a:lnTo>
                      <a:pt x="9" y="13"/>
                    </a:lnTo>
                    <a:lnTo>
                      <a:pt x="16" y="13"/>
                    </a:lnTo>
                    <a:lnTo>
                      <a:pt x="24" y="11"/>
                    </a:lnTo>
                    <a:lnTo>
                      <a:pt x="33" y="6"/>
                    </a:lnTo>
                    <a:lnTo>
                      <a:pt x="24" y="3"/>
                    </a:lnTo>
                    <a:lnTo>
                      <a:pt x="16" y="1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140" name="Freeform 61"/>
              <p:cNvSpPr>
                <a:spLocks/>
              </p:cNvSpPr>
              <p:nvPr/>
            </p:nvSpPr>
            <p:spPr bwMode="auto">
              <a:xfrm>
                <a:off x="1210" y="2121"/>
                <a:ext cx="20" cy="28"/>
              </a:xfrm>
              <a:custGeom>
                <a:avLst/>
                <a:gdLst>
                  <a:gd name="T0" fmla="*/ 8 w 67"/>
                  <a:gd name="T1" fmla="*/ 6 h 86"/>
                  <a:gd name="T2" fmla="*/ 0 w 67"/>
                  <a:gd name="T3" fmla="*/ 0 h 86"/>
                  <a:gd name="T4" fmla="*/ 8 w 67"/>
                  <a:gd name="T5" fmla="*/ 0 h 86"/>
                  <a:gd name="T6" fmla="*/ 9 w 67"/>
                  <a:gd name="T7" fmla="*/ 1 h 86"/>
                  <a:gd name="T8" fmla="*/ 10 w 67"/>
                  <a:gd name="T9" fmla="*/ 3 h 86"/>
                  <a:gd name="T10" fmla="*/ 11 w 67"/>
                  <a:gd name="T11" fmla="*/ 4 h 86"/>
                  <a:gd name="T12" fmla="*/ 12 w 67"/>
                  <a:gd name="T13" fmla="*/ 5 h 86"/>
                  <a:gd name="T14" fmla="*/ 14 w 67"/>
                  <a:gd name="T15" fmla="*/ 6 h 86"/>
                  <a:gd name="T16" fmla="*/ 16 w 67"/>
                  <a:gd name="T17" fmla="*/ 6 h 86"/>
                  <a:gd name="T18" fmla="*/ 17 w 67"/>
                  <a:gd name="T19" fmla="*/ 10 h 86"/>
                  <a:gd name="T20" fmla="*/ 19 w 67"/>
                  <a:gd name="T21" fmla="*/ 13 h 86"/>
                  <a:gd name="T22" fmla="*/ 19 w 67"/>
                  <a:gd name="T23" fmla="*/ 15 h 86"/>
                  <a:gd name="T24" fmla="*/ 20 w 67"/>
                  <a:gd name="T25" fmla="*/ 16 h 86"/>
                  <a:gd name="T26" fmla="*/ 20 w 67"/>
                  <a:gd name="T27" fmla="*/ 18 h 86"/>
                  <a:gd name="T28" fmla="*/ 20 w 67"/>
                  <a:gd name="T29" fmla="*/ 20 h 86"/>
                  <a:gd name="T30" fmla="*/ 19 w 67"/>
                  <a:gd name="T31" fmla="*/ 24 h 86"/>
                  <a:gd name="T32" fmla="*/ 18 w 67"/>
                  <a:gd name="T33" fmla="*/ 28 h 86"/>
                  <a:gd name="T34" fmla="*/ 16 w 67"/>
                  <a:gd name="T35" fmla="*/ 22 h 86"/>
                  <a:gd name="T36" fmla="*/ 15 w 67"/>
                  <a:gd name="T37" fmla="*/ 18 h 86"/>
                  <a:gd name="T38" fmla="*/ 15 w 67"/>
                  <a:gd name="T39" fmla="*/ 15 h 86"/>
                  <a:gd name="T40" fmla="*/ 15 w 67"/>
                  <a:gd name="T41" fmla="*/ 13 h 86"/>
                  <a:gd name="T42" fmla="*/ 15 w 67"/>
                  <a:gd name="T43" fmla="*/ 11 h 86"/>
                  <a:gd name="T44" fmla="*/ 16 w 67"/>
                  <a:gd name="T45" fmla="*/ 10 h 86"/>
                  <a:gd name="T46" fmla="*/ 13 w 67"/>
                  <a:gd name="T47" fmla="*/ 10 h 86"/>
                  <a:gd name="T48" fmla="*/ 10 w 67"/>
                  <a:gd name="T49" fmla="*/ 9 h 86"/>
                  <a:gd name="T50" fmla="*/ 10 w 67"/>
                  <a:gd name="T51" fmla="*/ 9 h 86"/>
                  <a:gd name="T52" fmla="*/ 8 w 67"/>
                  <a:gd name="T53" fmla="*/ 8 h 86"/>
                  <a:gd name="T54" fmla="*/ 8 w 67"/>
                  <a:gd name="T55" fmla="*/ 7 h 86"/>
                  <a:gd name="T56" fmla="*/ 8 w 67"/>
                  <a:gd name="T57" fmla="*/ 6 h 8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67" h="86">
                    <a:moveTo>
                      <a:pt x="26" y="18"/>
                    </a:moveTo>
                    <a:lnTo>
                      <a:pt x="0" y="0"/>
                    </a:lnTo>
                    <a:lnTo>
                      <a:pt x="26" y="0"/>
                    </a:lnTo>
                    <a:lnTo>
                      <a:pt x="29" y="4"/>
                    </a:lnTo>
                    <a:lnTo>
                      <a:pt x="33" y="8"/>
                    </a:lnTo>
                    <a:lnTo>
                      <a:pt x="36" y="11"/>
                    </a:lnTo>
                    <a:lnTo>
                      <a:pt x="39" y="14"/>
                    </a:lnTo>
                    <a:lnTo>
                      <a:pt x="47" y="17"/>
                    </a:lnTo>
                    <a:lnTo>
                      <a:pt x="54" y="18"/>
                    </a:lnTo>
                    <a:lnTo>
                      <a:pt x="58" y="30"/>
                    </a:lnTo>
                    <a:lnTo>
                      <a:pt x="62" y="40"/>
                    </a:lnTo>
                    <a:lnTo>
                      <a:pt x="63" y="45"/>
                    </a:lnTo>
                    <a:lnTo>
                      <a:pt x="66" y="50"/>
                    </a:lnTo>
                    <a:lnTo>
                      <a:pt x="66" y="55"/>
                    </a:lnTo>
                    <a:lnTo>
                      <a:pt x="67" y="61"/>
                    </a:lnTo>
                    <a:lnTo>
                      <a:pt x="63" y="74"/>
                    </a:lnTo>
                    <a:lnTo>
                      <a:pt x="60" y="86"/>
                    </a:lnTo>
                    <a:lnTo>
                      <a:pt x="55" y="69"/>
                    </a:lnTo>
                    <a:lnTo>
                      <a:pt x="51" y="54"/>
                    </a:lnTo>
                    <a:lnTo>
                      <a:pt x="50" y="47"/>
                    </a:lnTo>
                    <a:lnTo>
                      <a:pt x="50" y="41"/>
                    </a:lnTo>
                    <a:lnTo>
                      <a:pt x="51" y="35"/>
                    </a:lnTo>
                    <a:lnTo>
                      <a:pt x="54" y="30"/>
                    </a:lnTo>
                    <a:lnTo>
                      <a:pt x="44" y="30"/>
                    </a:lnTo>
                    <a:lnTo>
                      <a:pt x="35" y="29"/>
                    </a:lnTo>
                    <a:lnTo>
                      <a:pt x="32" y="27"/>
                    </a:lnTo>
                    <a:lnTo>
                      <a:pt x="28" y="25"/>
                    </a:lnTo>
                    <a:lnTo>
                      <a:pt x="27" y="22"/>
                    </a:lnTo>
                    <a:lnTo>
                      <a:pt x="26" y="18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141" name="Freeform 62"/>
              <p:cNvSpPr>
                <a:spLocks/>
              </p:cNvSpPr>
              <p:nvPr/>
            </p:nvSpPr>
            <p:spPr bwMode="auto">
              <a:xfrm>
                <a:off x="1201" y="2159"/>
                <a:ext cx="16" cy="28"/>
              </a:xfrm>
              <a:custGeom>
                <a:avLst/>
                <a:gdLst>
                  <a:gd name="T0" fmla="*/ 9 w 49"/>
                  <a:gd name="T1" fmla="*/ 4 h 86"/>
                  <a:gd name="T2" fmla="*/ 7 w 49"/>
                  <a:gd name="T3" fmla="*/ 2 h 86"/>
                  <a:gd name="T4" fmla="*/ 5 w 49"/>
                  <a:gd name="T5" fmla="*/ 0 h 86"/>
                  <a:gd name="T6" fmla="*/ 3 w 49"/>
                  <a:gd name="T7" fmla="*/ 2 h 86"/>
                  <a:gd name="T8" fmla="*/ 2 w 49"/>
                  <a:gd name="T9" fmla="*/ 4 h 86"/>
                  <a:gd name="T10" fmla="*/ 0 w 49"/>
                  <a:gd name="T11" fmla="*/ 7 h 86"/>
                  <a:gd name="T12" fmla="*/ 0 w 49"/>
                  <a:gd name="T13" fmla="*/ 10 h 86"/>
                  <a:gd name="T14" fmla="*/ 0 w 49"/>
                  <a:gd name="T15" fmla="*/ 12 h 86"/>
                  <a:gd name="T16" fmla="*/ 1 w 49"/>
                  <a:gd name="T17" fmla="*/ 14 h 86"/>
                  <a:gd name="T18" fmla="*/ 2 w 49"/>
                  <a:gd name="T19" fmla="*/ 16 h 86"/>
                  <a:gd name="T20" fmla="*/ 3 w 49"/>
                  <a:gd name="T21" fmla="*/ 19 h 86"/>
                  <a:gd name="T22" fmla="*/ 4 w 49"/>
                  <a:gd name="T23" fmla="*/ 21 h 86"/>
                  <a:gd name="T24" fmla="*/ 6 w 49"/>
                  <a:gd name="T25" fmla="*/ 24 h 86"/>
                  <a:gd name="T26" fmla="*/ 7 w 49"/>
                  <a:gd name="T27" fmla="*/ 26 h 86"/>
                  <a:gd name="T28" fmla="*/ 9 w 49"/>
                  <a:gd name="T29" fmla="*/ 28 h 86"/>
                  <a:gd name="T30" fmla="*/ 10 w 49"/>
                  <a:gd name="T31" fmla="*/ 26 h 86"/>
                  <a:gd name="T32" fmla="*/ 12 w 49"/>
                  <a:gd name="T33" fmla="*/ 22 h 86"/>
                  <a:gd name="T34" fmla="*/ 14 w 49"/>
                  <a:gd name="T35" fmla="*/ 19 h 86"/>
                  <a:gd name="T36" fmla="*/ 15 w 49"/>
                  <a:gd name="T37" fmla="*/ 15 h 86"/>
                  <a:gd name="T38" fmla="*/ 16 w 49"/>
                  <a:gd name="T39" fmla="*/ 13 h 86"/>
                  <a:gd name="T40" fmla="*/ 16 w 49"/>
                  <a:gd name="T41" fmla="*/ 11 h 86"/>
                  <a:gd name="T42" fmla="*/ 16 w 49"/>
                  <a:gd name="T43" fmla="*/ 8 h 86"/>
                  <a:gd name="T44" fmla="*/ 16 w 49"/>
                  <a:gd name="T45" fmla="*/ 7 h 86"/>
                  <a:gd name="T46" fmla="*/ 14 w 49"/>
                  <a:gd name="T47" fmla="*/ 6 h 86"/>
                  <a:gd name="T48" fmla="*/ 13 w 49"/>
                  <a:gd name="T49" fmla="*/ 5 h 86"/>
                  <a:gd name="T50" fmla="*/ 11 w 49"/>
                  <a:gd name="T51" fmla="*/ 4 h 86"/>
                  <a:gd name="T52" fmla="*/ 9 w 49"/>
                  <a:gd name="T53" fmla="*/ 4 h 8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49" h="86">
                    <a:moveTo>
                      <a:pt x="27" y="12"/>
                    </a:moveTo>
                    <a:lnTo>
                      <a:pt x="20" y="6"/>
                    </a:lnTo>
                    <a:lnTo>
                      <a:pt x="14" y="0"/>
                    </a:lnTo>
                    <a:lnTo>
                      <a:pt x="9" y="5"/>
                    </a:lnTo>
                    <a:lnTo>
                      <a:pt x="5" y="13"/>
                    </a:lnTo>
                    <a:lnTo>
                      <a:pt x="1" y="21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3" y="43"/>
                    </a:lnTo>
                    <a:lnTo>
                      <a:pt x="5" y="50"/>
                    </a:lnTo>
                    <a:lnTo>
                      <a:pt x="8" y="58"/>
                    </a:lnTo>
                    <a:lnTo>
                      <a:pt x="12" y="66"/>
                    </a:lnTo>
                    <a:lnTo>
                      <a:pt x="17" y="74"/>
                    </a:lnTo>
                    <a:lnTo>
                      <a:pt x="22" y="80"/>
                    </a:lnTo>
                    <a:lnTo>
                      <a:pt x="27" y="86"/>
                    </a:lnTo>
                    <a:lnTo>
                      <a:pt x="31" y="79"/>
                    </a:lnTo>
                    <a:lnTo>
                      <a:pt x="37" y="69"/>
                    </a:lnTo>
                    <a:lnTo>
                      <a:pt x="42" y="57"/>
                    </a:lnTo>
                    <a:lnTo>
                      <a:pt x="46" y="45"/>
                    </a:lnTo>
                    <a:lnTo>
                      <a:pt x="49" y="39"/>
                    </a:lnTo>
                    <a:lnTo>
                      <a:pt x="49" y="33"/>
                    </a:lnTo>
                    <a:lnTo>
                      <a:pt x="49" y="26"/>
                    </a:lnTo>
                    <a:lnTo>
                      <a:pt x="48" y="22"/>
                    </a:lnTo>
                    <a:lnTo>
                      <a:pt x="44" y="18"/>
                    </a:lnTo>
                    <a:lnTo>
                      <a:pt x="40" y="15"/>
                    </a:lnTo>
                    <a:lnTo>
                      <a:pt x="34" y="13"/>
                    </a:lnTo>
                    <a:lnTo>
                      <a:pt x="27" y="12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142" name="Freeform 63"/>
              <p:cNvSpPr>
                <a:spLocks/>
              </p:cNvSpPr>
              <p:nvPr/>
            </p:nvSpPr>
            <p:spPr bwMode="auto">
              <a:xfrm>
                <a:off x="1226" y="2161"/>
                <a:ext cx="2" cy="4"/>
              </a:xfrm>
              <a:custGeom>
                <a:avLst/>
                <a:gdLst>
                  <a:gd name="T0" fmla="*/ 0 w 6"/>
                  <a:gd name="T1" fmla="*/ 4 h 12"/>
                  <a:gd name="T2" fmla="*/ 2 w 6"/>
                  <a:gd name="T3" fmla="*/ 0 h 12"/>
                  <a:gd name="T4" fmla="*/ 1 w 6"/>
                  <a:gd name="T5" fmla="*/ 0 h 12"/>
                  <a:gd name="T6" fmla="*/ 1 w 6"/>
                  <a:gd name="T7" fmla="*/ 1 h 12"/>
                  <a:gd name="T8" fmla="*/ 0 w 6"/>
                  <a:gd name="T9" fmla="*/ 1 h 12"/>
                  <a:gd name="T10" fmla="*/ 0 w 6"/>
                  <a:gd name="T11" fmla="*/ 2 h 12"/>
                  <a:gd name="T12" fmla="*/ 0 w 6"/>
                  <a:gd name="T13" fmla="*/ 3 h 12"/>
                  <a:gd name="T14" fmla="*/ 0 w 6"/>
                  <a:gd name="T15" fmla="*/ 4 h 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6" h="12">
                    <a:moveTo>
                      <a:pt x="0" y="12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1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143" name="Freeform 64"/>
              <p:cNvSpPr>
                <a:spLocks/>
              </p:cNvSpPr>
              <p:nvPr/>
            </p:nvSpPr>
            <p:spPr bwMode="auto">
              <a:xfrm>
                <a:off x="1230" y="2154"/>
                <a:ext cx="13" cy="15"/>
              </a:xfrm>
              <a:custGeom>
                <a:avLst/>
                <a:gdLst>
                  <a:gd name="T0" fmla="*/ 0 w 39"/>
                  <a:gd name="T1" fmla="*/ 0 h 48"/>
                  <a:gd name="T2" fmla="*/ 4 w 39"/>
                  <a:gd name="T3" fmla="*/ 3 h 48"/>
                  <a:gd name="T4" fmla="*/ 7 w 39"/>
                  <a:gd name="T5" fmla="*/ 5 h 48"/>
                  <a:gd name="T6" fmla="*/ 11 w 39"/>
                  <a:gd name="T7" fmla="*/ 8 h 48"/>
                  <a:gd name="T8" fmla="*/ 13 w 39"/>
                  <a:gd name="T9" fmla="*/ 9 h 48"/>
                  <a:gd name="T10" fmla="*/ 12 w 39"/>
                  <a:gd name="T11" fmla="*/ 12 h 48"/>
                  <a:gd name="T12" fmla="*/ 11 w 39"/>
                  <a:gd name="T13" fmla="*/ 15 h 48"/>
                  <a:gd name="T14" fmla="*/ 6 w 39"/>
                  <a:gd name="T15" fmla="*/ 11 h 48"/>
                  <a:gd name="T16" fmla="*/ 3 w 39"/>
                  <a:gd name="T17" fmla="*/ 8 h 48"/>
                  <a:gd name="T18" fmla="*/ 1 w 39"/>
                  <a:gd name="T19" fmla="*/ 7 h 48"/>
                  <a:gd name="T20" fmla="*/ 1 w 39"/>
                  <a:gd name="T21" fmla="*/ 5 h 48"/>
                  <a:gd name="T22" fmla="*/ 0 w 39"/>
                  <a:gd name="T23" fmla="*/ 3 h 48"/>
                  <a:gd name="T24" fmla="*/ 0 w 39"/>
                  <a:gd name="T25" fmla="*/ 0 h 4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9" h="48">
                    <a:moveTo>
                      <a:pt x="0" y="0"/>
                    </a:moveTo>
                    <a:lnTo>
                      <a:pt x="11" y="9"/>
                    </a:lnTo>
                    <a:lnTo>
                      <a:pt x="22" y="17"/>
                    </a:lnTo>
                    <a:lnTo>
                      <a:pt x="32" y="24"/>
                    </a:lnTo>
                    <a:lnTo>
                      <a:pt x="39" y="30"/>
                    </a:lnTo>
                    <a:lnTo>
                      <a:pt x="36" y="39"/>
                    </a:lnTo>
                    <a:lnTo>
                      <a:pt x="33" y="48"/>
                    </a:lnTo>
                    <a:lnTo>
                      <a:pt x="18" y="36"/>
                    </a:lnTo>
                    <a:lnTo>
                      <a:pt x="8" y="26"/>
                    </a:lnTo>
                    <a:lnTo>
                      <a:pt x="4" y="21"/>
                    </a:lnTo>
                    <a:lnTo>
                      <a:pt x="2" y="15"/>
                    </a:lnTo>
                    <a:lnTo>
                      <a:pt x="0" y="8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144" name="Freeform 65"/>
              <p:cNvSpPr>
                <a:spLocks/>
              </p:cNvSpPr>
              <p:nvPr/>
            </p:nvSpPr>
            <p:spPr bwMode="auto">
              <a:xfrm>
                <a:off x="1247" y="2167"/>
                <a:ext cx="6" cy="14"/>
              </a:xfrm>
              <a:custGeom>
                <a:avLst/>
                <a:gdLst>
                  <a:gd name="T0" fmla="*/ 3 w 16"/>
                  <a:gd name="T1" fmla="*/ 0 h 43"/>
                  <a:gd name="T2" fmla="*/ 4 w 16"/>
                  <a:gd name="T3" fmla="*/ 3 h 43"/>
                  <a:gd name="T4" fmla="*/ 6 w 16"/>
                  <a:gd name="T5" fmla="*/ 5 h 43"/>
                  <a:gd name="T6" fmla="*/ 6 w 16"/>
                  <a:gd name="T7" fmla="*/ 7 h 43"/>
                  <a:gd name="T8" fmla="*/ 6 w 16"/>
                  <a:gd name="T9" fmla="*/ 9 h 43"/>
                  <a:gd name="T10" fmla="*/ 6 w 16"/>
                  <a:gd name="T11" fmla="*/ 10 h 43"/>
                  <a:gd name="T12" fmla="*/ 4 w 16"/>
                  <a:gd name="T13" fmla="*/ 11 h 43"/>
                  <a:gd name="T14" fmla="*/ 3 w 16"/>
                  <a:gd name="T15" fmla="*/ 13 h 43"/>
                  <a:gd name="T16" fmla="*/ 0 w 16"/>
                  <a:gd name="T17" fmla="*/ 14 h 43"/>
                  <a:gd name="T18" fmla="*/ 1 w 16"/>
                  <a:gd name="T19" fmla="*/ 9 h 43"/>
                  <a:gd name="T20" fmla="*/ 2 w 16"/>
                  <a:gd name="T21" fmla="*/ 6 h 43"/>
                  <a:gd name="T22" fmla="*/ 2 w 16"/>
                  <a:gd name="T23" fmla="*/ 3 h 43"/>
                  <a:gd name="T24" fmla="*/ 3 w 16"/>
                  <a:gd name="T25" fmla="*/ 0 h 4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6" h="43">
                    <a:moveTo>
                      <a:pt x="7" y="0"/>
                    </a:moveTo>
                    <a:lnTo>
                      <a:pt x="11" y="9"/>
                    </a:lnTo>
                    <a:lnTo>
                      <a:pt x="15" y="16"/>
                    </a:lnTo>
                    <a:lnTo>
                      <a:pt x="16" y="22"/>
                    </a:lnTo>
                    <a:lnTo>
                      <a:pt x="16" y="27"/>
                    </a:lnTo>
                    <a:lnTo>
                      <a:pt x="15" y="31"/>
                    </a:lnTo>
                    <a:lnTo>
                      <a:pt x="11" y="35"/>
                    </a:lnTo>
                    <a:lnTo>
                      <a:pt x="7" y="39"/>
                    </a:lnTo>
                    <a:lnTo>
                      <a:pt x="0" y="43"/>
                    </a:lnTo>
                    <a:lnTo>
                      <a:pt x="2" y="28"/>
                    </a:lnTo>
                    <a:lnTo>
                      <a:pt x="4" y="18"/>
                    </a:lnTo>
                    <a:lnTo>
                      <a:pt x="6" y="9"/>
                    </a:lnTo>
                    <a:lnTo>
                      <a:pt x="7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145" name="Freeform 66"/>
              <p:cNvSpPr>
                <a:spLocks/>
              </p:cNvSpPr>
              <p:nvPr/>
            </p:nvSpPr>
            <p:spPr bwMode="auto">
              <a:xfrm>
                <a:off x="1248" y="2190"/>
                <a:ext cx="8" cy="12"/>
              </a:xfrm>
              <a:custGeom>
                <a:avLst/>
                <a:gdLst>
                  <a:gd name="T0" fmla="*/ 8 w 24"/>
                  <a:gd name="T1" fmla="*/ 12 h 37"/>
                  <a:gd name="T2" fmla="*/ 6 w 24"/>
                  <a:gd name="T3" fmla="*/ 9 h 37"/>
                  <a:gd name="T4" fmla="*/ 5 w 24"/>
                  <a:gd name="T5" fmla="*/ 6 h 37"/>
                  <a:gd name="T6" fmla="*/ 4 w 24"/>
                  <a:gd name="T7" fmla="*/ 3 h 37"/>
                  <a:gd name="T8" fmla="*/ 4 w 24"/>
                  <a:gd name="T9" fmla="*/ 0 h 37"/>
                  <a:gd name="T10" fmla="*/ 2 w 24"/>
                  <a:gd name="T11" fmla="*/ 3 h 37"/>
                  <a:gd name="T12" fmla="*/ 1 w 24"/>
                  <a:gd name="T13" fmla="*/ 6 h 37"/>
                  <a:gd name="T14" fmla="*/ 0 w 24"/>
                  <a:gd name="T15" fmla="*/ 8 h 37"/>
                  <a:gd name="T16" fmla="*/ 0 w 24"/>
                  <a:gd name="T17" fmla="*/ 10 h 37"/>
                  <a:gd name="T18" fmla="*/ 0 w 24"/>
                  <a:gd name="T19" fmla="*/ 11 h 37"/>
                  <a:gd name="T20" fmla="*/ 1 w 24"/>
                  <a:gd name="T21" fmla="*/ 11 h 37"/>
                  <a:gd name="T22" fmla="*/ 1 w 24"/>
                  <a:gd name="T23" fmla="*/ 12 h 37"/>
                  <a:gd name="T24" fmla="*/ 2 w 24"/>
                  <a:gd name="T25" fmla="*/ 12 h 37"/>
                  <a:gd name="T26" fmla="*/ 5 w 24"/>
                  <a:gd name="T27" fmla="*/ 12 h 37"/>
                  <a:gd name="T28" fmla="*/ 8 w 24"/>
                  <a:gd name="T29" fmla="*/ 12 h 37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24" h="37">
                    <a:moveTo>
                      <a:pt x="24" y="36"/>
                    </a:moveTo>
                    <a:lnTo>
                      <a:pt x="19" y="27"/>
                    </a:lnTo>
                    <a:lnTo>
                      <a:pt x="15" y="18"/>
                    </a:lnTo>
                    <a:lnTo>
                      <a:pt x="12" y="9"/>
                    </a:lnTo>
                    <a:lnTo>
                      <a:pt x="11" y="0"/>
                    </a:lnTo>
                    <a:lnTo>
                      <a:pt x="6" y="10"/>
                    </a:lnTo>
                    <a:lnTo>
                      <a:pt x="3" y="19"/>
                    </a:lnTo>
                    <a:lnTo>
                      <a:pt x="1" y="26"/>
                    </a:lnTo>
                    <a:lnTo>
                      <a:pt x="0" y="31"/>
                    </a:lnTo>
                    <a:lnTo>
                      <a:pt x="1" y="33"/>
                    </a:lnTo>
                    <a:lnTo>
                      <a:pt x="2" y="35"/>
                    </a:lnTo>
                    <a:lnTo>
                      <a:pt x="4" y="36"/>
                    </a:lnTo>
                    <a:lnTo>
                      <a:pt x="6" y="37"/>
                    </a:lnTo>
                    <a:lnTo>
                      <a:pt x="14" y="37"/>
                    </a:lnTo>
                    <a:lnTo>
                      <a:pt x="24" y="36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146" name="Freeform 67"/>
              <p:cNvSpPr>
                <a:spLocks/>
              </p:cNvSpPr>
              <p:nvPr/>
            </p:nvSpPr>
            <p:spPr bwMode="auto">
              <a:xfrm>
                <a:off x="1265" y="2204"/>
                <a:ext cx="11" cy="17"/>
              </a:xfrm>
              <a:custGeom>
                <a:avLst/>
                <a:gdLst>
                  <a:gd name="T0" fmla="*/ 11 w 34"/>
                  <a:gd name="T1" fmla="*/ 0 h 55"/>
                  <a:gd name="T2" fmla="*/ 11 w 34"/>
                  <a:gd name="T3" fmla="*/ 4 h 55"/>
                  <a:gd name="T4" fmla="*/ 11 w 34"/>
                  <a:gd name="T5" fmla="*/ 8 h 55"/>
                  <a:gd name="T6" fmla="*/ 11 w 34"/>
                  <a:gd name="T7" fmla="*/ 10 h 55"/>
                  <a:gd name="T8" fmla="*/ 10 w 34"/>
                  <a:gd name="T9" fmla="*/ 12 h 55"/>
                  <a:gd name="T10" fmla="*/ 9 w 34"/>
                  <a:gd name="T11" fmla="*/ 13 h 55"/>
                  <a:gd name="T12" fmla="*/ 8 w 34"/>
                  <a:gd name="T13" fmla="*/ 15 h 55"/>
                  <a:gd name="T14" fmla="*/ 6 w 34"/>
                  <a:gd name="T15" fmla="*/ 16 h 55"/>
                  <a:gd name="T16" fmla="*/ 5 w 34"/>
                  <a:gd name="T17" fmla="*/ 16 h 55"/>
                  <a:gd name="T18" fmla="*/ 3 w 34"/>
                  <a:gd name="T19" fmla="*/ 17 h 55"/>
                  <a:gd name="T20" fmla="*/ 0 w 34"/>
                  <a:gd name="T21" fmla="*/ 17 h 55"/>
                  <a:gd name="T22" fmla="*/ 3 w 34"/>
                  <a:gd name="T23" fmla="*/ 11 h 55"/>
                  <a:gd name="T24" fmla="*/ 5 w 34"/>
                  <a:gd name="T25" fmla="*/ 6 h 55"/>
                  <a:gd name="T26" fmla="*/ 6 w 34"/>
                  <a:gd name="T27" fmla="*/ 5 h 55"/>
                  <a:gd name="T28" fmla="*/ 7 w 34"/>
                  <a:gd name="T29" fmla="*/ 3 h 55"/>
                  <a:gd name="T30" fmla="*/ 9 w 34"/>
                  <a:gd name="T31" fmla="*/ 2 h 55"/>
                  <a:gd name="T32" fmla="*/ 11 w 34"/>
                  <a:gd name="T33" fmla="*/ 0 h 5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34" h="55">
                    <a:moveTo>
                      <a:pt x="34" y="0"/>
                    </a:moveTo>
                    <a:lnTo>
                      <a:pt x="34" y="13"/>
                    </a:lnTo>
                    <a:lnTo>
                      <a:pt x="34" y="25"/>
                    </a:lnTo>
                    <a:lnTo>
                      <a:pt x="33" y="32"/>
                    </a:lnTo>
                    <a:lnTo>
                      <a:pt x="31" y="38"/>
                    </a:lnTo>
                    <a:lnTo>
                      <a:pt x="29" y="43"/>
                    </a:lnTo>
                    <a:lnTo>
                      <a:pt x="24" y="47"/>
                    </a:lnTo>
                    <a:lnTo>
                      <a:pt x="20" y="51"/>
                    </a:lnTo>
                    <a:lnTo>
                      <a:pt x="14" y="53"/>
                    </a:lnTo>
                    <a:lnTo>
                      <a:pt x="8" y="55"/>
                    </a:lnTo>
                    <a:lnTo>
                      <a:pt x="0" y="55"/>
                    </a:lnTo>
                    <a:lnTo>
                      <a:pt x="9" y="36"/>
                    </a:lnTo>
                    <a:lnTo>
                      <a:pt x="14" y="21"/>
                    </a:lnTo>
                    <a:lnTo>
                      <a:pt x="18" y="16"/>
                    </a:lnTo>
                    <a:lnTo>
                      <a:pt x="22" y="10"/>
                    </a:lnTo>
                    <a:lnTo>
                      <a:pt x="28" y="5"/>
                    </a:lnTo>
                    <a:lnTo>
                      <a:pt x="34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147" name="Freeform 68"/>
              <p:cNvSpPr>
                <a:spLocks/>
              </p:cNvSpPr>
              <p:nvPr/>
            </p:nvSpPr>
            <p:spPr bwMode="auto">
              <a:xfrm>
                <a:off x="1285" y="2215"/>
                <a:ext cx="11" cy="4"/>
              </a:xfrm>
              <a:custGeom>
                <a:avLst/>
                <a:gdLst>
                  <a:gd name="T0" fmla="*/ 0 w 33"/>
                  <a:gd name="T1" fmla="*/ 0 h 12"/>
                  <a:gd name="T2" fmla="*/ 1 w 33"/>
                  <a:gd name="T3" fmla="*/ 1 h 12"/>
                  <a:gd name="T4" fmla="*/ 2 w 33"/>
                  <a:gd name="T5" fmla="*/ 2 h 12"/>
                  <a:gd name="T6" fmla="*/ 3 w 33"/>
                  <a:gd name="T7" fmla="*/ 3 h 12"/>
                  <a:gd name="T8" fmla="*/ 5 w 33"/>
                  <a:gd name="T9" fmla="*/ 4 h 12"/>
                  <a:gd name="T10" fmla="*/ 8 w 33"/>
                  <a:gd name="T11" fmla="*/ 4 h 12"/>
                  <a:gd name="T12" fmla="*/ 11 w 33"/>
                  <a:gd name="T13" fmla="*/ 4 h 12"/>
                  <a:gd name="T14" fmla="*/ 9 w 33"/>
                  <a:gd name="T15" fmla="*/ 3 h 12"/>
                  <a:gd name="T16" fmla="*/ 6 w 33"/>
                  <a:gd name="T17" fmla="*/ 1 h 12"/>
                  <a:gd name="T18" fmla="*/ 3 w 33"/>
                  <a:gd name="T19" fmla="*/ 0 h 12"/>
                  <a:gd name="T20" fmla="*/ 0 w 33"/>
                  <a:gd name="T21" fmla="*/ 0 h 12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33" h="12">
                    <a:moveTo>
                      <a:pt x="0" y="0"/>
                    </a:moveTo>
                    <a:lnTo>
                      <a:pt x="2" y="4"/>
                    </a:lnTo>
                    <a:lnTo>
                      <a:pt x="6" y="7"/>
                    </a:lnTo>
                    <a:lnTo>
                      <a:pt x="10" y="9"/>
                    </a:lnTo>
                    <a:lnTo>
                      <a:pt x="14" y="11"/>
                    </a:lnTo>
                    <a:lnTo>
                      <a:pt x="23" y="12"/>
                    </a:lnTo>
                    <a:lnTo>
                      <a:pt x="33" y="12"/>
                    </a:lnTo>
                    <a:lnTo>
                      <a:pt x="28" y="8"/>
                    </a:lnTo>
                    <a:lnTo>
                      <a:pt x="19" y="4"/>
                    </a:lnTo>
                    <a:lnTo>
                      <a:pt x="10" y="1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658" name="Freeform 69"/>
            <p:cNvSpPr>
              <a:spLocks/>
            </p:cNvSpPr>
            <p:nvPr>
              <p:custDataLst>
                <p:tags r:id="rId50"/>
              </p:custDataLst>
            </p:nvPr>
          </p:nvSpPr>
          <p:spPr bwMode="auto">
            <a:xfrm>
              <a:off x="10241740" y="4803224"/>
              <a:ext cx="15141" cy="68630"/>
            </a:xfrm>
            <a:custGeom>
              <a:avLst/>
              <a:gdLst>
                <a:gd name="T0" fmla="*/ 0 w 33"/>
                <a:gd name="T1" fmla="*/ 57150 h 62"/>
                <a:gd name="T2" fmla="*/ 0 w 33"/>
                <a:gd name="T3" fmla="*/ 48854 h 62"/>
                <a:gd name="T4" fmla="*/ 0 w 33"/>
                <a:gd name="T5" fmla="*/ 41480 h 62"/>
                <a:gd name="T6" fmla="*/ 0 w 33"/>
                <a:gd name="T7" fmla="*/ 34106 h 62"/>
                <a:gd name="T8" fmla="*/ 0 w 33"/>
                <a:gd name="T9" fmla="*/ 28575 h 62"/>
                <a:gd name="T10" fmla="*/ 0 w 33"/>
                <a:gd name="T11" fmla="*/ 23966 h 62"/>
                <a:gd name="T12" fmla="*/ 770 w 33"/>
                <a:gd name="T13" fmla="*/ 20279 h 62"/>
                <a:gd name="T14" fmla="*/ 1539 w 33"/>
                <a:gd name="T15" fmla="*/ 15670 h 62"/>
                <a:gd name="T16" fmla="*/ 3079 w 33"/>
                <a:gd name="T17" fmla="*/ 11983 h 62"/>
                <a:gd name="T18" fmla="*/ 5388 w 33"/>
                <a:gd name="T19" fmla="*/ 5531 h 62"/>
                <a:gd name="T20" fmla="*/ 7697 w 33"/>
                <a:gd name="T21" fmla="*/ 0 h 62"/>
                <a:gd name="T22" fmla="*/ 10006 w 33"/>
                <a:gd name="T23" fmla="*/ 5531 h 62"/>
                <a:gd name="T24" fmla="*/ 12700 w 33"/>
                <a:gd name="T25" fmla="*/ 11983 h 6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" h="62">
                  <a:moveTo>
                    <a:pt x="0" y="62"/>
                  </a:moveTo>
                  <a:lnTo>
                    <a:pt x="0" y="53"/>
                  </a:lnTo>
                  <a:lnTo>
                    <a:pt x="0" y="45"/>
                  </a:lnTo>
                  <a:lnTo>
                    <a:pt x="0" y="37"/>
                  </a:lnTo>
                  <a:lnTo>
                    <a:pt x="0" y="31"/>
                  </a:lnTo>
                  <a:lnTo>
                    <a:pt x="0" y="26"/>
                  </a:lnTo>
                  <a:lnTo>
                    <a:pt x="2" y="22"/>
                  </a:lnTo>
                  <a:lnTo>
                    <a:pt x="4" y="17"/>
                  </a:lnTo>
                  <a:lnTo>
                    <a:pt x="8" y="13"/>
                  </a:lnTo>
                  <a:lnTo>
                    <a:pt x="14" y="6"/>
                  </a:lnTo>
                  <a:lnTo>
                    <a:pt x="20" y="0"/>
                  </a:lnTo>
                  <a:lnTo>
                    <a:pt x="26" y="6"/>
                  </a:lnTo>
                  <a:lnTo>
                    <a:pt x="33" y="1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659" name="Freeform 70"/>
            <p:cNvSpPr>
              <a:spLocks/>
            </p:cNvSpPr>
            <p:nvPr>
              <p:custDataLst>
                <p:tags r:id="rId51"/>
              </p:custDataLst>
            </p:nvPr>
          </p:nvSpPr>
          <p:spPr bwMode="auto">
            <a:xfrm>
              <a:off x="10253097" y="4911889"/>
              <a:ext cx="11356" cy="70535"/>
            </a:xfrm>
            <a:custGeom>
              <a:avLst/>
              <a:gdLst>
                <a:gd name="T0" fmla="*/ 0 w 26"/>
                <a:gd name="T1" fmla="*/ 58737 h 18"/>
                <a:gd name="T2" fmla="*/ 0 w 26"/>
                <a:gd name="T3" fmla="*/ 0 h 18"/>
                <a:gd name="T4" fmla="*/ 9525 w 26"/>
                <a:gd name="T5" fmla="*/ 0 h 18"/>
                <a:gd name="T6" fmla="*/ 2198 w 26"/>
                <a:gd name="T7" fmla="*/ 39158 h 18"/>
                <a:gd name="T8" fmla="*/ 2198 w 26"/>
                <a:gd name="T9" fmla="*/ 19579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6" h="18">
                  <a:moveTo>
                    <a:pt x="0" y="18"/>
                  </a:moveTo>
                  <a:lnTo>
                    <a:pt x="0" y="0"/>
                  </a:lnTo>
                  <a:lnTo>
                    <a:pt x="26" y="0"/>
                  </a:lnTo>
                  <a:lnTo>
                    <a:pt x="6" y="12"/>
                  </a:lnTo>
                  <a:lnTo>
                    <a:pt x="6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660" name="Freeform 71"/>
            <p:cNvSpPr>
              <a:spLocks/>
            </p:cNvSpPr>
            <p:nvPr>
              <p:custDataLst>
                <p:tags r:id="rId52"/>
              </p:custDataLst>
            </p:nvPr>
          </p:nvSpPr>
          <p:spPr bwMode="auto">
            <a:xfrm>
              <a:off x="10389363" y="4803225"/>
              <a:ext cx="92738" cy="156323"/>
            </a:xfrm>
            <a:custGeom>
              <a:avLst/>
              <a:gdLst>
                <a:gd name="T0" fmla="*/ 77788 w 180"/>
                <a:gd name="T1" fmla="*/ 120412 h 240"/>
                <a:gd name="T2" fmla="*/ 75627 w 180"/>
                <a:gd name="T3" fmla="*/ 120954 h 240"/>
                <a:gd name="T4" fmla="*/ 73899 w 180"/>
                <a:gd name="T5" fmla="*/ 120954 h 240"/>
                <a:gd name="T6" fmla="*/ 72170 w 180"/>
                <a:gd name="T7" fmla="*/ 122039 h 240"/>
                <a:gd name="T8" fmla="*/ 70874 w 180"/>
                <a:gd name="T9" fmla="*/ 123124 h 240"/>
                <a:gd name="T10" fmla="*/ 68281 w 180"/>
                <a:gd name="T11" fmla="*/ 125836 h 240"/>
                <a:gd name="T12" fmla="*/ 66120 w 180"/>
                <a:gd name="T13" fmla="*/ 130175 h 240"/>
                <a:gd name="T14" fmla="*/ 60502 w 180"/>
                <a:gd name="T15" fmla="*/ 125836 h 240"/>
                <a:gd name="T16" fmla="*/ 56612 w 180"/>
                <a:gd name="T17" fmla="*/ 120954 h 240"/>
                <a:gd name="T18" fmla="*/ 53155 w 180"/>
                <a:gd name="T19" fmla="*/ 116073 h 240"/>
                <a:gd name="T20" fmla="*/ 50994 w 180"/>
                <a:gd name="T21" fmla="*/ 111734 h 240"/>
                <a:gd name="T22" fmla="*/ 48401 w 180"/>
                <a:gd name="T23" fmla="*/ 105767 h 240"/>
                <a:gd name="T24" fmla="*/ 45808 w 180"/>
                <a:gd name="T25" fmla="*/ 100343 h 240"/>
                <a:gd name="T26" fmla="*/ 42351 w 180"/>
                <a:gd name="T27" fmla="*/ 94377 h 240"/>
                <a:gd name="T28" fmla="*/ 37598 w 180"/>
                <a:gd name="T29" fmla="*/ 87326 h 240"/>
                <a:gd name="T30" fmla="*/ 35437 w 180"/>
                <a:gd name="T31" fmla="*/ 82987 h 240"/>
                <a:gd name="T32" fmla="*/ 32412 w 180"/>
                <a:gd name="T33" fmla="*/ 79190 h 240"/>
                <a:gd name="T34" fmla="*/ 30251 w 180"/>
                <a:gd name="T35" fmla="*/ 75393 h 240"/>
                <a:gd name="T36" fmla="*/ 26794 w 180"/>
                <a:gd name="T37" fmla="*/ 72139 h 240"/>
                <a:gd name="T38" fmla="*/ 20743 w 180"/>
                <a:gd name="T39" fmla="*/ 65630 h 240"/>
                <a:gd name="T40" fmla="*/ 14261 w 180"/>
                <a:gd name="T41" fmla="*/ 59664 h 240"/>
                <a:gd name="T42" fmla="*/ 11668 w 180"/>
                <a:gd name="T43" fmla="*/ 56409 h 240"/>
                <a:gd name="T44" fmla="*/ 9075 w 180"/>
                <a:gd name="T45" fmla="*/ 53155 h 240"/>
                <a:gd name="T46" fmla="*/ 6482 w 180"/>
                <a:gd name="T47" fmla="*/ 49900 h 240"/>
                <a:gd name="T48" fmla="*/ 4322 w 180"/>
                <a:gd name="T49" fmla="*/ 45561 h 240"/>
                <a:gd name="T50" fmla="*/ 2593 w 180"/>
                <a:gd name="T51" fmla="*/ 41764 h 240"/>
                <a:gd name="T52" fmla="*/ 1729 w 180"/>
                <a:gd name="T53" fmla="*/ 36883 h 240"/>
                <a:gd name="T54" fmla="*/ 432 w 180"/>
                <a:gd name="T55" fmla="*/ 32544 h 240"/>
                <a:gd name="T56" fmla="*/ 0 w 180"/>
                <a:gd name="T57" fmla="*/ 27120 h 240"/>
                <a:gd name="T58" fmla="*/ 0 w 180"/>
                <a:gd name="T59" fmla="*/ 18984 h 240"/>
                <a:gd name="T60" fmla="*/ 0 w 180"/>
                <a:gd name="T61" fmla="*/ 13560 h 240"/>
                <a:gd name="T62" fmla="*/ 0 w 180"/>
                <a:gd name="T63" fmla="*/ 8136 h 240"/>
                <a:gd name="T64" fmla="*/ 0 w 180"/>
                <a:gd name="T65" fmla="*/ 0 h 240"/>
                <a:gd name="T66" fmla="*/ 4322 w 180"/>
                <a:gd name="T67" fmla="*/ 4339 h 240"/>
                <a:gd name="T68" fmla="*/ 8211 w 180"/>
                <a:gd name="T69" fmla="*/ 9221 h 240"/>
                <a:gd name="T70" fmla="*/ 11668 w 180"/>
                <a:gd name="T71" fmla="*/ 14645 h 240"/>
                <a:gd name="T72" fmla="*/ 14693 w 180"/>
                <a:gd name="T73" fmla="*/ 20611 h 240"/>
                <a:gd name="T74" fmla="*/ 17718 w 180"/>
                <a:gd name="T75" fmla="*/ 26035 h 240"/>
                <a:gd name="T76" fmla="*/ 19879 w 180"/>
                <a:gd name="T77" fmla="*/ 31459 h 240"/>
                <a:gd name="T78" fmla="*/ 22040 w 180"/>
                <a:gd name="T79" fmla="*/ 35798 h 240"/>
                <a:gd name="T80" fmla="*/ 23336 w 180"/>
                <a:gd name="T81" fmla="*/ 40137 h 240"/>
                <a:gd name="T82" fmla="*/ 25929 w 180"/>
                <a:gd name="T83" fmla="*/ 46646 h 240"/>
                <a:gd name="T84" fmla="*/ 28522 w 180"/>
                <a:gd name="T85" fmla="*/ 53155 h 240"/>
                <a:gd name="T86" fmla="*/ 31980 w 180"/>
                <a:gd name="T87" fmla="*/ 58036 h 240"/>
                <a:gd name="T88" fmla="*/ 35437 w 180"/>
                <a:gd name="T89" fmla="*/ 62918 h 240"/>
                <a:gd name="T90" fmla="*/ 43216 w 180"/>
                <a:gd name="T91" fmla="*/ 72139 h 240"/>
                <a:gd name="T92" fmla="*/ 51427 w 180"/>
                <a:gd name="T93" fmla="*/ 80817 h 240"/>
                <a:gd name="T94" fmla="*/ 60070 w 180"/>
                <a:gd name="T95" fmla="*/ 88953 h 240"/>
                <a:gd name="T96" fmla="*/ 66984 w 180"/>
                <a:gd name="T97" fmla="*/ 97631 h 240"/>
                <a:gd name="T98" fmla="*/ 70441 w 180"/>
                <a:gd name="T99" fmla="*/ 102513 h 240"/>
                <a:gd name="T100" fmla="*/ 73034 w 180"/>
                <a:gd name="T101" fmla="*/ 107937 h 240"/>
                <a:gd name="T102" fmla="*/ 75627 w 180"/>
                <a:gd name="T103" fmla="*/ 113903 h 240"/>
                <a:gd name="T104" fmla="*/ 77788 w 180"/>
                <a:gd name="T105" fmla="*/ 120412 h 2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180" h="240">
                  <a:moveTo>
                    <a:pt x="180" y="222"/>
                  </a:moveTo>
                  <a:lnTo>
                    <a:pt x="175" y="223"/>
                  </a:lnTo>
                  <a:lnTo>
                    <a:pt x="171" y="223"/>
                  </a:lnTo>
                  <a:lnTo>
                    <a:pt x="167" y="225"/>
                  </a:lnTo>
                  <a:lnTo>
                    <a:pt x="164" y="227"/>
                  </a:lnTo>
                  <a:lnTo>
                    <a:pt x="158" y="232"/>
                  </a:lnTo>
                  <a:lnTo>
                    <a:pt x="153" y="240"/>
                  </a:lnTo>
                  <a:lnTo>
                    <a:pt x="140" y="232"/>
                  </a:lnTo>
                  <a:lnTo>
                    <a:pt x="131" y="223"/>
                  </a:lnTo>
                  <a:lnTo>
                    <a:pt x="123" y="214"/>
                  </a:lnTo>
                  <a:lnTo>
                    <a:pt x="118" y="206"/>
                  </a:lnTo>
                  <a:lnTo>
                    <a:pt x="112" y="195"/>
                  </a:lnTo>
                  <a:lnTo>
                    <a:pt x="106" y="185"/>
                  </a:lnTo>
                  <a:lnTo>
                    <a:pt x="98" y="174"/>
                  </a:lnTo>
                  <a:lnTo>
                    <a:pt x="87" y="161"/>
                  </a:lnTo>
                  <a:lnTo>
                    <a:pt x="82" y="153"/>
                  </a:lnTo>
                  <a:lnTo>
                    <a:pt x="75" y="146"/>
                  </a:lnTo>
                  <a:lnTo>
                    <a:pt x="70" y="139"/>
                  </a:lnTo>
                  <a:lnTo>
                    <a:pt x="62" y="133"/>
                  </a:lnTo>
                  <a:lnTo>
                    <a:pt x="48" y="121"/>
                  </a:lnTo>
                  <a:lnTo>
                    <a:pt x="33" y="110"/>
                  </a:lnTo>
                  <a:lnTo>
                    <a:pt x="27" y="104"/>
                  </a:lnTo>
                  <a:lnTo>
                    <a:pt x="21" y="98"/>
                  </a:lnTo>
                  <a:lnTo>
                    <a:pt x="15" y="92"/>
                  </a:lnTo>
                  <a:lnTo>
                    <a:pt x="10" y="84"/>
                  </a:lnTo>
                  <a:lnTo>
                    <a:pt x="6" y="77"/>
                  </a:lnTo>
                  <a:lnTo>
                    <a:pt x="4" y="68"/>
                  </a:lnTo>
                  <a:lnTo>
                    <a:pt x="1" y="60"/>
                  </a:lnTo>
                  <a:lnTo>
                    <a:pt x="0" y="50"/>
                  </a:lnTo>
                  <a:lnTo>
                    <a:pt x="0" y="35"/>
                  </a:lnTo>
                  <a:lnTo>
                    <a:pt x="0" y="25"/>
                  </a:lnTo>
                  <a:lnTo>
                    <a:pt x="0" y="15"/>
                  </a:lnTo>
                  <a:lnTo>
                    <a:pt x="0" y="0"/>
                  </a:lnTo>
                  <a:lnTo>
                    <a:pt x="10" y="8"/>
                  </a:lnTo>
                  <a:lnTo>
                    <a:pt x="19" y="17"/>
                  </a:lnTo>
                  <a:lnTo>
                    <a:pt x="27" y="27"/>
                  </a:lnTo>
                  <a:lnTo>
                    <a:pt x="34" y="38"/>
                  </a:lnTo>
                  <a:lnTo>
                    <a:pt x="41" y="48"/>
                  </a:lnTo>
                  <a:lnTo>
                    <a:pt x="46" y="58"/>
                  </a:lnTo>
                  <a:lnTo>
                    <a:pt x="51" y="66"/>
                  </a:lnTo>
                  <a:lnTo>
                    <a:pt x="54" y="74"/>
                  </a:lnTo>
                  <a:lnTo>
                    <a:pt x="60" y="86"/>
                  </a:lnTo>
                  <a:lnTo>
                    <a:pt x="66" y="98"/>
                  </a:lnTo>
                  <a:lnTo>
                    <a:pt x="74" y="107"/>
                  </a:lnTo>
                  <a:lnTo>
                    <a:pt x="82" y="116"/>
                  </a:lnTo>
                  <a:lnTo>
                    <a:pt x="100" y="133"/>
                  </a:lnTo>
                  <a:lnTo>
                    <a:pt x="119" y="149"/>
                  </a:lnTo>
                  <a:lnTo>
                    <a:pt x="139" y="164"/>
                  </a:lnTo>
                  <a:lnTo>
                    <a:pt x="155" y="180"/>
                  </a:lnTo>
                  <a:lnTo>
                    <a:pt x="163" y="189"/>
                  </a:lnTo>
                  <a:lnTo>
                    <a:pt x="169" y="199"/>
                  </a:lnTo>
                  <a:lnTo>
                    <a:pt x="175" y="210"/>
                  </a:lnTo>
                  <a:lnTo>
                    <a:pt x="180" y="22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661" name="Freeform 72"/>
            <p:cNvSpPr>
              <a:spLocks/>
            </p:cNvSpPr>
            <p:nvPr>
              <p:custDataLst>
                <p:tags r:id="rId53"/>
              </p:custDataLst>
            </p:nvPr>
          </p:nvSpPr>
          <p:spPr bwMode="auto">
            <a:xfrm>
              <a:off x="10389363" y="4770816"/>
              <a:ext cx="17034" cy="68630"/>
            </a:xfrm>
            <a:custGeom>
              <a:avLst/>
              <a:gdLst>
                <a:gd name="T0" fmla="*/ 0 w 27"/>
                <a:gd name="T1" fmla="*/ 0 h 30"/>
                <a:gd name="T2" fmla="*/ 529 w 27"/>
                <a:gd name="T3" fmla="*/ 9525 h 30"/>
                <a:gd name="T4" fmla="*/ 1588 w 27"/>
                <a:gd name="T5" fmla="*/ 20955 h 30"/>
                <a:gd name="T6" fmla="*/ 2117 w 27"/>
                <a:gd name="T7" fmla="*/ 26670 h 30"/>
                <a:gd name="T8" fmla="*/ 2117 w 27"/>
                <a:gd name="T9" fmla="*/ 36195 h 30"/>
                <a:gd name="T10" fmla="*/ 1588 w 27"/>
                <a:gd name="T11" fmla="*/ 45720 h 30"/>
                <a:gd name="T12" fmla="*/ 0 w 27"/>
                <a:gd name="T13" fmla="*/ 57150 h 30"/>
                <a:gd name="T14" fmla="*/ 8996 w 27"/>
                <a:gd name="T15" fmla="*/ 51435 h 30"/>
                <a:gd name="T16" fmla="*/ 14288 w 27"/>
                <a:gd name="T17" fmla="*/ 45720 h 30"/>
                <a:gd name="T18" fmla="*/ 12171 w 27"/>
                <a:gd name="T19" fmla="*/ 38100 h 30"/>
                <a:gd name="T20" fmla="*/ 8996 w 27"/>
                <a:gd name="T21" fmla="*/ 22860 h 30"/>
                <a:gd name="T22" fmla="*/ 5821 w 27"/>
                <a:gd name="T23" fmla="*/ 15240 h 30"/>
                <a:gd name="T24" fmla="*/ 3704 w 27"/>
                <a:gd name="T25" fmla="*/ 7620 h 30"/>
                <a:gd name="T26" fmla="*/ 2117 w 27"/>
                <a:gd name="T27" fmla="*/ 1905 h 30"/>
                <a:gd name="T28" fmla="*/ 0 w 27"/>
                <a:gd name="T29" fmla="*/ 0 h 3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7" h="30">
                  <a:moveTo>
                    <a:pt x="0" y="0"/>
                  </a:moveTo>
                  <a:lnTo>
                    <a:pt x="1" y="5"/>
                  </a:lnTo>
                  <a:lnTo>
                    <a:pt x="3" y="11"/>
                  </a:lnTo>
                  <a:lnTo>
                    <a:pt x="4" y="14"/>
                  </a:lnTo>
                  <a:lnTo>
                    <a:pt x="4" y="19"/>
                  </a:lnTo>
                  <a:lnTo>
                    <a:pt x="3" y="24"/>
                  </a:lnTo>
                  <a:lnTo>
                    <a:pt x="0" y="30"/>
                  </a:lnTo>
                  <a:lnTo>
                    <a:pt x="17" y="27"/>
                  </a:lnTo>
                  <a:lnTo>
                    <a:pt x="27" y="24"/>
                  </a:lnTo>
                  <a:lnTo>
                    <a:pt x="23" y="20"/>
                  </a:lnTo>
                  <a:lnTo>
                    <a:pt x="17" y="12"/>
                  </a:lnTo>
                  <a:lnTo>
                    <a:pt x="11" y="8"/>
                  </a:lnTo>
                  <a:lnTo>
                    <a:pt x="7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grpSp>
          <p:nvGrpSpPr>
            <p:cNvPr id="662" name="Group 73"/>
            <p:cNvGrpSpPr>
              <a:grpSpLocks/>
            </p:cNvGrpSpPr>
            <p:nvPr>
              <p:custDataLst>
                <p:tags r:id="rId54"/>
              </p:custDataLst>
            </p:nvPr>
          </p:nvGrpSpPr>
          <p:grpSpPr bwMode="auto">
            <a:xfrm>
              <a:off x="10020308" y="5396108"/>
              <a:ext cx="546961" cy="486126"/>
              <a:chOff x="5372" y="3323"/>
              <a:chExt cx="341" cy="253"/>
            </a:xfrm>
            <a:grpFill/>
          </p:grpSpPr>
          <p:sp>
            <p:nvSpPr>
              <p:cNvPr id="1135" name="Freeform 74"/>
              <p:cNvSpPr>
                <a:spLocks/>
              </p:cNvSpPr>
              <p:nvPr/>
            </p:nvSpPr>
            <p:spPr bwMode="auto">
              <a:xfrm>
                <a:off x="5372" y="3565"/>
                <a:ext cx="16" cy="11"/>
              </a:xfrm>
              <a:custGeom>
                <a:avLst/>
                <a:gdLst>
                  <a:gd name="T0" fmla="*/ 0 w 53"/>
                  <a:gd name="T1" fmla="*/ 10 h 33"/>
                  <a:gd name="T2" fmla="*/ 1 w 53"/>
                  <a:gd name="T3" fmla="*/ 9 h 33"/>
                  <a:gd name="T4" fmla="*/ 2 w 53"/>
                  <a:gd name="T5" fmla="*/ 7 h 33"/>
                  <a:gd name="T6" fmla="*/ 5 w 53"/>
                  <a:gd name="T7" fmla="*/ 5 h 33"/>
                  <a:gd name="T8" fmla="*/ 6 w 53"/>
                  <a:gd name="T9" fmla="*/ 4 h 33"/>
                  <a:gd name="T10" fmla="*/ 9 w 53"/>
                  <a:gd name="T11" fmla="*/ 2 h 33"/>
                  <a:gd name="T12" fmla="*/ 11 w 53"/>
                  <a:gd name="T13" fmla="*/ 1 h 33"/>
                  <a:gd name="T14" fmla="*/ 14 w 53"/>
                  <a:gd name="T15" fmla="*/ 0 h 33"/>
                  <a:gd name="T16" fmla="*/ 16 w 53"/>
                  <a:gd name="T17" fmla="*/ 0 h 33"/>
                  <a:gd name="T18" fmla="*/ 16 w 53"/>
                  <a:gd name="T19" fmla="*/ 6 h 33"/>
                  <a:gd name="T20" fmla="*/ 11 w 53"/>
                  <a:gd name="T21" fmla="*/ 8 h 33"/>
                  <a:gd name="T22" fmla="*/ 8 w 53"/>
                  <a:gd name="T23" fmla="*/ 10 h 33"/>
                  <a:gd name="T24" fmla="*/ 6 w 53"/>
                  <a:gd name="T25" fmla="*/ 11 h 33"/>
                  <a:gd name="T26" fmla="*/ 5 w 53"/>
                  <a:gd name="T27" fmla="*/ 11 h 33"/>
                  <a:gd name="T28" fmla="*/ 3 w 53"/>
                  <a:gd name="T29" fmla="*/ 11 h 33"/>
                  <a:gd name="T30" fmla="*/ 0 w 53"/>
                  <a:gd name="T31" fmla="*/ 10 h 33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53" h="33">
                    <a:moveTo>
                      <a:pt x="0" y="31"/>
                    </a:moveTo>
                    <a:lnTo>
                      <a:pt x="4" y="26"/>
                    </a:lnTo>
                    <a:lnTo>
                      <a:pt x="8" y="21"/>
                    </a:lnTo>
                    <a:lnTo>
                      <a:pt x="15" y="16"/>
                    </a:lnTo>
                    <a:lnTo>
                      <a:pt x="21" y="11"/>
                    </a:lnTo>
                    <a:lnTo>
                      <a:pt x="29" y="7"/>
                    </a:lnTo>
                    <a:lnTo>
                      <a:pt x="38" y="3"/>
                    </a:lnTo>
                    <a:lnTo>
                      <a:pt x="45" y="1"/>
                    </a:lnTo>
                    <a:lnTo>
                      <a:pt x="53" y="0"/>
                    </a:lnTo>
                    <a:lnTo>
                      <a:pt x="53" y="18"/>
                    </a:lnTo>
                    <a:lnTo>
                      <a:pt x="38" y="24"/>
                    </a:lnTo>
                    <a:lnTo>
                      <a:pt x="27" y="30"/>
                    </a:lnTo>
                    <a:lnTo>
                      <a:pt x="21" y="32"/>
                    </a:lnTo>
                    <a:lnTo>
                      <a:pt x="16" y="33"/>
                    </a:lnTo>
                    <a:lnTo>
                      <a:pt x="9" y="33"/>
                    </a:lnTo>
                    <a:lnTo>
                      <a:pt x="0" y="3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136" name="Freeform 75"/>
              <p:cNvSpPr>
                <a:spLocks/>
              </p:cNvSpPr>
              <p:nvPr/>
            </p:nvSpPr>
            <p:spPr bwMode="auto">
              <a:xfrm>
                <a:off x="5379" y="3446"/>
                <a:ext cx="202" cy="117"/>
              </a:xfrm>
              <a:custGeom>
                <a:avLst/>
                <a:gdLst>
                  <a:gd name="T0" fmla="*/ 8 w 631"/>
                  <a:gd name="T1" fmla="*/ 97 h 358"/>
                  <a:gd name="T2" fmla="*/ 16 w 631"/>
                  <a:gd name="T3" fmla="*/ 95 h 358"/>
                  <a:gd name="T4" fmla="*/ 21 w 631"/>
                  <a:gd name="T5" fmla="*/ 91 h 358"/>
                  <a:gd name="T6" fmla="*/ 25 w 631"/>
                  <a:gd name="T7" fmla="*/ 83 h 358"/>
                  <a:gd name="T8" fmla="*/ 32 w 631"/>
                  <a:gd name="T9" fmla="*/ 84 h 358"/>
                  <a:gd name="T10" fmla="*/ 40 w 631"/>
                  <a:gd name="T11" fmla="*/ 83 h 358"/>
                  <a:gd name="T12" fmla="*/ 45 w 631"/>
                  <a:gd name="T13" fmla="*/ 81 h 358"/>
                  <a:gd name="T14" fmla="*/ 52 w 631"/>
                  <a:gd name="T15" fmla="*/ 75 h 358"/>
                  <a:gd name="T16" fmla="*/ 58 w 631"/>
                  <a:gd name="T17" fmla="*/ 68 h 358"/>
                  <a:gd name="T18" fmla="*/ 68 w 631"/>
                  <a:gd name="T19" fmla="*/ 63 h 358"/>
                  <a:gd name="T20" fmla="*/ 83 w 631"/>
                  <a:gd name="T21" fmla="*/ 57 h 358"/>
                  <a:gd name="T22" fmla="*/ 105 w 631"/>
                  <a:gd name="T23" fmla="*/ 50 h 358"/>
                  <a:gd name="T24" fmla="*/ 116 w 631"/>
                  <a:gd name="T25" fmla="*/ 45 h 358"/>
                  <a:gd name="T26" fmla="*/ 125 w 631"/>
                  <a:gd name="T27" fmla="*/ 42 h 358"/>
                  <a:gd name="T28" fmla="*/ 130 w 631"/>
                  <a:gd name="T29" fmla="*/ 42 h 358"/>
                  <a:gd name="T30" fmla="*/ 141 w 631"/>
                  <a:gd name="T31" fmla="*/ 35 h 358"/>
                  <a:gd name="T32" fmla="*/ 150 w 631"/>
                  <a:gd name="T33" fmla="*/ 26 h 358"/>
                  <a:gd name="T34" fmla="*/ 153 w 631"/>
                  <a:gd name="T35" fmla="*/ 21 h 358"/>
                  <a:gd name="T36" fmla="*/ 161 w 631"/>
                  <a:gd name="T37" fmla="*/ 19 h 358"/>
                  <a:gd name="T38" fmla="*/ 172 w 631"/>
                  <a:gd name="T39" fmla="*/ 12 h 358"/>
                  <a:gd name="T40" fmla="*/ 182 w 631"/>
                  <a:gd name="T41" fmla="*/ 4 h 358"/>
                  <a:gd name="T42" fmla="*/ 189 w 631"/>
                  <a:gd name="T43" fmla="*/ 0 h 358"/>
                  <a:gd name="T44" fmla="*/ 193 w 631"/>
                  <a:gd name="T45" fmla="*/ 7 h 358"/>
                  <a:gd name="T46" fmla="*/ 198 w 631"/>
                  <a:gd name="T47" fmla="*/ 10 h 358"/>
                  <a:gd name="T48" fmla="*/ 200 w 631"/>
                  <a:gd name="T49" fmla="*/ 15 h 358"/>
                  <a:gd name="T50" fmla="*/ 192 w 631"/>
                  <a:gd name="T51" fmla="*/ 29 h 358"/>
                  <a:gd name="T52" fmla="*/ 182 w 631"/>
                  <a:gd name="T53" fmla="*/ 41 h 358"/>
                  <a:gd name="T54" fmla="*/ 169 w 631"/>
                  <a:gd name="T55" fmla="*/ 50 h 358"/>
                  <a:gd name="T56" fmla="*/ 156 w 631"/>
                  <a:gd name="T57" fmla="*/ 57 h 358"/>
                  <a:gd name="T58" fmla="*/ 142 w 631"/>
                  <a:gd name="T59" fmla="*/ 59 h 358"/>
                  <a:gd name="T60" fmla="*/ 140 w 631"/>
                  <a:gd name="T61" fmla="*/ 64 h 358"/>
                  <a:gd name="T62" fmla="*/ 139 w 631"/>
                  <a:gd name="T63" fmla="*/ 65 h 358"/>
                  <a:gd name="T64" fmla="*/ 126 w 631"/>
                  <a:gd name="T65" fmla="*/ 65 h 358"/>
                  <a:gd name="T66" fmla="*/ 117 w 631"/>
                  <a:gd name="T67" fmla="*/ 69 h 358"/>
                  <a:gd name="T68" fmla="*/ 111 w 631"/>
                  <a:gd name="T69" fmla="*/ 69 h 358"/>
                  <a:gd name="T70" fmla="*/ 108 w 631"/>
                  <a:gd name="T71" fmla="*/ 67 h 358"/>
                  <a:gd name="T72" fmla="*/ 100 w 631"/>
                  <a:gd name="T73" fmla="*/ 79 h 358"/>
                  <a:gd name="T74" fmla="*/ 87 w 631"/>
                  <a:gd name="T75" fmla="*/ 92 h 358"/>
                  <a:gd name="T76" fmla="*/ 70 w 631"/>
                  <a:gd name="T77" fmla="*/ 103 h 358"/>
                  <a:gd name="T78" fmla="*/ 53 w 631"/>
                  <a:gd name="T79" fmla="*/ 112 h 358"/>
                  <a:gd name="T80" fmla="*/ 35 w 631"/>
                  <a:gd name="T81" fmla="*/ 117 h 358"/>
                  <a:gd name="T82" fmla="*/ 23 w 631"/>
                  <a:gd name="T83" fmla="*/ 116 h 358"/>
                  <a:gd name="T84" fmla="*/ 18 w 631"/>
                  <a:gd name="T85" fmla="*/ 114 h 358"/>
                  <a:gd name="T86" fmla="*/ 11 w 631"/>
                  <a:gd name="T87" fmla="*/ 111 h 358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631" h="358">
                    <a:moveTo>
                      <a:pt x="0" y="327"/>
                    </a:moveTo>
                    <a:lnTo>
                      <a:pt x="7" y="297"/>
                    </a:lnTo>
                    <a:lnTo>
                      <a:pt x="24" y="296"/>
                    </a:lnTo>
                    <a:lnTo>
                      <a:pt x="39" y="293"/>
                    </a:lnTo>
                    <a:lnTo>
                      <a:pt x="44" y="292"/>
                    </a:lnTo>
                    <a:lnTo>
                      <a:pt x="50" y="290"/>
                    </a:lnTo>
                    <a:lnTo>
                      <a:pt x="54" y="287"/>
                    </a:lnTo>
                    <a:lnTo>
                      <a:pt x="58" y="285"/>
                    </a:lnTo>
                    <a:lnTo>
                      <a:pt x="65" y="277"/>
                    </a:lnTo>
                    <a:lnTo>
                      <a:pt x="70" y="270"/>
                    </a:lnTo>
                    <a:lnTo>
                      <a:pt x="75" y="262"/>
                    </a:lnTo>
                    <a:lnTo>
                      <a:pt x="79" y="253"/>
                    </a:lnTo>
                    <a:lnTo>
                      <a:pt x="87" y="255"/>
                    </a:lnTo>
                    <a:lnTo>
                      <a:pt x="93" y="256"/>
                    </a:lnTo>
                    <a:lnTo>
                      <a:pt x="100" y="256"/>
                    </a:lnTo>
                    <a:lnTo>
                      <a:pt x="106" y="256"/>
                    </a:lnTo>
                    <a:lnTo>
                      <a:pt x="116" y="254"/>
                    </a:lnTo>
                    <a:lnTo>
                      <a:pt x="126" y="253"/>
                    </a:lnTo>
                    <a:lnTo>
                      <a:pt x="131" y="252"/>
                    </a:lnTo>
                    <a:lnTo>
                      <a:pt x="136" y="250"/>
                    </a:lnTo>
                    <a:lnTo>
                      <a:pt x="141" y="247"/>
                    </a:lnTo>
                    <a:lnTo>
                      <a:pt x="145" y="244"/>
                    </a:lnTo>
                    <a:lnTo>
                      <a:pt x="153" y="237"/>
                    </a:lnTo>
                    <a:lnTo>
                      <a:pt x="162" y="229"/>
                    </a:lnTo>
                    <a:lnTo>
                      <a:pt x="168" y="220"/>
                    </a:lnTo>
                    <a:lnTo>
                      <a:pt x="175" y="213"/>
                    </a:lnTo>
                    <a:lnTo>
                      <a:pt x="180" y="208"/>
                    </a:lnTo>
                    <a:lnTo>
                      <a:pt x="186" y="204"/>
                    </a:lnTo>
                    <a:lnTo>
                      <a:pt x="199" y="198"/>
                    </a:lnTo>
                    <a:lnTo>
                      <a:pt x="211" y="192"/>
                    </a:lnTo>
                    <a:lnTo>
                      <a:pt x="223" y="187"/>
                    </a:lnTo>
                    <a:lnTo>
                      <a:pt x="235" y="182"/>
                    </a:lnTo>
                    <a:lnTo>
                      <a:pt x="260" y="175"/>
                    </a:lnTo>
                    <a:lnTo>
                      <a:pt x="283" y="167"/>
                    </a:lnTo>
                    <a:lnTo>
                      <a:pt x="308" y="160"/>
                    </a:lnTo>
                    <a:lnTo>
                      <a:pt x="329" y="152"/>
                    </a:lnTo>
                    <a:lnTo>
                      <a:pt x="340" y="147"/>
                    </a:lnTo>
                    <a:lnTo>
                      <a:pt x="351" y="142"/>
                    </a:lnTo>
                    <a:lnTo>
                      <a:pt x="361" y="137"/>
                    </a:lnTo>
                    <a:lnTo>
                      <a:pt x="372" y="130"/>
                    </a:lnTo>
                    <a:lnTo>
                      <a:pt x="382" y="130"/>
                    </a:lnTo>
                    <a:lnTo>
                      <a:pt x="392" y="130"/>
                    </a:lnTo>
                    <a:lnTo>
                      <a:pt x="396" y="130"/>
                    </a:lnTo>
                    <a:lnTo>
                      <a:pt x="401" y="129"/>
                    </a:lnTo>
                    <a:lnTo>
                      <a:pt x="406" y="127"/>
                    </a:lnTo>
                    <a:lnTo>
                      <a:pt x="413" y="124"/>
                    </a:lnTo>
                    <a:lnTo>
                      <a:pt x="426" y="117"/>
                    </a:lnTo>
                    <a:lnTo>
                      <a:pt x="440" y="107"/>
                    </a:lnTo>
                    <a:lnTo>
                      <a:pt x="454" y="97"/>
                    </a:lnTo>
                    <a:lnTo>
                      <a:pt x="465" y="86"/>
                    </a:lnTo>
                    <a:lnTo>
                      <a:pt x="469" y="80"/>
                    </a:lnTo>
                    <a:lnTo>
                      <a:pt x="473" y="74"/>
                    </a:lnTo>
                    <a:lnTo>
                      <a:pt x="477" y="69"/>
                    </a:lnTo>
                    <a:lnTo>
                      <a:pt x="478" y="63"/>
                    </a:lnTo>
                    <a:lnTo>
                      <a:pt x="488" y="62"/>
                    </a:lnTo>
                    <a:lnTo>
                      <a:pt x="496" y="61"/>
                    </a:lnTo>
                    <a:lnTo>
                      <a:pt x="504" y="58"/>
                    </a:lnTo>
                    <a:lnTo>
                      <a:pt x="512" y="54"/>
                    </a:lnTo>
                    <a:lnTo>
                      <a:pt x="525" y="46"/>
                    </a:lnTo>
                    <a:lnTo>
                      <a:pt x="537" y="36"/>
                    </a:lnTo>
                    <a:lnTo>
                      <a:pt x="549" y="26"/>
                    </a:lnTo>
                    <a:lnTo>
                      <a:pt x="561" y="16"/>
                    </a:lnTo>
                    <a:lnTo>
                      <a:pt x="568" y="11"/>
                    </a:lnTo>
                    <a:lnTo>
                      <a:pt x="575" y="7"/>
                    </a:lnTo>
                    <a:lnTo>
                      <a:pt x="583" y="4"/>
                    </a:lnTo>
                    <a:lnTo>
                      <a:pt x="591" y="0"/>
                    </a:lnTo>
                    <a:lnTo>
                      <a:pt x="594" y="10"/>
                    </a:lnTo>
                    <a:lnTo>
                      <a:pt x="597" y="16"/>
                    </a:lnTo>
                    <a:lnTo>
                      <a:pt x="602" y="22"/>
                    </a:lnTo>
                    <a:lnTo>
                      <a:pt x="606" y="25"/>
                    </a:lnTo>
                    <a:lnTo>
                      <a:pt x="612" y="28"/>
                    </a:lnTo>
                    <a:lnTo>
                      <a:pt x="617" y="30"/>
                    </a:lnTo>
                    <a:lnTo>
                      <a:pt x="624" y="31"/>
                    </a:lnTo>
                    <a:lnTo>
                      <a:pt x="631" y="31"/>
                    </a:lnTo>
                    <a:lnTo>
                      <a:pt x="625" y="46"/>
                    </a:lnTo>
                    <a:lnTo>
                      <a:pt x="618" y="61"/>
                    </a:lnTo>
                    <a:lnTo>
                      <a:pt x="611" y="75"/>
                    </a:lnTo>
                    <a:lnTo>
                      <a:pt x="601" y="88"/>
                    </a:lnTo>
                    <a:lnTo>
                      <a:pt x="591" y="101"/>
                    </a:lnTo>
                    <a:lnTo>
                      <a:pt x="580" y="114"/>
                    </a:lnTo>
                    <a:lnTo>
                      <a:pt x="568" y="125"/>
                    </a:lnTo>
                    <a:lnTo>
                      <a:pt x="556" y="136"/>
                    </a:lnTo>
                    <a:lnTo>
                      <a:pt x="543" y="145"/>
                    </a:lnTo>
                    <a:lnTo>
                      <a:pt x="529" y="154"/>
                    </a:lnTo>
                    <a:lnTo>
                      <a:pt x="515" y="161"/>
                    </a:lnTo>
                    <a:lnTo>
                      <a:pt x="501" y="167"/>
                    </a:lnTo>
                    <a:lnTo>
                      <a:pt x="487" y="173"/>
                    </a:lnTo>
                    <a:lnTo>
                      <a:pt x="473" y="177"/>
                    </a:lnTo>
                    <a:lnTo>
                      <a:pt x="459" y="179"/>
                    </a:lnTo>
                    <a:lnTo>
                      <a:pt x="445" y="180"/>
                    </a:lnTo>
                    <a:lnTo>
                      <a:pt x="443" y="189"/>
                    </a:lnTo>
                    <a:lnTo>
                      <a:pt x="439" y="195"/>
                    </a:lnTo>
                    <a:lnTo>
                      <a:pt x="438" y="197"/>
                    </a:lnTo>
                    <a:lnTo>
                      <a:pt x="436" y="199"/>
                    </a:lnTo>
                    <a:lnTo>
                      <a:pt x="435" y="200"/>
                    </a:lnTo>
                    <a:lnTo>
                      <a:pt x="433" y="200"/>
                    </a:lnTo>
                    <a:lnTo>
                      <a:pt x="422" y="199"/>
                    </a:lnTo>
                    <a:lnTo>
                      <a:pt x="405" y="198"/>
                    </a:lnTo>
                    <a:lnTo>
                      <a:pt x="395" y="199"/>
                    </a:lnTo>
                    <a:lnTo>
                      <a:pt x="385" y="202"/>
                    </a:lnTo>
                    <a:lnTo>
                      <a:pt x="376" y="206"/>
                    </a:lnTo>
                    <a:lnTo>
                      <a:pt x="367" y="210"/>
                    </a:lnTo>
                    <a:lnTo>
                      <a:pt x="358" y="213"/>
                    </a:lnTo>
                    <a:lnTo>
                      <a:pt x="351" y="213"/>
                    </a:lnTo>
                    <a:lnTo>
                      <a:pt x="347" y="212"/>
                    </a:lnTo>
                    <a:lnTo>
                      <a:pt x="344" y="211"/>
                    </a:lnTo>
                    <a:lnTo>
                      <a:pt x="342" y="208"/>
                    </a:lnTo>
                    <a:lnTo>
                      <a:pt x="338" y="204"/>
                    </a:lnTo>
                    <a:lnTo>
                      <a:pt x="333" y="216"/>
                    </a:lnTo>
                    <a:lnTo>
                      <a:pt x="324" y="229"/>
                    </a:lnTo>
                    <a:lnTo>
                      <a:pt x="313" y="241"/>
                    </a:lnTo>
                    <a:lnTo>
                      <a:pt x="301" y="254"/>
                    </a:lnTo>
                    <a:lnTo>
                      <a:pt x="288" y="267"/>
                    </a:lnTo>
                    <a:lnTo>
                      <a:pt x="272" y="280"/>
                    </a:lnTo>
                    <a:lnTo>
                      <a:pt x="256" y="293"/>
                    </a:lnTo>
                    <a:lnTo>
                      <a:pt x="238" y="304"/>
                    </a:lnTo>
                    <a:lnTo>
                      <a:pt x="220" y="315"/>
                    </a:lnTo>
                    <a:lnTo>
                      <a:pt x="202" y="325"/>
                    </a:lnTo>
                    <a:lnTo>
                      <a:pt x="182" y="334"/>
                    </a:lnTo>
                    <a:lnTo>
                      <a:pt x="164" y="343"/>
                    </a:lnTo>
                    <a:lnTo>
                      <a:pt x="145" y="349"/>
                    </a:lnTo>
                    <a:lnTo>
                      <a:pt x="127" y="354"/>
                    </a:lnTo>
                    <a:lnTo>
                      <a:pt x="110" y="357"/>
                    </a:lnTo>
                    <a:lnTo>
                      <a:pt x="93" y="358"/>
                    </a:lnTo>
                    <a:lnTo>
                      <a:pt x="80" y="358"/>
                    </a:lnTo>
                    <a:lnTo>
                      <a:pt x="71" y="356"/>
                    </a:lnTo>
                    <a:lnTo>
                      <a:pt x="65" y="354"/>
                    </a:lnTo>
                    <a:lnTo>
                      <a:pt x="60" y="351"/>
                    </a:lnTo>
                    <a:lnTo>
                      <a:pt x="56" y="348"/>
                    </a:lnTo>
                    <a:lnTo>
                      <a:pt x="51" y="345"/>
                    </a:lnTo>
                    <a:lnTo>
                      <a:pt x="44" y="343"/>
                    </a:lnTo>
                    <a:lnTo>
                      <a:pt x="33" y="340"/>
                    </a:lnTo>
                    <a:lnTo>
                      <a:pt x="0" y="32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137" name="Freeform 76"/>
              <p:cNvSpPr>
                <a:spLocks/>
              </p:cNvSpPr>
              <p:nvPr/>
            </p:nvSpPr>
            <p:spPr bwMode="auto">
              <a:xfrm>
                <a:off x="5597" y="3323"/>
                <a:ext cx="116" cy="141"/>
              </a:xfrm>
              <a:custGeom>
                <a:avLst/>
                <a:gdLst>
                  <a:gd name="T0" fmla="*/ 19 w 359"/>
                  <a:gd name="T1" fmla="*/ 94 h 431"/>
                  <a:gd name="T2" fmla="*/ 31 w 359"/>
                  <a:gd name="T3" fmla="*/ 88 h 431"/>
                  <a:gd name="T4" fmla="*/ 53 w 359"/>
                  <a:gd name="T5" fmla="*/ 68 h 431"/>
                  <a:gd name="T6" fmla="*/ 56 w 359"/>
                  <a:gd name="T7" fmla="*/ 55 h 431"/>
                  <a:gd name="T8" fmla="*/ 58 w 359"/>
                  <a:gd name="T9" fmla="*/ 49 h 431"/>
                  <a:gd name="T10" fmla="*/ 62 w 359"/>
                  <a:gd name="T11" fmla="*/ 45 h 431"/>
                  <a:gd name="T12" fmla="*/ 61 w 359"/>
                  <a:gd name="T13" fmla="*/ 41 h 431"/>
                  <a:gd name="T14" fmla="*/ 58 w 359"/>
                  <a:gd name="T15" fmla="*/ 31 h 431"/>
                  <a:gd name="T16" fmla="*/ 56 w 359"/>
                  <a:gd name="T17" fmla="*/ 11 h 431"/>
                  <a:gd name="T18" fmla="*/ 59 w 359"/>
                  <a:gd name="T19" fmla="*/ 0 h 431"/>
                  <a:gd name="T20" fmla="*/ 63 w 359"/>
                  <a:gd name="T21" fmla="*/ 4 h 431"/>
                  <a:gd name="T22" fmla="*/ 67 w 359"/>
                  <a:gd name="T23" fmla="*/ 9 h 431"/>
                  <a:gd name="T24" fmla="*/ 75 w 359"/>
                  <a:gd name="T25" fmla="*/ 18 h 431"/>
                  <a:gd name="T26" fmla="*/ 77 w 359"/>
                  <a:gd name="T27" fmla="*/ 24 h 431"/>
                  <a:gd name="T28" fmla="*/ 77 w 359"/>
                  <a:gd name="T29" fmla="*/ 29 h 431"/>
                  <a:gd name="T30" fmla="*/ 73 w 359"/>
                  <a:gd name="T31" fmla="*/ 33 h 431"/>
                  <a:gd name="T32" fmla="*/ 66 w 359"/>
                  <a:gd name="T33" fmla="*/ 39 h 431"/>
                  <a:gd name="T34" fmla="*/ 64 w 359"/>
                  <a:gd name="T35" fmla="*/ 43 h 431"/>
                  <a:gd name="T36" fmla="*/ 64 w 359"/>
                  <a:gd name="T37" fmla="*/ 49 h 431"/>
                  <a:gd name="T38" fmla="*/ 66 w 359"/>
                  <a:gd name="T39" fmla="*/ 52 h 431"/>
                  <a:gd name="T40" fmla="*/ 73 w 359"/>
                  <a:gd name="T41" fmla="*/ 52 h 431"/>
                  <a:gd name="T42" fmla="*/ 75 w 359"/>
                  <a:gd name="T43" fmla="*/ 50 h 431"/>
                  <a:gd name="T44" fmla="*/ 75 w 359"/>
                  <a:gd name="T45" fmla="*/ 44 h 431"/>
                  <a:gd name="T46" fmla="*/ 84 w 359"/>
                  <a:gd name="T47" fmla="*/ 63 h 431"/>
                  <a:gd name="T48" fmla="*/ 88 w 359"/>
                  <a:gd name="T49" fmla="*/ 68 h 431"/>
                  <a:gd name="T50" fmla="*/ 94 w 359"/>
                  <a:gd name="T51" fmla="*/ 72 h 431"/>
                  <a:gd name="T52" fmla="*/ 97 w 359"/>
                  <a:gd name="T53" fmla="*/ 71 h 431"/>
                  <a:gd name="T54" fmla="*/ 101 w 359"/>
                  <a:gd name="T55" fmla="*/ 67 h 431"/>
                  <a:gd name="T56" fmla="*/ 110 w 359"/>
                  <a:gd name="T57" fmla="*/ 63 h 431"/>
                  <a:gd name="T58" fmla="*/ 115 w 359"/>
                  <a:gd name="T59" fmla="*/ 67 h 431"/>
                  <a:gd name="T60" fmla="*/ 111 w 359"/>
                  <a:gd name="T61" fmla="*/ 79 h 431"/>
                  <a:gd name="T62" fmla="*/ 104 w 359"/>
                  <a:gd name="T63" fmla="*/ 85 h 431"/>
                  <a:gd name="T64" fmla="*/ 95 w 359"/>
                  <a:gd name="T65" fmla="*/ 90 h 431"/>
                  <a:gd name="T66" fmla="*/ 80 w 359"/>
                  <a:gd name="T67" fmla="*/ 94 h 431"/>
                  <a:gd name="T68" fmla="*/ 67 w 359"/>
                  <a:gd name="T69" fmla="*/ 98 h 431"/>
                  <a:gd name="T70" fmla="*/ 62 w 359"/>
                  <a:gd name="T71" fmla="*/ 101 h 431"/>
                  <a:gd name="T72" fmla="*/ 58 w 359"/>
                  <a:gd name="T73" fmla="*/ 111 h 431"/>
                  <a:gd name="T74" fmla="*/ 53 w 359"/>
                  <a:gd name="T75" fmla="*/ 116 h 431"/>
                  <a:gd name="T76" fmla="*/ 35 w 359"/>
                  <a:gd name="T77" fmla="*/ 129 h 431"/>
                  <a:gd name="T78" fmla="*/ 16 w 359"/>
                  <a:gd name="T79" fmla="*/ 139 h 431"/>
                  <a:gd name="T80" fmla="*/ 6 w 359"/>
                  <a:gd name="T81" fmla="*/ 141 h 431"/>
                  <a:gd name="T82" fmla="*/ 2 w 359"/>
                  <a:gd name="T83" fmla="*/ 139 h 431"/>
                  <a:gd name="T84" fmla="*/ 0 w 359"/>
                  <a:gd name="T85" fmla="*/ 136 h 431"/>
                  <a:gd name="T86" fmla="*/ 0 w 359"/>
                  <a:gd name="T87" fmla="*/ 132 h 431"/>
                  <a:gd name="T88" fmla="*/ 3 w 359"/>
                  <a:gd name="T89" fmla="*/ 128 h 431"/>
                  <a:gd name="T90" fmla="*/ 18 w 359"/>
                  <a:gd name="T91" fmla="*/ 122 h 431"/>
                  <a:gd name="T92" fmla="*/ 24 w 359"/>
                  <a:gd name="T93" fmla="*/ 115 h 431"/>
                  <a:gd name="T94" fmla="*/ 23 w 359"/>
                  <a:gd name="T95" fmla="*/ 110 h 431"/>
                  <a:gd name="T96" fmla="*/ 21 w 359"/>
                  <a:gd name="T97" fmla="*/ 107 h 431"/>
                  <a:gd name="T98" fmla="*/ 16 w 359"/>
                  <a:gd name="T99" fmla="*/ 105 h 431"/>
                  <a:gd name="T100" fmla="*/ 6 w 359"/>
                  <a:gd name="T101" fmla="*/ 105 h 431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359" h="431">
                    <a:moveTo>
                      <a:pt x="39" y="296"/>
                    </a:moveTo>
                    <a:lnTo>
                      <a:pt x="50" y="292"/>
                    </a:lnTo>
                    <a:lnTo>
                      <a:pt x="60" y="288"/>
                    </a:lnTo>
                    <a:lnTo>
                      <a:pt x="70" y="284"/>
                    </a:lnTo>
                    <a:lnTo>
                      <a:pt x="79" y="279"/>
                    </a:lnTo>
                    <a:lnTo>
                      <a:pt x="95" y="269"/>
                    </a:lnTo>
                    <a:lnTo>
                      <a:pt x="110" y="257"/>
                    </a:lnTo>
                    <a:lnTo>
                      <a:pt x="138" y="233"/>
                    </a:lnTo>
                    <a:lnTo>
                      <a:pt x="165" y="209"/>
                    </a:lnTo>
                    <a:lnTo>
                      <a:pt x="166" y="198"/>
                    </a:lnTo>
                    <a:lnTo>
                      <a:pt x="170" y="175"/>
                    </a:lnTo>
                    <a:lnTo>
                      <a:pt x="172" y="168"/>
                    </a:lnTo>
                    <a:lnTo>
                      <a:pt x="174" y="162"/>
                    </a:lnTo>
                    <a:lnTo>
                      <a:pt x="176" y="156"/>
                    </a:lnTo>
                    <a:lnTo>
                      <a:pt x="180" y="149"/>
                    </a:lnTo>
                    <a:lnTo>
                      <a:pt x="183" y="144"/>
                    </a:lnTo>
                    <a:lnTo>
                      <a:pt x="188" y="140"/>
                    </a:lnTo>
                    <a:lnTo>
                      <a:pt x="193" y="137"/>
                    </a:lnTo>
                    <a:lnTo>
                      <a:pt x="199" y="135"/>
                    </a:lnTo>
                    <a:lnTo>
                      <a:pt x="194" y="131"/>
                    </a:lnTo>
                    <a:lnTo>
                      <a:pt x="190" y="126"/>
                    </a:lnTo>
                    <a:lnTo>
                      <a:pt x="186" y="119"/>
                    </a:lnTo>
                    <a:lnTo>
                      <a:pt x="184" y="112"/>
                    </a:lnTo>
                    <a:lnTo>
                      <a:pt x="179" y="94"/>
                    </a:lnTo>
                    <a:lnTo>
                      <a:pt x="175" y="75"/>
                    </a:lnTo>
                    <a:lnTo>
                      <a:pt x="174" y="54"/>
                    </a:lnTo>
                    <a:lnTo>
                      <a:pt x="173" y="34"/>
                    </a:lnTo>
                    <a:lnTo>
                      <a:pt x="172" y="16"/>
                    </a:lnTo>
                    <a:lnTo>
                      <a:pt x="172" y="0"/>
                    </a:lnTo>
                    <a:lnTo>
                      <a:pt x="182" y="0"/>
                    </a:lnTo>
                    <a:lnTo>
                      <a:pt x="192" y="0"/>
                    </a:lnTo>
                    <a:lnTo>
                      <a:pt x="193" y="6"/>
                    </a:lnTo>
                    <a:lnTo>
                      <a:pt x="194" y="11"/>
                    </a:lnTo>
                    <a:lnTo>
                      <a:pt x="196" y="16"/>
                    </a:lnTo>
                    <a:lnTo>
                      <a:pt x="199" y="20"/>
                    </a:lnTo>
                    <a:lnTo>
                      <a:pt x="207" y="29"/>
                    </a:lnTo>
                    <a:lnTo>
                      <a:pt x="216" y="37"/>
                    </a:lnTo>
                    <a:lnTo>
                      <a:pt x="224" y="47"/>
                    </a:lnTo>
                    <a:lnTo>
                      <a:pt x="231" y="56"/>
                    </a:lnTo>
                    <a:lnTo>
                      <a:pt x="235" y="62"/>
                    </a:lnTo>
                    <a:lnTo>
                      <a:pt x="237" y="67"/>
                    </a:lnTo>
                    <a:lnTo>
                      <a:pt x="238" y="73"/>
                    </a:lnTo>
                    <a:lnTo>
                      <a:pt x="239" y="80"/>
                    </a:lnTo>
                    <a:lnTo>
                      <a:pt x="238" y="84"/>
                    </a:lnTo>
                    <a:lnTo>
                      <a:pt x="237" y="88"/>
                    </a:lnTo>
                    <a:lnTo>
                      <a:pt x="235" y="92"/>
                    </a:lnTo>
                    <a:lnTo>
                      <a:pt x="232" y="95"/>
                    </a:lnTo>
                    <a:lnTo>
                      <a:pt x="226" y="102"/>
                    </a:lnTo>
                    <a:lnTo>
                      <a:pt x="219" y="108"/>
                    </a:lnTo>
                    <a:lnTo>
                      <a:pt x="211" y="114"/>
                    </a:lnTo>
                    <a:lnTo>
                      <a:pt x="205" y="120"/>
                    </a:lnTo>
                    <a:lnTo>
                      <a:pt x="203" y="123"/>
                    </a:lnTo>
                    <a:lnTo>
                      <a:pt x="200" y="127"/>
                    </a:lnTo>
                    <a:lnTo>
                      <a:pt x="199" y="131"/>
                    </a:lnTo>
                    <a:lnTo>
                      <a:pt x="199" y="135"/>
                    </a:lnTo>
                    <a:lnTo>
                      <a:pt x="199" y="143"/>
                    </a:lnTo>
                    <a:lnTo>
                      <a:pt x="199" y="149"/>
                    </a:lnTo>
                    <a:lnTo>
                      <a:pt x="200" y="155"/>
                    </a:lnTo>
                    <a:lnTo>
                      <a:pt x="203" y="157"/>
                    </a:lnTo>
                    <a:lnTo>
                      <a:pt x="205" y="159"/>
                    </a:lnTo>
                    <a:lnTo>
                      <a:pt x="210" y="160"/>
                    </a:lnTo>
                    <a:lnTo>
                      <a:pt x="217" y="160"/>
                    </a:lnTo>
                    <a:lnTo>
                      <a:pt x="226" y="160"/>
                    </a:lnTo>
                    <a:lnTo>
                      <a:pt x="229" y="160"/>
                    </a:lnTo>
                    <a:lnTo>
                      <a:pt x="232" y="158"/>
                    </a:lnTo>
                    <a:lnTo>
                      <a:pt x="233" y="153"/>
                    </a:lnTo>
                    <a:lnTo>
                      <a:pt x="233" y="150"/>
                    </a:lnTo>
                    <a:lnTo>
                      <a:pt x="233" y="142"/>
                    </a:lnTo>
                    <a:lnTo>
                      <a:pt x="232" y="135"/>
                    </a:lnTo>
                    <a:lnTo>
                      <a:pt x="244" y="163"/>
                    </a:lnTo>
                    <a:lnTo>
                      <a:pt x="255" y="188"/>
                    </a:lnTo>
                    <a:lnTo>
                      <a:pt x="259" y="193"/>
                    </a:lnTo>
                    <a:lnTo>
                      <a:pt x="262" y="198"/>
                    </a:lnTo>
                    <a:lnTo>
                      <a:pt x="266" y="203"/>
                    </a:lnTo>
                    <a:lnTo>
                      <a:pt x="271" y="208"/>
                    </a:lnTo>
                    <a:lnTo>
                      <a:pt x="276" y="213"/>
                    </a:lnTo>
                    <a:lnTo>
                      <a:pt x="283" y="216"/>
                    </a:lnTo>
                    <a:lnTo>
                      <a:pt x="291" y="219"/>
                    </a:lnTo>
                    <a:lnTo>
                      <a:pt x="298" y="222"/>
                    </a:lnTo>
                    <a:lnTo>
                      <a:pt x="299" y="220"/>
                    </a:lnTo>
                    <a:lnTo>
                      <a:pt x="300" y="217"/>
                    </a:lnTo>
                    <a:lnTo>
                      <a:pt x="303" y="215"/>
                    </a:lnTo>
                    <a:lnTo>
                      <a:pt x="305" y="212"/>
                    </a:lnTo>
                    <a:lnTo>
                      <a:pt x="312" y="206"/>
                    </a:lnTo>
                    <a:lnTo>
                      <a:pt x="321" y="201"/>
                    </a:lnTo>
                    <a:lnTo>
                      <a:pt x="331" y="197"/>
                    </a:lnTo>
                    <a:lnTo>
                      <a:pt x="341" y="194"/>
                    </a:lnTo>
                    <a:lnTo>
                      <a:pt x="350" y="192"/>
                    </a:lnTo>
                    <a:lnTo>
                      <a:pt x="359" y="191"/>
                    </a:lnTo>
                    <a:lnTo>
                      <a:pt x="355" y="206"/>
                    </a:lnTo>
                    <a:lnTo>
                      <a:pt x="352" y="219"/>
                    </a:lnTo>
                    <a:lnTo>
                      <a:pt x="348" y="231"/>
                    </a:lnTo>
                    <a:lnTo>
                      <a:pt x="342" y="240"/>
                    </a:lnTo>
                    <a:lnTo>
                      <a:pt x="336" y="248"/>
                    </a:lnTo>
                    <a:lnTo>
                      <a:pt x="329" y="255"/>
                    </a:lnTo>
                    <a:lnTo>
                      <a:pt x="321" y="261"/>
                    </a:lnTo>
                    <a:lnTo>
                      <a:pt x="314" y="267"/>
                    </a:lnTo>
                    <a:lnTo>
                      <a:pt x="305" y="271"/>
                    </a:lnTo>
                    <a:lnTo>
                      <a:pt x="295" y="275"/>
                    </a:lnTo>
                    <a:lnTo>
                      <a:pt x="284" y="278"/>
                    </a:lnTo>
                    <a:lnTo>
                      <a:pt x="272" y="281"/>
                    </a:lnTo>
                    <a:lnTo>
                      <a:pt x="247" y="288"/>
                    </a:lnTo>
                    <a:lnTo>
                      <a:pt x="219" y="296"/>
                    </a:lnTo>
                    <a:lnTo>
                      <a:pt x="213" y="297"/>
                    </a:lnTo>
                    <a:lnTo>
                      <a:pt x="208" y="299"/>
                    </a:lnTo>
                    <a:lnTo>
                      <a:pt x="204" y="301"/>
                    </a:lnTo>
                    <a:lnTo>
                      <a:pt x="199" y="303"/>
                    </a:lnTo>
                    <a:lnTo>
                      <a:pt x="193" y="308"/>
                    </a:lnTo>
                    <a:lnTo>
                      <a:pt x="188" y="314"/>
                    </a:lnTo>
                    <a:lnTo>
                      <a:pt x="183" y="328"/>
                    </a:lnTo>
                    <a:lnTo>
                      <a:pt x="179" y="339"/>
                    </a:lnTo>
                    <a:lnTo>
                      <a:pt x="175" y="344"/>
                    </a:lnTo>
                    <a:lnTo>
                      <a:pt x="170" y="350"/>
                    </a:lnTo>
                    <a:lnTo>
                      <a:pt x="163" y="356"/>
                    </a:lnTo>
                    <a:lnTo>
                      <a:pt x="154" y="363"/>
                    </a:lnTo>
                    <a:lnTo>
                      <a:pt x="134" y="379"/>
                    </a:lnTo>
                    <a:lnTo>
                      <a:pt x="109" y="394"/>
                    </a:lnTo>
                    <a:lnTo>
                      <a:pt x="84" y="408"/>
                    </a:lnTo>
                    <a:lnTo>
                      <a:pt x="59" y="420"/>
                    </a:lnTo>
                    <a:lnTo>
                      <a:pt x="48" y="424"/>
                    </a:lnTo>
                    <a:lnTo>
                      <a:pt x="37" y="428"/>
                    </a:lnTo>
                    <a:lnTo>
                      <a:pt x="28" y="430"/>
                    </a:lnTo>
                    <a:lnTo>
                      <a:pt x="19" y="431"/>
                    </a:lnTo>
                    <a:lnTo>
                      <a:pt x="15" y="430"/>
                    </a:lnTo>
                    <a:lnTo>
                      <a:pt x="11" y="429"/>
                    </a:lnTo>
                    <a:lnTo>
                      <a:pt x="7" y="426"/>
                    </a:lnTo>
                    <a:lnTo>
                      <a:pt x="5" y="423"/>
                    </a:lnTo>
                    <a:lnTo>
                      <a:pt x="3" y="420"/>
                    </a:lnTo>
                    <a:lnTo>
                      <a:pt x="1" y="415"/>
                    </a:lnTo>
                    <a:lnTo>
                      <a:pt x="0" y="411"/>
                    </a:lnTo>
                    <a:lnTo>
                      <a:pt x="0" y="406"/>
                    </a:lnTo>
                    <a:lnTo>
                      <a:pt x="1" y="402"/>
                    </a:lnTo>
                    <a:lnTo>
                      <a:pt x="2" y="398"/>
                    </a:lnTo>
                    <a:lnTo>
                      <a:pt x="5" y="395"/>
                    </a:lnTo>
                    <a:lnTo>
                      <a:pt x="9" y="391"/>
                    </a:lnTo>
                    <a:lnTo>
                      <a:pt x="19" y="386"/>
                    </a:lnTo>
                    <a:lnTo>
                      <a:pt x="31" y="382"/>
                    </a:lnTo>
                    <a:lnTo>
                      <a:pt x="56" y="374"/>
                    </a:lnTo>
                    <a:lnTo>
                      <a:pt x="73" y="369"/>
                    </a:lnTo>
                    <a:lnTo>
                      <a:pt x="73" y="360"/>
                    </a:lnTo>
                    <a:lnTo>
                      <a:pt x="73" y="351"/>
                    </a:lnTo>
                    <a:lnTo>
                      <a:pt x="72" y="345"/>
                    </a:lnTo>
                    <a:lnTo>
                      <a:pt x="72" y="339"/>
                    </a:lnTo>
                    <a:lnTo>
                      <a:pt x="71" y="335"/>
                    </a:lnTo>
                    <a:lnTo>
                      <a:pt x="69" y="331"/>
                    </a:lnTo>
                    <a:lnTo>
                      <a:pt x="67" y="328"/>
                    </a:lnTo>
                    <a:lnTo>
                      <a:pt x="64" y="326"/>
                    </a:lnTo>
                    <a:lnTo>
                      <a:pt x="62" y="324"/>
                    </a:lnTo>
                    <a:lnTo>
                      <a:pt x="59" y="322"/>
                    </a:lnTo>
                    <a:lnTo>
                      <a:pt x="51" y="320"/>
                    </a:lnTo>
                    <a:lnTo>
                      <a:pt x="41" y="319"/>
                    </a:lnTo>
                    <a:lnTo>
                      <a:pt x="31" y="320"/>
                    </a:lnTo>
                    <a:lnTo>
                      <a:pt x="19" y="320"/>
                    </a:lnTo>
                    <a:lnTo>
                      <a:pt x="39" y="29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663" name="Freeform 77"/>
            <p:cNvSpPr>
              <a:spLocks/>
            </p:cNvSpPr>
            <p:nvPr>
              <p:custDataLst>
                <p:tags r:id="rId55"/>
              </p:custDataLst>
            </p:nvPr>
          </p:nvSpPr>
          <p:spPr bwMode="auto">
            <a:xfrm>
              <a:off x="9594472" y="3783312"/>
              <a:ext cx="11356" cy="68630"/>
            </a:xfrm>
            <a:custGeom>
              <a:avLst/>
              <a:gdLst>
                <a:gd name="T0" fmla="*/ 0 w 21"/>
                <a:gd name="T1" fmla="*/ 39636 h 62"/>
                <a:gd name="T2" fmla="*/ 454 w 21"/>
                <a:gd name="T3" fmla="*/ 26731 h 62"/>
                <a:gd name="T4" fmla="*/ 1361 w 21"/>
                <a:gd name="T5" fmla="*/ 15670 h 62"/>
                <a:gd name="T6" fmla="*/ 1814 w 21"/>
                <a:gd name="T7" fmla="*/ 10140 h 62"/>
                <a:gd name="T8" fmla="*/ 2721 w 21"/>
                <a:gd name="T9" fmla="*/ 6452 h 62"/>
                <a:gd name="T10" fmla="*/ 4082 w 21"/>
                <a:gd name="T11" fmla="*/ 2765 h 62"/>
                <a:gd name="T12" fmla="*/ 6804 w 21"/>
                <a:gd name="T13" fmla="*/ 0 h 62"/>
                <a:gd name="T14" fmla="*/ 6804 w 21"/>
                <a:gd name="T15" fmla="*/ 13827 h 62"/>
                <a:gd name="T16" fmla="*/ 8164 w 21"/>
                <a:gd name="T17" fmla="*/ 28575 h 62"/>
                <a:gd name="T18" fmla="*/ 9071 w 21"/>
                <a:gd name="T19" fmla="*/ 40558 h 62"/>
                <a:gd name="T20" fmla="*/ 9525 w 21"/>
                <a:gd name="T21" fmla="*/ 45167 h 62"/>
                <a:gd name="T22" fmla="*/ 4536 w 21"/>
                <a:gd name="T23" fmla="*/ 50698 h 62"/>
                <a:gd name="T24" fmla="*/ 0 w 21"/>
                <a:gd name="T25" fmla="*/ 57150 h 62"/>
                <a:gd name="T26" fmla="*/ 0 w 21"/>
                <a:gd name="T27" fmla="*/ 39636 h 6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21" h="62">
                  <a:moveTo>
                    <a:pt x="0" y="43"/>
                  </a:moveTo>
                  <a:lnTo>
                    <a:pt x="1" y="29"/>
                  </a:lnTo>
                  <a:lnTo>
                    <a:pt x="3" y="17"/>
                  </a:lnTo>
                  <a:lnTo>
                    <a:pt x="4" y="11"/>
                  </a:lnTo>
                  <a:lnTo>
                    <a:pt x="6" y="7"/>
                  </a:lnTo>
                  <a:lnTo>
                    <a:pt x="9" y="3"/>
                  </a:lnTo>
                  <a:lnTo>
                    <a:pt x="15" y="0"/>
                  </a:lnTo>
                  <a:lnTo>
                    <a:pt x="15" y="15"/>
                  </a:lnTo>
                  <a:lnTo>
                    <a:pt x="18" y="31"/>
                  </a:lnTo>
                  <a:lnTo>
                    <a:pt x="20" y="44"/>
                  </a:lnTo>
                  <a:lnTo>
                    <a:pt x="21" y="49"/>
                  </a:lnTo>
                  <a:lnTo>
                    <a:pt x="10" y="55"/>
                  </a:lnTo>
                  <a:lnTo>
                    <a:pt x="0" y="62"/>
                  </a:lnTo>
                  <a:lnTo>
                    <a:pt x="0" y="4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664" name="Freeform 78"/>
            <p:cNvSpPr>
              <a:spLocks/>
            </p:cNvSpPr>
            <p:nvPr>
              <p:custDataLst>
                <p:tags r:id="rId56"/>
              </p:custDataLst>
            </p:nvPr>
          </p:nvSpPr>
          <p:spPr bwMode="auto">
            <a:xfrm>
              <a:off x="10461282" y="4866135"/>
              <a:ext cx="17034" cy="68630"/>
            </a:xfrm>
            <a:custGeom>
              <a:avLst/>
              <a:gdLst>
                <a:gd name="T0" fmla="*/ 0 w 33"/>
                <a:gd name="T1" fmla="*/ 0 h 24"/>
                <a:gd name="T2" fmla="*/ 2165 w 33"/>
                <a:gd name="T3" fmla="*/ 11906 h 24"/>
                <a:gd name="T4" fmla="*/ 4330 w 33"/>
                <a:gd name="T5" fmla="*/ 23813 h 24"/>
                <a:gd name="T6" fmla="*/ 4763 w 33"/>
                <a:gd name="T7" fmla="*/ 30956 h 24"/>
                <a:gd name="T8" fmla="*/ 5196 w 33"/>
                <a:gd name="T9" fmla="*/ 38100 h 24"/>
                <a:gd name="T10" fmla="*/ 5629 w 33"/>
                <a:gd name="T11" fmla="*/ 47625 h 24"/>
                <a:gd name="T12" fmla="*/ 5629 w 33"/>
                <a:gd name="T13" fmla="*/ 57150 h 24"/>
                <a:gd name="T14" fmla="*/ 14288 w 33"/>
                <a:gd name="T15" fmla="*/ 0 h 24"/>
                <a:gd name="T16" fmla="*/ 10391 w 33"/>
                <a:gd name="T17" fmla="*/ 0 h 24"/>
                <a:gd name="T18" fmla="*/ 6928 w 33"/>
                <a:gd name="T19" fmla="*/ 0 h 24"/>
                <a:gd name="T20" fmla="*/ 3897 w 33"/>
                <a:gd name="T21" fmla="*/ 0 h 24"/>
                <a:gd name="T22" fmla="*/ 0 w 33"/>
                <a:gd name="T23" fmla="*/ 0 h 2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3" h="24">
                  <a:moveTo>
                    <a:pt x="0" y="0"/>
                  </a:moveTo>
                  <a:lnTo>
                    <a:pt x="5" y="5"/>
                  </a:lnTo>
                  <a:lnTo>
                    <a:pt x="10" y="10"/>
                  </a:lnTo>
                  <a:lnTo>
                    <a:pt x="11" y="13"/>
                  </a:lnTo>
                  <a:lnTo>
                    <a:pt x="12" y="16"/>
                  </a:lnTo>
                  <a:lnTo>
                    <a:pt x="13" y="20"/>
                  </a:lnTo>
                  <a:lnTo>
                    <a:pt x="13" y="24"/>
                  </a:lnTo>
                  <a:lnTo>
                    <a:pt x="33" y="0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665" name="Freeform 79"/>
            <p:cNvSpPr>
              <a:spLocks/>
            </p:cNvSpPr>
            <p:nvPr>
              <p:custDataLst>
                <p:tags r:id="rId57"/>
              </p:custDataLst>
            </p:nvPr>
          </p:nvSpPr>
          <p:spPr bwMode="auto">
            <a:xfrm>
              <a:off x="10487780" y="4877574"/>
              <a:ext cx="20819" cy="70535"/>
            </a:xfrm>
            <a:custGeom>
              <a:avLst/>
              <a:gdLst>
                <a:gd name="T0" fmla="*/ 13759 w 33"/>
                <a:gd name="T1" fmla="*/ 58737 h 25"/>
                <a:gd name="T2" fmla="*/ 15346 w 33"/>
                <a:gd name="T3" fmla="*/ 51689 h 25"/>
                <a:gd name="T4" fmla="*/ 17463 w 33"/>
                <a:gd name="T5" fmla="*/ 42291 h 25"/>
                <a:gd name="T6" fmla="*/ 17463 w 33"/>
                <a:gd name="T7" fmla="*/ 0 h 25"/>
                <a:gd name="T8" fmla="*/ 13230 w 33"/>
                <a:gd name="T9" fmla="*/ 0 h 25"/>
                <a:gd name="T10" fmla="*/ 8467 w 33"/>
                <a:gd name="T11" fmla="*/ 0 h 25"/>
                <a:gd name="T12" fmla="*/ 3175 w 33"/>
                <a:gd name="T13" fmla="*/ 0 h 25"/>
                <a:gd name="T14" fmla="*/ 0 w 33"/>
                <a:gd name="T15" fmla="*/ 0 h 25"/>
                <a:gd name="T16" fmla="*/ 13759 w 33"/>
                <a:gd name="T17" fmla="*/ 58737 h 2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3" h="25">
                  <a:moveTo>
                    <a:pt x="26" y="25"/>
                  </a:moveTo>
                  <a:lnTo>
                    <a:pt x="29" y="22"/>
                  </a:lnTo>
                  <a:lnTo>
                    <a:pt x="33" y="18"/>
                  </a:lnTo>
                  <a:lnTo>
                    <a:pt x="33" y="0"/>
                  </a:lnTo>
                  <a:lnTo>
                    <a:pt x="25" y="0"/>
                  </a:lnTo>
                  <a:lnTo>
                    <a:pt x="1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26" y="2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666" name="Freeform 80"/>
            <p:cNvSpPr>
              <a:spLocks/>
            </p:cNvSpPr>
            <p:nvPr>
              <p:custDataLst>
                <p:tags r:id="rId58"/>
              </p:custDataLst>
            </p:nvPr>
          </p:nvSpPr>
          <p:spPr bwMode="auto">
            <a:xfrm>
              <a:off x="9670175" y="3769968"/>
              <a:ext cx="1893" cy="66724"/>
            </a:xfrm>
            <a:custGeom>
              <a:avLst/>
              <a:gdLst>
                <a:gd name="T0" fmla="*/ 0 w 7"/>
                <a:gd name="T1" fmla="*/ 0 h 55563"/>
                <a:gd name="T2" fmla="*/ 1588 w 7"/>
                <a:gd name="T3" fmla="*/ 0 h 55563"/>
                <a:gd name="T4" fmla="*/ 0 w 7"/>
                <a:gd name="T5" fmla="*/ 0 h 5556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7" h="55563">
                  <a:moveTo>
                    <a:pt x="0" y="0"/>
                  </a:move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667" name="Freeform 81"/>
            <p:cNvSpPr>
              <a:spLocks/>
            </p:cNvSpPr>
            <p:nvPr>
              <p:custDataLst>
                <p:tags r:id="rId59"/>
              </p:custDataLst>
            </p:nvPr>
          </p:nvSpPr>
          <p:spPr bwMode="auto">
            <a:xfrm>
              <a:off x="9740202" y="3703244"/>
              <a:ext cx="7570" cy="68630"/>
            </a:xfrm>
            <a:custGeom>
              <a:avLst/>
              <a:gdLst>
                <a:gd name="T0" fmla="*/ 6350 w 16"/>
                <a:gd name="T1" fmla="*/ 0 h 25"/>
                <a:gd name="T2" fmla="*/ 6350 w 16"/>
                <a:gd name="T3" fmla="*/ 13716 h 25"/>
                <a:gd name="T4" fmla="*/ 5556 w 16"/>
                <a:gd name="T5" fmla="*/ 29718 h 25"/>
                <a:gd name="T6" fmla="*/ 5159 w 16"/>
                <a:gd name="T7" fmla="*/ 36576 h 25"/>
                <a:gd name="T8" fmla="*/ 4366 w 16"/>
                <a:gd name="T9" fmla="*/ 45720 h 25"/>
                <a:gd name="T10" fmla="*/ 2778 w 16"/>
                <a:gd name="T11" fmla="*/ 52578 h 25"/>
                <a:gd name="T12" fmla="*/ 1191 w 16"/>
                <a:gd name="T13" fmla="*/ 57150 h 25"/>
                <a:gd name="T14" fmla="*/ 397 w 16"/>
                <a:gd name="T15" fmla="*/ 54864 h 25"/>
                <a:gd name="T16" fmla="*/ 0 w 16"/>
                <a:gd name="T17" fmla="*/ 48006 h 25"/>
                <a:gd name="T18" fmla="*/ 397 w 16"/>
                <a:gd name="T19" fmla="*/ 41148 h 25"/>
                <a:gd name="T20" fmla="*/ 794 w 16"/>
                <a:gd name="T21" fmla="*/ 29718 h 25"/>
                <a:gd name="T22" fmla="*/ 1588 w 16"/>
                <a:gd name="T23" fmla="*/ 20574 h 25"/>
                <a:gd name="T24" fmla="*/ 2778 w 16"/>
                <a:gd name="T25" fmla="*/ 9144 h 25"/>
                <a:gd name="T26" fmla="*/ 4366 w 16"/>
                <a:gd name="T27" fmla="*/ 2286 h 25"/>
                <a:gd name="T28" fmla="*/ 6350 w 16"/>
                <a:gd name="T29" fmla="*/ 0 h 2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6" h="25">
                  <a:moveTo>
                    <a:pt x="16" y="0"/>
                  </a:moveTo>
                  <a:lnTo>
                    <a:pt x="16" y="6"/>
                  </a:lnTo>
                  <a:lnTo>
                    <a:pt x="14" y="13"/>
                  </a:lnTo>
                  <a:lnTo>
                    <a:pt x="13" y="16"/>
                  </a:lnTo>
                  <a:lnTo>
                    <a:pt x="11" y="20"/>
                  </a:lnTo>
                  <a:lnTo>
                    <a:pt x="7" y="23"/>
                  </a:lnTo>
                  <a:lnTo>
                    <a:pt x="3" y="25"/>
                  </a:lnTo>
                  <a:lnTo>
                    <a:pt x="1" y="24"/>
                  </a:lnTo>
                  <a:lnTo>
                    <a:pt x="0" y="21"/>
                  </a:lnTo>
                  <a:lnTo>
                    <a:pt x="1" y="18"/>
                  </a:lnTo>
                  <a:lnTo>
                    <a:pt x="2" y="13"/>
                  </a:lnTo>
                  <a:lnTo>
                    <a:pt x="4" y="9"/>
                  </a:lnTo>
                  <a:lnTo>
                    <a:pt x="7" y="4"/>
                  </a:lnTo>
                  <a:lnTo>
                    <a:pt x="11" y="1"/>
                  </a:lnTo>
                  <a:lnTo>
                    <a:pt x="16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668" name="Freeform 82"/>
            <p:cNvSpPr>
              <a:spLocks/>
            </p:cNvSpPr>
            <p:nvPr>
              <p:custDataLst>
                <p:tags r:id="rId60"/>
              </p:custDataLst>
            </p:nvPr>
          </p:nvSpPr>
          <p:spPr bwMode="auto">
            <a:xfrm>
              <a:off x="9874577" y="3569798"/>
              <a:ext cx="5678" cy="68630"/>
            </a:xfrm>
            <a:custGeom>
              <a:avLst/>
              <a:gdLst>
                <a:gd name="T0" fmla="*/ 0 w 14"/>
                <a:gd name="T1" fmla="*/ 0 h 18"/>
                <a:gd name="T2" fmla="*/ 1021 w 14"/>
                <a:gd name="T3" fmla="*/ 3175 h 18"/>
                <a:gd name="T4" fmla="*/ 1701 w 14"/>
                <a:gd name="T5" fmla="*/ 6350 h 18"/>
                <a:gd name="T6" fmla="*/ 2382 w 14"/>
                <a:gd name="T7" fmla="*/ 12700 h 18"/>
                <a:gd name="T8" fmla="*/ 3062 w 14"/>
                <a:gd name="T9" fmla="*/ 22225 h 18"/>
                <a:gd name="T10" fmla="*/ 4423 w 14"/>
                <a:gd name="T11" fmla="*/ 41275 h 18"/>
                <a:gd name="T12" fmla="*/ 4763 w 14"/>
                <a:gd name="T13" fmla="*/ 57150 h 18"/>
                <a:gd name="T14" fmla="*/ 0 w 14"/>
                <a:gd name="T15" fmla="*/ 0 h 1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4" h="18">
                  <a:moveTo>
                    <a:pt x="0" y="0"/>
                  </a:moveTo>
                  <a:lnTo>
                    <a:pt x="3" y="1"/>
                  </a:lnTo>
                  <a:lnTo>
                    <a:pt x="5" y="2"/>
                  </a:lnTo>
                  <a:lnTo>
                    <a:pt x="7" y="4"/>
                  </a:lnTo>
                  <a:lnTo>
                    <a:pt x="9" y="7"/>
                  </a:lnTo>
                  <a:lnTo>
                    <a:pt x="13" y="13"/>
                  </a:lnTo>
                  <a:lnTo>
                    <a:pt x="14" y="18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669" name="Freeform 83"/>
            <p:cNvSpPr>
              <a:spLocks/>
            </p:cNvSpPr>
            <p:nvPr>
              <p:custDataLst>
                <p:tags r:id="rId61"/>
              </p:custDataLst>
            </p:nvPr>
          </p:nvSpPr>
          <p:spPr bwMode="auto">
            <a:xfrm>
              <a:off x="10056266" y="4408605"/>
              <a:ext cx="32175" cy="70535"/>
            </a:xfrm>
            <a:custGeom>
              <a:avLst/>
              <a:gdLst>
                <a:gd name="T0" fmla="*/ 0 w 67"/>
                <a:gd name="T1" fmla="*/ 0 h 74"/>
                <a:gd name="T2" fmla="*/ 403 w 67"/>
                <a:gd name="T3" fmla="*/ 13494 h 74"/>
                <a:gd name="T4" fmla="*/ 1208 w 67"/>
                <a:gd name="T5" fmla="*/ 23812 h 74"/>
                <a:gd name="T6" fmla="*/ 2820 w 67"/>
                <a:gd name="T7" fmla="*/ 32543 h 74"/>
                <a:gd name="T8" fmla="*/ 4834 w 67"/>
                <a:gd name="T9" fmla="*/ 39687 h 74"/>
                <a:gd name="T10" fmla="*/ 6848 w 67"/>
                <a:gd name="T11" fmla="*/ 46037 h 74"/>
                <a:gd name="T12" fmla="*/ 9265 w 67"/>
                <a:gd name="T13" fmla="*/ 50800 h 74"/>
                <a:gd name="T14" fmla="*/ 11279 w 67"/>
                <a:gd name="T15" fmla="*/ 54768 h 74"/>
                <a:gd name="T16" fmla="*/ 13293 w 67"/>
                <a:gd name="T17" fmla="*/ 58737 h 74"/>
                <a:gd name="T18" fmla="*/ 17723 w 67"/>
                <a:gd name="T19" fmla="*/ 51593 h 74"/>
                <a:gd name="T20" fmla="*/ 22154 w 67"/>
                <a:gd name="T21" fmla="*/ 43656 h 74"/>
                <a:gd name="T22" fmla="*/ 23766 w 67"/>
                <a:gd name="T23" fmla="*/ 38893 h 74"/>
                <a:gd name="T24" fmla="*/ 25377 w 67"/>
                <a:gd name="T25" fmla="*/ 34131 h 74"/>
                <a:gd name="T26" fmla="*/ 26585 w 67"/>
                <a:gd name="T27" fmla="*/ 29369 h 74"/>
                <a:gd name="T28" fmla="*/ 26988 w 67"/>
                <a:gd name="T29" fmla="*/ 23812 h 74"/>
                <a:gd name="T30" fmla="*/ 26988 w 67"/>
                <a:gd name="T31" fmla="*/ 19844 h 74"/>
                <a:gd name="T32" fmla="*/ 26988 w 67"/>
                <a:gd name="T33" fmla="*/ 14287 h 74"/>
                <a:gd name="T34" fmla="*/ 26988 w 67"/>
                <a:gd name="T35" fmla="*/ 7144 h 74"/>
                <a:gd name="T36" fmla="*/ 26988 w 67"/>
                <a:gd name="T37" fmla="*/ 0 h 74"/>
                <a:gd name="T38" fmla="*/ 19335 w 67"/>
                <a:gd name="T39" fmla="*/ 0 h 74"/>
                <a:gd name="T40" fmla="*/ 13293 w 67"/>
                <a:gd name="T41" fmla="*/ 0 h 74"/>
                <a:gd name="T42" fmla="*/ 6848 w 67"/>
                <a:gd name="T43" fmla="*/ 0 h 74"/>
                <a:gd name="T44" fmla="*/ 0 w 67"/>
                <a:gd name="T45" fmla="*/ 0 h 7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7" h="74">
                  <a:moveTo>
                    <a:pt x="0" y="0"/>
                  </a:moveTo>
                  <a:lnTo>
                    <a:pt x="1" y="17"/>
                  </a:lnTo>
                  <a:lnTo>
                    <a:pt x="3" y="30"/>
                  </a:lnTo>
                  <a:lnTo>
                    <a:pt x="7" y="41"/>
                  </a:lnTo>
                  <a:lnTo>
                    <a:pt x="12" y="50"/>
                  </a:lnTo>
                  <a:lnTo>
                    <a:pt x="17" y="58"/>
                  </a:lnTo>
                  <a:lnTo>
                    <a:pt x="23" y="64"/>
                  </a:lnTo>
                  <a:lnTo>
                    <a:pt x="28" y="69"/>
                  </a:lnTo>
                  <a:lnTo>
                    <a:pt x="33" y="74"/>
                  </a:lnTo>
                  <a:lnTo>
                    <a:pt x="44" y="65"/>
                  </a:lnTo>
                  <a:lnTo>
                    <a:pt x="55" y="55"/>
                  </a:lnTo>
                  <a:lnTo>
                    <a:pt x="59" y="49"/>
                  </a:lnTo>
                  <a:lnTo>
                    <a:pt x="63" y="43"/>
                  </a:lnTo>
                  <a:lnTo>
                    <a:pt x="66" y="37"/>
                  </a:lnTo>
                  <a:lnTo>
                    <a:pt x="67" y="30"/>
                  </a:lnTo>
                  <a:lnTo>
                    <a:pt x="67" y="25"/>
                  </a:lnTo>
                  <a:lnTo>
                    <a:pt x="67" y="18"/>
                  </a:lnTo>
                  <a:lnTo>
                    <a:pt x="67" y="9"/>
                  </a:lnTo>
                  <a:lnTo>
                    <a:pt x="67" y="0"/>
                  </a:lnTo>
                  <a:lnTo>
                    <a:pt x="48" y="0"/>
                  </a:lnTo>
                  <a:lnTo>
                    <a:pt x="33" y="0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670" name="Freeform 84"/>
            <p:cNvSpPr>
              <a:spLocks/>
            </p:cNvSpPr>
            <p:nvPr>
              <p:custDataLst>
                <p:tags r:id="rId62"/>
              </p:custDataLst>
            </p:nvPr>
          </p:nvSpPr>
          <p:spPr bwMode="auto">
            <a:xfrm>
              <a:off x="10131970" y="4425761"/>
              <a:ext cx="15141" cy="68630"/>
            </a:xfrm>
            <a:custGeom>
              <a:avLst/>
              <a:gdLst>
                <a:gd name="T0" fmla="*/ 0 w 34"/>
                <a:gd name="T1" fmla="*/ 0 h 38"/>
                <a:gd name="T2" fmla="*/ 747 w 34"/>
                <a:gd name="T3" fmla="*/ 4512 h 38"/>
                <a:gd name="T4" fmla="*/ 1494 w 34"/>
                <a:gd name="T5" fmla="*/ 10528 h 38"/>
                <a:gd name="T6" fmla="*/ 1868 w 34"/>
                <a:gd name="T7" fmla="*/ 16543 h 38"/>
                <a:gd name="T8" fmla="*/ 2241 w 34"/>
                <a:gd name="T9" fmla="*/ 24063 h 38"/>
                <a:gd name="T10" fmla="*/ 3735 w 34"/>
                <a:gd name="T11" fmla="*/ 42111 h 38"/>
                <a:gd name="T12" fmla="*/ 4856 w 34"/>
                <a:gd name="T13" fmla="*/ 57150 h 38"/>
                <a:gd name="T14" fmla="*/ 5976 w 34"/>
                <a:gd name="T15" fmla="*/ 55646 h 38"/>
                <a:gd name="T16" fmla="*/ 7471 w 34"/>
                <a:gd name="T17" fmla="*/ 54142 h 38"/>
                <a:gd name="T18" fmla="*/ 8591 w 34"/>
                <a:gd name="T19" fmla="*/ 51134 h 38"/>
                <a:gd name="T20" fmla="*/ 9712 w 34"/>
                <a:gd name="T21" fmla="*/ 46622 h 38"/>
                <a:gd name="T22" fmla="*/ 10459 w 34"/>
                <a:gd name="T23" fmla="*/ 42111 h 38"/>
                <a:gd name="T24" fmla="*/ 11953 w 34"/>
                <a:gd name="T25" fmla="*/ 36095 h 38"/>
                <a:gd name="T26" fmla="*/ 12326 w 34"/>
                <a:gd name="T27" fmla="*/ 31583 h 38"/>
                <a:gd name="T28" fmla="*/ 12700 w 34"/>
                <a:gd name="T29" fmla="*/ 28575 h 38"/>
                <a:gd name="T30" fmla="*/ 11579 w 34"/>
                <a:gd name="T31" fmla="*/ 27071 h 38"/>
                <a:gd name="T32" fmla="*/ 10459 w 34"/>
                <a:gd name="T33" fmla="*/ 25567 h 38"/>
                <a:gd name="T34" fmla="*/ 9712 w 34"/>
                <a:gd name="T35" fmla="*/ 21055 h 38"/>
                <a:gd name="T36" fmla="*/ 8965 w 34"/>
                <a:gd name="T37" fmla="*/ 18047 h 38"/>
                <a:gd name="T38" fmla="*/ 7097 w 34"/>
                <a:gd name="T39" fmla="*/ 9024 h 38"/>
                <a:gd name="T40" fmla="*/ 4856 w 34"/>
                <a:gd name="T41" fmla="*/ 0 h 38"/>
                <a:gd name="T42" fmla="*/ 2241 w 34"/>
                <a:gd name="T43" fmla="*/ 0 h 38"/>
                <a:gd name="T44" fmla="*/ 0 w 34"/>
                <a:gd name="T45" fmla="*/ 0 h 3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34" h="38">
                  <a:moveTo>
                    <a:pt x="0" y="0"/>
                  </a:moveTo>
                  <a:lnTo>
                    <a:pt x="2" y="3"/>
                  </a:lnTo>
                  <a:lnTo>
                    <a:pt x="4" y="7"/>
                  </a:lnTo>
                  <a:lnTo>
                    <a:pt x="5" y="11"/>
                  </a:lnTo>
                  <a:lnTo>
                    <a:pt x="6" y="16"/>
                  </a:lnTo>
                  <a:lnTo>
                    <a:pt x="10" y="28"/>
                  </a:lnTo>
                  <a:lnTo>
                    <a:pt x="13" y="38"/>
                  </a:lnTo>
                  <a:lnTo>
                    <a:pt x="16" y="37"/>
                  </a:lnTo>
                  <a:lnTo>
                    <a:pt x="20" y="36"/>
                  </a:lnTo>
                  <a:lnTo>
                    <a:pt x="23" y="34"/>
                  </a:lnTo>
                  <a:lnTo>
                    <a:pt x="26" y="31"/>
                  </a:lnTo>
                  <a:lnTo>
                    <a:pt x="28" y="28"/>
                  </a:lnTo>
                  <a:lnTo>
                    <a:pt x="32" y="24"/>
                  </a:lnTo>
                  <a:lnTo>
                    <a:pt x="33" y="21"/>
                  </a:lnTo>
                  <a:lnTo>
                    <a:pt x="34" y="19"/>
                  </a:lnTo>
                  <a:lnTo>
                    <a:pt x="31" y="18"/>
                  </a:lnTo>
                  <a:lnTo>
                    <a:pt x="28" y="17"/>
                  </a:lnTo>
                  <a:lnTo>
                    <a:pt x="26" y="14"/>
                  </a:lnTo>
                  <a:lnTo>
                    <a:pt x="24" y="12"/>
                  </a:lnTo>
                  <a:lnTo>
                    <a:pt x="19" y="6"/>
                  </a:lnTo>
                  <a:lnTo>
                    <a:pt x="13" y="0"/>
                  </a:lnTo>
                  <a:lnTo>
                    <a:pt x="6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671" name="Freeform 85"/>
            <p:cNvSpPr>
              <a:spLocks/>
            </p:cNvSpPr>
            <p:nvPr>
              <p:custDataLst>
                <p:tags r:id="rId63"/>
              </p:custDataLst>
            </p:nvPr>
          </p:nvSpPr>
          <p:spPr bwMode="auto">
            <a:xfrm>
              <a:off x="9961635" y="4156962"/>
              <a:ext cx="30282" cy="66723"/>
            </a:xfrm>
            <a:custGeom>
              <a:avLst/>
              <a:gdLst>
                <a:gd name="T0" fmla="*/ 25400 w 53"/>
                <a:gd name="T1" fmla="*/ 55562 h 23"/>
                <a:gd name="T2" fmla="*/ 25400 w 53"/>
                <a:gd name="T3" fmla="*/ 9663 h 23"/>
                <a:gd name="T4" fmla="*/ 23483 w 53"/>
                <a:gd name="T5" fmla="*/ 4831 h 23"/>
                <a:gd name="T6" fmla="*/ 21566 w 53"/>
                <a:gd name="T7" fmla="*/ 2416 h 23"/>
                <a:gd name="T8" fmla="*/ 20128 w 53"/>
                <a:gd name="T9" fmla="*/ 0 h 23"/>
                <a:gd name="T10" fmla="*/ 18211 w 53"/>
                <a:gd name="T11" fmla="*/ 0 h 23"/>
                <a:gd name="T12" fmla="*/ 14857 w 53"/>
                <a:gd name="T13" fmla="*/ 2416 h 23"/>
                <a:gd name="T14" fmla="*/ 11502 w 53"/>
                <a:gd name="T15" fmla="*/ 9663 h 23"/>
                <a:gd name="T16" fmla="*/ 5272 w 53"/>
                <a:gd name="T17" fmla="*/ 31405 h 23"/>
                <a:gd name="T18" fmla="*/ 0 w 53"/>
                <a:gd name="T19" fmla="*/ 55562 h 23"/>
                <a:gd name="T20" fmla="*/ 25400 w 53"/>
                <a:gd name="T21" fmla="*/ 55562 h 2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53" h="23">
                  <a:moveTo>
                    <a:pt x="53" y="23"/>
                  </a:moveTo>
                  <a:lnTo>
                    <a:pt x="53" y="4"/>
                  </a:lnTo>
                  <a:lnTo>
                    <a:pt x="49" y="2"/>
                  </a:lnTo>
                  <a:lnTo>
                    <a:pt x="45" y="1"/>
                  </a:lnTo>
                  <a:lnTo>
                    <a:pt x="42" y="0"/>
                  </a:lnTo>
                  <a:lnTo>
                    <a:pt x="38" y="0"/>
                  </a:lnTo>
                  <a:lnTo>
                    <a:pt x="31" y="1"/>
                  </a:lnTo>
                  <a:lnTo>
                    <a:pt x="24" y="4"/>
                  </a:lnTo>
                  <a:lnTo>
                    <a:pt x="11" y="13"/>
                  </a:lnTo>
                  <a:lnTo>
                    <a:pt x="0" y="23"/>
                  </a:lnTo>
                  <a:lnTo>
                    <a:pt x="53" y="2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672" name="Freeform 86"/>
            <p:cNvSpPr>
              <a:spLocks/>
            </p:cNvSpPr>
            <p:nvPr>
              <p:custDataLst>
                <p:tags r:id="rId64"/>
              </p:custDataLst>
            </p:nvPr>
          </p:nvSpPr>
          <p:spPr bwMode="auto">
            <a:xfrm>
              <a:off x="9893503" y="4126460"/>
              <a:ext cx="13249" cy="68630"/>
            </a:xfrm>
            <a:custGeom>
              <a:avLst/>
              <a:gdLst>
                <a:gd name="T0" fmla="*/ 0 w 26"/>
                <a:gd name="T1" fmla="*/ 0 h 12"/>
                <a:gd name="T2" fmla="*/ 1710 w 26"/>
                <a:gd name="T3" fmla="*/ 19050 h 12"/>
                <a:gd name="T4" fmla="*/ 4702 w 26"/>
                <a:gd name="T5" fmla="*/ 38100 h 12"/>
                <a:gd name="T6" fmla="*/ 5984 w 26"/>
                <a:gd name="T7" fmla="*/ 42863 h 12"/>
                <a:gd name="T8" fmla="*/ 7694 w 26"/>
                <a:gd name="T9" fmla="*/ 52388 h 12"/>
                <a:gd name="T10" fmla="*/ 9403 w 26"/>
                <a:gd name="T11" fmla="*/ 52388 h 12"/>
                <a:gd name="T12" fmla="*/ 11113 w 26"/>
                <a:gd name="T13" fmla="*/ 57150 h 12"/>
                <a:gd name="T14" fmla="*/ 8976 w 26"/>
                <a:gd name="T15" fmla="*/ 33338 h 12"/>
                <a:gd name="T16" fmla="*/ 5557 w 26"/>
                <a:gd name="T17" fmla="*/ 14288 h 12"/>
                <a:gd name="T18" fmla="*/ 2137 w 26"/>
                <a:gd name="T19" fmla="*/ 4763 h 12"/>
                <a:gd name="T20" fmla="*/ 0 w 26"/>
                <a:gd name="T21" fmla="*/ 0 h 1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6" h="12">
                  <a:moveTo>
                    <a:pt x="0" y="0"/>
                  </a:moveTo>
                  <a:lnTo>
                    <a:pt x="4" y="4"/>
                  </a:lnTo>
                  <a:lnTo>
                    <a:pt x="11" y="8"/>
                  </a:lnTo>
                  <a:lnTo>
                    <a:pt x="14" y="9"/>
                  </a:lnTo>
                  <a:lnTo>
                    <a:pt x="18" y="11"/>
                  </a:lnTo>
                  <a:lnTo>
                    <a:pt x="22" y="11"/>
                  </a:lnTo>
                  <a:lnTo>
                    <a:pt x="26" y="12"/>
                  </a:lnTo>
                  <a:lnTo>
                    <a:pt x="21" y="7"/>
                  </a:lnTo>
                  <a:lnTo>
                    <a:pt x="13" y="3"/>
                  </a:lnTo>
                  <a:lnTo>
                    <a:pt x="5" y="1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673" name="Freeform 87"/>
            <p:cNvSpPr>
              <a:spLocks/>
            </p:cNvSpPr>
            <p:nvPr>
              <p:custDataLst>
                <p:tags r:id="rId65"/>
              </p:custDataLst>
            </p:nvPr>
          </p:nvSpPr>
          <p:spPr bwMode="auto">
            <a:xfrm>
              <a:off x="10131970" y="4524893"/>
              <a:ext cx="37852" cy="68630"/>
            </a:xfrm>
            <a:custGeom>
              <a:avLst/>
              <a:gdLst>
                <a:gd name="T0" fmla="*/ 0 w 73"/>
                <a:gd name="T1" fmla="*/ 0 h 57150"/>
                <a:gd name="T2" fmla="*/ 8699 w 73"/>
                <a:gd name="T3" fmla="*/ 0 h 57150"/>
                <a:gd name="T4" fmla="*/ 16092 w 73"/>
                <a:gd name="T5" fmla="*/ 0 h 57150"/>
                <a:gd name="T6" fmla="*/ 23921 w 73"/>
                <a:gd name="T7" fmla="*/ 0 h 57150"/>
                <a:gd name="T8" fmla="*/ 31750 w 73"/>
                <a:gd name="T9" fmla="*/ 0 h 5715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73" h="57150">
                  <a:moveTo>
                    <a:pt x="0" y="0"/>
                  </a:moveTo>
                  <a:lnTo>
                    <a:pt x="20" y="0"/>
                  </a:lnTo>
                  <a:lnTo>
                    <a:pt x="37" y="0"/>
                  </a:lnTo>
                  <a:lnTo>
                    <a:pt x="55" y="0"/>
                  </a:lnTo>
                  <a:lnTo>
                    <a:pt x="7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674" name="Freeform 88"/>
            <p:cNvSpPr>
              <a:spLocks/>
            </p:cNvSpPr>
            <p:nvPr>
              <p:custDataLst>
                <p:tags r:id="rId66"/>
              </p:custDataLst>
            </p:nvPr>
          </p:nvSpPr>
          <p:spPr bwMode="auto">
            <a:xfrm>
              <a:off x="10078978" y="4511548"/>
              <a:ext cx="26496" cy="68630"/>
            </a:xfrm>
            <a:custGeom>
              <a:avLst/>
              <a:gdLst>
                <a:gd name="T0" fmla="*/ 0 w 53"/>
                <a:gd name="T1" fmla="*/ 0 h 3"/>
                <a:gd name="T2" fmla="*/ 5871 w 53"/>
                <a:gd name="T3" fmla="*/ 0 h 3"/>
                <a:gd name="T4" fmla="*/ 11322 w 53"/>
                <a:gd name="T5" fmla="*/ 57150 h 3"/>
                <a:gd name="T6" fmla="*/ 13419 w 53"/>
                <a:gd name="T7" fmla="*/ 57150 h 3"/>
                <a:gd name="T8" fmla="*/ 16354 w 53"/>
                <a:gd name="T9" fmla="*/ 57150 h 3"/>
                <a:gd name="T10" fmla="*/ 18870 w 53"/>
                <a:gd name="T11" fmla="*/ 19050 h 3"/>
                <a:gd name="T12" fmla="*/ 22225 w 53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53" h="3">
                  <a:moveTo>
                    <a:pt x="0" y="0"/>
                  </a:moveTo>
                  <a:lnTo>
                    <a:pt x="14" y="0"/>
                  </a:lnTo>
                  <a:lnTo>
                    <a:pt x="27" y="3"/>
                  </a:lnTo>
                  <a:lnTo>
                    <a:pt x="32" y="3"/>
                  </a:lnTo>
                  <a:lnTo>
                    <a:pt x="39" y="3"/>
                  </a:lnTo>
                  <a:lnTo>
                    <a:pt x="45" y="1"/>
                  </a:lnTo>
                  <a:lnTo>
                    <a:pt x="5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675" name="Line 89"/>
            <p:cNvSpPr>
              <a:spLocks noChangeShapeType="1"/>
            </p:cNvSpPr>
            <p:nvPr>
              <p:custDataLst>
                <p:tags r:id="rId67"/>
              </p:custDataLst>
            </p:nvPr>
          </p:nvSpPr>
          <p:spPr bwMode="auto">
            <a:xfrm>
              <a:off x="10118723" y="4494390"/>
              <a:ext cx="24603" cy="7626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676" name="Freeform 90"/>
            <p:cNvSpPr>
              <a:spLocks/>
            </p:cNvSpPr>
            <p:nvPr>
              <p:custDataLst>
                <p:tags r:id="rId68"/>
              </p:custDataLst>
            </p:nvPr>
          </p:nvSpPr>
          <p:spPr bwMode="auto">
            <a:xfrm>
              <a:off x="10143325" y="4502016"/>
              <a:ext cx="1893" cy="68630"/>
            </a:xfrm>
            <a:custGeom>
              <a:avLst/>
              <a:gdLst>
                <a:gd name="T0" fmla="*/ 0 w 1588"/>
                <a:gd name="T1" fmla="*/ 0 h 13"/>
                <a:gd name="T2" fmla="*/ 0 w 1588"/>
                <a:gd name="T3" fmla="*/ 26377 h 13"/>
                <a:gd name="T4" fmla="*/ 0 w 1588"/>
                <a:gd name="T5" fmla="*/ 57150 h 1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588" h="13">
                  <a:moveTo>
                    <a:pt x="0" y="0"/>
                  </a:moveTo>
                  <a:lnTo>
                    <a:pt x="0" y="6"/>
                  </a:lnTo>
                  <a:lnTo>
                    <a:pt x="0" y="1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677" name="Freeform 91"/>
            <p:cNvSpPr>
              <a:spLocks/>
            </p:cNvSpPr>
            <p:nvPr>
              <p:custDataLst>
                <p:tags r:id="rId69"/>
              </p:custDataLst>
            </p:nvPr>
          </p:nvSpPr>
          <p:spPr bwMode="auto">
            <a:xfrm>
              <a:off x="10088442" y="4494390"/>
              <a:ext cx="17033" cy="70537"/>
            </a:xfrm>
            <a:custGeom>
              <a:avLst/>
              <a:gdLst>
                <a:gd name="T0" fmla="*/ 0 w 26"/>
                <a:gd name="T1" fmla="*/ 0 h 58738"/>
                <a:gd name="T2" fmla="*/ 8243 w 26"/>
                <a:gd name="T3" fmla="*/ 0 h 58738"/>
                <a:gd name="T4" fmla="*/ 14287 w 26"/>
                <a:gd name="T5" fmla="*/ 0 h 58738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6" h="58738">
                  <a:moveTo>
                    <a:pt x="0" y="0"/>
                  </a:moveTo>
                  <a:lnTo>
                    <a:pt x="15" y="0"/>
                  </a:lnTo>
                  <a:lnTo>
                    <a:pt x="26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678" name="Freeform 92"/>
            <p:cNvSpPr>
              <a:spLocks/>
            </p:cNvSpPr>
            <p:nvPr>
              <p:custDataLst>
                <p:tags r:id="rId70"/>
              </p:custDataLst>
            </p:nvPr>
          </p:nvSpPr>
          <p:spPr bwMode="auto">
            <a:xfrm>
              <a:off x="10080870" y="4471515"/>
              <a:ext cx="7570" cy="72442"/>
            </a:xfrm>
            <a:custGeom>
              <a:avLst/>
              <a:gdLst>
                <a:gd name="T0" fmla="*/ 6350 w 20"/>
                <a:gd name="T1" fmla="*/ 0 h 25"/>
                <a:gd name="T2" fmla="*/ 0 w 20"/>
                <a:gd name="T3" fmla="*/ 31369 h 25"/>
                <a:gd name="T4" fmla="*/ 1270 w 20"/>
                <a:gd name="T5" fmla="*/ 43434 h 25"/>
                <a:gd name="T6" fmla="*/ 3175 w 20"/>
                <a:gd name="T7" fmla="*/ 50673 h 25"/>
                <a:gd name="T8" fmla="*/ 4445 w 20"/>
                <a:gd name="T9" fmla="*/ 57912 h 25"/>
                <a:gd name="T10" fmla="*/ 6350 w 20"/>
                <a:gd name="T11" fmla="*/ 60325 h 25"/>
                <a:gd name="T12" fmla="*/ 6350 w 20"/>
                <a:gd name="T13" fmla="*/ 0 h 2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" h="25">
                  <a:moveTo>
                    <a:pt x="20" y="0"/>
                  </a:moveTo>
                  <a:lnTo>
                    <a:pt x="0" y="13"/>
                  </a:lnTo>
                  <a:lnTo>
                    <a:pt x="4" y="18"/>
                  </a:lnTo>
                  <a:lnTo>
                    <a:pt x="10" y="21"/>
                  </a:lnTo>
                  <a:lnTo>
                    <a:pt x="14" y="24"/>
                  </a:lnTo>
                  <a:lnTo>
                    <a:pt x="20" y="25"/>
                  </a:lnTo>
                  <a:lnTo>
                    <a:pt x="2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679" name="Freeform 93"/>
            <p:cNvSpPr>
              <a:spLocks/>
            </p:cNvSpPr>
            <p:nvPr>
              <p:custDataLst>
                <p:tags r:id="rId71"/>
              </p:custDataLst>
            </p:nvPr>
          </p:nvSpPr>
          <p:spPr bwMode="auto">
            <a:xfrm>
              <a:off x="10177392" y="4143617"/>
              <a:ext cx="1893" cy="68630"/>
            </a:xfrm>
            <a:custGeom>
              <a:avLst/>
              <a:gdLst>
                <a:gd name="T0" fmla="*/ 0 w 6"/>
                <a:gd name="T1" fmla="*/ 57150 h 24"/>
                <a:gd name="T2" fmla="*/ 0 w 6"/>
                <a:gd name="T3" fmla="*/ 0 h 24"/>
                <a:gd name="T4" fmla="*/ 1588 w 6"/>
                <a:gd name="T5" fmla="*/ 28575 h 24"/>
                <a:gd name="T6" fmla="*/ 0 w 6"/>
                <a:gd name="T7" fmla="*/ 57150 h 2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6" h="24">
                  <a:moveTo>
                    <a:pt x="0" y="24"/>
                  </a:moveTo>
                  <a:lnTo>
                    <a:pt x="0" y="0"/>
                  </a:lnTo>
                  <a:lnTo>
                    <a:pt x="6" y="12"/>
                  </a:lnTo>
                  <a:lnTo>
                    <a:pt x="0" y="24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grpSp>
          <p:nvGrpSpPr>
            <p:cNvPr id="680" name="Group 94"/>
            <p:cNvGrpSpPr>
              <a:grpSpLocks/>
            </p:cNvGrpSpPr>
            <p:nvPr>
              <p:custDataLst>
                <p:tags r:id="rId72"/>
              </p:custDataLst>
            </p:nvPr>
          </p:nvGrpSpPr>
          <p:grpSpPr bwMode="auto">
            <a:xfrm>
              <a:off x="10027877" y="3748997"/>
              <a:ext cx="194937" cy="137259"/>
              <a:chOff x="5379" y="2466"/>
              <a:chExt cx="122" cy="71"/>
            </a:xfrm>
            <a:grpFill/>
          </p:grpSpPr>
          <p:sp>
            <p:nvSpPr>
              <p:cNvPr id="1126" name="Freeform 95"/>
              <p:cNvSpPr>
                <a:spLocks/>
              </p:cNvSpPr>
              <p:nvPr/>
            </p:nvSpPr>
            <p:spPr bwMode="auto">
              <a:xfrm>
                <a:off x="5428" y="2492"/>
                <a:ext cx="6" cy="9"/>
              </a:xfrm>
              <a:custGeom>
                <a:avLst/>
                <a:gdLst>
                  <a:gd name="T0" fmla="*/ 6 w 19"/>
                  <a:gd name="T1" fmla="*/ 9 h 25"/>
                  <a:gd name="T2" fmla="*/ 6 w 19"/>
                  <a:gd name="T3" fmla="*/ 7 h 25"/>
                  <a:gd name="T4" fmla="*/ 5 w 19"/>
                  <a:gd name="T5" fmla="*/ 4 h 25"/>
                  <a:gd name="T6" fmla="*/ 5 w 19"/>
                  <a:gd name="T7" fmla="*/ 3 h 25"/>
                  <a:gd name="T8" fmla="*/ 5 w 19"/>
                  <a:gd name="T9" fmla="*/ 2 h 25"/>
                  <a:gd name="T10" fmla="*/ 5 w 19"/>
                  <a:gd name="T11" fmla="*/ 1 h 25"/>
                  <a:gd name="T12" fmla="*/ 6 w 19"/>
                  <a:gd name="T13" fmla="*/ 0 h 25"/>
                  <a:gd name="T14" fmla="*/ 0 w 19"/>
                  <a:gd name="T15" fmla="*/ 0 h 25"/>
                  <a:gd name="T16" fmla="*/ 0 w 19"/>
                  <a:gd name="T17" fmla="*/ 3 h 25"/>
                  <a:gd name="T18" fmla="*/ 2 w 19"/>
                  <a:gd name="T19" fmla="*/ 5 h 25"/>
                  <a:gd name="T20" fmla="*/ 2 w 19"/>
                  <a:gd name="T21" fmla="*/ 7 h 25"/>
                  <a:gd name="T22" fmla="*/ 3 w 19"/>
                  <a:gd name="T23" fmla="*/ 8 h 25"/>
                  <a:gd name="T24" fmla="*/ 5 w 19"/>
                  <a:gd name="T25" fmla="*/ 9 h 25"/>
                  <a:gd name="T26" fmla="*/ 6 w 19"/>
                  <a:gd name="T27" fmla="*/ 9 h 2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19" h="25">
                    <a:moveTo>
                      <a:pt x="19" y="25"/>
                    </a:moveTo>
                    <a:lnTo>
                      <a:pt x="18" y="20"/>
                    </a:lnTo>
                    <a:lnTo>
                      <a:pt x="17" y="12"/>
                    </a:lnTo>
                    <a:lnTo>
                      <a:pt x="16" y="9"/>
                    </a:lnTo>
                    <a:lnTo>
                      <a:pt x="17" y="6"/>
                    </a:lnTo>
                    <a:lnTo>
                      <a:pt x="17" y="3"/>
                    </a:lnTo>
                    <a:lnTo>
                      <a:pt x="19" y="0"/>
                    </a:lnTo>
                    <a:lnTo>
                      <a:pt x="0" y="0"/>
                    </a:lnTo>
                    <a:lnTo>
                      <a:pt x="1" y="7"/>
                    </a:lnTo>
                    <a:lnTo>
                      <a:pt x="5" y="15"/>
                    </a:lnTo>
                    <a:lnTo>
                      <a:pt x="7" y="19"/>
                    </a:lnTo>
                    <a:lnTo>
                      <a:pt x="11" y="23"/>
                    </a:lnTo>
                    <a:lnTo>
                      <a:pt x="15" y="25"/>
                    </a:lnTo>
                    <a:lnTo>
                      <a:pt x="19" y="25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127" name="Freeform 96"/>
              <p:cNvSpPr>
                <a:spLocks/>
              </p:cNvSpPr>
              <p:nvPr/>
            </p:nvSpPr>
            <p:spPr bwMode="auto">
              <a:xfrm>
                <a:off x="5379" y="2505"/>
                <a:ext cx="7" cy="6"/>
              </a:xfrm>
              <a:custGeom>
                <a:avLst/>
                <a:gdLst>
                  <a:gd name="T0" fmla="*/ 7 w 26"/>
                  <a:gd name="T1" fmla="*/ 6 h 18"/>
                  <a:gd name="T2" fmla="*/ 2 w 26"/>
                  <a:gd name="T3" fmla="*/ 6 h 18"/>
                  <a:gd name="T4" fmla="*/ 1 w 26"/>
                  <a:gd name="T5" fmla="*/ 3 h 18"/>
                  <a:gd name="T6" fmla="*/ 0 w 26"/>
                  <a:gd name="T7" fmla="*/ 0 h 18"/>
                  <a:gd name="T8" fmla="*/ 2 w 26"/>
                  <a:gd name="T9" fmla="*/ 1 h 18"/>
                  <a:gd name="T10" fmla="*/ 4 w 26"/>
                  <a:gd name="T11" fmla="*/ 2 h 18"/>
                  <a:gd name="T12" fmla="*/ 5 w 26"/>
                  <a:gd name="T13" fmla="*/ 4 h 18"/>
                  <a:gd name="T14" fmla="*/ 7 w 26"/>
                  <a:gd name="T15" fmla="*/ 6 h 1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6" h="18">
                    <a:moveTo>
                      <a:pt x="26" y="18"/>
                    </a:moveTo>
                    <a:lnTo>
                      <a:pt x="7" y="18"/>
                    </a:lnTo>
                    <a:lnTo>
                      <a:pt x="3" y="9"/>
                    </a:lnTo>
                    <a:lnTo>
                      <a:pt x="0" y="0"/>
                    </a:lnTo>
                    <a:lnTo>
                      <a:pt x="6" y="2"/>
                    </a:lnTo>
                    <a:lnTo>
                      <a:pt x="13" y="6"/>
                    </a:lnTo>
                    <a:lnTo>
                      <a:pt x="20" y="12"/>
                    </a:lnTo>
                    <a:lnTo>
                      <a:pt x="26" y="18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128" name="Freeform 97"/>
              <p:cNvSpPr>
                <a:spLocks/>
              </p:cNvSpPr>
              <p:nvPr/>
            </p:nvSpPr>
            <p:spPr bwMode="auto">
              <a:xfrm>
                <a:off x="5392" y="2466"/>
                <a:ext cx="5" cy="6"/>
              </a:xfrm>
              <a:custGeom>
                <a:avLst/>
                <a:gdLst>
                  <a:gd name="T0" fmla="*/ 0 w 13"/>
                  <a:gd name="T1" fmla="*/ 6 h 18"/>
                  <a:gd name="T2" fmla="*/ 5 w 13"/>
                  <a:gd name="T3" fmla="*/ 0 h 18"/>
                  <a:gd name="T4" fmla="*/ 0 w 13"/>
                  <a:gd name="T5" fmla="*/ 6 h 18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3" y="0"/>
                    </a:lnTo>
                    <a:lnTo>
                      <a:pt x="0" y="18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129" name="Freeform 98"/>
              <p:cNvSpPr>
                <a:spLocks/>
              </p:cNvSpPr>
              <p:nvPr/>
            </p:nvSpPr>
            <p:spPr bwMode="auto">
              <a:xfrm>
                <a:off x="5426" y="2468"/>
                <a:ext cx="8" cy="8"/>
              </a:xfrm>
              <a:custGeom>
                <a:avLst/>
                <a:gdLst>
                  <a:gd name="T0" fmla="*/ 0 w 26"/>
                  <a:gd name="T1" fmla="*/ 8 h 24"/>
                  <a:gd name="T2" fmla="*/ 1 w 26"/>
                  <a:gd name="T3" fmla="*/ 8 h 24"/>
                  <a:gd name="T4" fmla="*/ 2 w 26"/>
                  <a:gd name="T5" fmla="*/ 7 h 24"/>
                  <a:gd name="T6" fmla="*/ 3 w 26"/>
                  <a:gd name="T7" fmla="*/ 6 h 24"/>
                  <a:gd name="T8" fmla="*/ 5 w 26"/>
                  <a:gd name="T9" fmla="*/ 5 h 24"/>
                  <a:gd name="T10" fmla="*/ 6 w 26"/>
                  <a:gd name="T11" fmla="*/ 4 h 24"/>
                  <a:gd name="T12" fmla="*/ 7 w 26"/>
                  <a:gd name="T13" fmla="*/ 3 h 24"/>
                  <a:gd name="T14" fmla="*/ 8 w 26"/>
                  <a:gd name="T15" fmla="*/ 1 h 24"/>
                  <a:gd name="T16" fmla="*/ 8 w 26"/>
                  <a:gd name="T17" fmla="*/ 0 h 24"/>
                  <a:gd name="T18" fmla="*/ 0 w 26"/>
                  <a:gd name="T19" fmla="*/ 8 h 2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6" h="24">
                    <a:moveTo>
                      <a:pt x="0" y="24"/>
                    </a:moveTo>
                    <a:lnTo>
                      <a:pt x="3" y="23"/>
                    </a:lnTo>
                    <a:lnTo>
                      <a:pt x="7" y="22"/>
                    </a:lnTo>
                    <a:lnTo>
                      <a:pt x="11" y="19"/>
                    </a:lnTo>
                    <a:lnTo>
                      <a:pt x="16" y="16"/>
                    </a:lnTo>
                    <a:lnTo>
                      <a:pt x="20" y="13"/>
                    </a:lnTo>
                    <a:lnTo>
                      <a:pt x="23" y="9"/>
                    </a:lnTo>
                    <a:lnTo>
                      <a:pt x="25" y="4"/>
                    </a:lnTo>
                    <a:lnTo>
                      <a:pt x="26" y="0"/>
                    </a:lnTo>
                    <a:lnTo>
                      <a:pt x="0" y="24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130" name="Freeform 99"/>
              <p:cNvSpPr>
                <a:spLocks/>
              </p:cNvSpPr>
              <p:nvPr/>
            </p:nvSpPr>
            <p:spPr bwMode="auto">
              <a:xfrm>
                <a:off x="5490" y="2490"/>
                <a:ext cx="11" cy="2"/>
              </a:xfrm>
              <a:custGeom>
                <a:avLst/>
                <a:gdLst>
                  <a:gd name="T0" fmla="*/ 0 w 34"/>
                  <a:gd name="T1" fmla="*/ 2 h 6"/>
                  <a:gd name="T2" fmla="*/ 3 w 34"/>
                  <a:gd name="T3" fmla="*/ 2 h 6"/>
                  <a:gd name="T4" fmla="*/ 6 w 34"/>
                  <a:gd name="T5" fmla="*/ 2 h 6"/>
                  <a:gd name="T6" fmla="*/ 8 w 34"/>
                  <a:gd name="T7" fmla="*/ 1 h 6"/>
                  <a:gd name="T8" fmla="*/ 11 w 34"/>
                  <a:gd name="T9" fmla="*/ 0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34" h="6">
                    <a:moveTo>
                      <a:pt x="0" y="6"/>
                    </a:moveTo>
                    <a:lnTo>
                      <a:pt x="10" y="6"/>
                    </a:lnTo>
                    <a:lnTo>
                      <a:pt x="17" y="5"/>
                    </a:lnTo>
                    <a:lnTo>
                      <a:pt x="25" y="4"/>
                    </a:lnTo>
                    <a:lnTo>
                      <a:pt x="34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131" name="Line 100"/>
              <p:cNvSpPr>
                <a:spLocks noChangeShapeType="1"/>
              </p:cNvSpPr>
              <p:nvPr/>
            </p:nvSpPr>
            <p:spPr bwMode="auto">
              <a:xfrm flipH="1">
                <a:off x="5495" y="2490"/>
                <a:ext cx="6" cy="1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132" name="Freeform 101"/>
              <p:cNvSpPr>
                <a:spLocks/>
              </p:cNvSpPr>
              <p:nvPr/>
            </p:nvSpPr>
            <p:spPr bwMode="auto">
              <a:xfrm>
                <a:off x="5464" y="2530"/>
                <a:ext cx="1" cy="7"/>
              </a:xfrm>
              <a:custGeom>
                <a:avLst/>
                <a:gdLst>
                  <a:gd name="T0" fmla="*/ 0 w 1"/>
                  <a:gd name="T1" fmla="*/ 7 h 19"/>
                  <a:gd name="T2" fmla="*/ 0 w 1"/>
                  <a:gd name="T3" fmla="*/ 3 h 19"/>
                  <a:gd name="T4" fmla="*/ 0 w 1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" h="19">
                    <a:moveTo>
                      <a:pt x="0" y="19"/>
                    </a:moveTo>
                    <a:lnTo>
                      <a:pt x="0" y="9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133" name="Line 102"/>
              <p:cNvSpPr>
                <a:spLocks noChangeShapeType="1"/>
              </p:cNvSpPr>
              <p:nvPr/>
            </p:nvSpPr>
            <p:spPr bwMode="auto">
              <a:xfrm>
                <a:off x="5464" y="2530"/>
                <a:ext cx="6" cy="1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134" name="Freeform 103"/>
              <p:cNvSpPr>
                <a:spLocks/>
              </p:cNvSpPr>
              <p:nvPr/>
            </p:nvSpPr>
            <p:spPr bwMode="auto">
              <a:xfrm>
                <a:off x="5466" y="2530"/>
                <a:ext cx="4" cy="2"/>
              </a:xfrm>
              <a:custGeom>
                <a:avLst/>
                <a:gdLst>
                  <a:gd name="T0" fmla="*/ 4 w 14"/>
                  <a:gd name="T1" fmla="*/ 0 h 6"/>
                  <a:gd name="T2" fmla="*/ 2 w 14"/>
                  <a:gd name="T3" fmla="*/ 1 h 6"/>
                  <a:gd name="T4" fmla="*/ 0 w 14"/>
                  <a:gd name="T5" fmla="*/ 2 h 6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4" h="6">
                    <a:moveTo>
                      <a:pt x="14" y="0"/>
                    </a:moveTo>
                    <a:lnTo>
                      <a:pt x="7" y="3"/>
                    </a:lnTo>
                    <a:lnTo>
                      <a:pt x="0" y="6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681" name="Freeform 104"/>
            <p:cNvSpPr>
              <a:spLocks/>
            </p:cNvSpPr>
            <p:nvPr>
              <p:custDataLst>
                <p:tags r:id="rId73"/>
              </p:custDataLst>
            </p:nvPr>
          </p:nvSpPr>
          <p:spPr bwMode="auto">
            <a:xfrm>
              <a:off x="8339677" y="3583142"/>
              <a:ext cx="7570" cy="68630"/>
            </a:xfrm>
            <a:custGeom>
              <a:avLst/>
              <a:gdLst>
                <a:gd name="T0" fmla="*/ 3175 w 26"/>
                <a:gd name="T1" fmla="*/ 57150 h 111"/>
                <a:gd name="T2" fmla="*/ 2198 w 26"/>
                <a:gd name="T3" fmla="*/ 53031 h 111"/>
                <a:gd name="T4" fmla="*/ 977 w 26"/>
                <a:gd name="T5" fmla="*/ 48912 h 111"/>
                <a:gd name="T6" fmla="*/ 488 w 26"/>
                <a:gd name="T7" fmla="*/ 46853 h 111"/>
                <a:gd name="T8" fmla="*/ 244 w 26"/>
                <a:gd name="T9" fmla="*/ 44793 h 111"/>
                <a:gd name="T10" fmla="*/ 0 w 26"/>
                <a:gd name="T11" fmla="*/ 41189 h 111"/>
                <a:gd name="T12" fmla="*/ 0 w 26"/>
                <a:gd name="T13" fmla="*/ 38100 h 111"/>
                <a:gd name="T14" fmla="*/ 0 w 26"/>
                <a:gd name="T15" fmla="*/ 31407 h 111"/>
                <a:gd name="T16" fmla="*/ 244 w 26"/>
                <a:gd name="T17" fmla="*/ 26258 h 111"/>
                <a:gd name="T18" fmla="*/ 733 w 26"/>
                <a:gd name="T19" fmla="*/ 21109 h 111"/>
                <a:gd name="T20" fmla="*/ 1221 w 26"/>
                <a:gd name="T21" fmla="*/ 16991 h 111"/>
                <a:gd name="T22" fmla="*/ 2198 w 26"/>
                <a:gd name="T23" fmla="*/ 12357 h 111"/>
                <a:gd name="T24" fmla="*/ 3419 w 26"/>
                <a:gd name="T25" fmla="*/ 8753 h 111"/>
                <a:gd name="T26" fmla="*/ 4885 w 26"/>
                <a:gd name="T27" fmla="*/ 4634 h 111"/>
                <a:gd name="T28" fmla="*/ 6350 w 26"/>
                <a:gd name="T29" fmla="*/ 0 h 111"/>
                <a:gd name="T30" fmla="*/ 6350 w 26"/>
                <a:gd name="T31" fmla="*/ 3089 h 111"/>
                <a:gd name="T32" fmla="*/ 6350 w 26"/>
                <a:gd name="T33" fmla="*/ 6693 h 111"/>
                <a:gd name="T34" fmla="*/ 6350 w 26"/>
                <a:gd name="T35" fmla="*/ 11327 h 111"/>
                <a:gd name="T36" fmla="*/ 6350 w 26"/>
                <a:gd name="T37" fmla="*/ 16476 h 111"/>
                <a:gd name="T38" fmla="*/ 6106 w 26"/>
                <a:gd name="T39" fmla="*/ 22654 h 111"/>
                <a:gd name="T40" fmla="*/ 5373 w 26"/>
                <a:gd name="T41" fmla="*/ 28832 h 111"/>
                <a:gd name="T42" fmla="*/ 4396 w 26"/>
                <a:gd name="T43" fmla="*/ 34496 h 111"/>
                <a:gd name="T44" fmla="*/ 3175 w 26"/>
                <a:gd name="T45" fmla="*/ 41189 h 111"/>
                <a:gd name="T46" fmla="*/ 3175 w 26"/>
                <a:gd name="T47" fmla="*/ 57150 h 11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26" h="111">
                  <a:moveTo>
                    <a:pt x="13" y="111"/>
                  </a:moveTo>
                  <a:lnTo>
                    <a:pt x="9" y="103"/>
                  </a:lnTo>
                  <a:lnTo>
                    <a:pt x="4" y="95"/>
                  </a:lnTo>
                  <a:lnTo>
                    <a:pt x="2" y="91"/>
                  </a:lnTo>
                  <a:lnTo>
                    <a:pt x="1" y="87"/>
                  </a:lnTo>
                  <a:lnTo>
                    <a:pt x="0" y="80"/>
                  </a:lnTo>
                  <a:lnTo>
                    <a:pt x="0" y="74"/>
                  </a:lnTo>
                  <a:lnTo>
                    <a:pt x="0" y="61"/>
                  </a:lnTo>
                  <a:lnTo>
                    <a:pt x="1" y="51"/>
                  </a:lnTo>
                  <a:lnTo>
                    <a:pt x="3" y="41"/>
                  </a:lnTo>
                  <a:lnTo>
                    <a:pt x="5" y="33"/>
                  </a:lnTo>
                  <a:lnTo>
                    <a:pt x="9" y="24"/>
                  </a:lnTo>
                  <a:lnTo>
                    <a:pt x="14" y="17"/>
                  </a:lnTo>
                  <a:lnTo>
                    <a:pt x="20" y="9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6" y="13"/>
                  </a:lnTo>
                  <a:lnTo>
                    <a:pt x="26" y="22"/>
                  </a:lnTo>
                  <a:lnTo>
                    <a:pt x="26" y="32"/>
                  </a:lnTo>
                  <a:lnTo>
                    <a:pt x="25" y="44"/>
                  </a:lnTo>
                  <a:lnTo>
                    <a:pt x="22" y="56"/>
                  </a:lnTo>
                  <a:lnTo>
                    <a:pt x="18" y="67"/>
                  </a:lnTo>
                  <a:lnTo>
                    <a:pt x="13" y="80"/>
                  </a:lnTo>
                  <a:lnTo>
                    <a:pt x="13" y="11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682" name="Freeform 105"/>
            <p:cNvSpPr>
              <a:spLocks/>
            </p:cNvSpPr>
            <p:nvPr>
              <p:custDataLst>
                <p:tags r:id="rId74"/>
              </p:custDataLst>
            </p:nvPr>
          </p:nvSpPr>
          <p:spPr bwMode="auto">
            <a:xfrm>
              <a:off x="4643428" y="6152939"/>
              <a:ext cx="64348" cy="70537"/>
            </a:xfrm>
            <a:custGeom>
              <a:avLst/>
              <a:gdLst>
                <a:gd name="T0" fmla="*/ 0 w 126"/>
                <a:gd name="T1" fmla="*/ 18000 h 62"/>
                <a:gd name="T2" fmla="*/ 4712 w 126"/>
                <a:gd name="T3" fmla="*/ 18948 h 62"/>
                <a:gd name="T4" fmla="*/ 8996 w 126"/>
                <a:gd name="T5" fmla="*/ 19895 h 62"/>
                <a:gd name="T6" fmla="*/ 12423 w 126"/>
                <a:gd name="T7" fmla="*/ 21790 h 62"/>
                <a:gd name="T8" fmla="*/ 15421 w 126"/>
                <a:gd name="T9" fmla="*/ 24632 h 62"/>
                <a:gd name="T10" fmla="*/ 21419 w 126"/>
                <a:gd name="T11" fmla="*/ 31264 h 62"/>
                <a:gd name="T12" fmla="*/ 26131 w 126"/>
                <a:gd name="T13" fmla="*/ 37895 h 62"/>
                <a:gd name="T14" fmla="*/ 29986 w 126"/>
                <a:gd name="T15" fmla="*/ 45475 h 62"/>
                <a:gd name="T16" fmla="*/ 33841 w 126"/>
                <a:gd name="T17" fmla="*/ 52106 h 62"/>
                <a:gd name="T18" fmla="*/ 35983 w 126"/>
                <a:gd name="T19" fmla="*/ 54948 h 62"/>
                <a:gd name="T20" fmla="*/ 38125 w 126"/>
                <a:gd name="T21" fmla="*/ 56843 h 62"/>
                <a:gd name="T22" fmla="*/ 40695 w 126"/>
                <a:gd name="T23" fmla="*/ 57791 h 62"/>
                <a:gd name="T24" fmla="*/ 42837 w 126"/>
                <a:gd name="T25" fmla="*/ 58738 h 62"/>
                <a:gd name="T26" fmla="*/ 44979 w 126"/>
                <a:gd name="T27" fmla="*/ 57791 h 62"/>
                <a:gd name="T28" fmla="*/ 46693 w 126"/>
                <a:gd name="T29" fmla="*/ 56843 h 62"/>
                <a:gd name="T30" fmla="*/ 48406 w 126"/>
                <a:gd name="T31" fmla="*/ 54948 h 62"/>
                <a:gd name="T32" fmla="*/ 50120 w 126"/>
                <a:gd name="T33" fmla="*/ 53054 h 62"/>
                <a:gd name="T34" fmla="*/ 52262 w 126"/>
                <a:gd name="T35" fmla="*/ 48317 h 62"/>
                <a:gd name="T36" fmla="*/ 53975 w 126"/>
                <a:gd name="T37" fmla="*/ 46422 h 62"/>
                <a:gd name="T38" fmla="*/ 47121 w 126"/>
                <a:gd name="T39" fmla="*/ 31264 h 62"/>
                <a:gd name="T40" fmla="*/ 41124 w 126"/>
                <a:gd name="T41" fmla="*/ 19895 h 62"/>
                <a:gd name="T42" fmla="*/ 38125 w 126"/>
                <a:gd name="T43" fmla="*/ 14211 h 62"/>
                <a:gd name="T44" fmla="*/ 34698 w 126"/>
                <a:gd name="T45" fmla="*/ 8526 h 62"/>
                <a:gd name="T46" fmla="*/ 30843 w 126"/>
                <a:gd name="T47" fmla="*/ 4737 h 62"/>
                <a:gd name="T48" fmla="*/ 26131 w 126"/>
                <a:gd name="T49" fmla="*/ 0 h 62"/>
                <a:gd name="T50" fmla="*/ 0 w 126"/>
                <a:gd name="T51" fmla="*/ 0 h 62"/>
                <a:gd name="T52" fmla="*/ 0 w 126"/>
                <a:gd name="T53" fmla="*/ 8526 h 62"/>
                <a:gd name="T54" fmla="*/ 0 w 126"/>
                <a:gd name="T55" fmla="*/ 18000 h 62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126" h="62">
                  <a:moveTo>
                    <a:pt x="0" y="19"/>
                  </a:moveTo>
                  <a:lnTo>
                    <a:pt x="11" y="20"/>
                  </a:lnTo>
                  <a:lnTo>
                    <a:pt x="21" y="21"/>
                  </a:lnTo>
                  <a:lnTo>
                    <a:pt x="29" y="23"/>
                  </a:lnTo>
                  <a:lnTo>
                    <a:pt x="36" y="26"/>
                  </a:lnTo>
                  <a:lnTo>
                    <a:pt x="50" y="33"/>
                  </a:lnTo>
                  <a:lnTo>
                    <a:pt x="61" y="40"/>
                  </a:lnTo>
                  <a:lnTo>
                    <a:pt x="70" y="48"/>
                  </a:lnTo>
                  <a:lnTo>
                    <a:pt x="79" y="55"/>
                  </a:lnTo>
                  <a:lnTo>
                    <a:pt x="84" y="58"/>
                  </a:lnTo>
                  <a:lnTo>
                    <a:pt x="89" y="60"/>
                  </a:lnTo>
                  <a:lnTo>
                    <a:pt x="95" y="61"/>
                  </a:lnTo>
                  <a:lnTo>
                    <a:pt x="100" y="62"/>
                  </a:lnTo>
                  <a:lnTo>
                    <a:pt x="105" y="61"/>
                  </a:lnTo>
                  <a:lnTo>
                    <a:pt x="109" y="60"/>
                  </a:lnTo>
                  <a:lnTo>
                    <a:pt x="113" y="58"/>
                  </a:lnTo>
                  <a:lnTo>
                    <a:pt x="117" y="56"/>
                  </a:lnTo>
                  <a:lnTo>
                    <a:pt x="122" y="51"/>
                  </a:lnTo>
                  <a:lnTo>
                    <a:pt x="126" y="49"/>
                  </a:lnTo>
                  <a:lnTo>
                    <a:pt x="110" y="33"/>
                  </a:lnTo>
                  <a:lnTo>
                    <a:pt x="96" y="21"/>
                  </a:lnTo>
                  <a:lnTo>
                    <a:pt x="89" y="15"/>
                  </a:lnTo>
                  <a:lnTo>
                    <a:pt x="81" y="9"/>
                  </a:lnTo>
                  <a:lnTo>
                    <a:pt x="72" y="5"/>
                  </a:lnTo>
                  <a:lnTo>
                    <a:pt x="61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683" name="Freeform 106"/>
            <p:cNvSpPr>
              <a:spLocks/>
            </p:cNvSpPr>
            <p:nvPr>
              <p:custDataLst>
                <p:tags r:id="rId75"/>
              </p:custDataLst>
            </p:nvPr>
          </p:nvSpPr>
          <p:spPr bwMode="auto">
            <a:xfrm>
              <a:off x="7387699" y="5958490"/>
              <a:ext cx="35960" cy="66724"/>
            </a:xfrm>
            <a:custGeom>
              <a:avLst/>
              <a:gdLst>
                <a:gd name="T0" fmla="*/ 0 w 66"/>
                <a:gd name="T1" fmla="*/ 0 h 44"/>
                <a:gd name="T2" fmla="*/ 5941 w 66"/>
                <a:gd name="T3" fmla="*/ 1263 h 44"/>
                <a:gd name="T4" fmla="*/ 10511 w 66"/>
                <a:gd name="T5" fmla="*/ 2526 h 44"/>
                <a:gd name="T6" fmla="*/ 14624 w 66"/>
                <a:gd name="T7" fmla="*/ 5051 h 44"/>
                <a:gd name="T8" fmla="*/ 17367 w 66"/>
                <a:gd name="T9" fmla="*/ 8840 h 44"/>
                <a:gd name="T10" fmla="*/ 20109 w 66"/>
                <a:gd name="T11" fmla="*/ 11365 h 44"/>
                <a:gd name="T12" fmla="*/ 22851 w 66"/>
                <a:gd name="T13" fmla="*/ 13891 h 44"/>
                <a:gd name="T14" fmla="*/ 26050 w 66"/>
                <a:gd name="T15" fmla="*/ 15154 h 44"/>
                <a:gd name="T16" fmla="*/ 30163 w 66"/>
                <a:gd name="T17" fmla="*/ 16416 h 44"/>
                <a:gd name="T18" fmla="*/ 29706 w 66"/>
                <a:gd name="T19" fmla="*/ 21468 h 44"/>
                <a:gd name="T20" fmla="*/ 28335 w 66"/>
                <a:gd name="T21" fmla="*/ 26519 h 44"/>
                <a:gd name="T22" fmla="*/ 27421 w 66"/>
                <a:gd name="T23" fmla="*/ 31570 h 44"/>
                <a:gd name="T24" fmla="*/ 26050 w 66"/>
                <a:gd name="T25" fmla="*/ 35358 h 44"/>
                <a:gd name="T26" fmla="*/ 22394 w 66"/>
                <a:gd name="T27" fmla="*/ 42935 h 44"/>
                <a:gd name="T28" fmla="*/ 18281 w 66"/>
                <a:gd name="T29" fmla="*/ 49249 h 44"/>
                <a:gd name="T30" fmla="*/ 14167 w 66"/>
                <a:gd name="T31" fmla="*/ 53037 h 44"/>
                <a:gd name="T32" fmla="*/ 9597 w 66"/>
                <a:gd name="T33" fmla="*/ 55563 h 44"/>
                <a:gd name="T34" fmla="*/ 4570 w 66"/>
                <a:gd name="T35" fmla="*/ 55563 h 44"/>
                <a:gd name="T36" fmla="*/ 0 w 66"/>
                <a:gd name="T37" fmla="*/ 54300 h 44"/>
                <a:gd name="T38" fmla="*/ 0 w 66"/>
                <a:gd name="T39" fmla="*/ 39147 h 44"/>
                <a:gd name="T40" fmla="*/ 0 w 66"/>
                <a:gd name="T41" fmla="*/ 27782 h 44"/>
                <a:gd name="T42" fmla="*/ 0 w 66"/>
                <a:gd name="T43" fmla="*/ 15154 h 44"/>
                <a:gd name="T44" fmla="*/ 0 w 66"/>
                <a:gd name="T45" fmla="*/ 0 h 4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6" h="44">
                  <a:moveTo>
                    <a:pt x="0" y="0"/>
                  </a:moveTo>
                  <a:lnTo>
                    <a:pt x="13" y="1"/>
                  </a:lnTo>
                  <a:lnTo>
                    <a:pt x="23" y="2"/>
                  </a:lnTo>
                  <a:lnTo>
                    <a:pt x="32" y="4"/>
                  </a:lnTo>
                  <a:lnTo>
                    <a:pt x="38" y="7"/>
                  </a:lnTo>
                  <a:lnTo>
                    <a:pt x="44" y="9"/>
                  </a:lnTo>
                  <a:lnTo>
                    <a:pt x="50" y="11"/>
                  </a:lnTo>
                  <a:lnTo>
                    <a:pt x="57" y="12"/>
                  </a:lnTo>
                  <a:lnTo>
                    <a:pt x="66" y="13"/>
                  </a:lnTo>
                  <a:lnTo>
                    <a:pt x="65" y="17"/>
                  </a:lnTo>
                  <a:lnTo>
                    <a:pt x="62" y="21"/>
                  </a:lnTo>
                  <a:lnTo>
                    <a:pt x="60" y="25"/>
                  </a:lnTo>
                  <a:lnTo>
                    <a:pt x="57" y="28"/>
                  </a:lnTo>
                  <a:lnTo>
                    <a:pt x="49" y="34"/>
                  </a:lnTo>
                  <a:lnTo>
                    <a:pt x="40" y="39"/>
                  </a:lnTo>
                  <a:lnTo>
                    <a:pt x="31" y="42"/>
                  </a:lnTo>
                  <a:lnTo>
                    <a:pt x="21" y="44"/>
                  </a:lnTo>
                  <a:lnTo>
                    <a:pt x="10" y="44"/>
                  </a:lnTo>
                  <a:lnTo>
                    <a:pt x="0" y="43"/>
                  </a:lnTo>
                  <a:lnTo>
                    <a:pt x="0" y="31"/>
                  </a:lnTo>
                  <a:lnTo>
                    <a:pt x="0" y="22"/>
                  </a:lnTo>
                  <a:lnTo>
                    <a:pt x="0" y="12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684" name="Freeform 107"/>
            <p:cNvSpPr>
              <a:spLocks/>
            </p:cNvSpPr>
            <p:nvPr>
              <p:custDataLst>
                <p:tags r:id="rId76"/>
              </p:custDataLst>
            </p:nvPr>
          </p:nvSpPr>
          <p:spPr bwMode="auto">
            <a:xfrm>
              <a:off x="9955959" y="2080916"/>
              <a:ext cx="24603" cy="68630"/>
            </a:xfrm>
            <a:custGeom>
              <a:avLst/>
              <a:gdLst>
                <a:gd name="T0" fmla="*/ 20637 w 46"/>
                <a:gd name="T1" fmla="*/ 0 h 16"/>
                <a:gd name="T2" fmla="*/ 17945 w 46"/>
                <a:gd name="T3" fmla="*/ 25003 h 16"/>
                <a:gd name="T4" fmla="*/ 15702 w 46"/>
                <a:gd name="T5" fmla="*/ 46434 h 16"/>
                <a:gd name="T6" fmla="*/ 13908 w 46"/>
                <a:gd name="T7" fmla="*/ 50006 h 16"/>
                <a:gd name="T8" fmla="*/ 13010 w 46"/>
                <a:gd name="T9" fmla="*/ 53578 h 16"/>
                <a:gd name="T10" fmla="*/ 11664 w 46"/>
                <a:gd name="T11" fmla="*/ 57150 h 16"/>
                <a:gd name="T12" fmla="*/ 10319 w 46"/>
                <a:gd name="T13" fmla="*/ 57150 h 16"/>
                <a:gd name="T14" fmla="*/ 7178 w 46"/>
                <a:gd name="T15" fmla="*/ 50006 h 16"/>
                <a:gd name="T16" fmla="*/ 4935 w 46"/>
                <a:gd name="T17" fmla="*/ 39291 h 16"/>
                <a:gd name="T18" fmla="*/ 2243 w 46"/>
                <a:gd name="T19" fmla="*/ 21431 h 16"/>
                <a:gd name="T20" fmla="*/ 0 w 46"/>
                <a:gd name="T21" fmla="*/ 0 h 16"/>
                <a:gd name="T22" fmla="*/ 20637 w 46"/>
                <a:gd name="T23" fmla="*/ 0 h 1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6" h="16">
                  <a:moveTo>
                    <a:pt x="46" y="0"/>
                  </a:moveTo>
                  <a:lnTo>
                    <a:pt x="40" y="7"/>
                  </a:lnTo>
                  <a:lnTo>
                    <a:pt x="35" y="13"/>
                  </a:lnTo>
                  <a:lnTo>
                    <a:pt x="31" y="14"/>
                  </a:lnTo>
                  <a:lnTo>
                    <a:pt x="29" y="15"/>
                  </a:lnTo>
                  <a:lnTo>
                    <a:pt x="26" y="16"/>
                  </a:lnTo>
                  <a:lnTo>
                    <a:pt x="23" y="16"/>
                  </a:lnTo>
                  <a:lnTo>
                    <a:pt x="16" y="14"/>
                  </a:lnTo>
                  <a:lnTo>
                    <a:pt x="11" y="11"/>
                  </a:lnTo>
                  <a:lnTo>
                    <a:pt x="5" y="6"/>
                  </a:lnTo>
                  <a:lnTo>
                    <a:pt x="0" y="0"/>
                  </a:lnTo>
                  <a:lnTo>
                    <a:pt x="46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685" name="Freeform 108"/>
            <p:cNvSpPr>
              <a:spLocks/>
            </p:cNvSpPr>
            <p:nvPr>
              <p:custDataLst>
                <p:tags r:id="rId77"/>
              </p:custDataLst>
            </p:nvPr>
          </p:nvSpPr>
          <p:spPr bwMode="auto">
            <a:xfrm>
              <a:off x="10166038" y="2120950"/>
              <a:ext cx="18926" cy="68630"/>
            </a:xfrm>
            <a:custGeom>
              <a:avLst/>
              <a:gdLst>
                <a:gd name="T0" fmla="*/ 15875 w 39"/>
                <a:gd name="T1" fmla="*/ 54952 h 26"/>
                <a:gd name="T2" fmla="*/ 14654 w 39"/>
                <a:gd name="T3" fmla="*/ 57150 h 26"/>
                <a:gd name="T4" fmla="*/ 13026 w 39"/>
                <a:gd name="T5" fmla="*/ 57150 h 26"/>
                <a:gd name="T6" fmla="*/ 11397 w 39"/>
                <a:gd name="T7" fmla="*/ 57150 h 26"/>
                <a:gd name="T8" fmla="*/ 10176 w 39"/>
                <a:gd name="T9" fmla="*/ 54952 h 26"/>
                <a:gd name="T10" fmla="*/ 7327 w 39"/>
                <a:gd name="T11" fmla="*/ 48358 h 26"/>
                <a:gd name="T12" fmla="*/ 4885 w 39"/>
                <a:gd name="T13" fmla="*/ 39565 h 26"/>
                <a:gd name="T14" fmla="*/ 2849 w 39"/>
                <a:gd name="T15" fmla="*/ 28575 h 26"/>
                <a:gd name="T16" fmla="*/ 1221 w 39"/>
                <a:gd name="T17" fmla="*/ 15387 h 26"/>
                <a:gd name="T18" fmla="*/ 407 w 39"/>
                <a:gd name="T19" fmla="*/ 6594 h 26"/>
                <a:gd name="T20" fmla="*/ 0 w 39"/>
                <a:gd name="T21" fmla="*/ 0 h 26"/>
                <a:gd name="T22" fmla="*/ 4478 w 39"/>
                <a:gd name="T23" fmla="*/ 13188 h 26"/>
                <a:gd name="T24" fmla="*/ 8955 w 39"/>
                <a:gd name="T25" fmla="*/ 28575 h 26"/>
                <a:gd name="T26" fmla="*/ 13433 w 39"/>
                <a:gd name="T27" fmla="*/ 43962 h 26"/>
                <a:gd name="T28" fmla="*/ 15875 w 39"/>
                <a:gd name="T29" fmla="*/ 54952 h 2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39" h="26">
                  <a:moveTo>
                    <a:pt x="39" y="25"/>
                  </a:moveTo>
                  <a:lnTo>
                    <a:pt x="36" y="26"/>
                  </a:lnTo>
                  <a:lnTo>
                    <a:pt x="32" y="26"/>
                  </a:lnTo>
                  <a:lnTo>
                    <a:pt x="28" y="26"/>
                  </a:lnTo>
                  <a:lnTo>
                    <a:pt x="25" y="25"/>
                  </a:lnTo>
                  <a:lnTo>
                    <a:pt x="18" y="22"/>
                  </a:lnTo>
                  <a:lnTo>
                    <a:pt x="12" y="18"/>
                  </a:lnTo>
                  <a:lnTo>
                    <a:pt x="7" y="13"/>
                  </a:lnTo>
                  <a:lnTo>
                    <a:pt x="3" y="7"/>
                  </a:lnTo>
                  <a:lnTo>
                    <a:pt x="1" y="3"/>
                  </a:lnTo>
                  <a:lnTo>
                    <a:pt x="0" y="0"/>
                  </a:lnTo>
                  <a:lnTo>
                    <a:pt x="11" y="6"/>
                  </a:lnTo>
                  <a:lnTo>
                    <a:pt x="22" y="13"/>
                  </a:lnTo>
                  <a:lnTo>
                    <a:pt x="33" y="20"/>
                  </a:lnTo>
                  <a:lnTo>
                    <a:pt x="39" y="2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686" name="Freeform 109"/>
            <p:cNvSpPr>
              <a:spLocks/>
            </p:cNvSpPr>
            <p:nvPr>
              <p:custDataLst>
                <p:tags r:id="rId78"/>
              </p:custDataLst>
            </p:nvPr>
          </p:nvSpPr>
          <p:spPr bwMode="auto">
            <a:xfrm>
              <a:off x="9509304" y="2397375"/>
              <a:ext cx="5677" cy="70537"/>
            </a:xfrm>
            <a:custGeom>
              <a:avLst/>
              <a:gdLst>
                <a:gd name="T0" fmla="*/ 4762 w 11"/>
                <a:gd name="T1" fmla="*/ 0 h 25"/>
                <a:gd name="T2" fmla="*/ 4762 w 11"/>
                <a:gd name="T3" fmla="*/ 11748 h 25"/>
                <a:gd name="T4" fmla="*/ 4329 w 11"/>
                <a:gd name="T5" fmla="*/ 28194 h 25"/>
                <a:gd name="T6" fmla="*/ 3896 w 11"/>
                <a:gd name="T7" fmla="*/ 46990 h 25"/>
                <a:gd name="T8" fmla="*/ 1732 w 11"/>
                <a:gd name="T9" fmla="*/ 58738 h 25"/>
                <a:gd name="T10" fmla="*/ 866 w 11"/>
                <a:gd name="T11" fmla="*/ 54039 h 25"/>
                <a:gd name="T12" fmla="*/ 433 w 11"/>
                <a:gd name="T13" fmla="*/ 46990 h 25"/>
                <a:gd name="T14" fmla="*/ 0 w 11"/>
                <a:gd name="T15" fmla="*/ 35243 h 25"/>
                <a:gd name="T16" fmla="*/ 0 w 11"/>
                <a:gd name="T17" fmla="*/ 28194 h 25"/>
                <a:gd name="T18" fmla="*/ 433 w 11"/>
                <a:gd name="T19" fmla="*/ 21146 h 25"/>
                <a:gd name="T20" fmla="*/ 1299 w 11"/>
                <a:gd name="T21" fmla="*/ 11748 h 25"/>
                <a:gd name="T22" fmla="*/ 2597 w 11"/>
                <a:gd name="T23" fmla="*/ 4699 h 25"/>
                <a:gd name="T24" fmla="*/ 4762 w 11"/>
                <a:gd name="T25" fmla="*/ 0 h 2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1" h="25">
                  <a:moveTo>
                    <a:pt x="11" y="0"/>
                  </a:moveTo>
                  <a:lnTo>
                    <a:pt x="11" y="5"/>
                  </a:lnTo>
                  <a:lnTo>
                    <a:pt x="10" y="12"/>
                  </a:lnTo>
                  <a:lnTo>
                    <a:pt x="9" y="20"/>
                  </a:lnTo>
                  <a:lnTo>
                    <a:pt x="4" y="25"/>
                  </a:lnTo>
                  <a:lnTo>
                    <a:pt x="2" y="23"/>
                  </a:lnTo>
                  <a:lnTo>
                    <a:pt x="1" y="20"/>
                  </a:lnTo>
                  <a:lnTo>
                    <a:pt x="0" y="15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5"/>
                  </a:lnTo>
                  <a:lnTo>
                    <a:pt x="6" y="2"/>
                  </a:lnTo>
                  <a:lnTo>
                    <a:pt x="11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687" name="Freeform 110"/>
            <p:cNvSpPr>
              <a:spLocks/>
            </p:cNvSpPr>
            <p:nvPr>
              <p:custDataLst>
                <p:tags r:id="rId79"/>
              </p:custDataLst>
            </p:nvPr>
          </p:nvSpPr>
          <p:spPr bwMode="auto">
            <a:xfrm>
              <a:off x="9287870" y="3072232"/>
              <a:ext cx="17034" cy="70537"/>
            </a:xfrm>
            <a:custGeom>
              <a:avLst/>
              <a:gdLst>
                <a:gd name="T0" fmla="*/ 14288 w 20"/>
                <a:gd name="T1" fmla="*/ 0 h 31"/>
                <a:gd name="T2" fmla="*/ 11430 w 20"/>
                <a:gd name="T3" fmla="*/ 22737 h 31"/>
                <a:gd name="T4" fmla="*/ 7144 w 20"/>
                <a:gd name="T5" fmla="*/ 37895 h 31"/>
                <a:gd name="T6" fmla="*/ 3572 w 20"/>
                <a:gd name="T7" fmla="*/ 49264 h 31"/>
                <a:gd name="T8" fmla="*/ 0 w 20"/>
                <a:gd name="T9" fmla="*/ 58738 h 31"/>
                <a:gd name="T10" fmla="*/ 0 w 20"/>
                <a:gd name="T11" fmla="*/ 47369 h 31"/>
                <a:gd name="T12" fmla="*/ 714 w 20"/>
                <a:gd name="T13" fmla="*/ 36001 h 31"/>
                <a:gd name="T14" fmla="*/ 1429 w 20"/>
                <a:gd name="T15" fmla="*/ 24632 h 31"/>
                <a:gd name="T16" fmla="*/ 3572 w 20"/>
                <a:gd name="T17" fmla="*/ 17053 h 31"/>
                <a:gd name="T18" fmla="*/ 5715 w 20"/>
                <a:gd name="T19" fmla="*/ 11369 h 31"/>
                <a:gd name="T20" fmla="*/ 7858 w 20"/>
                <a:gd name="T21" fmla="*/ 5684 h 31"/>
                <a:gd name="T22" fmla="*/ 11430 w 20"/>
                <a:gd name="T23" fmla="*/ 0 h 31"/>
                <a:gd name="T24" fmla="*/ 14288 w 20"/>
                <a:gd name="T25" fmla="*/ 0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0" h="31">
                  <a:moveTo>
                    <a:pt x="20" y="0"/>
                  </a:moveTo>
                  <a:lnTo>
                    <a:pt x="16" y="12"/>
                  </a:lnTo>
                  <a:lnTo>
                    <a:pt x="10" y="20"/>
                  </a:lnTo>
                  <a:lnTo>
                    <a:pt x="5" y="26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3"/>
                  </a:lnTo>
                  <a:lnTo>
                    <a:pt x="5" y="9"/>
                  </a:lnTo>
                  <a:lnTo>
                    <a:pt x="8" y="6"/>
                  </a:lnTo>
                  <a:lnTo>
                    <a:pt x="11" y="3"/>
                  </a:lnTo>
                  <a:lnTo>
                    <a:pt x="16" y="0"/>
                  </a:lnTo>
                  <a:lnTo>
                    <a:pt x="2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688" name="Freeform 111"/>
            <p:cNvSpPr>
              <a:spLocks/>
            </p:cNvSpPr>
            <p:nvPr>
              <p:custDataLst>
                <p:tags r:id="rId80"/>
              </p:custDataLst>
            </p:nvPr>
          </p:nvSpPr>
          <p:spPr bwMode="auto">
            <a:xfrm>
              <a:off x="9308690" y="2994072"/>
              <a:ext cx="18926" cy="68630"/>
            </a:xfrm>
            <a:custGeom>
              <a:avLst/>
              <a:gdLst>
                <a:gd name="T0" fmla="*/ 7938 w 26"/>
                <a:gd name="T1" fmla="*/ 57150 h 37"/>
                <a:gd name="T2" fmla="*/ 0 w 26"/>
                <a:gd name="T3" fmla="*/ 18535 h 37"/>
                <a:gd name="T4" fmla="*/ 3663 w 26"/>
                <a:gd name="T5" fmla="*/ 10812 h 37"/>
                <a:gd name="T6" fmla="*/ 7938 w 26"/>
                <a:gd name="T7" fmla="*/ 6178 h 37"/>
                <a:gd name="T8" fmla="*/ 12822 w 26"/>
                <a:gd name="T9" fmla="*/ 1545 h 37"/>
                <a:gd name="T10" fmla="*/ 15875 w 26"/>
                <a:gd name="T11" fmla="*/ 0 h 37"/>
                <a:gd name="T12" fmla="*/ 15875 w 26"/>
                <a:gd name="T13" fmla="*/ 9268 h 37"/>
                <a:gd name="T14" fmla="*/ 15264 w 26"/>
                <a:gd name="T15" fmla="*/ 16991 h 37"/>
                <a:gd name="T16" fmla="*/ 14654 w 26"/>
                <a:gd name="T17" fmla="*/ 26258 h 37"/>
                <a:gd name="T18" fmla="*/ 14043 w 26"/>
                <a:gd name="T19" fmla="*/ 32436 h 37"/>
                <a:gd name="T20" fmla="*/ 10990 w 26"/>
                <a:gd name="T21" fmla="*/ 44793 h 37"/>
                <a:gd name="T22" fmla="*/ 7938 w 26"/>
                <a:gd name="T23" fmla="*/ 57150 h 3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6" h="37">
                  <a:moveTo>
                    <a:pt x="13" y="37"/>
                  </a:moveTo>
                  <a:lnTo>
                    <a:pt x="0" y="12"/>
                  </a:lnTo>
                  <a:lnTo>
                    <a:pt x="6" y="7"/>
                  </a:lnTo>
                  <a:lnTo>
                    <a:pt x="13" y="4"/>
                  </a:lnTo>
                  <a:lnTo>
                    <a:pt x="21" y="1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5" y="11"/>
                  </a:lnTo>
                  <a:lnTo>
                    <a:pt x="24" y="17"/>
                  </a:lnTo>
                  <a:lnTo>
                    <a:pt x="23" y="21"/>
                  </a:lnTo>
                  <a:lnTo>
                    <a:pt x="18" y="29"/>
                  </a:lnTo>
                  <a:lnTo>
                    <a:pt x="13" y="37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689" name="Freeform 112"/>
            <p:cNvSpPr>
              <a:spLocks/>
            </p:cNvSpPr>
            <p:nvPr>
              <p:custDataLst>
                <p:tags r:id="rId81"/>
              </p:custDataLst>
            </p:nvPr>
          </p:nvSpPr>
          <p:spPr bwMode="auto">
            <a:xfrm>
              <a:off x="9176208" y="2812966"/>
              <a:ext cx="1892" cy="72442"/>
            </a:xfrm>
            <a:custGeom>
              <a:avLst/>
              <a:gdLst>
                <a:gd name="T0" fmla="*/ 0 w 7"/>
                <a:gd name="T1" fmla="*/ 60325 h 18"/>
                <a:gd name="T2" fmla="*/ 0 w 7"/>
                <a:gd name="T3" fmla="*/ 0 h 18"/>
                <a:gd name="T4" fmla="*/ 1587 w 7"/>
                <a:gd name="T5" fmla="*/ 40217 h 18"/>
                <a:gd name="T6" fmla="*/ 0 w 7"/>
                <a:gd name="T7" fmla="*/ 60325 h 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" h="18">
                  <a:moveTo>
                    <a:pt x="0" y="18"/>
                  </a:moveTo>
                  <a:lnTo>
                    <a:pt x="0" y="0"/>
                  </a:lnTo>
                  <a:lnTo>
                    <a:pt x="7" y="12"/>
                  </a:lnTo>
                  <a:lnTo>
                    <a:pt x="0" y="1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690" name="Freeform 113"/>
            <p:cNvSpPr>
              <a:spLocks/>
            </p:cNvSpPr>
            <p:nvPr>
              <p:custDataLst>
                <p:tags r:id="rId82"/>
              </p:custDataLst>
            </p:nvPr>
          </p:nvSpPr>
          <p:spPr bwMode="auto">
            <a:xfrm>
              <a:off x="5423180" y="1764457"/>
              <a:ext cx="11356" cy="68630"/>
            </a:xfrm>
            <a:custGeom>
              <a:avLst/>
              <a:gdLst>
                <a:gd name="T0" fmla="*/ 0 w 33"/>
                <a:gd name="T1" fmla="*/ 22123 h 31"/>
                <a:gd name="T2" fmla="*/ 5484 w 33"/>
                <a:gd name="T3" fmla="*/ 0 h 31"/>
                <a:gd name="T4" fmla="*/ 6927 w 33"/>
                <a:gd name="T5" fmla="*/ 9218 h 31"/>
                <a:gd name="T6" fmla="*/ 8082 w 33"/>
                <a:gd name="T7" fmla="*/ 22123 h 31"/>
                <a:gd name="T8" fmla="*/ 9236 w 33"/>
                <a:gd name="T9" fmla="*/ 40558 h 31"/>
                <a:gd name="T10" fmla="*/ 9525 w 33"/>
                <a:gd name="T11" fmla="*/ 57150 h 31"/>
                <a:gd name="T12" fmla="*/ 7793 w 33"/>
                <a:gd name="T13" fmla="*/ 55306 h 31"/>
                <a:gd name="T14" fmla="*/ 6350 w 33"/>
                <a:gd name="T15" fmla="*/ 51619 h 31"/>
                <a:gd name="T16" fmla="*/ 4618 w 33"/>
                <a:gd name="T17" fmla="*/ 46089 h 31"/>
                <a:gd name="T18" fmla="*/ 3175 w 33"/>
                <a:gd name="T19" fmla="*/ 40558 h 31"/>
                <a:gd name="T20" fmla="*/ 866 w 33"/>
                <a:gd name="T21" fmla="*/ 27653 h 31"/>
                <a:gd name="T22" fmla="*/ 0 w 33"/>
                <a:gd name="T23" fmla="*/ 22123 h 3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3" h="31">
                  <a:moveTo>
                    <a:pt x="0" y="12"/>
                  </a:moveTo>
                  <a:lnTo>
                    <a:pt x="19" y="0"/>
                  </a:lnTo>
                  <a:lnTo>
                    <a:pt x="24" y="5"/>
                  </a:lnTo>
                  <a:lnTo>
                    <a:pt x="28" y="12"/>
                  </a:lnTo>
                  <a:lnTo>
                    <a:pt x="32" y="22"/>
                  </a:lnTo>
                  <a:lnTo>
                    <a:pt x="33" y="31"/>
                  </a:lnTo>
                  <a:lnTo>
                    <a:pt x="27" y="30"/>
                  </a:lnTo>
                  <a:lnTo>
                    <a:pt x="22" y="28"/>
                  </a:lnTo>
                  <a:lnTo>
                    <a:pt x="16" y="25"/>
                  </a:lnTo>
                  <a:lnTo>
                    <a:pt x="11" y="22"/>
                  </a:lnTo>
                  <a:lnTo>
                    <a:pt x="3" y="15"/>
                  </a:lnTo>
                  <a:lnTo>
                    <a:pt x="0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691" name="Freeform 114"/>
            <p:cNvSpPr>
              <a:spLocks/>
            </p:cNvSpPr>
            <p:nvPr>
              <p:custDataLst>
                <p:tags r:id="rId83"/>
              </p:custDataLst>
            </p:nvPr>
          </p:nvSpPr>
          <p:spPr bwMode="auto">
            <a:xfrm>
              <a:off x="5406147" y="1486126"/>
              <a:ext cx="3785" cy="68630"/>
            </a:xfrm>
            <a:custGeom>
              <a:avLst/>
              <a:gdLst>
                <a:gd name="T0" fmla="*/ 3175 w 14"/>
                <a:gd name="T1" fmla="*/ 0 h 6"/>
                <a:gd name="T2" fmla="*/ 0 w 14"/>
                <a:gd name="T3" fmla="*/ 57150 h 6"/>
                <a:gd name="T4" fmla="*/ 3175 w 14"/>
                <a:gd name="T5" fmla="*/ 0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4" h="6">
                  <a:moveTo>
                    <a:pt x="14" y="0"/>
                  </a:moveTo>
                  <a:lnTo>
                    <a:pt x="0" y="6"/>
                  </a:lnTo>
                  <a:lnTo>
                    <a:pt x="14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692" name="Freeform 115"/>
            <p:cNvSpPr>
              <a:spLocks/>
            </p:cNvSpPr>
            <p:nvPr>
              <p:custDataLst>
                <p:tags r:id="rId84"/>
              </p:custDataLst>
            </p:nvPr>
          </p:nvSpPr>
          <p:spPr bwMode="auto">
            <a:xfrm>
              <a:off x="7171942" y="3621271"/>
              <a:ext cx="30282" cy="66724"/>
            </a:xfrm>
            <a:custGeom>
              <a:avLst/>
              <a:gdLst>
                <a:gd name="T0" fmla="*/ 25400 w 59"/>
                <a:gd name="T1" fmla="*/ 10754 h 31"/>
                <a:gd name="T2" fmla="*/ 24539 w 59"/>
                <a:gd name="T3" fmla="*/ 19716 h 31"/>
                <a:gd name="T4" fmla="*/ 22817 w 59"/>
                <a:gd name="T5" fmla="*/ 26885 h 31"/>
                <a:gd name="T6" fmla="*/ 21095 w 59"/>
                <a:gd name="T7" fmla="*/ 34055 h 31"/>
                <a:gd name="T8" fmla="*/ 19373 w 59"/>
                <a:gd name="T9" fmla="*/ 43017 h 31"/>
                <a:gd name="T10" fmla="*/ 17220 w 59"/>
                <a:gd name="T11" fmla="*/ 48394 h 31"/>
                <a:gd name="T12" fmla="*/ 15498 w 59"/>
                <a:gd name="T13" fmla="*/ 51978 h 31"/>
                <a:gd name="T14" fmla="*/ 12915 w 59"/>
                <a:gd name="T15" fmla="*/ 55563 h 31"/>
                <a:gd name="T16" fmla="*/ 11193 w 59"/>
                <a:gd name="T17" fmla="*/ 55563 h 31"/>
                <a:gd name="T18" fmla="*/ 9041 w 59"/>
                <a:gd name="T19" fmla="*/ 55563 h 31"/>
                <a:gd name="T20" fmla="*/ 7319 w 59"/>
                <a:gd name="T21" fmla="*/ 53771 h 31"/>
                <a:gd name="T22" fmla="*/ 6027 w 59"/>
                <a:gd name="T23" fmla="*/ 51978 h 31"/>
                <a:gd name="T24" fmla="*/ 4736 w 59"/>
                <a:gd name="T25" fmla="*/ 48394 h 31"/>
                <a:gd name="T26" fmla="*/ 1722 w 59"/>
                <a:gd name="T27" fmla="*/ 35847 h 31"/>
                <a:gd name="T28" fmla="*/ 0 w 59"/>
                <a:gd name="T29" fmla="*/ 21508 h 31"/>
                <a:gd name="T30" fmla="*/ 431 w 59"/>
                <a:gd name="T31" fmla="*/ 16131 h 31"/>
                <a:gd name="T32" fmla="*/ 1292 w 59"/>
                <a:gd name="T33" fmla="*/ 10754 h 31"/>
                <a:gd name="T34" fmla="*/ 2153 w 59"/>
                <a:gd name="T35" fmla="*/ 7169 h 31"/>
                <a:gd name="T36" fmla="*/ 3444 w 59"/>
                <a:gd name="T37" fmla="*/ 5377 h 31"/>
                <a:gd name="T38" fmla="*/ 6888 w 59"/>
                <a:gd name="T39" fmla="*/ 1792 h 31"/>
                <a:gd name="T40" fmla="*/ 10332 w 59"/>
                <a:gd name="T41" fmla="*/ 0 h 31"/>
                <a:gd name="T42" fmla="*/ 14637 w 59"/>
                <a:gd name="T43" fmla="*/ 0 h 31"/>
                <a:gd name="T44" fmla="*/ 18081 w 59"/>
                <a:gd name="T45" fmla="*/ 3585 h 31"/>
                <a:gd name="T46" fmla="*/ 21956 w 59"/>
                <a:gd name="T47" fmla="*/ 7169 h 31"/>
                <a:gd name="T48" fmla="*/ 25400 w 59"/>
                <a:gd name="T49" fmla="*/ 10754 h 3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693" name="Freeform 116"/>
            <p:cNvSpPr>
              <a:spLocks/>
            </p:cNvSpPr>
            <p:nvPr>
              <p:custDataLst>
                <p:tags r:id="rId85"/>
              </p:custDataLst>
            </p:nvPr>
          </p:nvSpPr>
          <p:spPr bwMode="auto">
            <a:xfrm>
              <a:off x="6818026" y="3455416"/>
              <a:ext cx="22711" cy="70535"/>
            </a:xfrm>
            <a:custGeom>
              <a:avLst/>
              <a:gdLst>
                <a:gd name="T0" fmla="*/ 5674 w 47"/>
                <a:gd name="T1" fmla="*/ 0 h 68"/>
                <a:gd name="T2" fmla="*/ 3243 w 47"/>
                <a:gd name="T3" fmla="*/ 8638 h 68"/>
                <a:gd name="T4" fmla="*/ 1621 w 47"/>
                <a:gd name="T5" fmla="*/ 16412 h 68"/>
                <a:gd name="T6" fmla="*/ 811 w 47"/>
                <a:gd name="T7" fmla="*/ 24186 h 68"/>
                <a:gd name="T8" fmla="*/ 0 w 47"/>
                <a:gd name="T9" fmla="*/ 31960 h 68"/>
                <a:gd name="T10" fmla="*/ 0 w 47"/>
                <a:gd name="T11" fmla="*/ 36279 h 68"/>
                <a:gd name="T12" fmla="*/ 811 w 47"/>
                <a:gd name="T13" fmla="*/ 40598 h 68"/>
                <a:gd name="T14" fmla="*/ 1216 w 47"/>
                <a:gd name="T15" fmla="*/ 44053 h 68"/>
                <a:gd name="T16" fmla="*/ 2027 w 47"/>
                <a:gd name="T17" fmla="*/ 47508 h 68"/>
                <a:gd name="T18" fmla="*/ 2837 w 47"/>
                <a:gd name="T19" fmla="*/ 50099 h 68"/>
                <a:gd name="T20" fmla="*/ 3648 w 47"/>
                <a:gd name="T21" fmla="*/ 51827 h 68"/>
                <a:gd name="T22" fmla="*/ 5269 w 47"/>
                <a:gd name="T23" fmla="*/ 53554 h 68"/>
                <a:gd name="T24" fmla="*/ 6485 w 47"/>
                <a:gd name="T25" fmla="*/ 55282 h 68"/>
                <a:gd name="T26" fmla="*/ 8917 w 47"/>
                <a:gd name="T27" fmla="*/ 57873 h 68"/>
                <a:gd name="T28" fmla="*/ 12565 w 47"/>
                <a:gd name="T29" fmla="*/ 58737 h 68"/>
                <a:gd name="T30" fmla="*/ 15807 w 47"/>
                <a:gd name="T31" fmla="*/ 58737 h 68"/>
                <a:gd name="T32" fmla="*/ 19050 w 47"/>
                <a:gd name="T33" fmla="*/ 58737 h 68"/>
                <a:gd name="T34" fmla="*/ 16618 w 47"/>
                <a:gd name="T35" fmla="*/ 50099 h 68"/>
                <a:gd name="T36" fmla="*/ 15402 w 47"/>
                <a:gd name="T37" fmla="*/ 41461 h 68"/>
                <a:gd name="T38" fmla="*/ 14591 w 47"/>
                <a:gd name="T39" fmla="*/ 37143 h 68"/>
                <a:gd name="T40" fmla="*/ 14186 w 47"/>
                <a:gd name="T41" fmla="*/ 32824 h 68"/>
                <a:gd name="T42" fmla="*/ 13376 w 47"/>
                <a:gd name="T43" fmla="*/ 26777 h 68"/>
                <a:gd name="T44" fmla="*/ 13376 w 47"/>
                <a:gd name="T45" fmla="*/ 21594 h 68"/>
                <a:gd name="T46" fmla="*/ 9728 w 47"/>
                <a:gd name="T47" fmla="*/ 11229 h 68"/>
                <a:gd name="T48" fmla="*/ 5674 w 47"/>
                <a:gd name="T49" fmla="*/ 0 h 6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47" h="68">
                  <a:moveTo>
                    <a:pt x="14" y="0"/>
                  </a:moveTo>
                  <a:lnTo>
                    <a:pt x="8" y="10"/>
                  </a:lnTo>
                  <a:lnTo>
                    <a:pt x="4" y="19"/>
                  </a:lnTo>
                  <a:lnTo>
                    <a:pt x="2" y="28"/>
                  </a:lnTo>
                  <a:lnTo>
                    <a:pt x="0" y="37"/>
                  </a:lnTo>
                  <a:lnTo>
                    <a:pt x="0" y="42"/>
                  </a:lnTo>
                  <a:lnTo>
                    <a:pt x="2" y="47"/>
                  </a:lnTo>
                  <a:lnTo>
                    <a:pt x="3" y="51"/>
                  </a:lnTo>
                  <a:lnTo>
                    <a:pt x="5" y="55"/>
                  </a:lnTo>
                  <a:lnTo>
                    <a:pt x="7" y="58"/>
                  </a:lnTo>
                  <a:lnTo>
                    <a:pt x="9" y="60"/>
                  </a:lnTo>
                  <a:lnTo>
                    <a:pt x="13" y="62"/>
                  </a:lnTo>
                  <a:lnTo>
                    <a:pt x="16" y="64"/>
                  </a:lnTo>
                  <a:lnTo>
                    <a:pt x="22" y="67"/>
                  </a:lnTo>
                  <a:lnTo>
                    <a:pt x="31" y="68"/>
                  </a:lnTo>
                  <a:lnTo>
                    <a:pt x="39" y="68"/>
                  </a:lnTo>
                  <a:lnTo>
                    <a:pt x="47" y="68"/>
                  </a:lnTo>
                  <a:lnTo>
                    <a:pt x="41" y="58"/>
                  </a:lnTo>
                  <a:lnTo>
                    <a:pt x="38" y="48"/>
                  </a:lnTo>
                  <a:lnTo>
                    <a:pt x="36" y="43"/>
                  </a:lnTo>
                  <a:lnTo>
                    <a:pt x="35" y="38"/>
                  </a:lnTo>
                  <a:lnTo>
                    <a:pt x="33" y="31"/>
                  </a:lnTo>
                  <a:lnTo>
                    <a:pt x="33" y="25"/>
                  </a:lnTo>
                  <a:lnTo>
                    <a:pt x="24" y="13"/>
                  </a:lnTo>
                  <a:lnTo>
                    <a:pt x="14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grpSp>
          <p:nvGrpSpPr>
            <p:cNvPr id="694" name="Group 117"/>
            <p:cNvGrpSpPr>
              <a:grpSpLocks/>
            </p:cNvGrpSpPr>
            <p:nvPr>
              <p:custDataLst>
                <p:tags r:id="rId86"/>
              </p:custDataLst>
            </p:nvPr>
          </p:nvGrpSpPr>
          <p:grpSpPr bwMode="auto">
            <a:xfrm>
              <a:off x="7737831" y="3680368"/>
              <a:ext cx="54885" cy="449905"/>
              <a:chOff x="3950" y="2430"/>
              <a:chExt cx="36" cy="234"/>
            </a:xfrm>
            <a:grpFill/>
          </p:grpSpPr>
          <p:sp>
            <p:nvSpPr>
              <p:cNvPr id="1095" name="Freeform 118"/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6 h 20"/>
                  <a:gd name="T4" fmla="*/ 6 w 19"/>
                  <a:gd name="T5" fmla="*/ 4 h 20"/>
                  <a:gd name="T6" fmla="*/ 4 w 19"/>
                  <a:gd name="T7" fmla="*/ 2 h 20"/>
                  <a:gd name="T8" fmla="*/ 3 w 19"/>
                  <a:gd name="T9" fmla="*/ 1 h 20"/>
                  <a:gd name="T10" fmla="*/ 1 w 19"/>
                  <a:gd name="T11" fmla="*/ 0 h 20"/>
                  <a:gd name="T12" fmla="*/ 0 w 19"/>
                  <a:gd name="T13" fmla="*/ 0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096" name="Freeform 119"/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4 w 19"/>
                  <a:gd name="T1" fmla="*/ 4 h 12"/>
                  <a:gd name="T2" fmla="*/ 6 w 19"/>
                  <a:gd name="T3" fmla="*/ 0 h 12"/>
                  <a:gd name="T4" fmla="*/ 0 w 19"/>
                  <a:gd name="T5" fmla="*/ 0 h 12"/>
                  <a:gd name="T6" fmla="*/ 4 w 19"/>
                  <a:gd name="T7" fmla="*/ 4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097" name="Freeform 120"/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0 h 1"/>
                  <a:gd name="T2" fmla="*/ 3 w 19"/>
                  <a:gd name="T3" fmla="*/ 0 h 1"/>
                  <a:gd name="T4" fmla="*/ 6 w 19"/>
                  <a:gd name="T5" fmla="*/ 0 h 1"/>
                  <a:gd name="T6" fmla="*/ 3 w 19"/>
                  <a:gd name="T7" fmla="*/ 0 h 1"/>
                  <a:gd name="T8" fmla="*/ 0 w 19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9" h="1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098" name="Rectangle 121"/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grpFill/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endParaRPr lang="es-PE" altLang="es-PE" sz="1400" b="1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099" name="Line 122"/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100" name="Freeform 123"/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2 w 6"/>
                  <a:gd name="T1" fmla="*/ 0 h 3"/>
                  <a:gd name="T2" fmla="*/ 2 w 6"/>
                  <a:gd name="T3" fmla="*/ 0 h 3"/>
                  <a:gd name="T4" fmla="*/ 1 w 6"/>
                  <a:gd name="T5" fmla="*/ 1 h 3"/>
                  <a:gd name="T6" fmla="*/ 0 w 6"/>
                  <a:gd name="T7" fmla="*/ 1 h 3"/>
                  <a:gd name="T8" fmla="*/ 0 w 6"/>
                  <a:gd name="T9" fmla="*/ 1 h 3"/>
                  <a:gd name="T10" fmla="*/ 0 w 6"/>
                  <a:gd name="T11" fmla="*/ 1 h 3"/>
                  <a:gd name="T12" fmla="*/ 0 w 6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101" name="Freeform 124"/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5 w 14"/>
                  <a:gd name="T1" fmla="*/ 0 h 24"/>
                  <a:gd name="T2" fmla="*/ 5 w 14"/>
                  <a:gd name="T3" fmla="*/ 2 h 24"/>
                  <a:gd name="T4" fmla="*/ 3 w 14"/>
                  <a:gd name="T5" fmla="*/ 4 h 24"/>
                  <a:gd name="T6" fmla="*/ 2 w 14"/>
                  <a:gd name="T7" fmla="*/ 6 h 24"/>
                  <a:gd name="T8" fmla="*/ 0 w 14"/>
                  <a:gd name="T9" fmla="*/ 8 h 24"/>
                  <a:gd name="T10" fmla="*/ 0 w 14"/>
                  <a:gd name="T11" fmla="*/ 5 h 24"/>
                  <a:gd name="T12" fmla="*/ 0 w 14"/>
                  <a:gd name="T13" fmla="*/ 4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102" name="Line 125"/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103" name="Freeform 126"/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4 w 13"/>
                  <a:gd name="T1" fmla="*/ 3 h 12"/>
                  <a:gd name="T2" fmla="*/ 0 w 13"/>
                  <a:gd name="T3" fmla="*/ 0 h 12"/>
                  <a:gd name="T4" fmla="*/ 4 w 13"/>
                  <a:gd name="T5" fmla="*/ 3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104" name="Freeform 127"/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6 h 19"/>
                  <a:gd name="T4" fmla="*/ 0 w 7"/>
                  <a:gd name="T5" fmla="*/ 0 h 19"/>
                  <a:gd name="T6" fmla="*/ 2 w 7"/>
                  <a:gd name="T7" fmla="*/ 0 h 19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105" name="Line 128"/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106" name="Freeform 129"/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6 h 18"/>
                  <a:gd name="T2" fmla="*/ 2 w 8"/>
                  <a:gd name="T3" fmla="*/ 2 h 18"/>
                  <a:gd name="T4" fmla="*/ 0 w 8"/>
                  <a:gd name="T5" fmla="*/ 0 h 18"/>
                  <a:gd name="T6" fmla="*/ 0 w 8"/>
                  <a:gd name="T7" fmla="*/ 6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107" name="Freeform 130"/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7 h 19"/>
                  <a:gd name="T4" fmla="*/ 2 w 6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108" name="Freeform 131"/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5 h 19"/>
                  <a:gd name="T4" fmla="*/ 10 w 28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109" name="Freeform 132"/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5 w 15"/>
                  <a:gd name="T1" fmla="*/ 5 h 19"/>
                  <a:gd name="T2" fmla="*/ 3 w 15"/>
                  <a:gd name="T3" fmla="*/ 2 h 19"/>
                  <a:gd name="T4" fmla="*/ 0 w 15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110" name="Freeform 133"/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6 h 20"/>
                  <a:gd name="T4" fmla="*/ 6 w 19"/>
                  <a:gd name="T5" fmla="*/ 4 h 20"/>
                  <a:gd name="T6" fmla="*/ 4 w 19"/>
                  <a:gd name="T7" fmla="*/ 2 h 20"/>
                  <a:gd name="T8" fmla="*/ 3 w 19"/>
                  <a:gd name="T9" fmla="*/ 1 h 20"/>
                  <a:gd name="T10" fmla="*/ 1 w 19"/>
                  <a:gd name="T11" fmla="*/ 0 h 20"/>
                  <a:gd name="T12" fmla="*/ 0 w 19"/>
                  <a:gd name="T13" fmla="*/ 0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111" name="Freeform 134"/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4 w 19"/>
                  <a:gd name="T1" fmla="*/ 4 h 12"/>
                  <a:gd name="T2" fmla="*/ 6 w 19"/>
                  <a:gd name="T3" fmla="*/ 0 h 12"/>
                  <a:gd name="T4" fmla="*/ 0 w 19"/>
                  <a:gd name="T5" fmla="*/ 0 h 12"/>
                  <a:gd name="T6" fmla="*/ 4 w 19"/>
                  <a:gd name="T7" fmla="*/ 4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112" name="Freeform 135"/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0 h 1"/>
                  <a:gd name="T2" fmla="*/ 3 w 19"/>
                  <a:gd name="T3" fmla="*/ 0 h 1"/>
                  <a:gd name="T4" fmla="*/ 6 w 19"/>
                  <a:gd name="T5" fmla="*/ 0 h 1"/>
                  <a:gd name="T6" fmla="*/ 3 w 19"/>
                  <a:gd name="T7" fmla="*/ 0 h 1"/>
                  <a:gd name="T8" fmla="*/ 0 w 19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9" h="1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113" name="Rectangle 136"/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grpFill/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endParaRPr lang="es-PE" altLang="es-PE" sz="1400" b="1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1114" name="Line 137"/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115" name="Freeform 138"/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2 w 6"/>
                  <a:gd name="T1" fmla="*/ 0 h 3"/>
                  <a:gd name="T2" fmla="*/ 2 w 6"/>
                  <a:gd name="T3" fmla="*/ 0 h 3"/>
                  <a:gd name="T4" fmla="*/ 1 w 6"/>
                  <a:gd name="T5" fmla="*/ 1 h 3"/>
                  <a:gd name="T6" fmla="*/ 0 w 6"/>
                  <a:gd name="T7" fmla="*/ 1 h 3"/>
                  <a:gd name="T8" fmla="*/ 0 w 6"/>
                  <a:gd name="T9" fmla="*/ 1 h 3"/>
                  <a:gd name="T10" fmla="*/ 0 w 6"/>
                  <a:gd name="T11" fmla="*/ 1 h 3"/>
                  <a:gd name="T12" fmla="*/ 0 w 6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116" name="Freeform 139"/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5 w 14"/>
                  <a:gd name="T1" fmla="*/ 0 h 24"/>
                  <a:gd name="T2" fmla="*/ 5 w 14"/>
                  <a:gd name="T3" fmla="*/ 2 h 24"/>
                  <a:gd name="T4" fmla="*/ 3 w 14"/>
                  <a:gd name="T5" fmla="*/ 4 h 24"/>
                  <a:gd name="T6" fmla="*/ 2 w 14"/>
                  <a:gd name="T7" fmla="*/ 6 h 24"/>
                  <a:gd name="T8" fmla="*/ 0 w 14"/>
                  <a:gd name="T9" fmla="*/ 8 h 24"/>
                  <a:gd name="T10" fmla="*/ 0 w 14"/>
                  <a:gd name="T11" fmla="*/ 5 h 24"/>
                  <a:gd name="T12" fmla="*/ 0 w 14"/>
                  <a:gd name="T13" fmla="*/ 4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117" name="Line 140"/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118" name="Freeform 141"/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4 w 13"/>
                  <a:gd name="T1" fmla="*/ 3 h 12"/>
                  <a:gd name="T2" fmla="*/ 0 w 13"/>
                  <a:gd name="T3" fmla="*/ 0 h 12"/>
                  <a:gd name="T4" fmla="*/ 4 w 13"/>
                  <a:gd name="T5" fmla="*/ 3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119" name="Freeform 142"/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6 h 19"/>
                  <a:gd name="T4" fmla="*/ 0 w 7"/>
                  <a:gd name="T5" fmla="*/ 0 h 19"/>
                  <a:gd name="T6" fmla="*/ 2 w 7"/>
                  <a:gd name="T7" fmla="*/ 0 h 19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120" name="Line 143"/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121" name="Freeform 144"/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6 h 18"/>
                  <a:gd name="T2" fmla="*/ 2 w 8"/>
                  <a:gd name="T3" fmla="*/ 2 h 18"/>
                  <a:gd name="T4" fmla="*/ 0 w 8"/>
                  <a:gd name="T5" fmla="*/ 0 h 18"/>
                  <a:gd name="T6" fmla="*/ 0 w 8"/>
                  <a:gd name="T7" fmla="*/ 6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122" name="Freeform 145"/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7 h 19"/>
                  <a:gd name="T4" fmla="*/ 2 w 6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123" name="Freeform 146"/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5 h 19"/>
                  <a:gd name="T4" fmla="*/ 10 w 28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124" name="Freeform 147"/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5 w 15"/>
                  <a:gd name="T1" fmla="*/ 5 h 19"/>
                  <a:gd name="T2" fmla="*/ 3 w 15"/>
                  <a:gd name="T3" fmla="*/ 2 h 19"/>
                  <a:gd name="T4" fmla="*/ 0 w 15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125" name="Freeform 148"/>
              <p:cNvSpPr>
                <a:spLocks/>
              </p:cNvSpPr>
              <p:nvPr/>
            </p:nvSpPr>
            <p:spPr bwMode="auto">
              <a:xfrm>
                <a:off x="3950" y="2430"/>
                <a:ext cx="7" cy="6"/>
              </a:xfrm>
              <a:custGeom>
                <a:avLst/>
                <a:gdLst>
                  <a:gd name="T0" fmla="*/ 5 w 20"/>
                  <a:gd name="T1" fmla="*/ 6 h 18"/>
                  <a:gd name="T2" fmla="*/ 7 w 20"/>
                  <a:gd name="T3" fmla="*/ 0 h 18"/>
                  <a:gd name="T4" fmla="*/ 0 w 20"/>
                  <a:gd name="T5" fmla="*/ 0 h 18"/>
                  <a:gd name="T6" fmla="*/ 5 w 20"/>
                  <a:gd name="T7" fmla="*/ 6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0" h="18">
                    <a:moveTo>
                      <a:pt x="13" y="18"/>
                    </a:moveTo>
                    <a:lnTo>
                      <a:pt x="20" y="0"/>
                    </a:lnTo>
                    <a:lnTo>
                      <a:pt x="0" y="0"/>
                    </a:lnTo>
                    <a:lnTo>
                      <a:pt x="13" y="18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695" name="Group 149"/>
            <p:cNvGrpSpPr>
              <a:grpSpLocks/>
            </p:cNvGrpSpPr>
            <p:nvPr>
              <p:custDataLst>
                <p:tags r:id="rId87"/>
              </p:custDataLst>
            </p:nvPr>
          </p:nvGrpSpPr>
          <p:grpSpPr bwMode="auto">
            <a:xfrm>
              <a:off x="10200103" y="4280877"/>
              <a:ext cx="221435" cy="257362"/>
              <a:chOff x="5486" y="2743"/>
              <a:chExt cx="137" cy="132"/>
            </a:xfrm>
            <a:grpFill/>
          </p:grpSpPr>
          <p:sp>
            <p:nvSpPr>
              <p:cNvPr id="1086" name="Freeform 150"/>
              <p:cNvSpPr>
                <a:spLocks/>
              </p:cNvSpPr>
              <p:nvPr/>
            </p:nvSpPr>
            <p:spPr bwMode="auto">
              <a:xfrm>
                <a:off x="5595" y="2806"/>
                <a:ext cx="13" cy="28"/>
              </a:xfrm>
              <a:custGeom>
                <a:avLst/>
                <a:gdLst>
                  <a:gd name="T0" fmla="*/ 0 w 40"/>
                  <a:gd name="T1" fmla="*/ 10 h 87"/>
                  <a:gd name="T2" fmla="*/ 0 w 40"/>
                  <a:gd name="T3" fmla="*/ 14 h 87"/>
                  <a:gd name="T4" fmla="*/ 1 w 40"/>
                  <a:gd name="T5" fmla="*/ 16 h 87"/>
                  <a:gd name="T6" fmla="*/ 2 w 40"/>
                  <a:gd name="T7" fmla="*/ 19 h 87"/>
                  <a:gd name="T8" fmla="*/ 3 w 40"/>
                  <a:gd name="T9" fmla="*/ 21 h 87"/>
                  <a:gd name="T10" fmla="*/ 5 w 40"/>
                  <a:gd name="T11" fmla="*/ 23 h 87"/>
                  <a:gd name="T12" fmla="*/ 7 w 40"/>
                  <a:gd name="T13" fmla="*/ 25 h 87"/>
                  <a:gd name="T14" fmla="*/ 10 w 40"/>
                  <a:gd name="T15" fmla="*/ 26 h 87"/>
                  <a:gd name="T16" fmla="*/ 13 w 40"/>
                  <a:gd name="T17" fmla="*/ 28 h 87"/>
                  <a:gd name="T18" fmla="*/ 11 w 40"/>
                  <a:gd name="T19" fmla="*/ 26 h 87"/>
                  <a:gd name="T20" fmla="*/ 10 w 40"/>
                  <a:gd name="T21" fmla="*/ 25 h 87"/>
                  <a:gd name="T22" fmla="*/ 9 w 40"/>
                  <a:gd name="T23" fmla="*/ 23 h 87"/>
                  <a:gd name="T24" fmla="*/ 8 w 40"/>
                  <a:gd name="T25" fmla="*/ 21 h 87"/>
                  <a:gd name="T26" fmla="*/ 7 w 40"/>
                  <a:gd name="T27" fmla="*/ 17 h 87"/>
                  <a:gd name="T28" fmla="*/ 7 w 40"/>
                  <a:gd name="T29" fmla="*/ 13 h 87"/>
                  <a:gd name="T30" fmla="*/ 6 w 40"/>
                  <a:gd name="T31" fmla="*/ 9 h 87"/>
                  <a:gd name="T32" fmla="*/ 4 w 40"/>
                  <a:gd name="T33" fmla="*/ 5 h 87"/>
                  <a:gd name="T34" fmla="*/ 4 w 40"/>
                  <a:gd name="T35" fmla="*/ 4 h 87"/>
                  <a:gd name="T36" fmla="*/ 3 w 40"/>
                  <a:gd name="T37" fmla="*/ 2 h 87"/>
                  <a:gd name="T38" fmla="*/ 1 w 40"/>
                  <a:gd name="T39" fmla="*/ 1 h 87"/>
                  <a:gd name="T40" fmla="*/ 0 w 40"/>
                  <a:gd name="T41" fmla="*/ 0 h 87"/>
                  <a:gd name="T42" fmla="*/ 0 w 40"/>
                  <a:gd name="T43" fmla="*/ 3 h 87"/>
                  <a:gd name="T44" fmla="*/ 0 w 40"/>
                  <a:gd name="T45" fmla="*/ 5 h 87"/>
                  <a:gd name="T46" fmla="*/ 0 w 40"/>
                  <a:gd name="T47" fmla="*/ 7 h 87"/>
                  <a:gd name="T48" fmla="*/ 0 w 40"/>
                  <a:gd name="T49" fmla="*/ 10 h 87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40" h="87">
                    <a:moveTo>
                      <a:pt x="0" y="31"/>
                    </a:moveTo>
                    <a:lnTo>
                      <a:pt x="0" y="42"/>
                    </a:lnTo>
                    <a:lnTo>
                      <a:pt x="2" y="51"/>
                    </a:lnTo>
                    <a:lnTo>
                      <a:pt x="5" y="59"/>
                    </a:lnTo>
                    <a:lnTo>
                      <a:pt x="10" y="66"/>
                    </a:lnTo>
                    <a:lnTo>
                      <a:pt x="15" y="72"/>
                    </a:lnTo>
                    <a:lnTo>
                      <a:pt x="22" y="77"/>
                    </a:lnTo>
                    <a:lnTo>
                      <a:pt x="31" y="82"/>
                    </a:lnTo>
                    <a:lnTo>
                      <a:pt x="40" y="87"/>
                    </a:lnTo>
                    <a:lnTo>
                      <a:pt x="35" y="82"/>
                    </a:lnTo>
                    <a:lnTo>
                      <a:pt x="32" y="77"/>
                    </a:lnTo>
                    <a:lnTo>
                      <a:pt x="29" y="71"/>
                    </a:lnTo>
                    <a:lnTo>
                      <a:pt x="26" y="65"/>
                    </a:lnTo>
                    <a:lnTo>
                      <a:pt x="22" y="52"/>
                    </a:lnTo>
                    <a:lnTo>
                      <a:pt x="20" y="39"/>
                    </a:lnTo>
                    <a:lnTo>
                      <a:pt x="18" y="27"/>
                    </a:lnTo>
                    <a:lnTo>
                      <a:pt x="13" y="16"/>
                    </a:lnTo>
                    <a:lnTo>
                      <a:pt x="11" y="11"/>
                    </a:lnTo>
                    <a:lnTo>
                      <a:pt x="8" y="6"/>
                    </a:lnTo>
                    <a:lnTo>
                      <a:pt x="4" y="3"/>
                    </a:lnTo>
                    <a:lnTo>
                      <a:pt x="0" y="0"/>
                    </a:lnTo>
                    <a:lnTo>
                      <a:pt x="0" y="9"/>
                    </a:lnTo>
                    <a:lnTo>
                      <a:pt x="0" y="16"/>
                    </a:lnTo>
                    <a:lnTo>
                      <a:pt x="0" y="23"/>
                    </a:lnTo>
                    <a:lnTo>
                      <a:pt x="0" y="31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087" name="Freeform 151"/>
              <p:cNvSpPr>
                <a:spLocks/>
              </p:cNvSpPr>
              <p:nvPr/>
            </p:nvSpPr>
            <p:spPr bwMode="auto">
              <a:xfrm>
                <a:off x="5603" y="2842"/>
                <a:ext cx="20" cy="12"/>
              </a:xfrm>
              <a:custGeom>
                <a:avLst/>
                <a:gdLst>
                  <a:gd name="T0" fmla="*/ 0 w 61"/>
                  <a:gd name="T1" fmla="*/ 10 h 37"/>
                  <a:gd name="T2" fmla="*/ 6 w 61"/>
                  <a:gd name="T3" fmla="*/ 10 h 37"/>
                  <a:gd name="T4" fmla="*/ 11 w 61"/>
                  <a:gd name="T5" fmla="*/ 11 h 37"/>
                  <a:gd name="T6" fmla="*/ 16 w 61"/>
                  <a:gd name="T7" fmla="*/ 12 h 37"/>
                  <a:gd name="T8" fmla="*/ 20 w 61"/>
                  <a:gd name="T9" fmla="*/ 12 h 37"/>
                  <a:gd name="T10" fmla="*/ 18 w 61"/>
                  <a:gd name="T11" fmla="*/ 9 h 37"/>
                  <a:gd name="T12" fmla="*/ 16 w 61"/>
                  <a:gd name="T13" fmla="*/ 7 h 37"/>
                  <a:gd name="T14" fmla="*/ 14 w 61"/>
                  <a:gd name="T15" fmla="*/ 6 h 37"/>
                  <a:gd name="T16" fmla="*/ 11 w 61"/>
                  <a:gd name="T17" fmla="*/ 4 h 37"/>
                  <a:gd name="T18" fmla="*/ 9 w 61"/>
                  <a:gd name="T19" fmla="*/ 3 h 37"/>
                  <a:gd name="T20" fmla="*/ 6 w 61"/>
                  <a:gd name="T21" fmla="*/ 2 h 37"/>
                  <a:gd name="T22" fmla="*/ 3 w 61"/>
                  <a:gd name="T23" fmla="*/ 1 h 37"/>
                  <a:gd name="T24" fmla="*/ 0 w 61"/>
                  <a:gd name="T25" fmla="*/ 0 h 37"/>
                  <a:gd name="T26" fmla="*/ 0 w 61"/>
                  <a:gd name="T27" fmla="*/ 10 h 37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61" h="37">
                    <a:moveTo>
                      <a:pt x="0" y="31"/>
                    </a:moveTo>
                    <a:lnTo>
                      <a:pt x="19" y="32"/>
                    </a:lnTo>
                    <a:lnTo>
                      <a:pt x="35" y="34"/>
                    </a:lnTo>
                    <a:lnTo>
                      <a:pt x="49" y="36"/>
                    </a:lnTo>
                    <a:lnTo>
                      <a:pt x="61" y="37"/>
                    </a:lnTo>
                    <a:lnTo>
                      <a:pt x="55" y="29"/>
                    </a:lnTo>
                    <a:lnTo>
                      <a:pt x="49" y="22"/>
                    </a:lnTo>
                    <a:lnTo>
                      <a:pt x="42" y="17"/>
                    </a:lnTo>
                    <a:lnTo>
                      <a:pt x="35" y="12"/>
                    </a:lnTo>
                    <a:lnTo>
                      <a:pt x="28" y="9"/>
                    </a:lnTo>
                    <a:lnTo>
                      <a:pt x="19" y="5"/>
                    </a:lnTo>
                    <a:lnTo>
                      <a:pt x="10" y="2"/>
                    </a:lnTo>
                    <a:lnTo>
                      <a:pt x="0" y="0"/>
                    </a:lnTo>
                    <a:lnTo>
                      <a:pt x="0" y="31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088" name="Freeform 152"/>
              <p:cNvSpPr>
                <a:spLocks/>
              </p:cNvSpPr>
              <p:nvPr/>
            </p:nvSpPr>
            <p:spPr bwMode="auto">
              <a:xfrm>
                <a:off x="5568" y="2865"/>
                <a:ext cx="13" cy="10"/>
              </a:xfrm>
              <a:custGeom>
                <a:avLst/>
                <a:gdLst>
                  <a:gd name="T0" fmla="*/ 13 w 40"/>
                  <a:gd name="T1" fmla="*/ 10 h 30"/>
                  <a:gd name="T2" fmla="*/ 11 w 40"/>
                  <a:gd name="T3" fmla="*/ 9 h 30"/>
                  <a:gd name="T4" fmla="*/ 8 w 40"/>
                  <a:gd name="T5" fmla="*/ 8 h 30"/>
                  <a:gd name="T6" fmla="*/ 7 w 40"/>
                  <a:gd name="T7" fmla="*/ 7 h 30"/>
                  <a:gd name="T8" fmla="*/ 5 w 40"/>
                  <a:gd name="T9" fmla="*/ 6 h 30"/>
                  <a:gd name="T10" fmla="*/ 4 w 40"/>
                  <a:gd name="T11" fmla="*/ 5 h 30"/>
                  <a:gd name="T12" fmla="*/ 2 w 40"/>
                  <a:gd name="T13" fmla="*/ 4 h 30"/>
                  <a:gd name="T14" fmla="*/ 1 w 40"/>
                  <a:gd name="T15" fmla="*/ 2 h 30"/>
                  <a:gd name="T16" fmla="*/ 0 w 40"/>
                  <a:gd name="T17" fmla="*/ 0 h 30"/>
                  <a:gd name="T18" fmla="*/ 3 w 40"/>
                  <a:gd name="T19" fmla="*/ 1 h 30"/>
                  <a:gd name="T20" fmla="*/ 5 w 40"/>
                  <a:gd name="T21" fmla="*/ 2 h 30"/>
                  <a:gd name="T22" fmla="*/ 7 w 40"/>
                  <a:gd name="T23" fmla="*/ 3 h 30"/>
                  <a:gd name="T24" fmla="*/ 9 w 40"/>
                  <a:gd name="T25" fmla="*/ 5 h 30"/>
                  <a:gd name="T26" fmla="*/ 11 w 40"/>
                  <a:gd name="T27" fmla="*/ 6 h 30"/>
                  <a:gd name="T28" fmla="*/ 12 w 40"/>
                  <a:gd name="T29" fmla="*/ 8 h 30"/>
                  <a:gd name="T30" fmla="*/ 13 w 40"/>
                  <a:gd name="T31" fmla="*/ 9 h 30"/>
                  <a:gd name="T32" fmla="*/ 13 w 40"/>
                  <a:gd name="T33" fmla="*/ 10 h 30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40" h="30">
                    <a:moveTo>
                      <a:pt x="40" y="30"/>
                    </a:moveTo>
                    <a:lnTo>
                      <a:pt x="33" y="28"/>
                    </a:lnTo>
                    <a:lnTo>
                      <a:pt x="26" y="25"/>
                    </a:lnTo>
                    <a:lnTo>
                      <a:pt x="21" y="22"/>
                    </a:lnTo>
                    <a:lnTo>
                      <a:pt x="15" y="19"/>
                    </a:lnTo>
                    <a:lnTo>
                      <a:pt x="11" y="16"/>
                    </a:lnTo>
                    <a:lnTo>
                      <a:pt x="6" y="11"/>
                    </a:lnTo>
                    <a:lnTo>
                      <a:pt x="3" y="6"/>
                    </a:lnTo>
                    <a:lnTo>
                      <a:pt x="0" y="0"/>
                    </a:lnTo>
                    <a:lnTo>
                      <a:pt x="8" y="2"/>
                    </a:lnTo>
                    <a:lnTo>
                      <a:pt x="15" y="6"/>
                    </a:lnTo>
                    <a:lnTo>
                      <a:pt x="22" y="10"/>
                    </a:lnTo>
                    <a:lnTo>
                      <a:pt x="27" y="15"/>
                    </a:lnTo>
                    <a:lnTo>
                      <a:pt x="33" y="19"/>
                    </a:lnTo>
                    <a:lnTo>
                      <a:pt x="36" y="23"/>
                    </a:lnTo>
                    <a:lnTo>
                      <a:pt x="39" y="27"/>
                    </a:lnTo>
                    <a:lnTo>
                      <a:pt x="40" y="3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089" name="Freeform 153"/>
              <p:cNvSpPr>
                <a:spLocks/>
              </p:cNvSpPr>
              <p:nvPr/>
            </p:nvSpPr>
            <p:spPr bwMode="auto">
              <a:xfrm>
                <a:off x="5515" y="2789"/>
                <a:ext cx="24" cy="26"/>
              </a:xfrm>
              <a:custGeom>
                <a:avLst/>
                <a:gdLst>
                  <a:gd name="T0" fmla="*/ 24 w 74"/>
                  <a:gd name="T1" fmla="*/ 26 h 80"/>
                  <a:gd name="T2" fmla="*/ 23 w 74"/>
                  <a:gd name="T3" fmla="*/ 24 h 80"/>
                  <a:gd name="T4" fmla="*/ 23 w 74"/>
                  <a:gd name="T5" fmla="*/ 21 h 80"/>
                  <a:gd name="T6" fmla="*/ 22 w 74"/>
                  <a:gd name="T7" fmla="*/ 20 h 80"/>
                  <a:gd name="T8" fmla="*/ 21 w 74"/>
                  <a:gd name="T9" fmla="*/ 17 h 80"/>
                  <a:gd name="T10" fmla="*/ 19 w 74"/>
                  <a:gd name="T11" fmla="*/ 14 h 80"/>
                  <a:gd name="T12" fmla="*/ 16 w 74"/>
                  <a:gd name="T13" fmla="*/ 11 h 80"/>
                  <a:gd name="T14" fmla="*/ 12 w 74"/>
                  <a:gd name="T15" fmla="*/ 8 h 80"/>
                  <a:gd name="T16" fmla="*/ 9 w 74"/>
                  <a:gd name="T17" fmla="*/ 6 h 80"/>
                  <a:gd name="T18" fmla="*/ 6 w 74"/>
                  <a:gd name="T19" fmla="*/ 3 h 80"/>
                  <a:gd name="T20" fmla="*/ 4 w 74"/>
                  <a:gd name="T21" fmla="*/ 0 h 80"/>
                  <a:gd name="T22" fmla="*/ 3 w 74"/>
                  <a:gd name="T23" fmla="*/ 2 h 80"/>
                  <a:gd name="T24" fmla="*/ 1 w 74"/>
                  <a:gd name="T25" fmla="*/ 3 h 80"/>
                  <a:gd name="T26" fmla="*/ 0 w 74"/>
                  <a:gd name="T27" fmla="*/ 5 h 80"/>
                  <a:gd name="T28" fmla="*/ 0 w 74"/>
                  <a:gd name="T29" fmla="*/ 6 h 80"/>
                  <a:gd name="T30" fmla="*/ 0 w 74"/>
                  <a:gd name="T31" fmla="*/ 8 h 80"/>
                  <a:gd name="T32" fmla="*/ 1 w 74"/>
                  <a:gd name="T33" fmla="*/ 10 h 80"/>
                  <a:gd name="T34" fmla="*/ 1 w 74"/>
                  <a:gd name="T35" fmla="*/ 12 h 80"/>
                  <a:gd name="T36" fmla="*/ 2 w 74"/>
                  <a:gd name="T37" fmla="*/ 13 h 80"/>
                  <a:gd name="T38" fmla="*/ 3 w 74"/>
                  <a:gd name="T39" fmla="*/ 15 h 80"/>
                  <a:gd name="T40" fmla="*/ 5 w 74"/>
                  <a:gd name="T41" fmla="*/ 17 h 80"/>
                  <a:gd name="T42" fmla="*/ 6 w 74"/>
                  <a:gd name="T43" fmla="*/ 18 h 80"/>
                  <a:gd name="T44" fmla="*/ 8 w 74"/>
                  <a:gd name="T45" fmla="*/ 20 h 80"/>
                  <a:gd name="T46" fmla="*/ 10 w 74"/>
                  <a:gd name="T47" fmla="*/ 21 h 80"/>
                  <a:gd name="T48" fmla="*/ 11 w 74"/>
                  <a:gd name="T49" fmla="*/ 22 h 80"/>
                  <a:gd name="T50" fmla="*/ 14 w 74"/>
                  <a:gd name="T51" fmla="*/ 23 h 80"/>
                  <a:gd name="T52" fmla="*/ 15 w 74"/>
                  <a:gd name="T53" fmla="*/ 24 h 80"/>
                  <a:gd name="T54" fmla="*/ 18 w 74"/>
                  <a:gd name="T55" fmla="*/ 25 h 80"/>
                  <a:gd name="T56" fmla="*/ 19 w 74"/>
                  <a:gd name="T57" fmla="*/ 26 h 80"/>
                  <a:gd name="T58" fmla="*/ 22 w 74"/>
                  <a:gd name="T59" fmla="*/ 26 h 80"/>
                  <a:gd name="T60" fmla="*/ 24 w 74"/>
                  <a:gd name="T61" fmla="*/ 26 h 80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74" h="80">
                    <a:moveTo>
                      <a:pt x="74" y="80"/>
                    </a:moveTo>
                    <a:lnTo>
                      <a:pt x="72" y="73"/>
                    </a:lnTo>
                    <a:lnTo>
                      <a:pt x="71" y="66"/>
                    </a:lnTo>
                    <a:lnTo>
                      <a:pt x="69" y="60"/>
                    </a:lnTo>
                    <a:lnTo>
                      <a:pt x="66" y="53"/>
                    </a:lnTo>
                    <a:lnTo>
                      <a:pt x="58" y="42"/>
                    </a:lnTo>
                    <a:lnTo>
                      <a:pt x="48" y="33"/>
                    </a:lnTo>
                    <a:lnTo>
                      <a:pt x="38" y="25"/>
                    </a:lnTo>
                    <a:lnTo>
                      <a:pt x="29" y="17"/>
                    </a:lnTo>
                    <a:lnTo>
                      <a:pt x="20" y="9"/>
                    </a:lnTo>
                    <a:lnTo>
                      <a:pt x="13" y="0"/>
                    </a:lnTo>
                    <a:lnTo>
                      <a:pt x="9" y="5"/>
                    </a:lnTo>
                    <a:lnTo>
                      <a:pt x="4" y="10"/>
                    </a:lnTo>
                    <a:lnTo>
                      <a:pt x="1" y="14"/>
                    </a:lnTo>
                    <a:lnTo>
                      <a:pt x="0" y="19"/>
                    </a:lnTo>
                    <a:lnTo>
                      <a:pt x="0" y="25"/>
                    </a:lnTo>
                    <a:lnTo>
                      <a:pt x="2" y="30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4" y="51"/>
                    </a:lnTo>
                    <a:lnTo>
                      <a:pt x="19" y="56"/>
                    </a:lnTo>
                    <a:lnTo>
                      <a:pt x="24" y="61"/>
                    </a:lnTo>
                    <a:lnTo>
                      <a:pt x="30" y="66"/>
                    </a:lnTo>
                    <a:lnTo>
                      <a:pt x="35" y="69"/>
                    </a:lnTo>
                    <a:lnTo>
                      <a:pt x="42" y="72"/>
                    </a:lnTo>
                    <a:lnTo>
                      <a:pt x="47" y="75"/>
                    </a:lnTo>
                    <a:lnTo>
                      <a:pt x="54" y="77"/>
                    </a:lnTo>
                    <a:lnTo>
                      <a:pt x="60" y="79"/>
                    </a:lnTo>
                    <a:lnTo>
                      <a:pt x="67" y="80"/>
                    </a:lnTo>
                    <a:lnTo>
                      <a:pt x="74" y="8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090" name="Freeform 154"/>
              <p:cNvSpPr>
                <a:spLocks/>
              </p:cNvSpPr>
              <p:nvPr/>
            </p:nvSpPr>
            <p:spPr bwMode="auto">
              <a:xfrm>
                <a:off x="5555" y="2785"/>
                <a:ext cx="26" cy="27"/>
              </a:xfrm>
              <a:custGeom>
                <a:avLst/>
                <a:gdLst>
                  <a:gd name="T0" fmla="*/ 16 w 86"/>
                  <a:gd name="T1" fmla="*/ 27 h 80"/>
                  <a:gd name="T2" fmla="*/ 26 w 86"/>
                  <a:gd name="T3" fmla="*/ 27 h 80"/>
                  <a:gd name="T4" fmla="*/ 26 w 86"/>
                  <a:gd name="T5" fmla="*/ 21 h 80"/>
                  <a:gd name="T6" fmla="*/ 24 w 86"/>
                  <a:gd name="T7" fmla="*/ 20 h 80"/>
                  <a:gd name="T8" fmla="*/ 22 w 86"/>
                  <a:gd name="T9" fmla="*/ 19 h 80"/>
                  <a:gd name="T10" fmla="*/ 20 w 86"/>
                  <a:gd name="T11" fmla="*/ 18 h 80"/>
                  <a:gd name="T12" fmla="*/ 18 w 86"/>
                  <a:gd name="T13" fmla="*/ 17 h 80"/>
                  <a:gd name="T14" fmla="*/ 15 w 86"/>
                  <a:gd name="T15" fmla="*/ 14 h 80"/>
                  <a:gd name="T16" fmla="*/ 13 w 86"/>
                  <a:gd name="T17" fmla="*/ 11 h 80"/>
                  <a:gd name="T18" fmla="*/ 10 w 86"/>
                  <a:gd name="T19" fmla="*/ 8 h 80"/>
                  <a:gd name="T20" fmla="*/ 7 w 86"/>
                  <a:gd name="T21" fmla="*/ 5 h 80"/>
                  <a:gd name="T22" fmla="*/ 4 w 86"/>
                  <a:gd name="T23" fmla="*/ 2 h 80"/>
                  <a:gd name="T24" fmla="*/ 0 w 86"/>
                  <a:gd name="T25" fmla="*/ 0 h 80"/>
                  <a:gd name="T26" fmla="*/ 0 w 86"/>
                  <a:gd name="T27" fmla="*/ 3 h 80"/>
                  <a:gd name="T28" fmla="*/ 2 w 86"/>
                  <a:gd name="T29" fmla="*/ 7 h 80"/>
                  <a:gd name="T30" fmla="*/ 3 w 86"/>
                  <a:gd name="T31" fmla="*/ 11 h 80"/>
                  <a:gd name="T32" fmla="*/ 5 w 86"/>
                  <a:gd name="T33" fmla="*/ 15 h 80"/>
                  <a:gd name="T34" fmla="*/ 8 w 86"/>
                  <a:gd name="T35" fmla="*/ 19 h 80"/>
                  <a:gd name="T36" fmla="*/ 11 w 86"/>
                  <a:gd name="T37" fmla="*/ 23 h 80"/>
                  <a:gd name="T38" fmla="*/ 12 w 86"/>
                  <a:gd name="T39" fmla="*/ 24 h 80"/>
                  <a:gd name="T40" fmla="*/ 14 w 86"/>
                  <a:gd name="T41" fmla="*/ 26 h 80"/>
                  <a:gd name="T42" fmla="*/ 15 w 86"/>
                  <a:gd name="T43" fmla="*/ 27 h 80"/>
                  <a:gd name="T44" fmla="*/ 16 w 86"/>
                  <a:gd name="T45" fmla="*/ 27 h 80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86" h="80">
                    <a:moveTo>
                      <a:pt x="52" y="80"/>
                    </a:moveTo>
                    <a:lnTo>
                      <a:pt x="86" y="80"/>
                    </a:lnTo>
                    <a:lnTo>
                      <a:pt x="86" y="61"/>
                    </a:lnTo>
                    <a:lnTo>
                      <a:pt x="79" y="59"/>
                    </a:lnTo>
                    <a:lnTo>
                      <a:pt x="72" y="56"/>
                    </a:lnTo>
                    <a:lnTo>
                      <a:pt x="67" y="53"/>
                    </a:lnTo>
                    <a:lnTo>
                      <a:pt x="61" y="49"/>
                    </a:lnTo>
                    <a:lnTo>
                      <a:pt x="51" y="41"/>
                    </a:lnTo>
                    <a:lnTo>
                      <a:pt x="43" y="33"/>
                    </a:lnTo>
                    <a:lnTo>
                      <a:pt x="34" y="25"/>
                    </a:lnTo>
                    <a:lnTo>
                      <a:pt x="24" y="16"/>
                    </a:lnTo>
                    <a:lnTo>
                      <a:pt x="13" y="7"/>
                    </a:lnTo>
                    <a:lnTo>
                      <a:pt x="0" y="0"/>
                    </a:lnTo>
                    <a:lnTo>
                      <a:pt x="1" y="8"/>
                    </a:lnTo>
                    <a:lnTo>
                      <a:pt x="5" y="20"/>
                    </a:lnTo>
                    <a:lnTo>
                      <a:pt x="11" y="32"/>
                    </a:lnTo>
                    <a:lnTo>
                      <a:pt x="18" y="44"/>
                    </a:lnTo>
                    <a:lnTo>
                      <a:pt x="27" y="57"/>
                    </a:lnTo>
                    <a:lnTo>
                      <a:pt x="36" y="67"/>
                    </a:lnTo>
                    <a:lnTo>
                      <a:pt x="40" y="72"/>
                    </a:lnTo>
                    <a:lnTo>
                      <a:pt x="45" y="76"/>
                    </a:lnTo>
                    <a:lnTo>
                      <a:pt x="49" y="79"/>
                    </a:lnTo>
                    <a:lnTo>
                      <a:pt x="52" y="8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091" name="Freeform 155"/>
              <p:cNvSpPr>
                <a:spLocks/>
              </p:cNvSpPr>
              <p:nvPr/>
            </p:nvSpPr>
            <p:spPr bwMode="auto">
              <a:xfrm>
                <a:off x="5570" y="2825"/>
                <a:ext cx="25" cy="11"/>
              </a:xfrm>
              <a:custGeom>
                <a:avLst/>
                <a:gdLst>
                  <a:gd name="T0" fmla="*/ 0 w 74"/>
                  <a:gd name="T1" fmla="*/ 2 h 31"/>
                  <a:gd name="T2" fmla="*/ 1 w 74"/>
                  <a:gd name="T3" fmla="*/ 4 h 31"/>
                  <a:gd name="T4" fmla="*/ 2 w 74"/>
                  <a:gd name="T5" fmla="*/ 5 h 31"/>
                  <a:gd name="T6" fmla="*/ 3 w 74"/>
                  <a:gd name="T7" fmla="*/ 6 h 31"/>
                  <a:gd name="T8" fmla="*/ 5 w 74"/>
                  <a:gd name="T9" fmla="*/ 7 h 31"/>
                  <a:gd name="T10" fmla="*/ 6 w 74"/>
                  <a:gd name="T11" fmla="*/ 9 h 31"/>
                  <a:gd name="T12" fmla="*/ 8 w 74"/>
                  <a:gd name="T13" fmla="*/ 9 h 31"/>
                  <a:gd name="T14" fmla="*/ 10 w 74"/>
                  <a:gd name="T15" fmla="*/ 10 h 31"/>
                  <a:gd name="T16" fmla="*/ 11 w 74"/>
                  <a:gd name="T17" fmla="*/ 10 h 31"/>
                  <a:gd name="T18" fmla="*/ 16 w 74"/>
                  <a:gd name="T19" fmla="*/ 11 h 31"/>
                  <a:gd name="T20" fmla="*/ 20 w 74"/>
                  <a:gd name="T21" fmla="*/ 11 h 31"/>
                  <a:gd name="T22" fmla="*/ 21 w 74"/>
                  <a:gd name="T23" fmla="*/ 11 h 31"/>
                  <a:gd name="T24" fmla="*/ 23 w 74"/>
                  <a:gd name="T25" fmla="*/ 10 h 31"/>
                  <a:gd name="T26" fmla="*/ 24 w 74"/>
                  <a:gd name="T27" fmla="*/ 10 h 31"/>
                  <a:gd name="T28" fmla="*/ 25 w 74"/>
                  <a:gd name="T29" fmla="*/ 9 h 31"/>
                  <a:gd name="T30" fmla="*/ 22 w 74"/>
                  <a:gd name="T31" fmla="*/ 6 h 31"/>
                  <a:gd name="T32" fmla="*/ 19 w 74"/>
                  <a:gd name="T33" fmla="*/ 5 h 31"/>
                  <a:gd name="T34" fmla="*/ 17 w 74"/>
                  <a:gd name="T35" fmla="*/ 4 h 31"/>
                  <a:gd name="T36" fmla="*/ 16 w 74"/>
                  <a:gd name="T37" fmla="*/ 3 h 31"/>
                  <a:gd name="T38" fmla="*/ 15 w 74"/>
                  <a:gd name="T39" fmla="*/ 2 h 31"/>
                  <a:gd name="T40" fmla="*/ 14 w 74"/>
                  <a:gd name="T41" fmla="*/ 0 h 31"/>
                  <a:gd name="T42" fmla="*/ 11 w 74"/>
                  <a:gd name="T43" fmla="*/ 0 h 31"/>
                  <a:gd name="T44" fmla="*/ 9 w 74"/>
                  <a:gd name="T45" fmla="*/ 0 h 31"/>
                  <a:gd name="T46" fmla="*/ 7 w 74"/>
                  <a:gd name="T47" fmla="*/ 0 h 31"/>
                  <a:gd name="T48" fmla="*/ 6 w 74"/>
                  <a:gd name="T49" fmla="*/ 0 h 31"/>
                  <a:gd name="T50" fmla="*/ 5 w 74"/>
                  <a:gd name="T51" fmla="*/ 0 h 31"/>
                  <a:gd name="T52" fmla="*/ 3 w 74"/>
                  <a:gd name="T53" fmla="*/ 0 h 31"/>
                  <a:gd name="T54" fmla="*/ 2 w 74"/>
                  <a:gd name="T55" fmla="*/ 1 h 31"/>
                  <a:gd name="T56" fmla="*/ 0 w 74"/>
                  <a:gd name="T57" fmla="*/ 2 h 31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74" h="31">
                    <a:moveTo>
                      <a:pt x="0" y="7"/>
                    </a:moveTo>
                    <a:lnTo>
                      <a:pt x="3" y="11"/>
                    </a:lnTo>
                    <a:lnTo>
                      <a:pt x="5" y="15"/>
                    </a:lnTo>
                    <a:lnTo>
                      <a:pt x="9" y="18"/>
                    </a:lnTo>
                    <a:lnTo>
                      <a:pt x="14" y="21"/>
                    </a:lnTo>
                    <a:lnTo>
                      <a:pt x="18" y="24"/>
                    </a:lnTo>
                    <a:lnTo>
                      <a:pt x="23" y="26"/>
                    </a:lnTo>
                    <a:lnTo>
                      <a:pt x="29" y="28"/>
                    </a:lnTo>
                    <a:lnTo>
                      <a:pt x="34" y="29"/>
                    </a:lnTo>
                    <a:lnTo>
                      <a:pt x="47" y="31"/>
                    </a:lnTo>
                    <a:lnTo>
                      <a:pt x="58" y="31"/>
                    </a:lnTo>
                    <a:lnTo>
                      <a:pt x="63" y="30"/>
                    </a:lnTo>
                    <a:lnTo>
                      <a:pt x="67" y="29"/>
                    </a:lnTo>
                    <a:lnTo>
                      <a:pt x="71" y="27"/>
                    </a:lnTo>
                    <a:lnTo>
                      <a:pt x="74" y="25"/>
                    </a:lnTo>
                    <a:lnTo>
                      <a:pt x="64" y="18"/>
                    </a:lnTo>
                    <a:lnTo>
                      <a:pt x="55" y="13"/>
                    </a:lnTo>
                    <a:lnTo>
                      <a:pt x="51" y="10"/>
                    </a:lnTo>
                    <a:lnTo>
                      <a:pt x="47" y="8"/>
                    </a:lnTo>
                    <a:lnTo>
                      <a:pt x="43" y="5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8" y="1"/>
                    </a:lnTo>
                    <a:lnTo>
                      <a:pt x="22" y="1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6" y="3"/>
                    </a:lnTo>
                    <a:lnTo>
                      <a:pt x="0" y="7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092" name="Freeform 156"/>
              <p:cNvSpPr>
                <a:spLocks/>
              </p:cNvSpPr>
              <p:nvPr/>
            </p:nvSpPr>
            <p:spPr bwMode="auto">
              <a:xfrm>
                <a:off x="5562" y="2819"/>
                <a:ext cx="6" cy="1"/>
              </a:xfrm>
              <a:custGeom>
                <a:avLst/>
                <a:gdLst>
                  <a:gd name="T0" fmla="*/ 6 w 20"/>
                  <a:gd name="T1" fmla="*/ 0 h 1"/>
                  <a:gd name="T2" fmla="*/ 0 w 20"/>
                  <a:gd name="T3" fmla="*/ 0 h 1"/>
                  <a:gd name="T4" fmla="*/ 3 w 20"/>
                  <a:gd name="T5" fmla="*/ 0 h 1"/>
                  <a:gd name="T6" fmla="*/ 6 w 20"/>
                  <a:gd name="T7" fmla="*/ 0 h 1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0" h="1">
                    <a:moveTo>
                      <a:pt x="20" y="0"/>
                    </a:moveTo>
                    <a:lnTo>
                      <a:pt x="0" y="0"/>
                    </a:lnTo>
                    <a:lnTo>
                      <a:pt x="10" y="0"/>
                    </a:lnTo>
                    <a:lnTo>
                      <a:pt x="2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093" name="Freeform 157"/>
              <p:cNvSpPr>
                <a:spLocks/>
              </p:cNvSpPr>
              <p:nvPr/>
            </p:nvSpPr>
            <p:spPr bwMode="auto">
              <a:xfrm>
                <a:off x="5509" y="2769"/>
                <a:ext cx="32" cy="21"/>
              </a:xfrm>
              <a:custGeom>
                <a:avLst/>
                <a:gdLst>
                  <a:gd name="T0" fmla="*/ 2 w 100"/>
                  <a:gd name="T1" fmla="*/ 8 h 65"/>
                  <a:gd name="T2" fmla="*/ 11 w 100"/>
                  <a:gd name="T3" fmla="*/ 13 h 65"/>
                  <a:gd name="T4" fmla="*/ 20 w 100"/>
                  <a:gd name="T5" fmla="*/ 18 h 65"/>
                  <a:gd name="T6" fmla="*/ 23 w 100"/>
                  <a:gd name="T7" fmla="*/ 19 h 65"/>
                  <a:gd name="T8" fmla="*/ 27 w 100"/>
                  <a:gd name="T9" fmla="*/ 21 h 65"/>
                  <a:gd name="T10" fmla="*/ 28 w 100"/>
                  <a:gd name="T11" fmla="*/ 21 h 65"/>
                  <a:gd name="T12" fmla="*/ 29 w 100"/>
                  <a:gd name="T13" fmla="*/ 21 h 65"/>
                  <a:gd name="T14" fmla="*/ 31 w 100"/>
                  <a:gd name="T15" fmla="*/ 21 h 65"/>
                  <a:gd name="T16" fmla="*/ 32 w 100"/>
                  <a:gd name="T17" fmla="*/ 20 h 65"/>
                  <a:gd name="T18" fmla="*/ 30 w 100"/>
                  <a:gd name="T19" fmla="*/ 19 h 65"/>
                  <a:gd name="T20" fmla="*/ 28 w 100"/>
                  <a:gd name="T21" fmla="*/ 18 h 65"/>
                  <a:gd name="T22" fmla="*/ 27 w 100"/>
                  <a:gd name="T23" fmla="*/ 17 h 65"/>
                  <a:gd name="T24" fmla="*/ 25 w 100"/>
                  <a:gd name="T25" fmla="*/ 15 h 65"/>
                  <a:gd name="T26" fmla="*/ 21 w 100"/>
                  <a:gd name="T27" fmla="*/ 11 h 65"/>
                  <a:gd name="T28" fmla="*/ 18 w 100"/>
                  <a:gd name="T29" fmla="*/ 7 h 65"/>
                  <a:gd name="T30" fmla="*/ 17 w 100"/>
                  <a:gd name="T31" fmla="*/ 5 h 65"/>
                  <a:gd name="T32" fmla="*/ 15 w 100"/>
                  <a:gd name="T33" fmla="*/ 3 h 65"/>
                  <a:gd name="T34" fmla="*/ 13 w 100"/>
                  <a:gd name="T35" fmla="*/ 1 h 65"/>
                  <a:gd name="T36" fmla="*/ 11 w 100"/>
                  <a:gd name="T37" fmla="*/ 0 h 65"/>
                  <a:gd name="T38" fmla="*/ 9 w 100"/>
                  <a:gd name="T39" fmla="*/ 0 h 65"/>
                  <a:gd name="T40" fmla="*/ 6 w 100"/>
                  <a:gd name="T41" fmla="*/ 0 h 65"/>
                  <a:gd name="T42" fmla="*/ 3 w 100"/>
                  <a:gd name="T43" fmla="*/ 1 h 65"/>
                  <a:gd name="T44" fmla="*/ 0 w 100"/>
                  <a:gd name="T45" fmla="*/ 2 h 65"/>
                  <a:gd name="T46" fmla="*/ 2 w 100"/>
                  <a:gd name="T47" fmla="*/ 8 h 65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100" h="65">
                    <a:moveTo>
                      <a:pt x="7" y="25"/>
                    </a:moveTo>
                    <a:lnTo>
                      <a:pt x="35" y="40"/>
                    </a:lnTo>
                    <a:lnTo>
                      <a:pt x="61" y="55"/>
                    </a:lnTo>
                    <a:lnTo>
                      <a:pt x="72" y="60"/>
                    </a:lnTo>
                    <a:lnTo>
                      <a:pt x="83" y="65"/>
                    </a:lnTo>
                    <a:lnTo>
                      <a:pt x="87" y="65"/>
                    </a:lnTo>
                    <a:lnTo>
                      <a:pt x="91" y="65"/>
                    </a:lnTo>
                    <a:lnTo>
                      <a:pt x="96" y="65"/>
                    </a:lnTo>
                    <a:lnTo>
                      <a:pt x="100" y="62"/>
                    </a:lnTo>
                    <a:lnTo>
                      <a:pt x="94" y="60"/>
                    </a:lnTo>
                    <a:lnTo>
                      <a:pt x="88" y="56"/>
                    </a:lnTo>
                    <a:lnTo>
                      <a:pt x="83" y="52"/>
                    </a:lnTo>
                    <a:lnTo>
                      <a:pt x="78" y="46"/>
                    </a:lnTo>
                    <a:lnTo>
                      <a:pt x="67" y="34"/>
                    </a:lnTo>
                    <a:lnTo>
                      <a:pt x="57" y="21"/>
                    </a:lnTo>
                    <a:lnTo>
                      <a:pt x="52" y="15"/>
                    </a:lnTo>
                    <a:lnTo>
                      <a:pt x="46" y="10"/>
                    </a:lnTo>
                    <a:lnTo>
                      <a:pt x="40" y="4"/>
                    </a:lnTo>
                    <a:lnTo>
                      <a:pt x="33" y="1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10" y="2"/>
                    </a:lnTo>
                    <a:lnTo>
                      <a:pt x="0" y="6"/>
                    </a:lnTo>
                    <a:lnTo>
                      <a:pt x="7" y="25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094" name="Freeform 158"/>
              <p:cNvSpPr>
                <a:spLocks/>
              </p:cNvSpPr>
              <p:nvPr/>
            </p:nvSpPr>
            <p:spPr bwMode="auto">
              <a:xfrm>
                <a:off x="5486" y="2743"/>
                <a:ext cx="24" cy="34"/>
              </a:xfrm>
              <a:custGeom>
                <a:avLst/>
                <a:gdLst>
                  <a:gd name="T0" fmla="*/ 22 w 79"/>
                  <a:gd name="T1" fmla="*/ 28 h 104"/>
                  <a:gd name="T2" fmla="*/ 17 w 79"/>
                  <a:gd name="T3" fmla="*/ 20 h 104"/>
                  <a:gd name="T4" fmla="*/ 13 w 79"/>
                  <a:gd name="T5" fmla="*/ 13 h 104"/>
                  <a:gd name="T6" fmla="*/ 9 w 79"/>
                  <a:gd name="T7" fmla="*/ 7 h 104"/>
                  <a:gd name="T8" fmla="*/ 4 w 79"/>
                  <a:gd name="T9" fmla="*/ 0 h 104"/>
                  <a:gd name="T10" fmla="*/ 2 w 79"/>
                  <a:gd name="T11" fmla="*/ 5 h 104"/>
                  <a:gd name="T12" fmla="*/ 1 w 79"/>
                  <a:gd name="T13" fmla="*/ 11 h 104"/>
                  <a:gd name="T14" fmla="*/ 0 w 79"/>
                  <a:gd name="T15" fmla="*/ 13 h 104"/>
                  <a:gd name="T16" fmla="*/ 0 w 79"/>
                  <a:gd name="T17" fmla="*/ 16 h 104"/>
                  <a:gd name="T18" fmla="*/ 0 w 79"/>
                  <a:gd name="T19" fmla="*/ 18 h 104"/>
                  <a:gd name="T20" fmla="*/ 0 w 79"/>
                  <a:gd name="T21" fmla="*/ 20 h 104"/>
                  <a:gd name="T22" fmla="*/ 0 w 79"/>
                  <a:gd name="T23" fmla="*/ 22 h 104"/>
                  <a:gd name="T24" fmla="*/ 1 w 79"/>
                  <a:gd name="T25" fmla="*/ 24 h 104"/>
                  <a:gd name="T26" fmla="*/ 2 w 79"/>
                  <a:gd name="T27" fmla="*/ 26 h 104"/>
                  <a:gd name="T28" fmla="*/ 3 w 79"/>
                  <a:gd name="T29" fmla="*/ 27 h 104"/>
                  <a:gd name="T30" fmla="*/ 4 w 79"/>
                  <a:gd name="T31" fmla="*/ 29 h 104"/>
                  <a:gd name="T32" fmla="*/ 6 w 79"/>
                  <a:gd name="T33" fmla="*/ 29 h 104"/>
                  <a:gd name="T34" fmla="*/ 8 w 79"/>
                  <a:gd name="T35" fmla="*/ 30 h 104"/>
                  <a:gd name="T36" fmla="*/ 10 w 79"/>
                  <a:gd name="T37" fmla="*/ 30 h 104"/>
                  <a:gd name="T38" fmla="*/ 13 w 79"/>
                  <a:gd name="T39" fmla="*/ 30 h 104"/>
                  <a:gd name="T40" fmla="*/ 16 w 79"/>
                  <a:gd name="T41" fmla="*/ 31 h 104"/>
                  <a:gd name="T42" fmla="*/ 20 w 79"/>
                  <a:gd name="T43" fmla="*/ 33 h 104"/>
                  <a:gd name="T44" fmla="*/ 24 w 79"/>
                  <a:gd name="T45" fmla="*/ 34 h 104"/>
                  <a:gd name="T46" fmla="*/ 22 w 79"/>
                  <a:gd name="T47" fmla="*/ 28 h 104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79" h="104">
                    <a:moveTo>
                      <a:pt x="72" y="85"/>
                    </a:moveTo>
                    <a:lnTo>
                      <a:pt x="56" y="61"/>
                    </a:lnTo>
                    <a:lnTo>
                      <a:pt x="43" y="41"/>
                    </a:lnTo>
                    <a:lnTo>
                      <a:pt x="29" y="20"/>
                    </a:lnTo>
                    <a:lnTo>
                      <a:pt x="12" y="0"/>
                    </a:lnTo>
                    <a:lnTo>
                      <a:pt x="6" y="16"/>
                    </a:lnTo>
                    <a:lnTo>
                      <a:pt x="2" y="33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0" y="55"/>
                    </a:lnTo>
                    <a:lnTo>
                      <a:pt x="0" y="62"/>
                    </a:lnTo>
                    <a:lnTo>
                      <a:pt x="1" y="68"/>
                    </a:lnTo>
                    <a:lnTo>
                      <a:pt x="3" y="74"/>
                    </a:lnTo>
                    <a:lnTo>
                      <a:pt x="6" y="79"/>
                    </a:lnTo>
                    <a:lnTo>
                      <a:pt x="10" y="83"/>
                    </a:lnTo>
                    <a:lnTo>
                      <a:pt x="14" y="88"/>
                    </a:lnTo>
                    <a:lnTo>
                      <a:pt x="20" y="90"/>
                    </a:lnTo>
                    <a:lnTo>
                      <a:pt x="25" y="92"/>
                    </a:lnTo>
                    <a:lnTo>
                      <a:pt x="33" y="92"/>
                    </a:lnTo>
                    <a:lnTo>
                      <a:pt x="43" y="93"/>
                    </a:lnTo>
                    <a:lnTo>
                      <a:pt x="54" y="96"/>
                    </a:lnTo>
                    <a:lnTo>
                      <a:pt x="65" y="100"/>
                    </a:lnTo>
                    <a:lnTo>
                      <a:pt x="79" y="104"/>
                    </a:lnTo>
                    <a:lnTo>
                      <a:pt x="72" y="85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696" name="Freeform 159"/>
            <p:cNvSpPr>
              <a:spLocks/>
            </p:cNvSpPr>
            <p:nvPr>
              <p:custDataLst>
                <p:tags r:id="rId88"/>
              </p:custDataLst>
            </p:nvPr>
          </p:nvSpPr>
          <p:spPr bwMode="auto">
            <a:xfrm>
              <a:off x="5843337" y="3966324"/>
              <a:ext cx="13249" cy="66723"/>
            </a:xfrm>
            <a:custGeom>
              <a:avLst/>
              <a:gdLst>
                <a:gd name="T0" fmla="*/ 11113 w 27"/>
                <a:gd name="T1" fmla="*/ 0 h 19"/>
                <a:gd name="T2" fmla="*/ 11113 w 27"/>
                <a:gd name="T3" fmla="*/ 35092 h 19"/>
                <a:gd name="T4" fmla="*/ 11113 w 27"/>
                <a:gd name="T5" fmla="*/ 55562 h 19"/>
                <a:gd name="T6" fmla="*/ 3704 w 27"/>
                <a:gd name="T7" fmla="*/ 55562 h 19"/>
                <a:gd name="T8" fmla="*/ 0 w 27"/>
                <a:gd name="T9" fmla="*/ 55562 h 19"/>
                <a:gd name="T10" fmla="*/ 3704 w 27"/>
                <a:gd name="T11" fmla="*/ 35092 h 19"/>
                <a:gd name="T12" fmla="*/ 11113 w 27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697" name="Freeform 160"/>
            <p:cNvSpPr>
              <a:spLocks/>
            </p:cNvSpPr>
            <p:nvPr>
              <p:custDataLst>
                <p:tags r:id="rId89"/>
              </p:custDataLst>
            </p:nvPr>
          </p:nvSpPr>
          <p:spPr bwMode="auto">
            <a:xfrm>
              <a:off x="5752491" y="4134086"/>
              <a:ext cx="17034" cy="68630"/>
            </a:xfrm>
            <a:custGeom>
              <a:avLst/>
              <a:gdLst>
                <a:gd name="T0" fmla="*/ 0 w 39"/>
                <a:gd name="T1" fmla="*/ 0 h 35"/>
                <a:gd name="T2" fmla="*/ 14288 w 39"/>
                <a:gd name="T3" fmla="*/ 0 h 35"/>
                <a:gd name="T4" fmla="*/ 13189 w 39"/>
                <a:gd name="T5" fmla="*/ 14696 h 35"/>
                <a:gd name="T6" fmla="*/ 12090 w 39"/>
                <a:gd name="T7" fmla="*/ 31024 h 35"/>
                <a:gd name="T8" fmla="*/ 9892 w 39"/>
                <a:gd name="T9" fmla="*/ 45720 h 35"/>
                <a:gd name="T10" fmla="*/ 8060 w 39"/>
                <a:gd name="T11" fmla="*/ 55517 h 35"/>
                <a:gd name="T12" fmla="*/ 6961 w 39"/>
                <a:gd name="T13" fmla="*/ 57150 h 35"/>
                <a:gd name="T14" fmla="*/ 5862 w 39"/>
                <a:gd name="T15" fmla="*/ 57150 h 35"/>
                <a:gd name="T16" fmla="*/ 4763 w 39"/>
                <a:gd name="T17" fmla="*/ 55517 h 35"/>
                <a:gd name="T18" fmla="*/ 4030 w 39"/>
                <a:gd name="T19" fmla="*/ 50619 h 35"/>
                <a:gd name="T20" fmla="*/ 2565 w 39"/>
                <a:gd name="T21" fmla="*/ 42454 h 35"/>
                <a:gd name="T22" fmla="*/ 1832 w 39"/>
                <a:gd name="T23" fmla="*/ 32657 h 35"/>
                <a:gd name="T24" fmla="*/ 733 w 39"/>
                <a:gd name="T25" fmla="*/ 17961 h 35"/>
                <a:gd name="T26" fmla="*/ 0 w 39"/>
                <a:gd name="T27" fmla="*/ 0 h 3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39" h="35">
                  <a:moveTo>
                    <a:pt x="0" y="0"/>
                  </a:moveTo>
                  <a:lnTo>
                    <a:pt x="39" y="0"/>
                  </a:lnTo>
                  <a:lnTo>
                    <a:pt x="36" y="9"/>
                  </a:lnTo>
                  <a:lnTo>
                    <a:pt x="33" y="19"/>
                  </a:lnTo>
                  <a:lnTo>
                    <a:pt x="27" y="28"/>
                  </a:lnTo>
                  <a:lnTo>
                    <a:pt x="22" y="34"/>
                  </a:lnTo>
                  <a:lnTo>
                    <a:pt x="19" y="35"/>
                  </a:lnTo>
                  <a:lnTo>
                    <a:pt x="16" y="35"/>
                  </a:lnTo>
                  <a:lnTo>
                    <a:pt x="13" y="34"/>
                  </a:lnTo>
                  <a:lnTo>
                    <a:pt x="11" y="31"/>
                  </a:lnTo>
                  <a:lnTo>
                    <a:pt x="7" y="26"/>
                  </a:lnTo>
                  <a:lnTo>
                    <a:pt x="5" y="20"/>
                  </a:lnTo>
                  <a:lnTo>
                    <a:pt x="2" y="11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698" name="Freeform 161"/>
            <p:cNvSpPr>
              <a:spLocks/>
            </p:cNvSpPr>
            <p:nvPr>
              <p:custDataLst>
                <p:tags r:id="rId90"/>
              </p:custDataLst>
            </p:nvPr>
          </p:nvSpPr>
          <p:spPr bwMode="auto">
            <a:xfrm>
              <a:off x="7896808" y="2124764"/>
              <a:ext cx="868703" cy="398432"/>
            </a:xfrm>
            <a:custGeom>
              <a:avLst/>
              <a:gdLst>
                <a:gd name="T0" fmla="*/ 13813 w 1688"/>
                <a:gd name="T1" fmla="*/ 113756 h 630"/>
                <a:gd name="T2" fmla="*/ 37124 w 1688"/>
                <a:gd name="T3" fmla="*/ 131135 h 630"/>
                <a:gd name="T4" fmla="*/ 66909 w 1688"/>
                <a:gd name="T5" fmla="*/ 139035 h 630"/>
                <a:gd name="T6" fmla="*/ 82449 w 1688"/>
                <a:gd name="T7" fmla="*/ 147988 h 630"/>
                <a:gd name="T8" fmla="*/ 102738 w 1688"/>
                <a:gd name="T9" fmla="*/ 174320 h 630"/>
                <a:gd name="T10" fmla="*/ 109213 w 1688"/>
                <a:gd name="T11" fmla="*/ 183799 h 630"/>
                <a:gd name="T12" fmla="*/ 109645 w 1688"/>
                <a:gd name="T13" fmla="*/ 203285 h 630"/>
                <a:gd name="T14" fmla="*/ 117846 w 1688"/>
                <a:gd name="T15" fmla="*/ 214872 h 630"/>
                <a:gd name="T16" fmla="*/ 147200 w 1688"/>
                <a:gd name="T17" fmla="*/ 219085 h 630"/>
                <a:gd name="T18" fmla="*/ 199864 w 1688"/>
                <a:gd name="T19" fmla="*/ 238044 h 630"/>
                <a:gd name="T20" fmla="*/ 235693 w 1688"/>
                <a:gd name="T21" fmla="*/ 246997 h 630"/>
                <a:gd name="T22" fmla="*/ 248211 w 1688"/>
                <a:gd name="T23" fmla="*/ 268589 h 630"/>
                <a:gd name="T24" fmla="*/ 268500 w 1688"/>
                <a:gd name="T25" fmla="*/ 285442 h 630"/>
                <a:gd name="T26" fmla="*/ 289220 w 1688"/>
                <a:gd name="T27" fmla="*/ 292289 h 630"/>
                <a:gd name="T28" fmla="*/ 395843 w 1688"/>
                <a:gd name="T29" fmla="*/ 303348 h 630"/>
                <a:gd name="T30" fmla="*/ 447644 w 1688"/>
                <a:gd name="T31" fmla="*/ 323361 h 630"/>
                <a:gd name="T32" fmla="*/ 482177 w 1688"/>
                <a:gd name="T33" fmla="*/ 331787 h 630"/>
                <a:gd name="T34" fmla="*/ 499444 w 1688"/>
                <a:gd name="T35" fmla="*/ 322834 h 630"/>
                <a:gd name="T36" fmla="*/ 580167 w 1688"/>
                <a:gd name="T37" fmla="*/ 297028 h 630"/>
                <a:gd name="T38" fmla="*/ 602182 w 1688"/>
                <a:gd name="T39" fmla="*/ 268589 h 630"/>
                <a:gd name="T40" fmla="*/ 605636 w 1688"/>
                <a:gd name="T41" fmla="*/ 254370 h 630"/>
                <a:gd name="T42" fmla="*/ 598297 w 1688"/>
                <a:gd name="T43" fmla="*/ 239624 h 630"/>
                <a:gd name="T44" fmla="*/ 591390 w 1688"/>
                <a:gd name="T45" fmla="*/ 218558 h 630"/>
                <a:gd name="T46" fmla="*/ 647076 w 1688"/>
                <a:gd name="T47" fmla="*/ 207499 h 630"/>
                <a:gd name="T48" fmla="*/ 688085 w 1688"/>
                <a:gd name="T49" fmla="*/ 180640 h 630"/>
                <a:gd name="T50" fmla="*/ 712690 w 1688"/>
                <a:gd name="T51" fmla="*/ 171160 h 630"/>
                <a:gd name="T52" fmla="*/ 728662 w 1688"/>
                <a:gd name="T53" fmla="*/ 156414 h 630"/>
                <a:gd name="T54" fmla="*/ 714849 w 1688"/>
                <a:gd name="T55" fmla="*/ 146934 h 630"/>
                <a:gd name="T56" fmla="*/ 698877 w 1688"/>
                <a:gd name="T57" fmla="*/ 132715 h 630"/>
                <a:gd name="T58" fmla="*/ 683336 w 1688"/>
                <a:gd name="T59" fmla="*/ 130608 h 630"/>
                <a:gd name="T60" fmla="*/ 670386 w 1688"/>
                <a:gd name="T61" fmla="*/ 135875 h 630"/>
                <a:gd name="T62" fmla="*/ 646213 w 1688"/>
                <a:gd name="T63" fmla="*/ 134821 h 630"/>
                <a:gd name="T64" fmla="*/ 628946 w 1688"/>
                <a:gd name="T65" fmla="*/ 123762 h 630"/>
                <a:gd name="T66" fmla="*/ 619017 w 1688"/>
                <a:gd name="T67" fmla="*/ 98483 h 630"/>
                <a:gd name="T68" fmla="*/ 590095 w 1688"/>
                <a:gd name="T69" fmla="*/ 65304 h 630"/>
                <a:gd name="T70" fmla="*/ 555130 w 1688"/>
                <a:gd name="T71" fmla="*/ 63198 h 630"/>
                <a:gd name="T72" fmla="*/ 543906 w 1688"/>
                <a:gd name="T73" fmla="*/ 77417 h 630"/>
                <a:gd name="T74" fmla="*/ 533546 w 1688"/>
                <a:gd name="T75" fmla="*/ 86897 h 630"/>
                <a:gd name="T76" fmla="*/ 504193 w 1688"/>
                <a:gd name="T77" fmla="*/ 87950 h 630"/>
                <a:gd name="T78" fmla="*/ 450665 w 1688"/>
                <a:gd name="T79" fmla="*/ 87950 h 630"/>
                <a:gd name="T80" fmla="*/ 425628 w 1688"/>
                <a:gd name="T81" fmla="*/ 73730 h 630"/>
                <a:gd name="T82" fmla="*/ 398001 w 1688"/>
                <a:gd name="T83" fmla="*/ 56878 h 630"/>
                <a:gd name="T84" fmla="*/ 367784 w 1688"/>
                <a:gd name="T85" fmla="*/ 52665 h 630"/>
                <a:gd name="T86" fmla="*/ 345769 w 1688"/>
                <a:gd name="T87" fmla="*/ 60038 h 630"/>
                <a:gd name="T88" fmla="*/ 319437 w 1688"/>
                <a:gd name="T89" fmla="*/ 61091 h 630"/>
                <a:gd name="T90" fmla="*/ 298717 w 1688"/>
                <a:gd name="T91" fmla="*/ 53191 h 630"/>
                <a:gd name="T92" fmla="*/ 285767 w 1688"/>
                <a:gd name="T93" fmla="*/ 35812 h 630"/>
                <a:gd name="T94" fmla="*/ 192526 w 1688"/>
                <a:gd name="T95" fmla="*/ 3687 h 630"/>
                <a:gd name="T96" fmla="*/ 192526 w 1688"/>
                <a:gd name="T97" fmla="*/ 23172 h 630"/>
                <a:gd name="T98" fmla="*/ 203317 w 1688"/>
                <a:gd name="T99" fmla="*/ 41605 h 630"/>
                <a:gd name="T100" fmla="*/ 211519 w 1688"/>
                <a:gd name="T101" fmla="*/ 55824 h 630"/>
                <a:gd name="T102" fmla="*/ 132523 w 1688"/>
                <a:gd name="T103" fmla="*/ 64251 h 630"/>
                <a:gd name="T104" fmla="*/ 126912 w 1688"/>
                <a:gd name="T105" fmla="*/ 45818 h 630"/>
                <a:gd name="T106" fmla="*/ 97126 w 1688"/>
                <a:gd name="T107" fmla="*/ 51085 h 630"/>
                <a:gd name="T108" fmla="*/ 79859 w 1688"/>
                <a:gd name="T109" fmla="*/ 46345 h 630"/>
                <a:gd name="T110" fmla="*/ 59571 w 1688"/>
                <a:gd name="T111" fmla="*/ 51085 h 630"/>
                <a:gd name="T112" fmla="*/ 29354 w 1688"/>
                <a:gd name="T113" fmla="*/ 75310 h 630"/>
                <a:gd name="T114" fmla="*/ 13382 w 1688"/>
                <a:gd name="T115" fmla="*/ 79524 h 630"/>
                <a:gd name="T116" fmla="*/ 1727 w 1688"/>
                <a:gd name="T117" fmla="*/ 89003 h 63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1688" h="630">
                  <a:moveTo>
                    <a:pt x="0" y="180"/>
                  </a:moveTo>
                  <a:lnTo>
                    <a:pt x="7" y="190"/>
                  </a:lnTo>
                  <a:lnTo>
                    <a:pt x="15" y="199"/>
                  </a:lnTo>
                  <a:lnTo>
                    <a:pt x="22" y="208"/>
                  </a:lnTo>
                  <a:lnTo>
                    <a:pt x="32" y="216"/>
                  </a:lnTo>
                  <a:lnTo>
                    <a:pt x="41" y="224"/>
                  </a:lnTo>
                  <a:lnTo>
                    <a:pt x="51" y="232"/>
                  </a:lnTo>
                  <a:lnTo>
                    <a:pt x="62" y="238"/>
                  </a:lnTo>
                  <a:lnTo>
                    <a:pt x="74" y="244"/>
                  </a:lnTo>
                  <a:lnTo>
                    <a:pt x="86" y="249"/>
                  </a:lnTo>
                  <a:lnTo>
                    <a:pt x="99" y="253"/>
                  </a:lnTo>
                  <a:lnTo>
                    <a:pt x="112" y="257"/>
                  </a:lnTo>
                  <a:lnTo>
                    <a:pt x="126" y="260"/>
                  </a:lnTo>
                  <a:lnTo>
                    <a:pt x="140" y="262"/>
                  </a:lnTo>
                  <a:lnTo>
                    <a:pt x="155" y="264"/>
                  </a:lnTo>
                  <a:lnTo>
                    <a:pt x="171" y="265"/>
                  </a:lnTo>
                  <a:lnTo>
                    <a:pt x="187" y="266"/>
                  </a:lnTo>
                  <a:lnTo>
                    <a:pt x="187" y="270"/>
                  </a:lnTo>
                  <a:lnTo>
                    <a:pt x="189" y="276"/>
                  </a:lnTo>
                  <a:lnTo>
                    <a:pt x="191" y="281"/>
                  </a:lnTo>
                  <a:lnTo>
                    <a:pt x="196" y="288"/>
                  </a:lnTo>
                  <a:lnTo>
                    <a:pt x="205" y="300"/>
                  </a:lnTo>
                  <a:lnTo>
                    <a:pt x="215" y="312"/>
                  </a:lnTo>
                  <a:lnTo>
                    <a:pt x="227" y="323"/>
                  </a:lnTo>
                  <a:lnTo>
                    <a:pt x="238" y="331"/>
                  </a:lnTo>
                  <a:lnTo>
                    <a:pt x="242" y="335"/>
                  </a:lnTo>
                  <a:lnTo>
                    <a:pt x="246" y="337"/>
                  </a:lnTo>
                  <a:lnTo>
                    <a:pt x="251" y="340"/>
                  </a:lnTo>
                  <a:lnTo>
                    <a:pt x="253" y="340"/>
                  </a:lnTo>
                  <a:lnTo>
                    <a:pt x="253" y="349"/>
                  </a:lnTo>
                  <a:lnTo>
                    <a:pt x="253" y="358"/>
                  </a:lnTo>
                  <a:lnTo>
                    <a:pt x="253" y="365"/>
                  </a:lnTo>
                  <a:lnTo>
                    <a:pt x="253" y="370"/>
                  </a:lnTo>
                  <a:lnTo>
                    <a:pt x="253" y="379"/>
                  </a:lnTo>
                  <a:lnTo>
                    <a:pt x="254" y="386"/>
                  </a:lnTo>
                  <a:lnTo>
                    <a:pt x="256" y="394"/>
                  </a:lnTo>
                  <a:lnTo>
                    <a:pt x="260" y="402"/>
                  </a:lnTo>
                  <a:lnTo>
                    <a:pt x="262" y="404"/>
                  </a:lnTo>
                  <a:lnTo>
                    <a:pt x="266" y="406"/>
                  </a:lnTo>
                  <a:lnTo>
                    <a:pt x="273" y="408"/>
                  </a:lnTo>
                  <a:lnTo>
                    <a:pt x="280" y="410"/>
                  </a:lnTo>
                  <a:lnTo>
                    <a:pt x="296" y="413"/>
                  </a:lnTo>
                  <a:lnTo>
                    <a:pt x="307" y="414"/>
                  </a:lnTo>
                  <a:lnTo>
                    <a:pt x="323" y="414"/>
                  </a:lnTo>
                  <a:lnTo>
                    <a:pt x="341" y="416"/>
                  </a:lnTo>
                  <a:lnTo>
                    <a:pt x="356" y="419"/>
                  </a:lnTo>
                  <a:lnTo>
                    <a:pt x="373" y="422"/>
                  </a:lnTo>
                  <a:lnTo>
                    <a:pt x="403" y="431"/>
                  </a:lnTo>
                  <a:lnTo>
                    <a:pt x="433" y="441"/>
                  </a:lnTo>
                  <a:lnTo>
                    <a:pt x="463" y="452"/>
                  </a:lnTo>
                  <a:lnTo>
                    <a:pt x="490" y="461"/>
                  </a:lnTo>
                  <a:lnTo>
                    <a:pt x="504" y="464"/>
                  </a:lnTo>
                  <a:lnTo>
                    <a:pt x="518" y="467"/>
                  </a:lnTo>
                  <a:lnTo>
                    <a:pt x="532" y="469"/>
                  </a:lnTo>
                  <a:lnTo>
                    <a:pt x="546" y="469"/>
                  </a:lnTo>
                  <a:lnTo>
                    <a:pt x="548" y="477"/>
                  </a:lnTo>
                  <a:lnTo>
                    <a:pt x="554" y="485"/>
                  </a:lnTo>
                  <a:lnTo>
                    <a:pt x="559" y="493"/>
                  </a:lnTo>
                  <a:lnTo>
                    <a:pt x="566" y="501"/>
                  </a:lnTo>
                  <a:lnTo>
                    <a:pt x="575" y="510"/>
                  </a:lnTo>
                  <a:lnTo>
                    <a:pt x="583" y="517"/>
                  </a:lnTo>
                  <a:lnTo>
                    <a:pt x="592" y="524"/>
                  </a:lnTo>
                  <a:lnTo>
                    <a:pt x="602" y="531"/>
                  </a:lnTo>
                  <a:lnTo>
                    <a:pt x="612" y="537"/>
                  </a:lnTo>
                  <a:lnTo>
                    <a:pt x="622" y="542"/>
                  </a:lnTo>
                  <a:lnTo>
                    <a:pt x="633" y="547"/>
                  </a:lnTo>
                  <a:lnTo>
                    <a:pt x="643" y="550"/>
                  </a:lnTo>
                  <a:lnTo>
                    <a:pt x="653" y="553"/>
                  </a:lnTo>
                  <a:lnTo>
                    <a:pt x="661" y="555"/>
                  </a:lnTo>
                  <a:lnTo>
                    <a:pt x="670" y="555"/>
                  </a:lnTo>
                  <a:lnTo>
                    <a:pt x="679" y="555"/>
                  </a:lnTo>
                  <a:lnTo>
                    <a:pt x="738" y="568"/>
                  </a:lnTo>
                  <a:lnTo>
                    <a:pt x="904" y="568"/>
                  </a:lnTo>
                  <a:lnTo>
                    <a:pt x="910" y="572"/>
                  </a:lnTo>
                  <a:lnTo>
                    <a:pt x="917" y="576"/>
                  </a:lnTo>
                  <a:lnTo>
                    <a:pt x="928" y="580"/>
                  </a:lnTo>
                  <a:lnTo>
                    <a:pt x="940" y="585"/>
                  </a:lnTo>
                  <a:lnTo>
                    <a:pt x="970" y="595"/>
                  </a:lnTo>
                  <a:lnTo>
                    <a:pt x="1003" y="605"/>
                  </a:lnTo>
                  <a:lnTo>
                    <a:pt x="1037" y="614"/>
                  </a:lnTo>
                  <a:lnTo>
                    <a:pt x="1070" y="623"/>
                  </a:lnTo>
                  <a:lnTo>
                    <a:pt x="1084" y="626"/>
                  </a:lnTo>
                  <a:lnTo>
                    <a:pt x="1097" y="628"/>
                  </a:lnTo>
                  <a:lnTo>
                    <a:pt x="1108" y="629"/>
                  </a:lnTo>
                  <a:lnTo>
                    <a:pt x="1117" y="630"/>
                  </a:lnTo>
                  <a:lnTo>
                    <a:pt x="1121" y="629"/>
                  </a:lnTo>
                  <a:lnTo>
                    <a:pt x="1127" y="627"/>
                  </a:lnTo>
                  <a:lnTo>
                    <a:pt x="1134" y="625"/>
                  </a:lnTo>
                  <a:lnTo>
                    <a:pt x="1140" y="622"/>
                  </a:lnTo>
                  <a:lnTo>
                    <a:pt x="1157" y="613"/>
                  </a:lnTo>
                  <a:lnTo>
                    <a:pt x="1174" y="603"/>
                  </a:lnTo>
                  <a:lnTo>
                    <a:pt x="1209" y="583"/>
                  </a:lnTo>
                  <a:lnTo>
                    <a:pt x="1237" y="568"/>
                  </a:lnTo>
                  <a:lnTo>
                    <a:pt x="1337" y="568"/>
                  </a:lnTo>
                  <a:lnTo>
                    <a:pt x="1344" y="564"/>
                  </a:lnTo>
                  <a:lnTo>
                    <a:pt x="1355" y="556"/>
                  </a:lnTo>
                  <a:lnTo>
                    <a:pt x="1366" y="546"/>
                  </a:lnTo>
                  <a:lnTo>
                    <a:pt x="1377" y="534"/>
                  </a:lnTo>
                  <a:lnTo>
                    <a:pt x="1387" y="522"/>
                  </a:lnTo>
                  <a:lnTo>
                    <a:pt x="1395" y="510"/>
                  </a:lnTo>
                  <a:lnTo>
                    <a:pt x="1398" y="503"/>
                  </a:lnTo>
                  <a:lnTo>
                    <a:pt x="1400" y="497"/>
                  </a:lnTo>
                  <a:lnTo>
                    <a:pt x="1403" y="492"/>
                  </a:lnTo>
                  <a:lnTo>
                    <a:pt x="1403" y="487"/>
                  </a:lnTo>
                  <a:lnTo>
                    <a:pt x="1403" y="483"/>
                  </a:lnTo>
                  <a:lnTo>
                    <a:pt x="1401" y="479"/>
                  </a:lnTo>
                  <a:lnTo>
                    <a:pt x="1399" y="475"/>
                  </a:lnTo>
                  <a:lnTo>
                    <a:pt x="1397" y="471"/>
                  </a:lnTo>
                  <a:lnTo>
                    <a:pt x="1392" y="463"/>
                  </a:lnTo>
                  <a:lnTo>
                    <a:pt x="1386" y="455"/>
                  </a:lnTo>
                  <a:lnTo>
                    <a:pt x="1379" y="445"/>
                  </a:lnTo>
                  <a:lnTo>
                    <a:pt x="1374" y="434"/>
                  </a:lnTo>
                  <a:lnTo>
                    <a:pt x="1373" y="429"/>
                  </a:lnTo>
                  <a:lnTo>
                    <a:pt x="1371" y="422"/>
                  </a:lnTo>
                  <a:lnTo>
                    <a:pt x="1370" y="415"/>
                  </a:lnTo>
                  <a:lnTo>
                    <a:pt x="1370" y="408"/>
                  </a:lnTo>
                  <a:lnTo>
                    <a:pt x="1483" y="408"/>
                  </a:lnTo>
                  <a:lnTo>
                    <a:pt x="1486" y="404"/>
                  </a:lnTo>
                  <a:lnTo>
                    <a:pt x="1491" y="399"/>
                  </a:lnTo>
                  <a:lnTo>
                    <a:pt x="1499" y="394"/>
                  </a:lnTo>
                  <a:lnTo>
                    <a:pt x="1508" y="388"/>
                  </a:lnTo>
                  <a:lnTo>
                    <a:pt x="1529" y="376"/>
                  </a:lnTo>
                  <a:lnTo>
                    <a:pt x="1551" y="364"/>
                  </a:lnTo>
                  <a:lnTo>
                    <a:pt x="1574" y="352"/>
                  </a:lnTo>
                  <a:lnTo>
                    <a:pt x="1594" y="343"/>
                  </a:lnTo>
                  <a:lnTo>
                    <a:pt x="1608" y="335"/>
                  </a:lnTo>
                  <a:lnTo>
                    <a:pt x="1616" y="333"/>
                  </a:lnTo>
                  <a:lnTo>
                    <a:pt x="1628" y="332"/>
                  </a:lnTo>
                  <a:lnTo>
                    <a:pt x="1640" y="329"/>
                  </a:lnTo>
                  <a:lnTo>
                    <a:pt x="1651" y="325"/>
                  </a:lnTo>
                  <a:lnTo>
                    <a:pt x="1662" y="319"/>
                  </a:lnTo>
                  <a:lnTo>
                    <a:pt x="1670" y="314"/>
                  </a:lnTo>
                  <a:lnTo>
                    <a:pt x="1679" y="308"/>
                  </a:lnTo>
                  <a:lnTo>
                    <a:pt x="1685" y="302"/>
                  </a:lnTo>
                  <a:lnTo>
                    <a:pt x="1688" y="297"/>
                  </a:lnTo>
                  <a:lnTo>
                    <a:pt x="1680" y="294"/>
                  </a:lnTo>
                  <a:lnTo>
                    <a:pt x="1674" y="291"/>
                  </a:lnTo>
                  <a:lnTo>
                    <a:pt x="1667" y="288"/>
                  </a:lnTo>
                  <a:lnTo>
                    <a:pt x="1661" y="284"/>
                  </a:lnTo>
                  <a:lnTo>
                    <a:pt x="1656" y="279"/>
                  </a:lnTo>
                  <a:lnTo>
                    <a:pt x="1652" y="275"/>
                  </a:lnTo>
                  <a:lnTo>
                    <a:pt x="1650" y="270"/>
                  </a:lnTo>
                  <a:lnTo>
                    <a:pt x="1648" y="266"/>
                  </a:lnTo>
                  <a:lnTo>
                    <a:pt x="1632" y="258"/>
                  </a:lnTo>
                  <a:lnTo>
                    <a:pt x="1619" y="252"/>
                  </a:lnTo>
                  <a:lnTo>
                    <a:pt x="1613" y="250"/>
                  </a:lnTo>
                  <a:lnTo>
                    <a:pt x="1608" y="249"/>
                  </a:lnTo>
                  <a:lnTo>
                    <a:pt x="1602" y="248"/>
                  </a:lnTo>
                  <a:lnTo>
                    <a:pt x="1596" y="247"/>
                  </a:lnTo>
                  <a:lnTo>
                    <a:pt x="1583" y="248"/>
                  </a:lnTo>
                  <a:lnTo>
                    <a:pt x="1574" y="249"/>
                  </a:lnTo>
                  <a:lnTo>
                    <a:pt x="1567" y="251"/>
                  </a:lnTo>
                  <a:lnTo>
                    <a:pt x="1563" y="253"/>
                  </a:lnTo>
                  <a:lnTo>
                    <a:pt x="1558" y="256"/>
                  </a:lnTo>
                  <a:lnTo>
                    <a:pt x="1553" y="258"/>
                  </a:lnTo>
                  <a:lnTo>
                    <a:pt x="1546" y="259"/>
                  </a:lnTo>
                  <a:lnTo>
                    <a:pt x="1535" y="259"/>
                  </a:lnTo>
                  <a:lnTo>
                    <a:pt x="1521" y="259"/>
                  </a:lnTo>
                  <a:lnTo>
                    <a:pt x="1509" y="258"/>
                  </a:lnTo>
                  <a:lnTo>
                    <a:pt x="1497" y="256"/>
                  </a:lnTo>
                  <a:lnTo>
                    <a:pt x="1487" y="253"/>
                  </a:lnTo>
                  <a:lnTo>
                    <a:pt x="1478" y="249"/>
                  </a:lnTo>
                  <a:lnTo>
                    <a:pt x="1471" y="245"/>
                  </a:lnTo>
                  <a:lnTo>
                    <a:pt x="1463" y="240"/>
                  </a:lnTo>
                  <a:lnTo>
                    <a:pt x="1457" y="235"/>
                  </a:lnTo>
                  <a:lnTo>
                    <a:pt x="1452" y="228"/>
                  </a:lnTo>
                  <a:lnTo>
                    <a:pt x="1448" y="220"/>
                  </a:lnTo>
                  <a:lnTo>
                    <a:pt x="1443" y="213"/>
                  </a:lnTo>
                  <a:lnTo>
                    <a:pt x="1440" y="205"/>
                  </a:lnTo>
                  <a:lnTo>
                    <a:pt x="1434" y="187"/>
                  </a:lnTo>
                  <a:lnTo>
                    <a:pt x="1429" y="167"/>
                  </a:lnTo>
                  <a:lnTo>
                    <a:pt x="1422" y="136"/>
                  </a:lnTo>
                  <a:lnTo>
                    <a:pt x="1412" y="134"/>
                  </a:lnTo>
                  <a:lnTo>
                    <a:pt x="1385" y="127"/>
                  </a:lnTo>
                  <a:lnTo>
                    <a:pt x="1367" y="124"/>
                  </a:lnTo>
                  <a:lnTo>
                    <a:pt x="1347" y="121"/>
                  </a:lnTo>
                  <a:lnTo>
                    <a:pt x="1326" y="119"/>
                  </a:lnTo>
                  <a:lnTo>
                    <a:pt x="1303" y="118"/>
                  </a:lnTo>
                  <a:lnTo>
                    <a:pt x="1294" y="119"/>
                  </a:lnTo>
                  <a:lnTo>
                    <a:pt x="1286" y="120"/>
                  </a:lnTo>
                  <a:lnTo>
                    <a:pt x="1281" y="123"/>
                  </a:lnTo>
                  <a:lnTo>
                    <a:pt x="1275" y="126"/>
                  </a:lnTo>
                  <a:lnTo>
                    <a:pt x="1267" y="134"/>
                  </a:lnTo>
                  <a:lnTo>
                    <a:pt x="1262" y="142"/>
                  </a:lnTo>
                  <a:lnTo>
                    <a:pt x="1260" y="147"/>
                  </a:lnTo>
                  <a:lnTo>
                    <a:pt x="1257" y="151"/>
                  </a:lnTo>
                  <a:lnTo>
                    <a:pt x="1252" y="156"/>
                  </a:lnTo>
                  <a:lnTo>
                    <a:pt x="1248" y="159"/>
                  </a:lnTo>
                  <a:lnTo>
                    <a:pt x="1242" y="162"/>
                  </a:lnTo>
                  <a:lnTo>
                    <a:pt x="1236" y="165"/>
                  </a:lnTo>
                  <a:lnTo>
                    <a:pt x="1227" y="166"/>
                  </a:lnTo>
                  <a:lnTo>
                    <a:pt x="1217" y="167"/>
                  </a:lnTo>
                  <a:lnTo>
                    <a:pt x="1199" y="167"/>
                  </a:lnTo>
                  <a:lnTo>
                    <a:pt x="1184" y="167"/>
                  </a:lnTo>
                  <a:lnTo>
                    <a:pt x="1168" y="167"/>
                  </a:lnTo>
                  <a:lnTo>
                    <a:pt x="1150" y="167"/>
                  </a:lnTo>
                  <a:lnTo>
                    <a:pt x="1130" y="167"/>
                  </a:lnTo>
                  <a:lnTo>
                    <a:pt x="1106" y="167"/>
                  </a:lnTo>
                  <a:lnTo>
                    <a:pt x="1078" y="167"/>
                  </a:lnTo>
                  <a:lnTo>
                    <a:pt x="1044" y="167"/>
                  </a:lnTo>
                  <a:lnTo>
                    <a:pt x="1034" y="164"/>
                  </a:lnTo>
                  <a:lnTo>
                    <a:pt x="1025" y="160"/>
                  </a:lnTo>
                  <a:lnTo>
                    <a:pt x="1015" y="156"/>
                  </a:lnTo>
                  <a:lnTo>
                    <a:pt x="1005" y="151"/>
                  </a:lnTo>
                  <a:lnTo>
                    <a:pt x="986" y="140"/>
                  </a:lnTo>
                  <a:lnTo>
                    <a:pt x="967" y="129"/>
                  </a:lnTo>
                  <a:lnTo>
                    <a:pt x="956" y="123"/>
                  </a:lnTo>
                  <a:lnTo>
                    <a:pt x="945" y="118"/>
                  </a:lnTo>
                  <a:lnTo>
                    <a:pt x="934" y="112"/>
                  </a:lnTo>
                  <a:lnTo>
                    <a:pt x="922" y="108"/>
                  </a:lnTo>
                  <a:lnTo>
                    <a:pt x="908" y="104"/>
                  </a:lnTo>
                  <a:lnTo>
                    <a:pt x="895" y="102"/>
                  </a:lnTo>
                  <a:lnTo>
                    <a:pt x="880" y="100"/>
                  </a:lnTo>
                  <a:lnTo>
                    <a:pt x="865" y="99"/>
                  </a:lnTo>
                  <a:lnTo>
                    <a:pt x="852" y="100"/>
                  </a:lnTo>
                  <a:lnTo>
                    <a:pt x="841" y="102"/>
                  </a:lnTo>
                  <a:lnTo>
                    <a:pt x="832" y="105"/>
                  </a:lnTo>
                  <a:lnTo>
                    <a:pt x="822" y="108"/>
                  </a:lnTo>
                  <a:lnTo>
                    <a:pt x="811" y="112"/>
                  </a:lnTo>
                  <a:lnTo>
                    <a:pt x="801" y="114"/>
                  </a:lnTo>
                  <a:lnTo>
                    <a:pt x="790" y="118"/>
                  </a:lnTo>
                  <a:lnTo>
                    <a:pt x="778" y="118"/>
                  </a:lnTo>
                  <a:lnTo>
                    <a:pt x="765" y="118"/>
                  </a:lnTo>
                  <a:lnTo>
                    <a:pt x="753" y="117"/>
                  </a:lnTo>
                  <a:lnTo>
                    <a:pt x="740" y="116"/>
                  </a:lnTo>
                  <a:lnTo>
                    <a:pt x="729" y="114"/>
                  </a:lnTo>
                  <a:lnTo>
                    <a:pt x="720" y="111"/>
                  </a:lnTo>
                  <a:lnTo>
                    <a:pt x="710" y="108"/>
                  </a:lnTo>
                  <a:lnTo>
                    <a:pt x="701" y="105"/>
                  </a:lnTo>
                  <a:lnTo>
                    <a:pt x="692" y="101"/>
                  </a:lnTo>
                  <a:lnTo>
                    <a:pt x="686" y="96"/>
                  </a:lnTo>
                  <a:lnTo>
                    <a:pt x="678" y="90"/>
                  </a:lnTo>
                  <a:lnTo>
                    <a:pt x="672" y="84"/>
                  </a:lnTo>
                  <a:lnTo>
                    <a:pt x="667" y="76"/>
                  </a:lnTo>
                  <a:lnTo>
                    <a:pt x="662" y="68"/>
                  </a:lnTo>
                  <a:lnTo>
                    <a:pt x="658" y="58"/>
                  </a:lnTo>
                  <a:lnTo>
                    <a:pt x="655" y="49"/>
                  </a:lnTo>
                  <a:lnTo>
                    <a:pt x="652" y="38"/>
                  </a:lnTo>
                  <a:lnTo>
                    <a:pt x="459" y="0"/>
                  </a:lnTo>
                  <a:lnTo>
                    <a:pt x="446" y="7"/>
                  </a:lnTo>
                  <a:lnTo>
                    <a:pt x="446" y="16"/>
                  </a:lnTo>
                  <a:lnTo>
                    <a:pt x="446" y="23"/>
                  </a:lnTo>
                  <a:lnTo>
                    <a:pt x="446" y="30"/>
                  </a:lnTo>
                  <a:lnTo>
                    <a:pt x="446" y="38"/>
                  </a:lnTo>
                  <a:lnTo>
                    <a:pt x="446" y="44"/>
                  </a:lnTo>
                  <a:lnTo>
                    <a:pt x="448" y="50"/>
                  </a:lnTo>
                  <a:lnTo>
                    <a:pt x="451" y="55"/>
                  </a:lnTo>
                  <a:lnTo>
                    <a:pt x="454" y="61"/>
                  </a:lnTo>
                  <a:lnTo>
                    <a:pt x="463" y="71"/>
                  </a:lnTo>
                  <a:lnTo>
                    <a:pt x="471" y="79"/>
                  </a:lnTo>
                  <a:lnTo>
                    <a:pt x="476" y="84"/>
                  </a:lnTo>
                  <a:lnTo>
                    <a:pt x="480" y="89"/>
                  </a:lnTo>
                  <a:lnTo>
                    <a:pt x="485" y="94"/>
                  </a:lnTo>
                  <a:lnTo>
                    <a:pt x="488" y="100"/>
                  </a:lnTo>
                  <a:lnTo>
                    <a:pt x="490" y="106"/>
                  </a:lnTo>
                  <a:lnTo>
                    <a:pt x="492" y="113"/>
                  </a:lnTo>
                  <a:lnTo>
                    <a:pt x="493" y="122"/>
                  </a:lnTo>
                  <a:lnTo>
                    <a:pt x="492" y="130"/>
                  </a:lnTo>
                  <a:lnTo>
                    <a:pt x="313" y="130"/>
                  </a:lnTo>
                  <a:lnTo>
                    <a:pt x="307" y="122"/>
                  </a:lnTo>
                  <a:lnTo>
                    <a:pt x="300" y="113"/>
                  </a:lnTo>
                  <a:lnTo>
                    <a:pt x="298" y="108"/>
                  </a:lnTo>
                  <a:lnTo>
                    <a:pt x="296" y="102"/>
                  </a:lnTo>
                  <a:lnTo>
                    <a:pt x="294" y="95"/>
                  </a:lnTo>
                  <a:lnTo>
                    <a:pt x="294" y="87"/>
                  </a:lnTo>
                  <a:lnTo>
                    <a:pt x="279" y="87"/>
                  </a:lnTo>
                  <a:lnTo>
                    <a:pt x="266" y="87"/>
                  </a:lnTo>
                  <a:lnTo>
                    <a:pt x="240" y="99"/>
                  </a:lnTo>
                  <a:lnTo>
                    <a:pt x="233" y="99"/>
                  </a:lnTo>
                  <a:lnTo>
                    <a:pt x="225" y="97"/>
                  </a:lnTo>
                  <a:lnTo>
                    <a:pt x="219" y="95"/>
                  </a:lnTo>
                  <a:lnTo>
                    <a:pt x="211" y="93"/>
                  </a:lnTo>
                  <a:lnTo>
                    <a:pt x="204" y="91"/>
                  </a:lnTo>
                  <a:lnTo>
                    <a:pt x="195" y="89"/>
                  </a:lnTo>
                  <a:lnTo>
                    <a:pt x="185" y="88"/>
                  </a:lnTo>
                  <a:lnTo>
                    <a:pt x="174" y="87"/>
                  </a:lnTo>
                  <a:lnTo>
                    <a:pt x="164" y="88"/>
                  </a:lnTo>
                  <a:lnTo>
                    <a:pt x="155" y="90"/>
                  </a:lnTo>
                  <a:lnTo>
                    <a:pt x="146" y="93"/>
                  </a:lnTo>
                  <a:lnTo>
                    <a:pt x="138" y="97"/>
                  </a:lnTo>
                  <a:lnTo>
                    <a:pt x="122" y="106"/>
                  </a:lnTo>
                  <a:lnTo>
                    <a:pt x="107" y="118"/>
                  </a:lnTo>
                  <a:lnTo>
                    <a:pt x="92" y="129"/>
                  </a:lnTo>
                  <a:lnTo>
                    <a:pt x="76" y="139"/>
                  </a:lnTo>
                  <a:lnTo>
                    <a:pt x="68" y="143"/>
                  </a:lnTo>
                  <a:lnTo>
                    <a:pt x="60" y="146"/>
                  </a:lnTo>
                  <a:lnTo>
                    <a:pt x="50" y="148"/>
                  </a:lnTo>
                  <a:lnTo>
                    <a:pt x="41" y="149"/>
                  </a:lnTo>
                  <a:lnTo>
                    <a:pt x="37" y="149"/>
                  </a:lnTo>
                  <a:lnTo>
                    <a:pt x="31" y="151"/>
                  </a:lnTo>
                  <a:lnTo>
                    <a:pt x="25" y="153"/>
                  </a:lnTo>
                  <a:lnTo>
                    <a:pt x="18" y="157"/>
                  </a:lnTo>
                  <a:lnTo>
                    <a:pt x="11" y="161"/>
                  </a:lnTo>
                  <a:lnTo>
                    <a:pt x="6" y="166"/>
                  </a:lnTo>
                  <a:lnTo>
                    <a:pt x="4" y="169"/>
                  </a:lnTo>
                  <a:lnTo>
                    <a:pt x="3" y="173"/>
                  </a:lnTo>
                  <a:lnTo>
                    <a:pt x="1" y="177"/>
                  </a:lnTo>
                  <a:lnTo>
                    <a:pt x="0" y="18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699" name="Freeform 162"/>
            <p:cNvSpPr>
              <a:spLocks/>
            </p:cNvSpPr>
            <p:nvPr>
              <p:custDataLst>
                <p:tags r:id="rId91"/>
              </p:custDataLst>
            </p:nvPr>
          </p:nvSpPr>
          <p:spPr bwMode="auto">
            <a:xfrm>
              <a:off x="3517330" y="4486766"/>
              <a:ext cx="391768" cy="499471"/>
            </a:xfrm>
            <a:custGeom>
              <a:avLst/>
              <a:gdLst>
                <a:gd name="T0" fmla="*/ 11272 w 758"/>
                <a:gd name="T1" fmla="*/ 41854 h 795"/>
                <a:gd name="T2" fmla="*/ 21243 w 758"/>
                <a:gd name="T3" fmla="*/ 46039 h 795"/>
                <a:gd name="T4" fmla="*/ 31214 w 758"/>
                <a:gd name="T5" fmla="*/ 56503 h 795"/>
                <a:gd name="T6" fmla="*/ 38150 w 758"/>
                <a:gd name="T7" fmla="*/ 70106 h 795"/>
                <a:gd name="T8" fmla="*/ 40318 w 758"/>
                <a:gd name="T9" fmla="*/ 88417 h 795"/>
                <a:gd name="T10" fmla="*/ 36416 w 758"/>
                <a:gd name="T11" fmla="*/ 97311 h 795"/>
                <a:gd name="T12" fmla="*/ 35116 w 758"/>
                <a:gd name="T13" fmla="*/ 107251 h 795"/>
                <a:gd name="T14" fmla="*/ 38150 w 758"/>
                <a:gd name="T15" fmla="*/ 125562 h 795"/>
                <a:gd name="T16" fmla="*/ 41185 w 758"/>
                <a:gd name="T17" fmla="*/ 145443 h 795"/>
                <a:gd name="T18" fmla="*/ 35983 w 758"/>
                <a:gd name="T19" fmla="*/ 161138 h 795"/>
                <a:gd name="T20" fmla="*/ 35116 w 758"/>
                <a:gd name="T21" fmla="*/ 184158 h 795"/>
                <a:gd name="T22" fmla="*/ 40318 w 758"/>
                <a:gd name="T23" fmla="*/ 204039 h 795"/>
                <a:gd name="T24" fmla="*/ 42919 w 758"/>
                <a:gd name="T25" fmla="*/ 217118 h 795"/>
                <a:gd name="T26" fmla="*/ 33815 w 758"/>
                <a:gd name="T27" fmla="*/ 239091 h 795"/>
                <a:gd name="T28" fmla="*/ 48988 w 758"/>
                <a:gd name="T29" fmla="*/ 276760 h 795"/>
                <a:gd name="T30" fmla="*/ 59826 w 758"/>
                <a:gd name="T31" fmla="*/ 301873 h 795"/>
                <a:gd name="T32" fmla="*/ 63295 w 758"/>
                <a:gd name="T33" fmla="*/ 325416 h 795"/>
                <a:gd name="T34" fmla="*/ 65896 w 758"/>
                <a:gd name="T35" fmla="*/ 344773 h 795"/>
                <a:gd name="T36" fmla="*/ 81069 w 758"/>
                <a:gd name="T37" fmla="*/ 386104 h 795"/>
                <a:gd name="T38" fmla="*/ 92774 w 758"/>
                <a:gd name="T39" fmla="*/ 409124 h 795"/>
                <a:gd name="T40" fmla="*/ 99711 w 758"/>
                <a:gd name="T41" fmla="*/ 415402 h 795"/>
                <a:gd name="T42" fmla="*/ 108815 w 758"/>
                <a:gd name="T43" fmla="*/ 413309 h 795"/>
                <a:gd name="T44" fmla="*/ 125289 w 758"/>
                <a:gd name="T45" fmla="*/ 398137 h 795"/>
                <a:gd name="T46" fmla="*/ 140462 w 758"/>
                <a:gd name="T47" fmla="*/ 390289 h 795"/>
                <a:gd name="T48" fmla="*/ 153901 w 758"/>
                <a:gd name="T49" fmla="*/ 391336 h 795"/>
                <a:gd name="T50" fmla="*/ 168208 w 758"/>
                <a:gd name="T51" fmla="*/ 402846 h 795"/>
                <a:gd name="T52" fmla="*/ 181213 w 758"/>
                <a:gd name="T53" fmla="*/ 408077 h 795"/>
                <a:gd name="T54" fmla="*/ 189450 w 758"/>
                <a:gd name="T55" fmla="*/ 396567 h 795"/>
                <a:gd name="T56" fmla="*/ 207225 w 758"/>
                <a:gd name="T57" fmla="*/ 389766 h 795"/>
                <a:gd name="T58" fmla="*/ 227601 w 758"/>
                <a:gd name="T59" fmla="*/ 325416 h 795"/>
                <a:gd name="T60" fmla="*/ 233670 w 758"/>
                <a:gd name="T61" fmla="*/ 313906 h 795"/>
                <a:gd name="T62" fmla="*/ 249277 w 758"/>
                <a:gd name="T63" fmla="*/ 305535 h 795"/>
                <a:gd name="T64" fmla="*/ 288294 w 758"/>
                <a:gd name="T65" fmla="*/ 299780 h 795"/>
                <a:gd name="T66" fmla="*/ 297832 w 758"/>
                <a:gd name="T67" fmla="*/ 302919 h 795"/>
                <a:gd name="T68" fmla="*/ 305202 w 758"/>
                <a:gd name="T69" fmla="*/ 306058 h 795"/>
                <a:gd name="T70" fmla="*/ 322543 w 758"/>
                <a:gd name="T71" fmla="*/ 299780 h 795"/>
                <a:gd name="T72" fmla="*/ 328178 w 758"/>
                <a:gd name="T73" fmla="*/ 283038 h 795"/>
                <a:gd name="T74" fmla="*/ 326011 w 758"/>
                <a:gd name="T75" fmla="*/ 261065 h 795"/>
                <a:gd name="T76" fmla="*/ 314739 w 758"/>
                <a:gd name="T77" fmla="*/ 241707 h 795"/>
                <a:gd name="T78" fmla="*/ 307803 w 758"/>
                <a:gd name="T79" fmla="*/ 227582 h 795"/>
                <a:gd name="T80" fmla="*/ 290895 w 758"/>
                <a:gd name="T81" fmla="*/ 209794 h 795"/>
                <a:gd name="T82" fmla="*/ 274421 w 758"/>
                <a:gd name="T83" fmla="*/ 208747 h 795"/>
                <a:gd name="T84" fmla="*/ 262283 w 758"/>
                <a:gd name="T85" fmla="*/ 197761 h 795"/>
                <a:gd name="T86" fmla="*/ 255780 w 758"/>
                <a:gd name="T87" fmla="*/ 182588 h 795"/>
                <a:gd name="T88" fmla="*/ 253612 w 758"/>
                <a:gd name="T89" fmla="*/ 162708 h 795"/>
                <a:gd name="T90" fmla="*/ 252745 w 758"/>
                <a:gd name="T91" fmla="*/ 140734 h 795"/>
                <a:gd name="T92" fmla="*/ 242774 w 758"/>
                <a:gd name="T93" fmla="*/ 126609 h 795"/>
                <a:gd name="T94" fmla="*/ 218063 w 758"/>
                <a:gd name="T95" fmla="*/ 107251 h 795"/>
                <a:gd name="T96" fmla="*/ 190751 w 758"/>
                <a:gd name="T97" fmla="*/ 93125 h 795"/>
                <a:gd name="T98" fmla="*/ 169942 w 758"/>
                <a:gd name="T99" fmla="*/ 87370 h 795"/>
                <a:gd name="T100" fmla="*/ 155635 w 758"/>
                <a:gd name="T101" fmla="*/ 84231 h 795"/>
                <a:gd name="T102" fmla="*/ 143063 w 758"/>
                <a:gd name="T103" fmla="*/ 75861 h 795"/>
                <a:gd name="T104" fmla="*/ 133092 w 758"/>
                <a:gd name="T105" fmla="*/ 63827 h 795"/>
                <a:gd name="T106" fmla="*/ 126589 w 758"/>
                <a:gd name="T107" fmla="*/ 48132 h 795"/>
                <a:gd name="T108" fmla="*/ 120953 w 758"/>
                <a:gd name="T109" fmla="*/ 9940 h 795"/>
                <a:gd name="T110" fmla="*/ 113150 w 758"/>
                <a:gd name="T111" fmla="*/ 1570 h 795"/>
                <a:gd name="T112" fmla="*/ 98410 w 758"/>
                <a:gd name="T113" fmla="*/ 1570 h 795"/>
                <a:gd name="T114" fmla="*/ 75000 w 758"/>
                <a:gd name="T115" fmla="*/ 15695 h 795"/>
                <a:gd name="T116" fmla="*/ 51589 w 758"/>
                <a:gd name="T117" fmla="*/ 34530 h 795"/>
                <a:gd name="T118" fmla="*/ 0 w 758"/>
                <a:gd name="T119" fmla="*/ 41854 h 795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758" h="795">
                  <a:moveTo>
                    <a:pt x="0" y="80"/>
                  </a:moveTo>
                  <a:lnTo>
                    <a:pt x="10" y="80"/>
                  </a:lnTo>
                  <a:lnTo>
                    <a:pt x="20" y="80"/>
                  </a:lnTo>
                  <a:lnTo>
                    <a:pt x="26" y="80"/>
                  </a:lnTo>
                  <a:lnTo>
                    <a:pt x="31" y="81"/>
                  </a:lnTo>
                  <a:lnTo>
                    <a:pt x="37" y="83"/>
                  </a:lnTo>
                  <a:lnTo>
                    <a:pt x="43" y="85"/>
                  </a:lnTo>
                  <a:lnTo>
                    <a:pt x="49" y="88"/>
                  </a:lnTo>
                  <a:lnTo>
                    <a:pt x="55" y="92"/>
                  </a:lnTo>
                  <a:lnTo>
                    <a:pt x="61" y="97"/>
                  </a:lnTo>
                  <a:lnTo>
                    <a:pt x="66" y="102"/>
                  </a:lnTo>
                  <a:lnTo>
                    <a:pt x="72" y="108"/>
                  </a:lnTo>
                  <a:lnTo>
                    <a:pt x="77" y="113"/>
                  </a:lnTo>
                  <a:lnTo>
                    <a:pt x="82" y="120"/>
                  </a:lnTo>
                  <a:lnTo>
                    <a:pt x="86" y="127"/>
                  </a:lnTo>
                  <a:lnTo>
                    <a:pt x="88" y="134"/>
                  </a:lnTo>
                  <a:lnTo>
                    <a:pt x="92" y="142"/>
                  </a:lnTo>
                  <a:lnTo>
                    <a:pt x="93" y="152"/>
                  </a:lnTo>
                  <a:lnTo>
                    <a:pt x="94" y="161"/>
                  </a:lnTo>
                  <a:lnTo>
                    <a:pt x="93" y="169"/>
                  </a:lnTo>
                  <a:lnTo>
                    <a:pt x="92" y="175"/>
                  </a:lnTo>
                  <a:lnTo>
                    <a:pt x="89" y="180"/>
                  </a:lnTo>
                  <a:lnTo>
                    <a:pt x="87" y="183"/>
                  </a:lnTo>
                  <a:lnTo>
                    <a:pt x="84" y="186"/>
                  </a:lnTo>
                  <a:lnTo>
                    <a:pt x="82" y="190"/>
                  </a:lnTo>
                  <a:lnTo>
                    <a:pt x="81" y="193"/>
                  </a:lnTo>
                  <a:lnTo>
                    <a:pt x="81" y="197"/>
                  </a:lnTo>
                  <a:lnTo>
                    <a:pt x="81" y="205"/>
                  </a:lnTo>
                  <a:lnTo>
                    <a:pt x="82" y="214"/>
                  </a:lnTo>
                  <a:lnTo>
                    <a:pt x="83" y="221"/>
                  </a:lnTo>
                  <a:lnTo>
                    <a:pt x="84" y="227"/>
                  </a:lnTo>
                  <a:lnTo>
                    <a:pt x="88" y="240"/>
                  </a:lnTo>
                  <a:lnTo>
                    <a:pt x="94" y="252"/>
                  </a:lnTo>
                  <a:lnTo>
                    <a:pt x="97" y="262"/>
                  </a:lnTo>
                  <a:lnTo>
                    <a:pt x="100" y="271"/>
                  </a:lnTo>
                  <a:lnTo>
                    <a:pt x="95" y="278"/>
                  </a:lnTo>
                  <a:lnTo>
                    <a:pt x="92" y="285"/>
                  </a:lnTo>
                  <a:lnTo>
                    <a:pt x="88" y="293"/>
                  </a:lnTo>
                  <a:lnTo>
                    <a:pt x="85" y="300"/>
                  </a:lnTo>
                  <a:lnTo>
                    <a:pt x="83" y="308"/>
                  </a:lnTo>
                  <a:lnTo>
                    <a:pt x="82" y="318"/>
                  </a:lnTo>
                  <a:lnTo>
                    <a:pt x="81" y="328"/>
                  </a:lnTo>
                  <a:lnTo>
                    <a:pt x="81" y="339"/>
                  </a:lnTo>
                  <a:lnTo>
                    <a:pt x="81" y="352"/>
                  </a:lnTo>
                  <a:lnTo>
                    <a:pt x="83" y="363"/>
                  </a:lnTo>
                  <a:lnTo>
                    <a:pt x="85" y="374"/>
                  </a:lnTo>
                  <a:lnTo>
                    <a:pt x="88" y="382"/>
                  </a:lnTo>
                  <a:lnTo>
                    <a:pt x="93" y="390"/>
                  </a:lnTo>
                  <a:lnTo>
                    <a:pt x="97" y="396"/>
                  </a:lnTo>
                  <a:lnTo>
                    <a:pt x="101" y="402"/>
                  </a:lnTo>
                  <a:lnTo>
                    <a:pt x="107" y="407"/>
                  </a:lnTo>
                  <a:lnTo>
                    <a:pt x="99" y="415"/>
                  </a:lnTo>
                  <a:lnTo>
                    <a:pt x="94" y="424"/>
                  </a:lnTo>
                  <a:lnTo>
                    <a:pt x="89" y="433"/>
                  </a:lnTo>
                  <a:lnTo>
                    <a:pt x="85" y="441"/>
                  </a:lnTo>
                  <a:lnTo>
                    <a:pt x="78" y="457"/>
                  </a:lnTo>
                  <a:lnTo>
                    <a:pt x="73" y="474"/>
                  </a:lnTo>
                  <a:lnTo>
                    <a:pt x="88" y="493"/>
                  </a:lnTo>
                  <a:lnTo>
                    <a:pt x="101" y="511"/>
                  </a:lnTo>
                  <a:lnTo>
                    <a:pt x="113" y="529"/>
                  </a:lnTo>
                  <a:lnTo>
                    <a:pt x="124" y="548"/>
                  </a:lnTo>
                  <a:lnTo>
                    <a:pt x="130" y="558"/>
                  </a:lnTo>
                  <a:lnTo>
                    <a:pt x="134" y="567"/>
                  </a:lnTo>
                  <a:lnTo>
                    <a:pt x="138" y="577"/>
                  </a:lnTo>
                  <a:lnTo>
                    <a:pt x="141" y="588"/>
                  </a:lnTo>
                  <a:lnTo>
                    <a:pt x="143" y="599"/>
                  </a:lnTo>
                  <a:lnTo>
                    <a:pt x="145" y="611"/>
                  </a:lnTo>
                  <a:lnTo>
                    <a:pt x="146" y="622"/>
                  </a:lnTo>
                  <a:lnTo>
                    <a:pt x="146" y="634"/>
                  </a:lnTo>
                  <a:lnTo>
                    <a:pt x="148" y="640"/>
                  </a:lnTo>
                  <a:lnTo>
                    <a:pt x="149" y="648"/>
                  </a:lnTo>
                  <a:lnTo>
                    <a:pt x="152" y="659"/>
                  </a:lnTo>
                  <a:lnTo>
                    <a:pt x="156" y="670"/>
                  </a:lnTo>
                  <a:lnTo>
                    <a:pt x="166" y="696"/>
                  </a:lnTo>
                  <a:lnTo>
                    <a:pt x="179" y="724"/>
                  </a:lnTo>
                  <a:lnTo>
                    <a:pt x="187" y="738"/>
                  </a:lnTo>
                  <a:lnTo>
                    <a:pt x="194" y="750"/>
                  </a:lnTo>
                  <a:lnTo>
                    <a:pt x="201" y="763"/>
                  </a:lnTo>
                  <a:lnTo>
                    <a:pt x="208" y="774"/>
                  </a:lnTo>
                  <a:lnTo>
                    <a:pt x="214" y="782"/>
                  </a:lnTo>
                  <a:lnTo>
                    <a:pt x="221" y="789"/>
                  </a:lnTo>
                  <a:lnTo>
                    <a:pt x="224" y="792"/>
                  </a:lnTo>
                  <a:lnTo>
                    <a:pt x="228" y="793"/>
                  </a:lnTo>
                  <a:lnTo>
                    <a:pt x="230" y="794"/>
                  </a:lnTo>
                  <a:lnTo>
                    <a:pt x="233" y="795"/>
                  </a:lnTo>
                  <a:lnTo>
                    <a:pt x="239" y="794"/>
                  </a:lnTo>
                  <a:lnTo>
                    <a:pt x="244" y="793"/>
                  </a:lnTo>
                  <a:lnTo>
                    <a:pt x="251" y="790"/>
                  </a:lnTo>
                  <a:lnTo>
                    <a:pt x="256" y="787"/>
                  </a:lnTo>
                  <a:lnTo>
                    <a:pt x="266" y="780"/>
                  </a:lnTo>
                  <a:lnTo>
                    <a:pt x="278" y="771"/>
                  </a:lnTo>
                  <a:lnTo>
                    <a:pt x="289" y="761"/>
                  </a:lnTo>
                  <a:lnTo>
                    <a:pt x="302" y="753"/>
                  </a:lnTo>
                  <a:lnTo>
                    <a:pt x="309" y="750"/>
                  </a:lnTo>
                  <a:lnTo>
                    <a:pt x="317" y="747"/>
                  </a:lnTo>
                  <a:lnTo>
                    <a:pt x="324" y="746"/>
                  </a:lnTo>
                  <a:lnTo>
                    <a:pt x="332" y="745"/>
                  </a:lnTo>
                  <a:lnTo>
                    <a:pt x="341" y="746"/>
                  </a:lnTo>
                  <a:lnTo>
                    <a:pt x="348" y="747"/>
                  </a:lnTo>
                  <a:lnTo>
                    <a:pt x="355" y="748"/>
                  </a:lnTo>
                  <a:lnTo>
                    <a:pt x="361" y="750"/>
                  </a:lnTo>
                  <a:lnTo>
                    <a:pt x="371" y="756"/>
                  </a:lnTo>
                  <a:lnTo>
                    <a:pt x="380" y="763"/>
                  </a:lnTo>
                  <a:lnTo>
                    <a:pt x="388" y="770"/>
                  </a:lnTo>
                  <a:lnTo>
                    <a:pt x="395" y="777"/>
                  </a:lnTo>
                  <a:lnTo>
                    <a:pt x="403" y="783"/>
                  </a:lnTo>
                  <a:lnTo>
                    <a:pt x="412" y="789"/>
                  </a:lnTo>
                  <a:lnTo>
                    <a:pt x="418" y="780"/>
                  </a:lnTo>
                  <a:lnTo>
                    <a:pt x="422" y="773"/>
                  </a:lnTo>
                  <a:lnTo>
                    <a:pt x="427" y="767"/>
                  </a:lnTo>
                  <a:lnTo>
                    <a:pt x="432" y="761"/>
                  </a:lnTo>
                  <a:lnTo>
                    <a:pt x="437" y="758"/>
                  </a:lnTo>
                  <a:lnTo>
                    <a:pt x="443" y="754"/>
                  </a:lnTo>
                  <a:lnTo>
                    <a:pt x="448" y="752"/>
                  </a:lnTo>
                  <a:lnTo>
                    <a:pt x="454" y="750"/>
                  </a:lnTo>
                  <a:lnTo>
                    <a:pt x="478" y="745"/>
                  </a:lnTo>
                  <a:lnTo>
                    <a:pt x="505" y="739"/>
                  </a:lnTo>
                  <a:lnTo>
                    <a:pt x="525" y="647"/>
                  </a:lnTo>
                  <a:lnTo>
                    <a:pt x="525" y="637"/>
                  </a:lnTo>
                  <a:lnTo>
                    <a:pt x="525" y="622"/>
                  </a:lnTo>
                  <a:lnTo>
                    <a:pt x="526" y="616"/>
                  </a:lnTo>
                  <a:lnTo>
                    <a:pt x="529" y="610"/>
                  </a:lnTo>
                  <a:lnTo>
                    <a:pt x="533" y="604"/>
                  </a:lnTo>
                  <a:lnTo>
                    <a:pt x="539" y="600"/>
                  </a:lnTo>
                  <a:lnTo>
                    <a:pt x="547" y="594"/>
                  </a:lnTo>
                  <a:lnTo>
                    <a:pt x="555" y="590"/>
                  </a:lnTo>
                  <a:lnTo>
                    <a:pt x="565" y="587"/>
                  </a:lnTo>
                  <a:lnTo>
                    <a:pt x="575" y="584"/>
                  </a:lnTo>
                  <a:lnTo>
                    <a:pt x="597" y="579"/>
                  </a:lnTo>
                  <a:lnTo>
                    <a:pt x="621" y="575"/>
                  </a:lnTo>
                  <a:lnTo>
                    <a:pt x="644" y="574"/>
                  </a:lnTo>
                  <a:lnTo>
                    <a:pt x="665" y="573"/>
                  </a:lnTo>
                  <a:lnTo>
                    <a:pt x="671" y="573"/>
                  </a:lnTo>
                  <a:lnTo>
                    <a:pt x="678" y="575"/>
                  </a:lnTo>
                  <a:lnTo>
                    <a:pt x="682" y="577"/>
                  </a:lnTo>
                  <a:lnTo>
                    <a:pt x="687" y="579"/>
                  </a:lnTo>
                  <a:lnTo>
                    <a:pt x="691" y="581"/>
                  </a:lnTo>
                  <a:lnTo>
                    <a:pt x="695" y="583"/>
                  </a:lnTo>
                  <a:lnTo>
                    <a:pt x="700" y="585"/>
                  </a:lnTo>
                  <a:lnTo>
                    <a:pt x="704" y="585"/>
                  </a:lnTo>
                  <a:lnTo>
                    <a:pt x="738" y="598"/>
                  </a:lnTo>
                  <a:lnTo>
                    <a:pt x="738" y="589"/>
                  </a:lnTo>
                  <a:lnTo>
                    <a:pt x="740" y="581"/>
                  </a:lnTo>
                  <a:lnTo>
                    <a:pt x="744" y="573"/>
                  </a:lnTo>
                  <a:lnTo>
                    <a:pt x="748" y="566"/>
                  </a:lnTo>
                  <a:lnTo>
                    <a:pt x="751" y="559"/>
                  </a:lnTo>
                  <a:lnTo>
                    <a:pt x="755" y="550"/>
                  </a:lnTo>
                  <a:lnTo>
                    <a:pt x="757" y="541"/>
                  </a:lnTo>
                  <a:lnTo>
                    <a:pt x="758" y="530"/>
                  </a:lnTo>
                  <a:lnTo>
                    <a:pt x="757" y="518"/>
                  </a:lnTo>
                  <a:lnTo>
                    <a:pt x="756" y="508"/>
                  </a:lnTo>
                  <a:lnTo>
                    <a:pt x="752" y="499"/>
                  </a:lnTo>
                  <a:lnTo>
                    <a:pt x="749" y="492"/>
                  </a:lnTo>
                  <a:lnTo>
                    <a:pt x="740" y="478"/>
                  </a:lnTo>
                  <a:lnTo>
                    <a:pt x="731" y="467"/>
                  </a:lnTo>
                  <a:lnTo>
                    <a:pt x="726" y="462"/>
                  </a:lnTo>
                  <a:lnTo>
                    <a:pt x="722" y="456"/>
                  </a:lnTo>
                  <a:lnTo>
                    <a:pt x="716" y="450"/>
                  </a:lnTo>
                  <a:lnTo>
                    <a:pt x="713" y="443"/>
                  </a:lnTo>
                  <a:lnTo>
                    <a:pt x="710" y="435"/>
                  </a:lnTo>
                  <a:lnTo>
                    <a:pt x="706" y="424"/>
                  </a:lnTo>
                  <a:lnTo>
                    <a:pt x="705" y="413"/>
                  </a:lnTo>
                  <a:lnTo>
                    <a:pt x="704" y="401"/>
                  </a:lnTo>
                  <a:lnTo>
                    <a:pt x="671" y="401"/>
                  </a:lnTo>
                  <a:lnTo>
                    <a:pt x="660" y="403"/>
                  </a:lnTo>
                  <a:lnTo>
                    <a:pt x="650" y="403"/>
                  </a:lnTo>
                  <a:lnTo>
                    <a:pt x="641" y="402"/>
                  </a:lnTo>
                  <a:lnTo>
                    <a:pt x="633" y="399"/>
                  </a:lnTo>
                  <a:lnTo>
                    <a:pt x="625" y="395"/>
                  </a:lnTo>
                  <a:lnTo>
                    <a:pt x="617" y="390"/>
                  </a:lnTo>
                  <a:lnTo>
                    <a:pt x="611" y="384"/>
                  </a:lnTo>
                  <a:lnTo>
                    <a:pt x="605" y="378"/>
                  </a:lnTo>
                  <a:lnTo>
                    <a:pt x="601" y="370"/>
                  </a:lnTo>
                  <a:lnTo>
                    <a:pt x="597" y="363"/>
                  </a:lnTo>
                  <a:lnTo>
                    <a:pt x="593" y="356"/>
                  </a:lnTo>
                  <a:lnTo>
                    <a:pt x="590" y="349"/>
                  </a:lnTo>
                  <a:lnTo>
                    <a:pt x="586" y="336"/>
                  </a:lnTo>
                  <a:lnTo>
                    <a:pt x="585" y="327"/>
                  </a:lnTo>
                  <a:lnTo>
                    <a:pt x="585" y="321"/>
                  </a:lnTo>
                  <a:lnTo>
                    <a:pt x="585" y="311"/>
                  </a:lnTo>
                  <a:lnTo>
                    <a:pt x="585" y="297"/>
                  </a:lnTo>
                  <a:lnTo>
                    <a:pt x="585" y="278"/>
                  </a:lnTo>
                  <a:lnTo>
                    <a:pt x="585" y="274"/>
                  </a:lnTo>
                  <a:lnTo>
                    <a:pt x="583" y="269"/>
                  </a:lnTo>
                  <a:lnTo>
                    <a:pt x="581" y="265"/>
                  </a:lnTo>
                  <a:lnTo>
                    <a:pt x="578" y="260"/>
                  </a:lnTo>
                  <a:lnTo>
                    <a:pt x="570" y="251"/>
                  </a:lnTo>
                  <a:lnTo>
                    <a:pt x="560" y="242"/>
                  </a:lnTo>
                  <a:lnTo>
                    <a:pt x="548" y="233"/>
                  </a:lnTo>
                  <a:lnTo>
                    <a:pt x="534" y="223"/>
                  </a:lnTo>
                  <a:lnTo>
                    <a:pt x="520" y="215"/>
                  </a:lnTo>
                  <a:lnTo>
                    <a:pt x="503" y="205"/>
                  </a:lnTo>
                  <a:lnTo>
                    <a:pt x="487" y="197"/>
                  </a:lnTo>
                  <a:lnTo>
                    <a:pt x="470" y="190"/>
                  </a:lnTo>
                  <a:lnTo>
                    <a:pt x="455" y="183"/>
                  </a:lnTo>
                  <a:lnTo>
                    <a:pt x="440" y="178"/>
                  </a:lnTo>
                  <a:lnTo>
                    <a:pt x="425" y="173"/>
                  </a:lnTo>
                  <a:lnTo>
                    <a:pt x="412" y="170"/>
                  </a:lnTo>
                  <a:lnTo>
                    <a:pt x="401" y="167"/>
                  </a:lnTo>
                  <a:lnTo>
                    <a:pt x="392" y="167"/>
                  </a:lnTo>
                  <a:lnTo>
                    <a:pt x="384" y="166"/>
                  </a:lnTo>
                  <a:lnTo>
                    <a:pt x="375" y="165"/>
                  </a:lnTo>
                  <a:lnTo>
                    <a:pt x="367" y="164"/>
                  </a:lnTo>
                  <a:lnTo>
                    <a:pt x="359" y="161"/>
                  </a:lnTo>
                  <a:lnTo>
                    <a:pt x="351" y="158"/>
                  </a:lnTo>
                  <a:lnTo>
                    <a:pt x="344" y="155"/>
                  </a:lnTo>
                  <a:lnTo>
                    <a:pt x="336" y="151"/>
                  </a:lnTo>
                  <a:lnTo>
                    <a:pt x="330" y="145"/>
                  </a:lnTo>
                  <a:lnTo>
                    <a:pt x="323" y="140"/>
                  </a:lnTo>
                  <a:lnTo>
                    <a:pt x="318" y="135"/>
                  </a:lnTo>
                  <a:lnTo>
                    <a:pt x="312" y="129"/>
                  </a:lnTo>
                  <a:lnTo>
                    <a:pt x="307" y="122"/>
                  </a:lnTo>
                  <a:lnTo>
                    <a:pt x="302" y="115"/>
                  </a:lnTo>
                  <a:lnTo>
                    <a:pt x="299" y="108"/>
                  </a:lnTo>
                  <a:lnTo>
                    <a:pt x="296" y="101"/>
                  </a:lnTo>
                  <a:lnTo>
                    <a:pt x="292" y="92"/>
                  </a:lnTo>
                  <a:lnTo>
                    <a:pt x="289" y="63"/>
                  </a:lnTo>
                  <a:lnTo>
                    <a:pt x="285" y="32"/>
                  </a:lnTo>
                  <a:lnTo>
                    <a:pt x="283" y="25"/>
                  </a:lnTo>
                  <a:lnTo>
                    <a:pt x="279" y="19"/>
                  </a:lnTo>
                  <a:lnTo>
                    <a:pt x="276" y="14"/>
                  </a:lnTo>
                  <a:lnTo>
                    <a:pt x="272" y="9"/>
                  </a:lnTo>
                  <a:lnTo>
                    <a:pt x="267" y="6"/>
                  </a:lnTo>
                  <a:lnTo>
                    <a:pt x="261" y="3"/>
                  </a:lnTo>
                  <a:lnTo>
                    <a:pt x="254" y="1"/>
                  </a:lnTo>
                  <a:lnTo>
                    <a:pt x="246" y="0"/>
                  </a:lnTo>
                  <a:lnTo>
                    <a:pt x="236" y="1"/>
                  </a:lnTo>
                  <a:lnTo>
                    <a:pt x="227" y="3"/>
                  </a:lnTo>
                  <a:lnTo>
                    <a:pt x="218" y="5"/>
                  </a:lnTo>
                  <a:lnTo>
                    <a:pt x="208" y="9"/>
                  </a:lnTo>
                  <a:lnTo>
                    <a:pt x="190" y="18"/>
                  </a:lnTo>
                  <a:lnTo>
                    <a:pt x="173" y="30"/>
                  </a:lnTo>
                  <a:lnTo>
                    <a:pt x="155" y="43"/>
                  </a:lnTo>
                  <a:lnTo>
                    <a:pt x="138" y="55"/>
                  </a:lnTo>
                  <a:lnTo>
                    <a:pt x="129" y="60"/>
                  </a:lnTo>
                  <a:lnTo>
                    <a:pt x="119" y="66"/>
                  </a:lnTo>
                  <a:lnTo>
                    <a:pt x="110" y="70"/>
                  </a:lnTo>
                  <a:lnTo>
                    <a:pt x="100" y="74"/>
                  </a:lnTo>
                  <a:lnTo>
                    <a:pt x="20" y="80"/>
                  </a:lnTo>
                  <a:lnTo>
                    <a:pt x="0" y="80"/>
                  </a:lnTo>
                </a:path>
              </a:pathLst>
            </a:custGeom>
            <a:solidFill>
              <a:schemeClr val="accent2">
                <a:lumMod val="5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700" name="Freeform 163"/>
            <p:cNvSpPr>
              <a:spLocks/>
            </p:cNvSpPr>
            <p:nvPr>
              <p:custDataLst>
                <p:tags r:id="rId92"/>
              </p:custDataLst>
            </p:nvPr>
          </p:nvSpPr>
          <p:spPr bwMode="auto">
            <a:xfrm>
              <a:off x="3772831" y="3802376"/>
              <a:ext cx="141946" cy="259267"/>
            </a:xfrm>
            <a:custGeom>
              <a:avLst/>
              <a:gdLst>
                <a:gd name="T0" fmla="*/ 98129 w 273"/>
                <a:gd name="T1" fmla="*/ 73010 h 414"/>
                <a:gd name="T2" fmla="*/ 92895 w 273"/>
                <a:gd name="T3" fmla="*/ 69359 h 414"/>
                <a:gd name="T4" fmla="*/ 87662 w 273"/>
                <a:gd name="T5" fmla="*/ 63101 h 414"/>
                <a:gd name="T6" fmla="*/ 82864 w 273"/>
                <a:gd name="T7" fmla="*/ 54757 h 414"/>
                <a:gd name="T8" fmla="*/ 79811 w 273"/>
                <a:gd name="T9" fmla="*/ 50064 h 414"/>
                <a:gd name="T10" fmla="*/ 76759 w 273"/>
                <a:gd name="T11" fmla="*/ 48499 h 414"/>
                <a:gd name="T12" fmla="*/ 72833 w 273"/>
                <a:gd name="T13" fmla="*/ 49021 h 414"/>
                <a:gd name="T14" fmla="*/ 70217 w 273"/>
                <a:gd name="T15" fmla="*/ 52671 h 414"/>
                <a:gd name="T16" fmla="*/ 66728 w 273"/>
                <a:gd name="T17" fmla="*/ 44849 h 414"/>
                <a:gd name="T18" fmla="*/ 61930 w 273"/>
                <a:gd name="T19" fmla="*/ 28161 h 414"/>
                <a:gd name="T20" fmla="*/ 57569 w 273"/>
                <a:gd name="T21" fmla="*/ 18774 h 414"/>
                <a:gd name="T22" fmla="*/ 53644 w 273"/>
                <a:gd name="T23" fmla="*/ 13037 h 414"/>
                <a:gd name="T24" fmla="*/ 48410 w 273"/>
                <a:gd name="T25" fmla="*/ 7301 h 414"/>
                <a:gd name="T26" fmla="*/ 41868 w 273"/>
                <a:gd name="T27" fmla="*/ 2607 h 414"/>
                <a:gd name="T28" fmla="*/ 34890 w 273"/>
                <a:gd name="T29" fmla="*/ 3650 h 414"/>
                <a:gd name="T30" fmla="*/ 30093 w 273"/>
                <a:gd name="T31" fmla="*/ 9908 h 414"/>
                <a:gd name="T32" fmla="*/ 27476 w 273"/>
                <a:gd name="T33" fmla="*/ 13037 h 414"/>
                <a:gd name="T34" fmla="*/ 24859 w 273"/>
                <a:gd name="T35" fmla="*/ 16688 h 414"/>
                <a:gd name="T36" fmla="*/ 24423 w 273"/>
                <a:gd name="T37" fmla="*/ 21903 h 414"/>
                <a:gd name="T38" fmla="*/ 25295 w 273"/>
                <a:gd name="T39" fmla="*/ 30768 h 414"/>
                <a:gd name="T40" fmla="*/ 22679 w 273"/>
                <a:gd name="T41" fmla="*/ 40677 h 414"/>
                <a:gd name="T42" fmla="*/ 14392 w 273"/>
                <a:gd name="T43" fmla="*/ 46935 h 414"/>
                <a:gd name="T44" fmla="*/ 7414 w 273"/>
                <a:gd name="T45" fmla="*/ 54236 h 414"/>
                <a:gd name="T46" fmla="*/ 1745 w 273"/>
                <a:gd name="T47" fmla="*/ 61537 h 414"/>
                <a:gd name="T48" fmla="*/ 17445 w 273"/>
                <a:gd name="T49" fmla="*/ 103257 h 414"/>
                <a:gd name="T50" fmla="*/ 31837 w 273"/>
                <a:gd name="T51" fmla="*/ 106907 h 414"/>
                <a:gd name="T52" fmla="*/ 36635 w 273"/>
                <a:gd name="T53" fmla="*/ 109514 h 414"/>
                <a:gd name="T54" fmla="*/ 40560 w 273"/>
                <a:gd name="T55" fmla="*/ 113686 h 414"/>
                <a:gd name="T56" fmla="*/ 43177 w 273"/>
                <a:gd name="T57" fmla="*/ 117858 h 414"/>
                <a:gd name="T58" fmla="*/ 44921 w 273"/>
                <a:gd name="T59" fmla="*/ 123595 h 414"/>
                <a:gd name="T60" fmla="*/ 46230 w 273"/>
                <a:gd name="T61" fmla="*/ 138197 h 414"/>
                <a:gd name="T62" fmla="*/ 44921 w 273"/>
                <a:gd name="T63" fmla="*/ 145498 h 414"/>
                <a:gd name="T64" fmla="*/ 41868 w 273"/>
                <a:gd name="T65" fmla="*/ 152799 h 414"/>
                <a:gd name="T66" fmla="*/ 38815 w 273"/>
                <a:gd name="T67" fmla="*/ 160100 h 414"/>
                <a:gd name="T68" fmla="*/ 37507 w 273"/>
                <a:gd name="T69" fmla="*/ 167401 h 414"/>
                <a:gd name="T70" fmla="*/ 39688 w 273"/>
                <a:gd name="T71" fmla="*/ 178874 h 414"/>
                <a:gd name="T72" fmla="*/ 46666 w 273"/>
                <a:gd name="T73" fmla="*/ 195040 h 414"/>
                <a:gd name="T74" fmla="*/ 51027 w 273"/>
                <a:gd name="T75" fmla="*/ 202863 h 414"/>
                <a:gd name="T76" fmla="*/ 56261 w 273"/>
                <a:gd name="T77" fmla="*/ 209121 h 414"/>
                <a:gd name="T78" fmla="*/ 61494 w 273"/>
                <a:gd name="T79" fmla="*/ 214336 h 414"/>
                <a:gd name="T80" fmla="*/ 66728 w 273"/>
                <a:gd name="T81" fmla="*/ 215900 h 414"/>
                <a:gd name="T82" fmla="*/ 93768 w 273"/>
                <a:gd name="T83" fmla="*/ 207556 h 414"/>
                <a:gd name="T84" fmla="*/ 111213 w 273"/>
                <a:gd name="T85" fmla="*/ 200777 h 414"/>
                <a:gd name="T86" fmla="*/ 116446 w 273"/>
                <a:gd name="T87" fmla="*/ 196605 h 414"/>
                <a:gd name="T88" fmla="*/ 119063 w 273"/>
                <a:gd name="T89" fmla="*/ 192954 h 414"/>
                <a:gd name="T90" fmla="*/ 117318 w 273"/>
                <a:gd name="T91" fmla="*/ 183567 h 414"/>
                <a:gd name="T92" fmla="*/ 114702 w 273"/>
                <a:gd name="T93" fmla="*/ 174702 h 414"/>
                <a:gd name="T94" fmla="*/ 105543 w 273"/>
                <a:gd name="T95" fmla="*/ 161143 h 414"/>
                <a:gd name="T96" fmla="*/ 96820 w 273"/>
                <a:gd name="T97" fmla="*/ 147062 h 414"/>
                <a:gd name="T98" fmla="*/ 93768 w 273"/>
                <a:gd name="T99" fmla="*/ 138718 h 414"/>
                <a:gd name="T100" fmla="*/ 92459 w 273"/>
                <a:gd name="T101" fmla="*/ 128810 h 414"/>
                <a:gd name="T102" fmla="*/ 93768 w 273"/>
                <a:gd name="T103" fmla="*/ 112122 h 414"/>
                <a:gd name="T104" fmla="*/ 96820 w 273"/>
                <a:gd name="T105" fmla="*/ 99085 h 414"/>
                <a:gd name="T106" fmla="*/ 100309 w 273"/>
                <a:gd name="T107" fmla="*/ 87090 h 414"/>
                <a:gd name="T108" fmla="*/ 101182 w 273"/>
                <a:gd name="T109" fmla="*/ 74053 h 41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273" h="414">
                  <a:moveTo>
                    <a:pt x="232" y="142"/>
                  </a:moveTo>
                  <a:lnTo>
                    <a:pt x="225" y="140"/>
                  </a:lnTo>
                  <a:lnTo>
                    <a:pt x="219" y="137"/>
                  </a:lnTo>
                  <a:lnTo>
                    <a:pt x="213" y="133"/>
                  </a:lnTo>
                  <a:lnTo>
                    <a:pt x="209" y="130"/>
                  </a:lnTo>
                  <a:lnTo>
                    <a:pt x="201" y="121"/>
                  </a:lnTo>
                  <a:lnTo>
                    <a:pt x="195" y="113"/>
                  </a:lnTo>
                  <a:lnTo>
                    <a:pt x="190" y="105"/>
                  </a:lnTo>
                  <a:lnTo>
                    <a:pt x="185" y="99"/>
                  </a:lnTo>
                  <a:lnTo>
                    <a:pt x="183" y="96"/>
                  </a:lnTo>
                  <a:lnTo>
                    <a:pt x="179" y="95"/>
                  </a:lnTo>
                  <a:lnTo>
                    <a:pt x="176" y="93"/>
                  </a:lnTo>
                  <a:lnTo>
                    <a:pt x="173" y="93"/>
                  </a:lnTo>
                  <a:lnTo>
                    <a:pt x="167" y="94"/>
                  </a:lnTo>
                  <a:lnTo>
                    <a:pt x="164" y="97"/>
                  </a:lnTo>
                  <a:lnTo>
                    <a:pt x="161" y="101"/>
                  </a:lnTo>
                  <a:lnTo>
                    <a:pt x="159" y="105"/>
                  </a:lnTo>
                  <a:lnTo>
                    <a:pt x="153" y="86"/>
                  </a:lnTo>
                  <a:lnTo>
                    <a:pt x="147" y="68"/>
                  </a:lnTo>
                  <a:lnTo>
                    <a:pt x="142" y="54"/>
                  </a:lnTo>
                  <a:lnTo>
                    <a:pt x="135" y="41"/>
                  </a:lnTo>
                  <a:lnTo>
                    <a:pt x="132" y="36"/>
                  </a:lnTo>
                  <a:lnTo>
                    <a:pt x="128" y="30"/>
                  </a:lnTo>
                  <a:lnTo>
                    <a:pt x="123" y="25"/>
                  </a:lnTo>
                  <a:lnTo>
                    <a:pt x="118" y="20"/>
                  </a:lnTo>
                  <a:lnTo>
                    <a:pt x="111" y="14"/>
                  </a:lnTo>
                  <a:lnTo>
                    <a:pt x="103" y="9"/>
                  </a:lnTo>
                  <a:lnTo>
                    <a:pt x="96" y="5"/>
                  </a:lnTo>
                  <a:lnTo>
                    <a:pt x="86" y="0"/>
                  </a:lnTo>
                  <a:lnTo>
                    <a:pt x="80" y="7"/>
                  </a:lnTo>
                  <a:lnTo>
                    <a:pt x="73" y="15"/>
                  </a:lnTo>
                  <a:lnTo>
                    <a:pt x="69" y="19"/>
                  </a:lnTo>
                  <a:lnTo>
                    <a:pt x="66" y="23"/>
                  </a:lnTo>
                  <a:lnTo>
                    <a:pt x="63" y="25"/>
                  </a:lnTo>
                  <a:lnTo>
                    <a:pt x="60" y="25"/>
                  </a:lnTo>
                  <a:lnTo>
                    <a:pt x="57" y="32"/>
                  </a:lnTo>
                  <a:lnTo>
                    <a:pt x="57" y="37"/>
                  </a:lnTo>
                  <a:lnTo>
                    <a:pt x="56" y="42"/>
                  </a:lnTo>
                  <a:lnTo>
                    <a:pt x="57" y="47"/>
                  </a:lnTo>
                  <a:lnTo>
                    <a:pt x="58" y="59"/>
                  </a:lnTo>
                  <a:lnTo>
                    <a:pt x="60" y="75"/>
                  </a:lnTo>
                  <a:lnTo>
                    <a:pt x="52" y="78"/>
                  </a:lnTo>
                  <a:lnTo>
                    <a:pt x="43" y="83"/>
                  </a:lnTo>
                  <a:lnTo>
                    <a:pt x="33" y="90"/>
                  </a:lnTo>
                  <a:lnTo>
                    <a:pt x="24" y="97"/>
                  </a:lnTo>
                  <a:lnTo>
                    <a:pt x="17" y="104"/>
                  </a:lnTo>
                  <a:lnTo>
                    <a:pt x="9" y="111"/>
                  </a:lnTo>
                  <a:lnTo>
                    <a:pt x="4" y="118"/>
                  </a:lnTo>
                  <a:lnTo>
                    <a:pt x="0" y="123"/>
                  </a:lnTo>
                  <a:lnTo>
                    <a:pt x="40" y="198"/>
                  </a:lnTo>
                  <a:lnTo>
                    <a:pt x="57" y="201"/>
                  </a:lnTo>
                  <a:lnTo>
                    <a:pt x="73" y="205"/>
                  </a:lnTo>
                  <a:lnTo>
                    <a:pt x="78" y="207"/>
                  </a:lnTo>
                  <a:lnTo>
                    <a:pt x="84" y="210"/>
                  </a:lnTo>
                  <a:lnTo>
                    <a:pt x="89" y="214"/>
                  </a:lnTo>
                  <a:lnTo>
                    <a:pt x="93" y="218"/>
                  </a:lnTo>
                  <a:lnTo>
                    <a:pt x="96" y="222"/>
                  </a:lnTo>
                  <a:lnTo>
                    <a:pt x="99" y="226"/>
                  </a:lnTo>
                  <a:lnTo>
                    <a:pt x="101" y="231"/>
                  </a:lnTo>
                  <a:lnTo>
                    <a:pt x="103" y="237"/>
                  </a:lnTo>
                  <a:lnTo>
                    <a:pt x="106" y="251"/>
                  </a:lnTo>
                  <a:lnTo>
                    <a:pt x="106" y="265"/>
                  </a:lnTo>
                  <a:lnTo>
                    <a:pt x="106" y="272"/>
                  </a:lnTo>
                  <a:lnTo>
                    <a:pt x="103" y="279"/>
                  </a:lnTo>
                  <a:lnTo>
                    <a:pt x="100" y="286"/>
                  </a:lnTo>
                  <a:lnTo>
                    <a:pt x="96" y="293"/>
                  </a:lnTo>
                  <a:lnTo>
                    <a:pt x="93" y="301"/>
                  </a:lnTo>
                  <a:lnTo>
                    <a:pt x="89" y="307"/>
                  </a:lnTo>
                  <a:lnTo>
                    <a:pt x="87" y="314"/>
                  </a:lnTo>
                  <a:lnTo>
                    <a:pt x="86" y="321"/>
                  </a:lnTo>
                  <a:lnTo>
                    <a:pt x="88" y="330"/>
                  </a:lnTo>
                  <a:lnTo>
                    <a:pt x="91" y="343"/>
                  </a:lnTo>
                  <a:lnTo>
                    <a:pt x="98" y="359"/>
                  </a:lnTo>
                  <a:lnTo>
                    <a:pt x="107" y="374"/>
                  </a:lnTo>
                  <a:lnTo>
                    <a:pt x="112" y="382"/>
                  </a:lnTo>
                  <a:lnTo>
                    <a:pt x="117" y="389"/>
                  </a:lnTo>
                  <a:lnTo>
                    <a:pt x="122" y="395"/>
                  </a:lnTo>
                  <a:lnTo>
                    <a:pt x="129" y="401"/>
                  </a:lnTo>
                  <a:lnTo>
                    <a:pt x="134" y="406"/>
                  </a:lnTo>
                  <a:lnTo>
                    <a:pt x="141" y="411"/>
                  </a:lnTo>
                  <a:lnTo>
                    <a:pt x="146" y="413"/>
                  </a:lnTo>
                  <a:lnTo>
                    <a:pt x="153" y="414"/>
                  </a:lnTo>
                  <a:lnTo>
                    <a:pt x="174" y="410"/>
                  </a:lnTo>
                  <a:lnTo>
                    <a:pt x="215" y="398"/>
                  </a:lnTo>
                  <a:lnTo>
                    <a:pt x="236" y="392"/>
                  </a:lnTo>
                  <a:lnTo>
                    <a:pt x="255" y="385"/>
                  </a:lnTo>
                  <a:lnTo>
                    <a:pt x="262" y="381"/>
                  </a:lnTo>
                  <a:lnTo>
                    <a:pt x="267" y="377"/>
                  </a:lnTo>
                  <a:lnTo>
                    <a:pt x="271" y="374"/>
                  </a:lnTo>
                  <a:lnTo>
                    <a:pt x="273" y="370"/>
                  </a:lnTo>
                  <a:lnTo>
                    <a:pt x="271" y="361"/>
                  </a:lnTo>
                  <a:lnTo>
                    <a:pt x="269" y="352"/>
                  </a:lnTo>
                  <a:lnTo>
                    <a:pt x="267" y="343"/>
                  </a:lnTo>
                  <a:lnTo>
                    <a:pt x="263" y="335"/>
                  </a:lnTo>
                  <a:lnTo>
                    <a:pt x="253" y="321"/>
                  </a:lnTo>
                  <a:lnTo>
                    <a:pt x="242" y="309"/>
                  </a:lnTo>
                  <a:lnTo>
                    <a:pt x="231" y="295"/>
                  </a:lnTo>
                  <a:lnTo>
                    <a:pt x="222" y="282"/>
                  </a:lnTo>
                  <a:lnTo>
                    <a:pt x="218" y="274"/>
                  </a:lnTo>
                  <a:lnTo>
                    <a:pt x="215" y="266"/>
                  </a:lnTo>
                  <a:lnTo>
                    <a:pt x="213" y="257"/>
                  </a:lnTo>
                  <a:lnTo>
                    <a:pt x="212" y="247"/>
                  </a:lnTo>
                  <a:lnTo>
                    <a:pt x="213" y="229"/>
                  </a:lnTo>
                  <a:lnTo>
                    <a:pt x="215" y="215"/>
                  </a:lnTo>
                  <a:lnTo>
                    <a:pt x="219" y="202"/>
                  </a:lnTo>
                  <a:lnTo>
                    <a:pt x="222" y="190"/>
                  </a:lnTo>
                  <a:lnTo>
                    <a:pt x="226" y="178"/>
                  </a:lnTo>
                  <a:lnTo>
                    <a:pt x="230" y="167"/>
                  </a:lnTo>
                  <a:lnTo>
                    <a:pt x="232" y="155"/>
                  </a:lnTo>
                  <a:lnTo>
                    <a:pt x="232" y="14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grpSp>
          <p:nvGrpSpPr>
            <p:cNvPr id="701" name="Group 164"/>
            <p:cNvGrpSpPr>
              <a:grpSpLocks/>
            </p:cNvGrpSpPr>
            <p:nvPr>
              <p:custDataLst>
                <p:tags r:id="rId93"/>
              </p:custDataLst>
            </p:nvPr>
          </p:nvGrpSpPr>
          <p:grpSpPr bwMode="auto">
            <a:xfrm>
              <a:off x="3432162" y="3604114"/>
              <a:ext cx="386091" cy="482313"/>
              <a:chOff x="1486" y="2412"/>
              <a:chExt cx="244" cy="256"/>
            </a:xfrm>
            <a:grpFill/>
          </p:grpSpPr>
          <p:sp>
            <p:nvSpPr>
              <p:cNvPr id="1082" name="Freeform 165"/>
              <p:cNvSpPr>
                <a:spLocks/>
              </p:cNvSpPr>
              <p:nvPr/>
            </p:nvSpPr>
            <p:spPr bwMode="auto">
              <a:xfrm>
                <a:off x="1639" y="2457"/>
                <a:ext cx="18" cy="7"/>
              </a:xfrm>
              <a:custGeom>
                <a:avLst/>
                <a:gdLst>
                  <a:gd name="T0" fmla="*/ 0 w 54"/>
                  <a:gd name="T1" fmla="*/ 0 h 22"/>
                  <a:gd name="T2" fmla="*/ 0 w 54"/>
                  <a:gd name="T3" fmla="*/ 6 h 22"/>
                  <a:gd name="T4" fmla="*/ 2 w 54"/>
                  <a:gd name="T5" fmla="*/ 6 h 22"/>
                  <a:gd name="T6" fmla="*/ 3 w 54"/>
                  <a:gd name="T7" fmla="*/ 7 h 22"/>
                  <a:gd name="T8" fmla="*/ 5 w 54"/>
                  <a:gd name="T9" fmla="*/ 7 h 22"/>
                  <a:gd name="T10" fmla="*/ 7 w 54"/>
                  <a:gd name="T11" fmla="*/ 7 h 22"/>
                  <a:gd name="T12" fmla="*/ 8 w 54"/>
                  <a:gd name="T13" fmla="*/ 7 h 22"/>
                  <a:gd name="T14" fmla="*/ 9 w 54"/>
                  <a:gd name="T15" fmla="*/ 7 h 22"/>
                  <a:gd name="T16" fmla="*/ 10 w 54"/>
                  <a:gd name="T17" fmla="*/ 6 h 22"/>
                  <a:gd name="T18" fmla="*/ 11 w 54"/>
                  <a:gd name="T19" fmla="*/ 6 h 22"/>
                  <a:gd name="T20" fmla="*/ 12 w 54"/>
                  <a:gd name="T21" fmla="*/ 5 h 22"/>
                  <a:gd name="T22" fmla="*/ 14 w 54"/>
                  <a:gd name="T23" fmla="*/ 4 h 22"/>
                  <a:gd name="T24" fmla="*/ 16 w 54"/>
                  <a:gd name="T25" fmla="*/ 3 h 22"/>
                  <a:gd name="T26" fmla="*/ 18 w 54"/>
                  <a:gd name="T27" fmla="*/ 2 h 22"/>
                  <a:gd name="T28" fmla="*/ 12 w 54"/>
                  <a:gd name="T29" fmla="*/ 2 h 22"/>
                  <a:gd name="T30" fmla="*/ 7 w 54"/>
                  <a:gd name="T31" fmla="*/ 1 h 22"/>
                  <a:gd name="T32" fmla="*/ 2 w 54"/>
                  <a:gd name="T33" fmla="*/ 0 h 22"/>
                  <a:gd name="T34" fmla="*/ 0 w 54"/>
                  <a:gd name="T35" fmla="*/ 0 h 2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54" h="22">
                    <a:moveTo>
                      <a:pt x="0" y="0"/>
                    </a:moveTo>
                    <a:lnTo>
                      <a:pt x="0" y="18"/>
                    </a:lnTo>
                    <a:lnTo>
                      <a:pt x="6" y="20"/>
                    </a:lnTo>
                    <a:lnTo>
                      <a:pt x="10" y="21"/>
                    </a:lnTo>
                    <a:lnTo>
                      <a:pt x="14" y="22"/>
                    </a:lnTo>
                    <a:lnTo>
                      <a:pt x="20" y="22"/>
                    </a:lnTo>
                    <a:lnTo>
                      <a:pt x="23" y="22"/>
                    </a:lnTo>
                    <a:lnTo>
                      <a:pt x="27" y="21"/>
                    </a:lnTo>
                    <a:lnTo>
                      <a:pt x="31" y="20"/>
                    </a:lnTo>
                    <a:lnTo>
                      <a:pt x="33" y="18"/>
                    </a:lnTo>
                    <a:lnTo>
                      <a:pt x="35" y="16"/>
                    </a:lnTo>
                    <a:lnTo>
                      <a:pt x="41" y="12"/>
                    </a:lnTo>
                    <a:lnTo>
                      <a:pt x="47" y="8"/>
                    </a:lnTo>
                    <a:lnTo>
                      <a:pt x="54" y="6"/>
                    </a:lnTo>
                    <a:lnTo>
                      <a:pt x="36" y="5"/>
                    </a:lnTo>
                    <a:lnTo>
                      <a:pt x="20" y="3"/>
                    </a:lnTo>
                    <a:lnTo>
                      <a:pt x="6" y="1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083" name="Freeform 166"/>
              <p:cNvSpPr>
                <a:spLocks/>
              </p:cNvSpPr>
              <p:nvPr/>
            </p:nvSpPr>
            <p:spPr bwMode="auto">
              <a:xfrm>
                <a:off x="1526" y="2412"/>
                <a:ext cx="2" cy="8"/>
              </a:xfrm>
              <a:custGeom>
                <a:avLst/>
                <a:gdLst>
                  <a:gd name="T0" fmla="*/ 2 w 6"/>
                  <a:gd name="T1" fmla="*/ 8 h 24"/>
                  <a:gd name="T2" fmla="*/ 2 w 6"/>
                  <a:gd name="T3" fmla="*/ 0 h 24"/>
                  <a:gd name="T4" fmla="*/ 1 w 6"/>
                  <a:gd name="T5" fmla="*/ 0 h 24"/>
                  <a:gd name="T6" fmla="*/ 0 w 6"/>
                  <a:gd name="T7" fmla="*/ 1 h 24"/>
                  <a:gd name="T8" fmla="*/ 0 w 6"/>
                  <a:gd name="T9" fmla="*/ 2 h 24"/>
                  <a:gd name="T10" fmla="*/ 0 w 6"/>
                  <a:gd name="T11" fmla="*/ 4 h 24"/>
                  <a:gd name="T12" fmla="*/ 0 w 6"/>
                  <a:gd name="T13" fmla="*/ 5 h 24"/>
                  <a:gd name="T14" fmla="*/ 0 w 6"/>
                  <a:gd name="T15" fmla="*/ 7 h 24"/>
                  <a:gd name="T16" fmla="*/ 1 w 6"/>
                  <a:gd name="T17" fmla="*/ 8 h 24"/>
                  <a:gd name="T18" fmla="*/ 2 w 6"/>
                  <a:gd name="T19" fmla="*/ 8 h 2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6" h="24">
                    <a:moveTo>
                      <a:pt x="6" y="24"/>
                    </a:moveTo>
                    <a:lnTo>
                      <a:pt x="6" y="0"/>
                    </a:lnTo>
                    <a:lnTo>
                      <a:pt x="4" y="1"/>
                    </a:lnTo>
                    <a:lnTo>
                      <a:pt x="1" y="3"/>
                    </a:lnTo>
                    <a:lnTo>
                      <a:pt x="0" y="7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1" y="20"/>
                    </a:lnTo>
                    <a:lnTo>
                      <a:pt x="4" y="23"/>
                    </a:lnTo>
                    <a:lnTo>
                      <a:pt x="6" y="24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084" name="Freeform 167"/>
              <p:cNvSpPr>
                <a:spLocks/>
              </p:cNvSpPr>
              <p:nvPr/>
            </p:nvSpPr>
            <p:spPr bwMode="auto">
              <a:xfrm>
                <a:off x="1557" y="2438"/>
                <a:ext cx="8" cy="4"/>
              </a:xfrm>
              <a:custGeom>
                <a:avLst/>
                <a:gdLst>
                  <a:gd name="T0" fmla="*/ 0 w 27"/>
                  <a:gd name="T1" fmla="*/ 4 h 12"/>
                  <a:gd name="T2" fmla="*/ 8 w 27"/>
                  <a:gd name="T3" fmla="*/ 4 h 12"/>
                  <a:gd name="T4" fmla="*/ 4 w 27"/>
                  <a:gd name="T5" fmla="*/ 0 h 12"/>
                  <a:gd name="T6" fmla="*/ 0 w 27"/>
                  <a:gd name="T7" fmla="*/ 4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7" h="12">
                    <a:moveTo>
                      <a:pt x="0" y="12"/>
                    </a:moveTo>
                    <a:lnTo>
                      <a:pt x="27" y="12"/>
                    </a:lnTo>
                    <a:lnTo>
                      <a:pt x="14" y="0"/>
                    </a:lnTo>
                    <a:lnTo>
                      <a:pt x="0" y="1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085" name="Freeform 168"/>
              <p:cNvSpPr>
                <a:spLocks/>
              </p:cNvSpPr>
              <p:nvPr/>
            </p:nvSpPr>
            <p:spPr bwMode="auto">
              <a:xfrm>
                <a:off x="1486" y="2444"/>
                <a:ext cx="244" cy="224"/>
              </a:xfrm>
              <a:custGeom>
                <a:avLst/>
                <a:gdLst>
                  <a:gd name="T0" fmla="*/ 3 w 743"/>
                  <a:gd name="T1" fmla="*/ 69 h 672"/>
                  <a:gd name="T2" fmla="*/ 16 w 743"/>
                  <a:gd name="T3" fmla="*/ 89 h 672"/>
                  <a:gd name="T4" fmla="*/ 40 w 743"/>
                  <a:gd name="T5" fmla="*/ 98 h 672"/>
                  <a:gd name="T6" fmla="*/ 55 w 743"/>
                  <a:gd name="T7" fmla="*/ 105 h 672"/>
                  <a:gd name="T8" fmla="*/ 65 w 743"/>
                  <a:gd name="T9" fmla="*/ 115 h 672"/>
                  <a:gd name="T10" fmla="*/ 97 w 743"/>
                  <a:gd name="T11" fmla="*/ 126 h 672"/>
                  <a:gd name="T12" fmla="*/ 94 w 743"/>
                  <a:gd name="T13" fmla="*/ 140 h 672"/>
                  <a:gd name="T14" fmla="*/ 102 w 743"/>
                  <a:gd name="T15" fmla="*/ 171 h 672"/>
                  <a:gd name="T16" fmla="*/ 100 w 743"/>
                  <a:gd name="T17" fmla="*/ 178 h 672"/>
                  <a:gd name="T18" fmla="*/ 99 w 743"/>
                  <a:gd name="T19" fmla="*/ 189 h 672"/>
                  <a:gd name="T20" fmla="*/ 108 w 743"/>
                  <a:gd name="T21" fmla="*/ 206 h 672"/>
                  <a:gd name="T22" fmla="*/ 122 w 743"/>
                  <a:gd name="T23" fmla="*/ 220 h 672"/>
                  <a:gd name="T24" fmla="*/ 136 w 743"/>
                  <a:gd name="T25" fmla="*/ 224 h 672"/>
                  <a:gd name="T26" fmla="*/ 153 w 743"/>
                  <a:gd name="T27" fmla="*/ 218 h 672"/>
                  <a:gd name="T28" fmla="*/ 166 w 743"/>
                  <a:gd name="T29" fmla="*/ 206 h 672"/>
                  <a:gd name="T30" fmla="*/ 172 w 743"/>
                  <a:gd name="T31" fmla="*/ 195 h 672"/>
                  <a:gd name="T32" fmla="*/ 157 w 743"/>
                  <a:gd name="T33" fmla="*/ 156 h 672"/>
                  <a:gd name="T34" fmla="*/ 189 w 743"/>
                  <a:gd name="T35" fmla="*/ 167 h 672"/>
                  <a:gd name="T36" fmla="*/ 197 w 743"/>
                  <a:gd name="T37" fmla="*/ 159 h 672"/>
                  <a:gd name="T38" fmla="*/ 214 w 743"/>
                  <a:gd name="T39" fmla="*/ 148 h 672"/>
                  <a:gd name="T40" fmla="*/ 220 w 743"/>
                  <a:gd name="T41" fmla="*/ 147 h 672"/>
                  <a:gd name="T42" fmla="*/ 225 w 743"/>
                  <a:gd name="T43" fmla="*/ 145 h 672"/>
                  <a:gd name="T44" fmla="*/ 219 w 743"/>
                  <a:gd name="T45" fmla="*/ 109 h 672"/>
                  <a:gd name="T46" fmla="*/ 233 w 743"/>
                  <a:gd name="T47" fmla="*/ 98 h 672"/>
                  <a:gd name="T48" fmla="*/ 234 w 743"/>
                  <a:gd name="T49" fmla="*/ 84 h 672"/>
                  <a:gd name="T50" fmla="*/ 238 w 743"/>
                  <a:gd name="T51" fmla="*/ 78 h 672"/>
                  <a:gd name="T52" fmla="*/ 239 w 743"/>
                  <a:gd name="T53" fmla="*/ 71 h 672"/>
                  <a:gd name="T54" fmla="*/ 230 w 743"/>
                  <a:gd name="T55" fmla="*/ 65 h 672"/>
                  <a:gd name="T56" fmla="*/ 225 w 743"/>
                  <a:gd name="T57" fmla="*/ 56 h 672"/>
                  <a:gd name="T58" fmla="*/ 220 w 743"/>
                  <a:gd name="T59" fmla="*/ 48 h 672"/>
                  <a:gd name="T60" fmla="*/ 210 w 743"/>
                  <a:gd name="T61" fmla="*/ 51 h 672"/>
                  <a:gd name="T62" fmla="*/ 207 w 743"/>
                  <a:gd name="T63" fmla="*/ 45 h 672"/>
                  <a:gd name="T64" fmla="*/ 198 w 743"/>
                  <a:gd name="T65" fmla="*/ 38 h 672"/>
                  <a:gd name="T66" fmla="*/ 192 w 743"/>
                  <a:gd name="T67" fmla="*/ 32 h 672"/>
                  <a:gd name="T68" fmla="*/ 176 w 743"/>
                  <a:gd name="T69" fmla="*/ 25 h 672"/>
                  <a:gd name="T70" fmla="*/ 161 w 743"/>
                  <a:gd name="T71" fmla="*/ 29 h 672"/>
                  <a:gd name="T72" fmla="*/ 155 w 743"/>
                  <a:gd name="T73" fmla="*/ 34 h 672"/>
                  <a:gd name="T74" fmla="*/ 143 w 743"/>
                  <a:gd name="T75" fmla="*/ 39 h 672"/>
                  <a:gd name="T76" fmla="*/ 137 w 743"/>
                  <a:gd name="T77" fmla="*/ 35 h 672"/>
                  <a:gd name="T78" fmla="*/ 129 w 743"/>
                  <a:gd name="T79" fmla="*/ 34 h 672"/>
                  <a:gd name="T80" fmla="*/ 118 w 743"/>
                  <a:gd name="T81" fmla="*/ 28 h 672"/>
                  <a:gd name="T82" fmla="*/ 104 w 743"/>
                  <a:gd name="T83" fmla="*/ 28 h 672"/>
                  <a:gd name="T84" fmla="*/ 96 w 743"/>
                  <a:gd name="T85" fmla="*/ 31 h 672"/>
                  <a:gd name="T86" fmla="*/ 83 w 743"/>
                  <a:gd name="T87" fmla="*/ 31 h 672"/>
                  <a:gd name="T88" fmla="*/ 77 w 743"/>
                  <a:gd name="T89" fmla="*/ 17 h 672"/>
                  <a:gd name="T90" fmla="*/ 59 w 743"/>
                  <a:gd name="T91" fmla="*/ 7 h 672"/>
                  <a:gd name="T92" fmla="*/ 49 w 743"/>
                  <a:gd name="T93" fmla="*/ 3 h 672"/>
                  <a:gd name="T94" fmla="*/ 45 w 743"/>
                  <a:gd name="T95" fmla="*/ 15 h 672"/>
                  <a:gd name="T96" fmla="*/ 39 w 743"/>
                  <a:gd name="T97" fmla="*/ 23 h 672"/>
                  <a:gd name="T98" fmla="*/ 39 w 743"/>
                  <a:gd name="T99" fmla="*/ 46 h 672"/>
                  <a:gd name="T100" fmla="*/ 34 w 743"/>
                  <a:gd name="T101" fmla="*/ 65 h 672"/>
                  <a:gd name="T102" fmla="*/ 29 w 743"/>
                  <a:gd name="T103" fmla="*/ 63 h 672"/>
                  <a:gd name="T104" fmla="*/ 23 w 743"/>
                  <a:gd name="T105" fmla="*/ 61 h 672"/>
                  <a:gd name="T106" fmla="*/ 19 w 743"/>
                  <a:gd name="T107" fmla="*/ 56 h 672"/>
                  <a:gd name="T108" fmla="*/ 17 w 743"/>
                  <a:gd name="T109" fmla="*/ 40 h 672"/>
                  <a:gd name="T110" fmla="*/ 24 w 743"/>
                  <a:gd name="T111" fmla="*/ 20 h 672"/>
                  <a:gd name="T112" fmla="*/ 32 w 743"/>
                  <a:gd name="T113" fmla="*/ 5 h 672"/>
                  <a:gd name="T114" fmla="*/ 17 w 743"/>
                  <a:gd name="T115" fmla="*/ 10 h 672"/>
                  <a:gd name="T116" fmla="*/ 5 w 743"/>
                  <a:gd name="T117" fmla="*/ 23 h 672"/>
                  <a:gd name="T118" fmla="*/ 0 w 743"/>
                  <a:gd name="T119" fmla="*/ 40 h 672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743" h="672">
                    <a:moveTo>
                      <a:pt x="0" y="143"/>
                    </a:moveTo>
                    <a:lnTo>
                      <a:pt x="0" y="160"/>
                    </a:lnTo>
                    <a:lnTo>
                      <a:pt x="2" y="177"/>
                    </a:lnTo>
                    <a:lnTo>
                      <a:pt x="5" y="194"/>
                    </a:lnTo>
                    <a:lnTo>
                      <a:pt x="9" y="208"/>
                    </a:lnTo>
                    <a:lnTo>
                      <a:pt x="15" y="222"/>
                    </a:lnTo>
                    <a:lnTo>
                      <a:pt x="22" y="235"/>
                    </a:lnTo>
                    <a:lnTo>
                      <a:pt x="29" y="246"/>
                    </a:lnTo>
                    <a:lnTo>
                      <a:pt x="39" y="257"/>
                    </a:lnTo>
                    <a:lnTo>
                      <a:pt x="50" y="266"/>
                    </a:lnTo>
                    <a:lnTo>
                      <a:pt x="61" y="274"/>
                    </a:lnTo>
                    <a:lnTo>
                      <a:pt x="74" y="280"/>
                    </a:lnTo>
                    <a:lnTo>
                      <a:pt x="89" y="286"/>
                    </a:lnTo>
                    <a:lnTo>
                      <a:pt x="104" y="291"/>
                    </a:lnTo>
                    <a:lnTo>
                      <a:pt x="121" y="294"/>
                    </a:lnTo>
                    <a:lnTo>
                      <a:pt x="139" y="296"/>
                    </a:lnTo>
                    <a:lnTo>
                      <a:pt x="159" y="297"/>
                    </a:lnTo>
                    <a:lnTo>
                      <a:pt x="160" y="302"/>
                    </a:lnTo>
                    <a:lnTo>
                      <a:pt x="162" y="309"/>
                    </a:lnTo>
                    <a:lnTo>
                      <a:pt x="166" y="316"/>
                    </a:lnTo>
                    <a:lnTo>
                      <a:pt x="171" y="323"/>
                    </a:lnTo>
                    <a:lnTo>
                      <a:pt x="177" y="331"/>
                    </a:lnTo>
                    <a:lnTo>
                      <a:pt x="184" y="337"/>
                    </a:lnTo>
                    <a:lnTo>
                      <a:pt x="191" y="342"/>
                    </a:lnTo>
                    <a:lnTo>
                      <a:pt x="198" y="346"/>
                    </a:lnTo>
                    <a:lnTo>
                      <a:pt x="311" y="346"/>
                    </a:lnTo>
                    <a:lnTo>
                      <a:pt x="308" y="357"/>
                    </a:lnTo>
                    <a:lnTo>
                      <a:pt x="305" y="365"/>
                    </a:lnTo>
                    <a:lnTo>
                      <a:pt x="300" y="372"/>
                    </a:lnTo>
                    <a:lnTo>
                      <a:pt x="296" y="379"/>
                    </a:lnTo>
                    <a:lnTo>
                      <a:pt x="292" y="385"/>
                    </a:lnTo>
                    <a:lnTo>
                      <a:pt x="288" y="391"/>
                    </a:lnTo>
                    <a:lnTo>
                      <a:pt x="286" y="399"/>
                    </a:lnTo>
                    <a:lnTo>
                      <a:pt x="285" y="408"/>
                    </a:lnTo>
                    <a:lnTo>
                      <a:pt x="286" y="420"/>
                    </a:lnTo>
                    <a:lnTo>
                      <a:pt x="289" y="435"/>
                    </a:lnTo>
                    <a:lnTo>
                      <a:pt x="293" y="451"/>
                    </a:lnTo>
                    <a:lnTo>
                      <a:pt x="298" y="467"/>
                    </a:lnTo>
                    <a:lnTo>
                      <a:pt x="307" y="495"/>
                    </a:lnTo>
                    <a:lnTo>
                      <a:pt x="311" y="513"/>
                    </a:lnTo>
                    <a:lnTo>
                      <a:pt x="310" y="517"/>
                    </a:lnTo>
                    <a:lnTo>
                      <a:pt x="309" y="522"/>
                    </a:lnTo>
                    <a:lnTo>
                      <a:pt x="307" y="526"/>
                    </a:lnTo>
                    <a:lnTo>
                      <a:pt x="305" y="531"/>
                    </a:lnTo>
                    <a:lnTo>
                      <a:pt x="303" y="535"/>
                    </a:lnTo>
                    <a:lnTo>
                      <a:pt x="300" y="540"/>
                    </a:lnTo>
                    <a:lnTo>
                      <a:pt x="298" y="544"/>
                    </a:lnTo>
                    <a:lnTo>
                      <a:pt x="298" y="549"/>
                    </a:lnTo>
                    <a:lnTo>
                      <a:pt x="299" y="557"/>
                    </a:lnTo>
                    <a:lnTo>
                      <a:pt x="302" y="566"/>
                    </a:lnTo>
                    <a:lnTo>
                      <a:pt x="305" y="577"/>
                    </a:lnTo>
                    <a:lnTo>
                      <a:pt x="309" y="587"/>
                    </a:lnTo>
                    <a:lnTo>
                      <a:pt x="315" y="597"/>
                    </a:lnTo>
                    <a:lnTo>
                      <a:pt x="321" y="607"/>
                    </a:lnTo>
                    <a:lnTo>
                      <a:pt x="328" y="617"/>
                    </a:lnTo>
                    <a:lnTo>
                      <a:pt x="337" y="627"/>
                    </a:lnTo>
                    <a:lnTo>
                      <a:pt x="344" y="637"/>
                    </a:lnTo>
                    <a:lnTo>
                      <a:pt x="353" y="645"/>
                    </a:lnTo>
                    <a:lnTo>
                      <a:pt x="362" y="653"/>
                    </a:lnTo>
                    <a:lnTo>
                      <a:pt x="371" y="659"/>
                    </a:lnTo>
                    <a:lnTo>
                      <a:pt x="379" y="664"/>
                    </a:lnTo>
                    <a:lnTo>
                      <a:pt x="388" y="669"/>
                    </a:lnTo>
                    <a:lnTo>
                      <a:pt x="397" y="671"/>
                    </a:lnTo>
                    <a:lnTo>
                      <a:pt x="405" y="672"/>
                    </a:lnTo>
                    <a:lnTo>
                      <a:pt x="415" y="671"/>
                    </a:lnTo>
                    <a:lnTo>
                      <a:pt x="424" y="670"/>
                    </a:lnTo>
                    <a:lnTo>
                      <a:pt x="435" y="667"/>
                    </a:lnTo>
                    <a:lnTo>
                      <a:pt x="445" y="663"/>
                    </a:lnTo>
                    <a:lnTo>
                      <a:pt x="455" y="658"/>
                    </a:lnTo>
                    <a:lnTo>
                      <a:pt x="465" y="653"/>
                    </a:lnTo>
                    <a:lnTo>
                      <a:pt x="475" y="647"/>
                    </a:lnTo>
                    <a:lnTo>
                      <a:pt x="484" y="641"/>
                    </a:lnTo>
                    <a:lnTo>
                      <a:pt x="493" y="634"/>
                    </a:lnTo>
                    <a:lnTo>
                      <a:pt x="500" y="627"/>
                    </a:lnTo>
                    <a:lnTo>
                      <a:pt x="507" y="619"/>
                    </a:lnTo>
                    <a:lnTo>
                      <a:pt x="512" y="612"/>
                    </a:lnTo>
                    <a:lnTo>
                      <a:pt x="518" y="605"/>
                    </a:lnTo>
                    <a:lnTo>
                      <a:pt x="521" y="599"/>
                    </a:lnTo>
                    <a:lnTo>
                      <a:pt x="523" y="592"/>
                    </a:lnTo>
                    <a:lnTo>
                      <a:pt x="524" y="586"/>
                    </a:lnTo>
                    <a:lnTo>
                      <a:pt x="518" y="574"/>
                    </a:lnTo>
                    <a:lnTo>
                      <a:pt x="504" y="551"/>
                    </a:lnTo>
                    <a:lnTo>
                      <a:pt x="487" y="528"/>
                    </a:lnTo>
                    <a:lnTo>
                      <a:pt x="477" y="513"/>
                    </a:lnTo>
                    <a:lnTo>
                      <a:pt x="477" y="469"/>
                    </a:lnTo>
                    <a:lnTo>
                      <a:pt x="504" y="469"/>
                    </a:lnTo>
                    <a:lnTo>
                      <a:pt x="518" y="476"/>
                    </a:lnTo>
                    <a:lnTo>
                      <a:pt x="541" y="484"/>
                    </a:lnTo>
                    <a:lnTo>
                      <a:pt x="564" y="493"/>
                    </a:lnTo>
                    <a:lnTo>
                      <a:pt x="577" y="500"/>
                    </a:lnTo>
                    <a:lnTo>
                      <a:pt x="578" y="496"/>
                    </a:lnTo>
                    <a:lnTo>
                      <a:pt x="580" y="493"/>
                    </a:lnTo>
                    <a:lnTo>
                      <a:pt x="584" y="489"/>
                    </a:lnTo>
                    <a:lnTo>
                      <a:pt x="589" y="485"/>
                    </a:lnTo>
                    <a:lnTo>
                      <a:pt x="600" y="477"/>
                    </a:lnTo>
                    <a:lnTo>
                      <a:pt x="614" y="469"/>
                    </a:lnTo>
                    <a:lnTo>
                      <a:pt x="629" y="461"/>
                    </a:lnTo>
                    <a:lnTo>
                      <a:pt x="642" y="453"/>
                    </a:lnTo>
                    <a:lnTo>
                      <a:pt x="647" y="449"/>
                    </a:lnTo>
                    <a:lnTo>
                      <a:pt x="652" y="445"/>
                    </a:lnTo>
                    <a:lnTo>
                      <a:pt x="655" y="442"/>
                    </a:lnTo>
                    <a:lnTo>
                      <a:pt x="657" y="438"/>
                    </a:lnTo>
                    <a:lnTo>
                      <a:pt x="662" y="440"/>
                    </a:lnTo>
                    <a:lnTo>
                      <a:pt x="666" y="441"/>
                    </a:lnTo>
                    <a:lnTo>
                      <a:pt x="669" y="441"/>
                    </a:lnTo>
                    <a:lnTo>
                      <a:pt x="674" y="441"/>
                    </a:lnTo>
                    <a:lnTo>
                      <a:pt x="677" y="440"/>
                    </a:lnTo>
                    <a:lnTo>
                      <a:pt x="679" y="439"/>
                    </a:lnTo>
                    <a:lnTo>
                      <a:pt x="681" y="437"/>
                    </a:lnTo>
                    <a:lnTo>
                      <a:pt x="685" y="435"/>
                    </a:lnTo>
                    <a:lnTo>
                      <a:pt x="691" y="424"/>
                    </a:lnTo>
                    <a:lnTo>
                      <a:pt x="697" y="414"/>
                    </a:lnTo>
                    <a:lnTo>
                      <a:pt x="657" y="339"/>
                    </a:lnTo>
                    <a:lnTo>
                      <a:pt x="661" y="334"/>
                    </a:lnTo>
                    <a:lnTo>
                      <a:pt x="666" y="327"/>
                    </a:lnTo>
                    <a:lnTo>
                      <a:pt x="674" y="320"/>
                    </a:lnTo>
                    <a:lnTo>
                      <a:pt x="681" y="313"/>
                    </a:lnTo>
                    <a:lnTo>
                      <a:pt x="690" y="306"/>
                    </a:lnTo>
                    <a:lnTo>
                      <a:pt x="700" y="299"/>
                    </a:lnTo>
                    <a:lnTo>
                      <a:pt x="709" y="294"/>
                    </a:lnTo>
                    <a:lnTo>
                      <a:pt x="717" y="291"/>
                    </a:lnTo>
                    <a:lnTo>
                      <a:pt x="715" y="275"/>
                    </a:lnTo>
                    <a:lnTo>
                      <a:pt x="714" y="263"/>
                    </a:lnTo>
                    <a:lnTo>
                      <a:pt x="713" y="258"/>
                    </a:lnTo>
                    <a:lnTo>
                      <a:pt x="714" y="253"/>
                    </a:lnTo>
                    <a:lnTo>
                      <a:pt x="714" y="248"/>
                    </a:lnTo>
                    <a:lnTo>
                      <a:pt x="717" y="241"/>
                    </a:lnTo>
                    <a:lnTo>
                      <a:pt x="720" y="241"/>
                    </a:lnTo>
                    <a:lnTo>
                      <a:pt x="723" y="239"/>
                    </a:lnTo>
                    <a:lnTo>
                      <a:pt x="726" y="235"/>
                    </a:lnTo>
                    <a:lnTo>
                      <a:pt x="730" y="231"/>
                    </a:lnTo>
                    <a:lnTo>
                      <a:pt x="737" y="223"/>
                    </a:lnTo>
                    <a:lnTo>
                      <a:pt x="743" y="216"/>
                    </a:lnTo>
                    <a:lnTo>
                      <a:pt x="735" y="215"/>
                    </a:lnTo>
                    <a:lnTo>
                      <a:pt x="728" y="213"/>
                    </a:lnTo>
                    <a:lnTo>
                      <a:pt x="721" y="210"/>
                    </a:lnTo>
                    <a:lnTo>
                      <a:pt x="714" y="207"/>
                    </a:lnTo>
                    <a:lnTo>
                      <a:pt x="709" y="204"/>
                    </a:lnTo>
                    <a:lnTo>
                      <a:pt x="703" y="200"/>
                    </a:lnTo>
                    <a:lnTo>
                      <a:pt x="700" y="196"/>
                    </a:lnTo>
                    <a:lnTo>
                      <a:pt x="696" y="191"/>
                    </a:lnTo>
                    <a:lnTo>
                      <a:pt x="692" y="186"/>
                    </a:lnTo>
                    <a:lnTo>
                      <a:pt x="690" y="181"/>
                    </a:lnTo>
                    <a:lnTo>
                      <a:pt x="688" y="174"/>
                    </a:lnTo>
                    <a:lnTo>
                      <a:pt x="686" y="168"/>
                    </a:lnTo>
                    <a:lnTo>
                      <a:pt x="684" y="156"/>
                    </a:lnTo>
                    <a:lnTo>
                      <a:pt x="684" y="143"/>
                    </a:lnTo>
                    <a:lnTo>
                      <a:pt x="679" y="143"/>
                    </a:lnTo>
                    <a:lnTo>
                      <a:pt x="675" y="144"/>
                    </a:lnTo>
                    <a:lnTo>
                      <a:pt x="670" y="145"/>
                    </a:lnTo>
                    <a:lnTo>
                      <a:pt x="667" y="146"/>
                    </a:lnTo>
                    <a:lnTo>
                      <a:pt x="662" y="150"/>
                    </a:lnTo>
                    <a:lnTo>
                      <a:pt x="657" y="155"/>
                    </a:lnTo>
                    <a:lnTo>
                      <a:pt x="646" y="154"/>
                    </a:lnTo>
                    <a:lnTo>
                      <a:pt x="639" y="152"/>
                    </a:lnTo>
                    <a:lnTo>
                      <a:pt x="636" y="150"/>
                    </a:lnTo>
                    <a:lnTo>
                      <a:pt x="634" y="148"/>
                    </a:lnTo>
                    <a:lnTo>
                      <a:pt x="632" y="146"/>
                    </a:lnTo>
                    <a:lnTo>
                      <a:pt x="631" y="144"/>
                    </a:lnTo>
                    <a:lnTo>
                      <a:pt x="630" y="134"/>
                    </a:lnTo>
                    <a:lnTo>
                      <a:pt x="630" y="124"/>
                    </a:lnTo>
                    <a:lnTo>
                      <a:pt x="624" y="124"/>
                    </a:lnTo>
                    <a:lnTo>
                      <a:pt x="618" y="121"/>
                    </a:lnTo>
                    <a:lnTo>
                      <a:pt x="610" y="119"/>
                    </a:lnTo>
                    <a:lnTo>
                      <a:pt x="602" y="115"/>
                    </a:lnTo>
                    <a:lnTo>
                      <a:pt x="595" y="111"/>
                    </a:lnTo>
                    <a:lnTo>
                      <a:pt x="589" y="106"/>
                    </a:lnTo>
                    <a:lnTo>
                      <a:pt x="587" y="103"/>
                    </a:lnTo>
                    <a:lnTo>
                      <a:pt x="585" y="100"/>
                    </a:lnTo>
                    <a:lnTo>
                      <a:pt x="584" y="97"/>
                    </a:lnTo>
                    <a:lnTo>
                      <a:pt x="584" y="93"/>
                    </a:lnTo>
                    <a:lnTo>
                      <a:pt x="587" y="83"/>
                    </a:lnTo>
                    <a:lnTo>
                      <a:pt x="590" y="69"/>
                    </a:lnTo>
                    <a:lnTo>
                      <a:pt x="544" y="69"/>
                    </a:lnTo>
                    <a:lnTo>
                      <a:pt x="536" y="75"/>
                    </a:lnTo>
                    <a:lnTo>
                      <a:pt x="530" y="80"/>
                    </a:lnTo>
                    <a:lnTo>
                      <a:pt x="523" y="83"/>
                    </a:lnTo>
                    <a:lnTo>
                      <a:pt x="518" y="85"/>
                    </a:lnTo>
                    <a:lnTo>
                      <a:pt x="505" y="87"/>
                    </a:lnTo>
                    <a:lnTo>
                      <a:pt x="490" y="87"/>
                    </a:lnTo>
                    <a:lnTo>
                      <a:pt x="485" y="88"/>
                    </a:lnTo>
                    <a:lnTo>
                      <a:pt x="478" y="92"/>
                    </a:lnTo>
                    <a:lnTo>
                      <a:pt x="475" y="94"/>
                    </a:lnTo>
                    <a:lnTo>
                      <a:pt x="473" y="97"/>
                    </a:lnTo>
                    <a:lnTo>
                      <a:pt x="472" y="101"/>
                    </a:lnTo>
                    <a:lnTo>
                      <a:pt x="471" y="105"/>
                    </a:lnTo>
                    <a:lnTo>
                      <a:pt x="457" y="111"/>
                    </a:lnTo>
                    <a:lnTo>
                      <a:pt x="444" y="117"/>
                    </a:lnTo>
                    <a:lnTo>
                      <a:pt x="439" y="117"/>
                    </a:lnTo>
                    <a:lnTo>
                      <a:pt x="434" y="116"/>
                    </a:lnTo>
                    <a:lnTo>
                      <a:pt x="430" y="115"/>
                    </a:lnTo>
                    <a:lnTo>
                      <a:pt x="426" y="113"/>
                    </a:lnTo>
                    <a:lnTo>
                      <a:pt x="422" y="110"/>
                    </a:lnTo>
                    <a:lnTo>
                      <a:pt x="420" y="107"/>
                    </a:lnTo>
                    <a:lnTo>
                      <a:pt x="418" y="104"/>
                    </a:lnTo>
                    <a:lnTo>
                      <a:pt x="418" y="99"/>
                    </a:lnTo>
                    <a:lnTo>
                      <a:pt x="410" y="103"/>
                    </a:lnTo>
                    <a:lnTo>
                      <a:pt x="404" y="104"/>
                    </a:lnTo>
                    <a:lnTo>
                      <a:pt x="398" y="104"/>
                    </a:lnTo>
                    <a:lnTo>
                      <a:pt x="393" y="102"/>
                    </a:lnTo>
                    <a:lnTo>
                      <a:pt x="388" y="98"/>
                    </a:lnTo>
                    <a:lnTo>
                      <a:pt x="384" y="93"/>
                    </a:lnTo>
                    <a:lnTo>
                      <a:pt x="381" y="88"/>
                    </a:lnTo>
                    <a:lnTo>
                      <a:pt x="378" y="81"/>
                    </a:lnTo>
                    <a:lnTo>
                      <a:pt x="359" y="83"/>
                    </a:lnTo>
                    <a:lnTo>
                      <a:pt x="340" y="86"/>
                    </a:lnTo>
                    <a:lnTo>
                      <a:pt x="331" y="86"/>
                    </a:lnTo>
                    <a:lnTo>
                      <a:pt x="323" y="86"/>
                    </a:lnTo>
                    <a:lnTo>
                      <a:pt x="320" y="86"/>
                    </a:lnTo>
                    <a:lnTo>
                      <a:pt x="317" y="85"/>
                    </a:lnTo>
                    <a:lnTo>
                      <a:pt x="314" y="83"/>
                    </a:lnTo>
                    <a:lnTo>
                      <a:pt x="311" y="81"/>
                    </a:lnTo>
                    <a:lnTo>
                      <a:pt x="305" y="86"/>
                    </a:lnTo>
                    <a:lnTo>
                      <a:pt x="298" y="89"/>
                    </a:lnTo>
                    <a:lnTo>
                      <a:pt x="291" y="92"/>
                    </a:lnTo>
                    <a:lnTo>
                      <a:pt x="285" y="93"/>
                    </a:lnTo>
                    <a:lnTo>
                      <a:pt x="275" y="93"/>
                    </a:lnTo>
                    <a:lnTo>
                      <a:pt x="265" y="93"/>
                    </a:lnTo>
                    <a:lnTo>
                      <a:pt x="258" y="93"/>
                    </a:lnTo>
                    <a:lnTo>
                      <a:pt x="252" y="93"/>
                    </a:lnTo>
                    <a:lnTo>
                      <a:pt x="251" y="83"/>
                    </a:lnTo>
                    <a:lnTo>
                      <a:pt x="249" y="73"/>
                    </a:lnTo>
                    <a:lnTo>
                      <a:pt x="244" y="65"/>
                    </a:lnTo>
                    <a:lnTo>
                      <a:pt x="240" y="58"/>
                    </a:lnTo>
                    <a:lnTo>
                      <a:pt x="233" y="52"/>
                    </a:lnTo>
                    <a:lnTo>
                      <a:pt x="227" y="47"/>
                    </a:lnTo>
                    <a:lnTo>
                      <a:pt x="219" y="42"/>
                    </a:lnTo>
                    <a:lnTo>
                      <a:pt x="211" y="38"/>
                    </a:lnTo>
                    <a:lnTo>
                      <a:pt x="195" y="30"/>
                    </a:lnTo>
                    <a:lnTo>
                      <a:pt x="179" y="22"/>
                    </a:lnTo>
                    <a:lnTo>
                      <a:pt x="171" y="18"/>
                    </a:lnTo>
                    <a:lnTo>
                      <a:pt x="164" y="13"/>
                    </a:lnTo>
                    <a:lnTo>
                      <a:pt x="158" y="7"/>
                    </a:lnTo>
                    <a:lnTo>
                      <a:pt x="152" y="0"/>
                    </a:lnTo>
                    <a:lnTo>
                      <a:pt x="148" y="10"/>
                    </a:lnTo>
                    <a:lnTo>
                      <a:pt x="146" y="20"/>
                    </a:lnTo>
                    <a:lnTo>
                      <a:pt x="146" y="31"/>
                    </a:lnTo>
                    <a:lnTo>
                      <a:pt x="146" y="44"/>
                    </a:lnTo>
                    <a:lnTo>
                      <a:pt x="140" y="44"/>
                    </a:lnTo>
                    <a:lnTo>
                      <a:pt x="136" y="46"/>
                    </a:lnTo>
                    <a:lnTo>
                      <a:pt x="131" y="49"/>
                    </a:lnTo>
                    <a:lnTo>
                      <a:pt x="127" y="52"/>
                    </a:lnTo>
                    <a:lnTo>
                      <a:pt x="124" y="57"/>
                    </a:lnTo>
                    <a:lnTo>
                      <a:pt x="121" y="62"/>
                    </a:lnTo>
                    <a:lnTo>
                      <a:pt x="119" y="69"/>
                    </a:lnTo>
                    <a:lnTo>
                      <a:pt x="119" y="75"/>
                    </a:lnTo>
                    <a:lnTo>
                      <a:pt x="119" y="96"/>
                    </a:lnTo>
                    <a:lnTo>
                      <a:pt x="119" y="108"/>
                    </a:lnTo>
                    <a:lnTo>
                      <a:pt x="119" y="118"/>
                    </a:lnTo>
                    <a:lnTo>
                      <a:pt x="119" y="137"/>
                    </a:lnTo>
                    <a:lnTo>
                      <a:pt x="116" y="150"/>
                    </a:lnTo>
                    <a:lnTo>
                      <a:pt x="109" y="169"/>
                    </a:lnTo>
                    <a:lnTo>
                      <a:pt x="107" y="180"/>
                    </a:lnTo>
                    <a:lnTo>
                      <a:pt x="105" y="188"/>
                    </a:lnTo>
                    <a:lnTo>
                      <a:pt x="104" y="194"/>
                    </a:lnTo>
                    <a:lnTo>
                      <a:pt x="105" y="198"/>
                    </a:lnTo>
                    <a:lnTo>
                      <a:pt x="99" y="197"/>
                    </a:lnTo>
                    <a:lnTo>
                      <a:pt x="93" y="194"/>
                    </a:lnTo>
                    <a:lnTo>
                      <a:pt x="90" y="193"/>
                    </a:lnTo>
                    <a:lnTo>
                      <a:pt x="87" y="190"/>
                    </a:lnTo>
                    <a:lnTo>
                      <a:pt x="86" y="188"/>
                    </a:lnTo>
                    <a:lnTo>
                      <a:pt x="85" y="186"/>
                    </a:lnTo>
                    <a:lnTo>
                      <a:pt x="80" y="186"/>
                    </a:lnTo>
                    <a:lnTo>
                      <a:pt x="74" y="185"/>
                    </a:lnTo>
                    <a:lnTo>
                      <a:pt x="70" y="184"/>
                    </a:lnTo>
                    <a:lnTo>
                      <a:pt x="67" y="182"/>
                    </a:lnTo>
                    <a:lnTo>
                      <a:pt x="63" y="179"/>
                    </a:lnTo>
                    <a:lnTo>
                      <a:pt x="60" y="176"/>
                    </a:lnTo>
                    <a:lnTo>
                      <a:pt x="58" y="173"/>
                    </a:lnTo>
                    <a:lnTo>
                      <a:pt x="57" y="169"/>
                    </a:lnTo>
                    <a:lnTo>
                      <a:pt x="54" y="161"/>
                    </a:lnTo>
                    <a:lnTo>
                      <a:pt x="52" y="152"/>
                    </a:lnTo>
                    <a:lnTo>
                      <a:pt x="52" y="142"/>
                    </a:lnTo>
                    <a:lnTo>
                      <a:pt x="52" y="131"/>
                    </a:lnTo>
                    <a:lnTo>
                      <a:pt x="52" y="119"/>
                    </a:lnTo>
                    <a:lnTo>
                      <a:pt x="54" y="109"/>
                    </a:lnTo>
                    <a:lnTo>
                      <a:pt x="56" y="100"/>
                    </a:lnTo>
                    <a:lnTo>
                      <a:pt x="59" y="91"/>
                    </a:lnTo>
                    <a:lnTo>
                      <a:pt x="65" y="76"/>
                    </a:lnTo>
                    <a:lnTo>
                      <a:pt x="73" y="61"/>
                    </a:lnTo>
                    <a:lnTo>
                      <a:pt x="81" y="49"/>
                    </a:lnTo>
                    <a:lnTo>
                      <a:pt x="89" y="36"/>
                    </a:lnTo>
                    <a:lnTo>
                      <a:pt x="92" y="29"/>
                    </a:lnTo>
                    <a:lnTo>
                      <a:pt x="95" y="22"/>
                    </a:lnTo>
                    <a:lnTo>
                      <a:pt x="97" y="15"/>
                    </a:lnTo>
                    <a:lnTo>
                      <a:pt x="98" y="7"/>
                    </a:lnTo>
                    <a:lnTo>
                      <a:pt x="85" y="12"/>
                    </a:lnTo>
                    <a:lnTo>
                      <a:pt x="73" y="18"/>
                    </a:lnTo>
                    <a:lnTo>
                      <a:pt x="62" y="24"/>
                    </a:lnTo>
                    <a:lnTo>
                      <a:pt x="52" y="30"/>
                    </a:lnTo>
                    <a:lnTo>
                      <a:pt x="43" y="37"/>
                    </a:lnTo>
                    <a:lnTo>
                      <a:pt x="35" y="44"/>
                    </a:lnTo>
                    <a:lnTo>
                      <a:pt x="28" y="52"/>
                    </a:lnTo>
                    <a:lnTo>
                      <a:pt x="22" y="60"/>
                    </a:lnTo>
                    <a:lnTo>
                      <a:pt x="16" y="70"/>
                    </a:lnTo>
                    <a:lnTo>
                      <a:pt x="12" y="79"/>
                    </a:lnTo>
                    <a:lnTo>
                      <a:pt x="7" y="89"/>
                    </a:lnTo>
                    <a:lnTo>
                      <a:pt x="4" y="99"/>
                    </a:lnTo>
                    <a:lnTo>
                      <a:pt x="2" y="109"/>
                    </a:lnTo>
                    <a:lnTo>
                      <a:pt x="1" y="120"/>
                    </a:lnTo>
                    <a:lnTo>
                      <a:pt x="0" y="131"/>
                    </a:lnTo>
                    <a:lnTo>
                      <a:pt x="0" y="14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702" name="Freeform 169"/>
            <p:cNvSpPr>
              <a:spLocks/>
            </p:cNvSpPr>
            <p:nvPr>
              <p:custDataLst>
                <p:tags r:id="rId94"/>
              </p:custDataLst>
            </p:nvPr>
          </p:nvSpPr>
          <p:spPr bwMode="auto">
            <a:xfrm>
              <a:off x="9418460" y="5453299"/>
              <a:ext cx="37852" cy="13344"/>
            </a:xfrm>
            <a:custGeom>
              <a:avLst/>
              <a:gdLst>
                <a:gd name="T0" fmla="*/ 0 w 79"/>
                <a:gd name="T1" fmla="*/ 11112 h 23"/>
                <a:gd name="T2" fmla="*/ 8842 w 79"/>
                <a:gd name="T3" fmla="*/ 6281 h 23"/>
                <a:gd name="T4" fmla="*/ 18085 w 79"/>
                <a:gd name="T5" fmla="*/ 1933 h 23"/>
                <a:gd name="T6" fmla="*/ 22506 w 79"/>
                <a:gd name="T7" fmla="*/ 483 h 23"/>
                <a:gd name="T8" fmla="*/ 26123 w 79"/>
                <a:gd name="T9" fmla="*/ 0 h 23"/>
                <a:gd name="T10" fmla="*/ 27731 w 79"/>
                <a:gd name="T11" fmla="*/ 0 h 23"/>
                <a:gd name="T12" fmla="*/ 29741 w 79"/>
                <a:gd name="T13" fmla="*/ 483 h 23"/>
                <a:gd name="T14" fmla="*/ 30946 w 79"/>
                <a:gd name="T15" fmla="*/ 966 h 23"/>
                <a:gd name="T16" fmla="*/ 31750 w 79"/>
                <a:gd name="T17" fmla="*/ 1933 h 23"/>
                <a:gd name="T18" fmla="*/ 30946 w 79"/>
                <a:gd name="T19" fmla="*/ 3865 h 23"/>
                <a:gd name="T20" fmla="*/ 30142 w 79"/>
                <a:gd name="T21" fmla="*/ 6281 h 23"/>
                <a:gd name="T22" fmla="*/ 28937 w 79"/>
                <a:gd name="T23" fmla="*/ 7730 h 23"/>
                <a:gd name="T24" fmla="*/ 27329 w 79"/>
                <a:gd name="T25" fmla="*/ 9179 h 23"/>
                <a:gd name="T26" fmla="*/ 25722 w 79"/>
                <a:gd name="T27" fmla="*/ 10146 h 23"/>
                <a:gd name="T28" fmla="*/ 23712 w 79"/>
                <a:gd name="T29" fmla="*/ 10629 h 23"/>
                <a:gd name="T30" fmla="*/ 21301 w 79"/>
                <a:gd name="T31" fmla="*/ 11112 h 23"/>
                <a:gd name="T32" fmla="*/ 18487 w 79"/>
                <a:gd name="T33" fmla="*/ 11112 h 23"/>
                <a:gd name="T34" fmla="*/ 14870 w 79"/>
                <a:gd name="T35" fmla="*/ 11112 h 23"/>
                <a:gd name="T36" fmla="*/ 12861 w 79"/>
                <a:gd name="T37" fmla="*/ 10146 h 23"/>
                <a:gd name="T38" fmla="*/ 10449 w 79"/>
                <a:gd name="T39" fmla="*/ 9663 h 23"/>
                <a:gd name="T40" fmla="*/ 9244 w 79"/>
                <a:gd name="T41" fmla="*/ 9179 h 23"/>
                <a:gd name="T42" fmla="*/ 7636 w 79"/>
                <a:gd name="T43" fmla="*/ 8696 h 23"/>
                <a:gd name="T44" fmla="*/ 5627 w 79"/>
                <a:gd name="T45" fmla="*/ 8696 h 23"/>
                <a:gd name="T46" fmla="*/ 3617 w 79"/>
                <a:gd name="T47" fmla="*/ 9663 h 23"/>
                <a:gd name="T48" fmla="*/ 0 w 79"/>
                <a:gd name="T49" fmla="*/ 11112 h 2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79" h="23">
                  <a:moveTo>
                    <a:pt x="0" y="23"/>
                  </a:moveTo>
                  <a:lnTo>
                    <a:pt x="22" y="13"/>
                  </a:lnTo>
                  <a:lnTo>
                    <a:pt x="45" y="4"/>
                  </a:lnTo>
                  <a:lnTo>
                    <a:pt x="56" y="1"/>
                  </a:lnTo>
                  <a:lnTo>
                    <a:pt x="65" y="0"/>
                  </a:lnTo>
                  <a:lnTo>
                    <a:pt x="69" y="0"/>
                  </a:lnTo>
                  <a:lnTo>
                    <a:pt x="74" y="1"/>
                  </a:lnTo>
                  <a:lnTo>
                    <a:pt x="77" y="2"/>
                  </a:lnTo>
                  <a:lnTo>
                    <a:pt x="79" y="4"/>
                  </a:lnTo>
                  <a:lnTo>
                    <a:pt x="77" y="8"/>
                  </a:lnTo>
                  <a:lnTo>
                    <a:pt x="75" y="13"/>
                  </a:lnTo>
                  <a:lnTo>
                    <a:pt x="72" y="16"/>
                  </a:lnTo>
                  <a:lnTo>
                    <a:pt x="68" y="19"/>
                  </a:lnTo>
                  <a:lnTo>
                    <a:pt x="64" y="21"/>
                  </a:lnTo>
                  <a:lnTo>
                    <a:pt x="59" y="22"/>
                  </a:lnTo>
                  <a:lnTo>
                    <a:pt x="53" y="23"/>
                  </a:lnTo>
                  <a:lnTo>
                    <a:pt x="46" y="23"/>
                  </a:lnTo>
                  <a:lnTo>
                    <a:pt x="37" y="23"/>
                  </a:lnTo>
                  <a:lnTo>
                    <a:pt x="32" y="21"/>
                  </a:lnTo>
                  <a:lnTo>
                    <a:pt x="26" y="20"/>
                  </a:lnTo>
                  <a:lnTo>
                    <a:pt x="23" y="19"/>
                  </a:lnTo>
                  <a:lnTo>
                    <a:pt x="19" y="18"/>
                  </a:lnTo>
                  <a:lnTo>
                    <a:pt x="14" y="18"/>
                  </a:lnTo>
                  <a:lnTo>
                    <a:pt x="9" y="20"/>
                  </a:lnTo>
                  <a:lnTo>
                    <a:pt x="0" y="2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703" name="Freeform 170"/>
            <p:cNvSpPr>
              <a:spLocks/>
            </p:cNvSpPr>
            <p:nvPr>
              <p:custDataLst>
                <p:tags r:id="rId95"/>
              </p:custDataLst>
            </p:nvPr>
          </p:nvSpPr>
          <p:spPr bwMode="auto">
            <a:xfrm>
              <a:off x="9556619" y="5613435"/>
              <a:ext cx="1893" cy="5719"/>
            </a:xfrm>
            <a:custGeom>
              <a:avLst/>
              <a:gdLst>
                <a:gd name="T0" fmla="*/ 0 w 1588"/>
                <a:gd name="T1" fmla="*/ 0 h 6"/>
                <a:gd name="T2" fmla="*/ 0 w 1588"/>
                <a:gd name="T3" fmla="*/ 4762 h 6"/>
                <a:gd name="T4" fmla="*/ 0 w 1588"/>
                <a:gd name="T5" fmla="*/ 0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588" h="6">
                  <a:moveTo>
                    <a:pt x="0" y="0"/>
                  </a:moveTo>
                  <a:lnTo>
                    <a:pt x="0" y="6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704" name="Line 171"/>
            <p:cNvSpPr>
              <a:spLocks noChangeShapeType="1"/>
            </p:cNvSpPr>
            <p:nvPr>
              <p:custDataLst>
                <p:tags r:id="rId96"/>
              </p:custDataLst>
            </p:nvPr>
          </p:nvSpPr>
          <p:spPr bwMode="auto">
            <a:xfrm flipV="1">
              <a:off x="9664499" y="5611528"/>
              <a:ext cx="1892" cy="15251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705" name="Freeform 172"/>
            <p:cNvSpPr>
              <a:spLocks/>
            </p:cNvSpPr>
            <p:nvPr>
              <p:custDataLst>
                <p:tags r:id="rId97"/>
              </p:custDataLst>
            </p:nvPr>
          </p:nvSpPr>
          <p:spPr bwMode="auto">
            <a:xfrm>
              <a:off x="9664499" y="5611529"/>
              <a:ext cx="3785" cy="19064"/>
            </a:xfrm>
            <a:custGeom>
              <a:avLst/>
              <a:gdLst>
                <a:gd name="T0" fmla="*/ 0 w 5"/>
                <a:gd name="T1" fmla="*/ 0 h 30"/>
                <a:gd name="T2" fmla="*/ 1270 w 5"/>
                <a:gd name="T3" fmla="*/ 529 h 30"/>
                <a:gd name="T4" fmla="*/ 2540 w 5"/>
                <a:gd name="T5" fmla="*/ 2117 h 30"/>
                <a:gd name="T6" fmla="*/ 3175 w 5"/>
                <a:gd name="T7" fmla="*/ 4233 h 30"/>
                <a:gd name="T8" fmla="*/ 3175 w 5"/>
                <a:gd name="T9" fmla="*/ 6879 h 30"/>
                <a:gd name="T10" fmla="*/ 3175 w 5"/>
                <a:gd name="T11" fmla="*/ 9525 h 30"/>
                <a:gd name="T12" fmla="*/ 2540 w 5"/>
                <a:gd name="T13" fmla="*/ 12171 h 30"/>
                <a:gd name="T14" fmla="*/ 1270 w 5"/>
                <a:gd name="T15" fmla="*/ 14287 h 30"/>
                <a:gd name="T16" fmla="*/ 0 w 5"/>
                <a:gd name="T17" fmla="*/ 15875 h 3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5" h="30">
                  <a:moveTo>
                    <a:pt x="0" y="0"/>
                  </a:moveTo>
                  <a:lnTo>
                    <a:pt x="2" y="1"/>
                  </a:lnTo>
                  <a:lnTo>
                    <a:pt x="4" y="4"/>
                  </a:lnTo>
                  <a:lnTo>
                    <a:pt x="5" y="8"/>
                  </a:lnTo>
                  <a:lnTo>
                    <a:pt x="5" y="13"/>
                  </a:lnTo>
                  <a:lnTo>
                    <a:pt x="5" y="18"/>
                  </a:lnTo>
                  <a:lnTo>
                    <a:pt x="4" y="23"/>
                  </a:lnTo>
                  <a:lnTo>
                    <a:pt x="2" y="27"/>
                  </a:lnTo>
                  <a:lnTo>
                    <a:pt x="0" y="3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706" name="Freeform 173"/>
            <p:cNvSpPr>
              <a:spLocks/>
            </p:cNvSpPr>
            <p:nvPr>
              <p:custDataLst>
                <p:tags r:id="rId98"/>
              </p:custDataLst>
            </p:nvPr>
          </p:nvSpPr>
          <p:spPr bwMode="auto">
            <a:xfrm>
              <a:off x="10020308" y="4974799"/>
              <a:ext cx="26496" cy="34315"/>
            </a:xfrm>
            <a:custGeom>
              <a:avLst/>
              <a:gdLst>
                <a:gd name="T0" fmla="*/ 0 w 53"/>
                <a:gd name="T1" fmla="*/ 6235 h 55"/>
                <a:gd name="T2" fmla="*/ 419 w 53"/>
                <a:gd name="T3" fmla="*/ 8832 h 55"/>
                <a:gd name="T4" fmla="*/ 2097 w 53"/>
                <a:gd name="T5" fmla="*/ 11430 h 55"/>
                <a:gd name="T6" fmla="*/ 3774 w 53"/>
                <a:gd name="T7" fmla="*/ 14028 h 55"/>
                <a:gd name="T8" fmla="*/ 6290 w 53"/>
                <a:gd name="T9" fmla="*/ 17145 h 55"/>
                <a:gd name="T10" fmla="*/ 10903 w 53"/>
                <a:gd name="T11" fmla="*/ 22860 h 55"/>
                <a:gd name="T12" fmla="*/ 13838 w 53"/>
                <a:gd name="T13" fmla="*/ 28575 h 55"/>
                <a:gd name="T14" fmla="*/ 22225 w 53"/>
                <a:gd name="T15" fmla="*/ 28575 h 55"/>
                <a:gd name="T16" fmla="*/ 16774 w 53"/>
                <a:gd name="T17" fmla="*/ 21301 h 55"/>
                <a:gd name="T18" fmla="*/ 11742 w 53"/>
                <a:gd name="T19" fmla="*/ 15067 h 55"/>
                <a:gd name="T20" fmla="*/ 9645 w 53"/>
                <a:gd name="T21" fmla="*/ 11950 h 55"/>
                <a:gd name="T22" fmla="*/ 7967 w 53"/>
                <a:gd name="T23" fmla="*/ 8313 h 55"/>
                <a:gd name="T24" fmla="*/ 6709 w 53"/>
                <a:gd name="T25" fmla="*/ 4156 h 55"/>
                <a:gd name="T26" fmla="*/ 5871 w 53"/>
                <a:gd name="T27" fmla="*/ 0 h 55"/>
                <a:gd name="T28" fmla="*/ 2935 w 53"/>
                <a:gd name="T29" fmla="*/ 3117 h 55"/>
                <a:gd name="T30" fmla="*/ 0 w 53"/>
                <a:gd name="T31" fmla="*/ 6235 h 5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3" h="55">
                  <a:moveTo>
                    <a:pt x="0" y="12"/>
                  </a:moveTo>
                  <a:lnTo>
                    <a:pt x="1" y="17"/>
                  </a:lnTo>
                  <a:lnTo>
                    <a:pt x="5" y="22"/>
                  </a:lnTo>
                  <a:lnTo>
                    <a:pt x="9" y="27"/>
                  </a:lnTo>
                  <a:lnTo>
                    <a:pt x="15" y="33"/>
                  </a:lnTo>
                  <a:lnTo>
                    <a:pt x="26" y="44"/>
                  </a:lnTo>
                  <a:lnTo>
                    <a:pt x="33" y="55"/>
                  </a:lnTo>
                  <a:lnTo>
                    <a:pt x="53" y="55"/>
                  </a:lnTo>
                  <a:lnTo>
                    <a:pt x="40" y="41"/>
                  </a:lnTo>
                  <a:lnTo>
                    <a:pt x="28" y="29"/>
                  </a:lnTo>
                  <a:lnTo>
                    <a:pt x="23" y="23"/>
                  </a:lnTo>
                  <a:lnTo>
                    <a:pt x="19" y="16"/>
                  </a:lnTo>
                  <a:lnTo>
                    <a:pt x="16" y="8"/>
                  </a:lnTo>
                  <a:lnTo>
                    <a:pt x="14" y="0"/>
                  </a:lnTo>
                  <a:lnTo>
                    <a:pt x="7" y="6"/>
                  </a:lnTo>
                  <a:lnTo>
                    <a:pt x="0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707" name="Freeform 174"/>
            <p:cNvSpPr>
              <a:spLocks/>
            </p:cNvSpPr>
            <p:nvPr>
              <p:custDataLst>
                <p:tags r:id="rId99"/>
              </p:custDataLst>
            </p:nvPr>
          </p:nvSpPr>
          <p:spPr bwMode="auto">
            <a:xfrm>
              <a:off x="10027878" y="4887104"/>
              <a:ext cx="32174" cy="47660"/>
            </a:xfrm>
            <a:custGeom>
              <a:avLst/>
              <a:gdLst>
                <a:gd name="T0" fmla="*/ 0 w 65"/>
                <a:gd name="T1" fmla="*/ 16934 h 75"/>
                <a:gd name="T2" fmla="*/ 3737 w 65"/>
                <a:gd name="T3" fmla="*/ 22754 h 75"/>
                <a:gd name="T4" fmla="*/ 8304 w 65"/>
                <a:gd name="T5" fmla="*/ 29105 h 75"/>
                <a:gd name="T6" fmla="*/ 10795 w 65"/>
                <a:gd name="T7" fmla="*/ 32280 h 75"/>
                <a:gd name="T8" fmla="*/ 13286 w 65"/>
                <a:gd name="T9" fmla="*/ 35455 h 75"/>
                <a:gd name="T10" fmla="*/ 16192 w 65"/>
                <a:gd name="T11" fmla="*/ 37571 h 75"/>
                <a:gd name="T12" fmla="*/ 19098 w 65"/>
                <a:gd name="T13" fmla="*/ 39688 h 75"/>
                <a:gd name="T14" fmla="*/ 21174 w 65"/>
                <a:gd name="T15" fmla="*/ 32280 h 75"/>
                <a:gd name="T16" fmla="*/ 24081 w 65"/>
                <a:gd name="T17" fmla="*/ 25400 h 75"/>
                <a:gd name="T18" fmla="*/ 25326 w 65"/>
                <a:gd name="T19" fmla="*/ 22225 h 75"/>
                <a:gd name="T20" fmla="*/ 26157 w 65"/>
                <a:gd name="T21" fmla="*/ 19050 h 75"/>
                <a:gd name="T22" fmla="*/ 26987 w 65"/>
                <a:gd name="T23" fmla="*/ 16404 h 75"/>
                <a:gd name="T24" fmla="*/ 26987 w 65"/>
                <a:gd name="T25" fmla="*/ 13759 h 75"/>
                <a:gd name="T26" fmla="*/ 26987 w 65"/>
                <a:gd name="T27" fmla="*/ 11113 h 75"/>
                <a:gd name="T28" fmla="*/ 26157 w 65"/>
                <a:gd name="T29" fmla="*/ 9525 h 75"/>
                <a:gd name="T30" fmla="*/ 25326 w 65"/>
                <a:gd name="T31" fmla="*/ 6879 h 75"/>
                <a:gd name="T32" fmla="*/ 24081 w 65"/>
                <a:gd name="T33" fmla="*/ 5292 h 75"/>
                <a:gd name="T34" fmla="*/ 21174 w 65"/>
                <a:gd name="T35" fmla="*/ 2646 h 75"/>
                <a:gd name="T36" fmla="*/ 19098 w 65"/>
                <a:gd name="T37" fmla="*/ 0 h 75"/>
                <a:gd name="T38" fmla="*/ 14116 w 65"/>
                <a:gd name="T39" fmla="*/ 0 h 75"/>
                <a:gd name="T40" fmla="*/ 10795 w 65"/>
                <a:gd name="T41" fmla="*/ 0 h 75"/>
                <a:gd name="T42" fmla="*/ 10380 w 65"/>
                <a:gd name="T43" fmla="*/ 1058 h 75"/>
                <a:gd name="T44" fmla="*/ 9964 w 65"/>
                <a:gd name="T45" fmla="*/ 3704 h 75"/>
                <a:gd name="T46" fmla="*/ 9549 w 65"/>
                <a:gd name="T47" fmla="*/ 4763 h 75"/>
                <a:gd name="T48" fmla="*/ 9549 w 65"/>
                <a:gd name="T49" fmla="*/ 5821 h 75"/>
                <a:gd name="T50" fmla="*/ 9964 w 65"/>
                <a:gd name="T51" fmla="*/ 6350 h 75"/>
                <a:gd name="T52" fmla="*/ 10795 w 65"/>
                <a:gd name="T53" fmla="*/ 6879 h 75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65" h="75">
                  <a:moveTo>
                    <a:pt x="0" y="32"/>
                  </a:moveTo>
                  <a:lnTo>
                    <a:pt x="9" y="43"/>
                  </a:lnTo>
                  <a:lnTo>
                    <a:pt x="20" y="55"/>
                  </a:lnTo>
                  <a:lnTo>
                    <a:pt x="26" y="61"/>
                  </a:lnTo>
                  <a:lnTo>
                    <a:pt x="32" y="67"/>
                  </a:lnTo>
                  <a:lnTo>
                    <a:pt x="39" y="71"/>
                  </a:lnTo>
                  <a:lnTo>
                    <a:pt x="46" y="75"/>
                  </a:lnTo>
                  <a:lnTo>
                    <a:pt x="51" y="61"/>
                  </a:lnTo>
                  <a:lnTo>
                    <a:pt x="58" y="48"/>
                  </a:lnTo>
                  <a:lnTo>
                    <a:pt x="61" y="42"/>
                  </a:lnTo>
                  <a:lnTo>
                    <a:pt x="63" y="36"/>
                  </a:lnTo>
                  <a:lnTo>
                    <a:pt x="65" y="31"/>
                  </a:lnTo>
                  <a:lnTo>
                    <a:pt x="65" y="26"/>
                  </a:lnTo>
                  <a:lnTo>
                    <a:pt x="65" y="21"/>
                  </a:lnTo>
                  <a:lnTo>
                    <a:pt x="63" y="18"/>
                  </a:lnTo>
                  <a:lnTo>
                    <a:pt x="61" y="13"/>
                  </a:lnTo>
                  <a:lnTo>
                    <a:pt x="58" y="10"/>
                  </a:lnTo>
                  <a:lnTo>
                    <a:pt x="51" y="5"/>
                  </a:lnTo>
                  <a:lnTo>
                    <a:pt x="46" y="0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25" y="2"/>
                  </a:lnTo>
                  <a:lnTo>
                    <a:pt x="24" y="7"/>
                  </a:lnTo>
                  <a:lnTo>
                    <a:pt x="23" y="9"/>
                  </a:lnTo>
                  <a:lnTo>
                    <a:pt x="23" y="11"/>
                  </a:lnTo>
                  <a:lnTo>
                    <a:pt x="24" y="12"/>
                  </a:lnTo>
                  <a:lnTo>
                    <a:pt x="26" y="1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708" name="Freeform 175"/>
            <p:cNvSpPr>
              <a:spLocks/>
            </p:cNvSpPr>
            <p:nvPr>
              <p:custDataLst>
                <p:tags r:id="rId100"/>
              </p:custDataLst>
            </p:nvPr>
          </p:nvSpPr>
          <p:spPr bwMode="auto">
            <a:xfrm>
              <a:off x="9999489" y="4858509"/>
              <a:ext cx="20819" cy="36221"/>
            </a:xfrm>
            <a:custGeom>
              <a:avLst/>
              <a:gdLst>
                <a:gd name="T0" fmla="*/ 0 w 40"/>
                <a:gd name="T1" fmla="*/ 30162 h 62"/>
                <a:gd name="T2" fmla="*/ 1310 w 40"/>
                <a:gd name="T3" fmla="*/ 25297 h 62"/>
                <a:gd name="T4" fmla="*/ 3056 w 40"/>
                <a:gd name="T5" fmla="*/ 20919 h 62"/>
                <a:gd name="T6" fmla="*/ 5239 w 40"/>
                <a:gd name="T7" fmla="*/ 16054 h 62"/>
                <a:gd name="T8" fmla="*/ 7422 w 40"/>
                <a:gd name="T9" fmla="*/ 12162 h 62"/>
                <a:gd name="T10" fmla="*/ 10041 w 40"/>
                <a:gd name="T11" fmla="*/ 8270 h 62"/>
                <a:gd name="T12" fmla="*/ 12661 w 40"/>
                <a:gd name="T13" fmla="*/ 4378 h 62"/>
                <a:gd name="T14" fmla="*/ 15280 w 40"/>
                <a:gd name="T15" fmla="*/ 1459 h 62"/>
                <a:gd name="T16" fmla="*/ 17463 w 40"/>
                <a:gd name="T17" fmla="*/ 0 h 6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0" h="62">
                  <a:moveTo>
                    <a:pt x="0" y="62"/>
                  </a:moveTo>
                  <a:lnTo>
                    <a:pt x="3" y="52"/>
                  </a:lnTo>
                  <a:lnTo>
                    <a:pt x="7" y="43"/>
                  </a:lnTo>
                  <a:lnTo>
                    <a:pt x="12" y="33"/>
                  </a:lnTo>
                  <a:lnTo>
                    <a:pt x="17" y="25"/>
                  </a:lnTo>
                  <a:lnTo>
                    <a:pt x="23" y="17"/>
                  </a:lnTo>
                  <a:lnTo>
                    <a:pt x="29" y="9"/>
                  </a:lnTo>
                  <a:lnTo>
                    <a:pt x="35" y="3"/>
                  </a:lnTo>
                  <a:lnTo>
                    <a:pt x="4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709" name="Freeform 176"/>
            <p:cNvSpPr>
              <a:spLocks/>
            </p:cNvSpPr>
            <p:nvPr>
              <p:custDataLst>
                <p:tags r:id="rId101"/>
              </p:custDataLst>
            </p:nvPr>
          </p:nvSpPr>
          <p:spPr bwMode="auto">
            <a:xfrm>
              <a:off x="9902965" y="4711719"/>
              <a:ext cx="81381" cy="165855"/>
            </a:xfrm>
            <a:custGeom>
              <a:avLst/>
              <a:gdLst>
                <a:gd name="T0" fmla="*/ 68262 w 159"/>
                <a:gd name="T1" fmla="*/ 138113 h 259"/>
                <a:gd name="T2" fmla="*/ 68262 w 159"/>
                <a:gd name="T3" fmla="*/ 133847 h 259"/>
                <a:gd name="T4" fmla="*/ 68262 w 159"/>
                <a:gd name="T5" fmla="*/ 130114 h 259"/>
                <a:gd name="T6" fmla="*/ 68262 w 159"/>
                <a:gd name="T7" fmla="*/ 125848 h 259"/>
                <a:gd name="T8" fmla="*/ 68262 w 159"/>
                <a:gd name="T9" fmla="*/ 121582 h 259"/>
                <a:gd name="T10" fmla="*/ 68262 w 159"/>
                <a:gd name="T11" fmla="*/ 119449 h 259"/>
                <a:gd name="T12" fmla="*/ 67833 w 159"/>
                <a:gd name="T13" fmla="*/ 116783 h 259"/>
                <a:gd name="T14" fmla="*/ 66974 w 159"/>
                <a:gd name="T15" fmla="*/ 114650 h 259"/>
                <a:gd name="T16" fmla="*/ 65686 w 159"/>
                <a:gd name="T17" fmla="*/ 111984 h 259"/>
                <a:gd name="T18" fmla="*/ 62252 w 159"/>
                <a:gd name="T19" fmla="*/ 107717 h 259"/>
                <a:gd name="T20" fmla="*/ 57958 w 159"/>
                <a:gd name="T21" fmla="*/ 103985 h 259"/>
                <a:gd name="T22" fmla="*/ 53236 w 159"/>
                <a:gd name="T23" fmla="*/ 100785 h 259"/>
                <a:gd name="T24" fmla="*/ 48084 w 159"/>
                <a:gd name="T25" fmla="*/ 98119 h 259"/>
                <a:gd name="T26" fmla="*/ 42503 w 159"/>
                <a:gd name="T27" fmla="*/ 95986 h 259"/>
                <a:gd name="T28" fmla="*/ 37351 w 159"/>
                <a:gd name="T29" fmla="*/ 95453 h 259"/>
                <a:gd name="T30" fmla="*/ 36492 w 159"/>
                <a:gd name="T31" fmla="*/ 94919 h 259"/>
                <a:gd name="T32" fmla="*/ 35204 w 159"/>
                <a:gd name="T33" fmla="*/ 94386 h 259"/>
                <a:gd name="T34" fmla="*/ 34775 w 159"/>
                <a:gd name="T35" fmla="*/ 93320 h 259"/>
                <a:gd name="T36" fmla="*/ 34346 w 159"/>
                <a:gd name="T37" fmla="*/ 92253 h 259"/>
                <a:gd name="T38" fmla="*/ 34346 w 159"/>
                <a:gd name="T39" fmla="*/ 89054 h 259"/>
                <a:gd name="T40" fmla="*/ 34775 w 159"/>
                <a:gd name="T41" fmla="*/ 85854 h 259"/>
                <a:gd name="T42" fmla="*/ 36492 w 159"/>
                <a:gd name="T43" fmla="*/ 78922 h 259"/>
                <a:gd name="T44" fmla="*/ 37351 w 159"/>
                <a:gd name="T45" fmla="*/ 75722 h 259"/>
                <a:gd name="T46" fmla="*/ 31340 w 159"/>
                <a:gd name="T47" fmla="*/ 75189 h 259"/>
                <a:gd name="T48" fmla="*/ 25330 w 159"/>
                <a:gd name="T49" fmla="*/ 74122 h 259"/>
                <a:gd name="T50" fmla="*/ 20607 w 159"/>
                <a:gd name="T51" fmla="*/ 71989 h 259"/>
                <a:gd name="T52" fmla="*/ 17173 w 159"/>
                <a:gd name="T53" fmla="*/ 68790 h 259"/>
                <a:gd name="T54" fmla="*/ 13309 w 159"/>
                <a:gd name="T55" fmla="*/ 64524 h 259"/>
                <a:gd name="T56" fmla="*/ 10304 w 159"/>
                <a:gd name="T57" fmla="*/ 60258 h 259"/>
                <a:gd name="T58" fmla="*/ 7728 w 159"/>
                <a:gd name="T59" fmla="*/ 55459 h 259"/>
                <a:gd name="T60" fmla="*/ 5581 w 159"/>
                <a:gd name="T61" fmla="*/ 50126 h 259"/>
                <a:gd name="T62" fmla="*/ 3864 w 159"/>
                <a:gd name="T63" fmla="*/ 44793 h 259"/>
                <a:gd name="T64" fmla="*/ 3005 w 159"/>
                <a:gd name="T65" fmla="*/ 38928 h 259"/>
                <a:gd name="T66" fmla="*/ 2147 w 159"/>
                <a:gd name="T67" fmla="*/ 31995 h 259"/>
                <a:gd name="T68" fmla="*/ 859 w 159"/>
                <a:gd name="T69" fmla="*/ 25596 h 259"/>
                <a:gd name="T70" fmla="*/ 0 w 159"/>
                <a:gd name="T71" fmla="*/ 13331 h 259"/>
                <a:gd name="T72" fmla="*/ 0 w 159"/>
                <a:gd name="T73" fmla="*/ 0 h 259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59" h="259">
                  <a:moveTo>
                    <a:pt x="159" y="259"/>
                  </a:moveTo>
                  <a:lnTo>
                    <a:pt x="159" y="251"/>
                  </a:lnTo>
                  <a:lnTo>
                    <a:pt x="159" y="244"/>
                  </a:lnTo>
                  <a:lnTo>
                    <a:pt x="159" y="236"/>
                  </a:lnTo>
                  <a:lnTo>
                    <a:pt x="159" y="228"/>
                  </a:lnTo>
                  <a:lnTo>
                    <a:pt x="159" y="224"/>
                  </a:lnTo>
                  <a:lnTo>
                    <a:pt x="158" y="219"/>
                  </a:lnTo>
                  <a:lnTo>
                    <a:pt x="156" y="215"/>
                  </a:lnTo>
                  <a:lnTo>
                    <a:pt x="153" y="210"/>
                  </a:lnTo>
                  <a:lnTo>
                    <a:pt x="145" y="202"/>
                  </a:lnTo>
                  <a:lnTo>
                    <a:pt x="135" y="195"/>
                  </a:lnTo>
                  <a:lnTo>
                    <a:pt x="124" y="189"/>
                  </a:lnTo>
                  <a:lnTo>
                    <a:pt x="112" y="184"/>
                  </a:lnTo>
                  <a:lnTo>
                    <a:pt x="99" y="180"/>
                  </a:lnTo>
                  <a:lnTo>
                    <a:pt x="87" y="179"/>
                  </a:lnTo>
                  <a:lnTo>
                    <a:pt x="85" y="178"/>
                  </a:lnTo>
                  <a:lnTo>
                    <a:pt x="82" y="177"/>
                  </a:lnTo>
                  <a:lnTo>
                    <a:pt x="81" y="175"/>
                  </a:lnTo>
                  <a:lnTo>
                    <a:pt x="80" y="173"/>
                  </a:lnTo>
                  <a:lnTo>
                    <a:pt x="80" y="167"/>
                  </a:lnTo>
                  <a:lnTo>
                    <a:pt x="81" y="161"/>
                  </a:lnTo>
                  <a:lnTo>
                    <a:pt x="85" y="148"/>
                  </a:lnTo>
                  <a:lnTo>
                    <a:pt x="87" y="142"/>
                  </a:lnTo>
                  <a:lnTo>
                    <a:pt x="73" y="141"/>
                  </a:lnTo>
                  <a:lnTo>
                    <a:pt x="59" y="139"/>
                  </a:lnTo>
                  <a:lnTo>
                    <a:pt x="48" y="135"/>
                  </a:lnTo>
                  <a:lnTo>
                    <a:pt x="40" y="129"/>
                  </a:lnTo>
                  <a:lnTo>
                    <a:pt x="31" y="121"/>
                  </a:lnTo>
                  <a:lnTo>
                    <a:pt x="24" y="113"/>
                  </a:lnTo>
                  <a:lnTo>
                    <a:pt x="18" y="104"/>
                  </a:lnTo>
                  <a:lnTo>
                    <a:pt x="13" y="94"/>
                  </a:lnTo>
                  <a:lnTo>
                    <a:pt x="9" y="84"/>
                  </a:lnTo>
                  <a:lnTo>
                    <a:pt x="7" y="73"/>
                  </a:lnTo>
                  <a:lnTo>
                    <a:pt x="5" y="60"/>
                  </a:lnTo>
                  <a:lnTo>
                    <a:pt x="2" y="48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710" name="Line 177"/>
            <p:cNvSpPr>
              <a:spLocks noChangeShapeType="1"/>
            </p:cNvSpPr>
            <p:nvPr>
              <p:custDataLst>
                <p:tags r:id="rId102"/>
              </p:custDataLst>
            </p:nvPr>
          </p:nvSpPr>
          <p:spPr bwMode="auto">
            <a:xfrm flipH="1" flipV="1">
              <a:off x="9895395" y="4671685"/>
              <a:ext cx="7570" cy="40033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711" name="Freeform 178"/>
            <p:cNvSpPr>
              <a:spLocks/>
            </p:cNvSpPr>
            <p:nvPr>
              <p:custDataLst>
                <p:tags r:id="rId103"/>
              </p:custDataLst>
            </p:nvPr>
          </p:nvSpPr>
          <p:spPr bwMode="auto">
            <a:xfrm>
              <a:off x="9895395" y="4652622"/>
              <a:ext cx="7570" cy="19064"/>
            </a:xfrm>
            <a:custGeom>
              <a:avLst/>
              <a:gdLst>
                <a:gd name="T0" fmla="*/ 0 w 13"/>
                <a:gd name="T1" fmla="*/ 15875 h 25"/>
                <a:gd name="T2" fmla="*/ 488 w 13"/>
                <a:gd name="T3" fmla="*/ 12065 h 25"/>
                <a:gd name="T4" fmla="*/ 1954 w 13"/>
                <a:gd name="T5" fmla="*/ 8255 h 25"/>
                <a:gd name="T6" fmla="*/ 3908 w 13"/>
                <a:gd name="T7" fmla="*/ 3810 h 25"/>
                <a:gd name="T8" fmla="*/ 6350 w 13"/>
                <a:gd name="T9" fmla="*/ 0 h 2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3" h="25">
                  <a:moveTo>
                    <a:pt x="0" y="25"/>
                  </a:moveTo>
                  <a:lnTo>
                    <a:pt x="1" y="19"/>
                  </a:lnTo>
                  <a:lnTo>
                    <a:pt x="4" y="13"/>
                  </a:lnTo>
                  <a:lnTo>
                    <a:pt x="8" y="6"/>
                  </a:lnTo>
                  <a:lnTo>
                    <a:pt x="1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712" name="Line 179"/>
            <p:cNvSpPr>
              <a:spLocks noChangeShapeType="1"/>
            </p:cNvSpPr>
            <p:nvPr>
              <p:custDataLst>
                <p:tags r:id="rId104"/>
              </p:custDataLst>
            </p:nvPr>
          </p:nvSpPr>
          <p:spPr bwMode="auto">
            <a:xfrm flipV="1">
              <a:off x="9902965" y="4637369"/>
              <a:ext cx="0" cy="15251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713" name="Freeform 180"/>
            <p:cNvSpPr>
              <a:spLocks/>
            </p:cNvSpPr>
            <p:nvPr>
              <p:custDataLst>
                <p:tags r:id="rId105"/>
              </p:custDataLst>
            </p:nvPr>
          </p:nvSpPr>
          <p:spPr bwMode="auto">
            <a:xfrm>
              <a:off x="9848079" y="4557303"/>
              <a:ext cx="54886" cy="80068"/>
            </a:xfrm>
            <a:custGeom>
              <a:avLst/>
              <a:gdLst>
                <a:gd name="T0" fmla="*/ 46038 w 100"/>
                <a:gd name="T1" fmla="*/ 66675 h 123"/>
                <a:gd name="T2" fmla="*/ 41434 w 100"/>
                <a:gd name="T3" fmla="*/ 66133 h 123"/>
                <a:gd name="T4" fmla="*/ 34989 w 100"/>
                <a:gd name="T5" fmla="*/ 64507 h 123"/>
                <a:gd name="T6" fmla="*/ 27623 w 100"/>
                <a:gd name="T7" fmla="*/ 61796 h 123"/>
                <a:gd name="T8" fmla="*/ 19796 w 100"/>
                <a:gd name="T9" fmla="*/ 58002 h 123"/>
                <a:gd name="T10" fmla="*/ 15653 w 100"/>
                <a:gd name="T11" fmla="*/ 55834 h 123"/>
                <a:gd name="T12" fmla="*/ 12430 w 100"/>
                <a:gd name="T13" fmla="*/ 53665 h 123"/>
                <a:gd name="T14" fmla="*/ 9208 w 100"/>
                <a:gd name="T15" fmla="*/ 50955 h 123"/>
                <a:gd name="T16" fmla="*/ 5985 w 100"/>
                <a:gd name="T17" fmla="*/ 48245 h 123"/>
                <a:gd name="T18" fmla="*/ 3683 w 100"/>
                <a:gd name="T19" fmla="*/ 45534 h 123"/>
                <a:gd name="T20" fmla="*/ 1842 w 100"/>
                <a:gd name="T21" fmla="*/ 42824 h 123"/>
                <a:gd name="T22" fmla="*/ 460 w 100"/>
                <a:gd name="T23" fmla="*/ 39571 h 123"/>
                <a:gd name="T24" fmla="*/ 0 w 100"/>
                <a:gd name="T25" fmla="*/ 36861 h 123"/>
                <a:gd name="T26" fmla="*/ 921 w 100"/>
                <a:gd name="T27" fmla="*/ 29814 h 123"/>
                <a:gd name="T28" fmla="*/ 3223 w 100"/>
                <a:gd name="T29" fmla="*/ 19515 h 123"/>
                <a:gd name="T30" fmla="*/ 5064 w 100"/>
                <a:gd name="T31" fmla="*/ 9215 h 123"/>
                <a:gd name="T32" fmla="*/ 5985 w 100"/>
                <a:gd name="T33" fmla="*/ 0 h 12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00" h="123">
                  <a:moveTo>
                    <a:pt x="100" y="123"/>
                  </a:moveTo>
                  <a:lnTo>
                    <a:pt x="90" y="122"/>
                  </a:lnTo>
                  <a:lnTo>
                    <a:pt x="76" y="119"/>
                  </a:lnTo>
                  <a:lnTo>
                    <a:pt x="60" y="114"/>
                  </a:lnTo>
                  <a:lnTo>
                    <a:pt x="43" y="107"/>
                  </a:lnTo>
                  <a:lnTo>
                    <a:pt x="34" y="103"/>
                  </a:lnTo>
                  <a:lnTo>
                    <a:pt x="27" y="99"/>
                  </a:lnTo>
                  <a:lnTo>
                    <a:pt x="20" y="94"/>
                  </a:lnTo>
                  <a:lnTo>
                    <a:pt x="13" y="89"/>
                  </a:lnTo>
                  <a:lnTo>
                    <a:pt x="8" y="84"/>
                  </a:lnTo>
                  <a:lnTo>
                    <a:pt x="4" y="79"/>
                  </a:lnTo>
                  <a:lnTo>
                    <a:pt x="1" y="73"/>
                  </a:lnTo>
                  <a:lnTo>
                    <a:pt x="0" y="68"/>
                  </a:lnTo>
                  <a:lnTo>
                    <a:pt x="2" y="55"/>
                  </a:lnTo>
                  <a:lnTo>
                    <a:pt x="7" y="36"/>
                  </a:lnTo>
                  <a:lnTo>
                    <a:pt x="11" y="17"/>
                  </a:lnTo>
                  <a:lnTo>
                    <a:pt x="1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714" name="Freeform 181"/>
            <p:cNvSpPr>
              <a:spLocks/>
            </p:cNvSpPr>
            <p:nvPr>
              <p:custDataLst>
                <p:tags r:id="rId106"/>
              </p:custDataLst>
            </p:nvPr>
          </p:nvSpPr>
          <p:spPr bwMode="auto">
            <a:xfrm>
              <a:off x="9865115" y="4488672"/>
              <a:ext cx="1892" cy="61004"/>
            </a:xfrm>
            <a:custGeom>
              <a:avLst/>
              <a:gdLst>
                <a:gd name="T0" fmla="*/ 1587 w 5"/>
                <a:gd name="T1" fmla="*/ 0 h 99"/>
                <a:gd name="T2" fmla="*/ 1270 w 5"/>
                <a:gd name="T3" fmla="*/ 17446 h 99"/>
                <a:gd name="T4" fmla="*/ 317 w 5"/>
                <a:gd name="T5" fmla="*/ 30275 h 99"/>
                <a:gd name="T6" fmla="*/ 0 w 5"/>
                <a:gd name="T7" fmla="*/ 35406 h 99"/>
                <a:gd name="T8" fmla="*/ 0 w 5"/>
                <a:gd name="T9" fmla="*/ 40024 h 99"/>
                <a:gd name="T10" fmla="*/ 635 w 5"/>
                <a:gd name="T11" fmla="*/ 44642 h 99"/>
                <a:gd name="T12" fmla="*/ 1587 w 5"/>
                <a:gd name="T13" fmla="*/ 50800 h 9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5" h="99">
                  <a:moveTo>
                    <a:pt x="5" y="0"/>
                  </a:moveTo>
                  <a:lnTo>
                    <a:pt x="4" y="34"/>
                  </a:lnTo>
                  <a:lnTo>
                    <a:pt x="1" y="59"/>
                  </a:lnTo>
                  <a:lnTo>
                    <a:pt x="0" y="69"/>
                  </a:lnTo>
                  <a:lnTo>
                    <a:pt x="0" y="78"/>
                  </a:lnTo>
                  <a:lnTo>
                    <a:pt x="2" y="87"/>
                  </a:lnTo>
                  <a:lnTo>
                    <a:pt x="5" y="9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715" name="Freeform 182"/>
            <p:cNvSpPr>
              <a:spLocks/>
            </p:cNvSpPr>
            <p:nvPr>
              <p:custDataLst>
                <p:tags r:id="rId107"/>
              </p:custDataLst>
            </p:nvPr>
          </p:nvSpPr>
          <p:spPr bwMode="auto">
            <a:xfrm>
              <a:off x="9872685" y="4481046"/>
              <a:ext cx="9462" cy="43846"/>
            </a:xfrm>
            <a:custGeom>
              <a:avLst/>
              <a:gdLst>
                <a:gd name="T0" fmla="*/ 7937 w 14"/>
                <a:gd name="T1" fmla="*/ 0 h 68"/>
                <a:gd name="T2" fmla="*/ 4535 w 14"/>
                <a:gd name="T3" fmla="*/ 8591 h 68"/>
                <a:gd name="T4" fmla="*/ 2268 w 14"/>
                <a:gd name="T5" fmla="*/ 17719 h 68"/>
                <a:gd name="T6" fmla="*/ 1134 w 14"/>
                <a:gd name="T7" fmla="*/ 27921 h 68"/>
                <a:gd name="T8" fmla="*/ 0 w 14"/>
                <a:gd name="T9" fmla="*/ 36512 h 6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4" h="68">
                  <a:moveTo>
                    <a:pt x="14" y="0"/>
                  </a:moveTo>
                  <a:lnTo>
                    <a:pt x="8" y="16"/>
                  </a:lnTo>
                  <a:lnTo>
                    <a:pt x="4" y="33"/>
                  </a:lnTo>
                  <a:lnTo>
                    <a:pt x="2" y="52"/>
                  </a:lnTo>
                  <a:lnTo>
                    <a:pt x="0" y="6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716" name="Freeform 183"/>
            <p:cNvSpPr>
              <a:spLocks/>
            </p:cNvSpPr>
            <p:nvPr>
              <p:custDataLst>
                <p:tags r:id="rId108"/>
              </p:custDataLst>
            </p:nvPr>
          </p:nvSpPr>
          <p:spPr bwMode="auto">
            <a:xfrm>
              <a:off x="9891611" y="4458171"/>
              <a:ext cx="1892" cy="26689"/>
            </a:xfrm>
            <a:custGeom>
              <a:avLst/>
              <a:gdLst>
                <a:gd name="T0" fmla="*/ 0 w 1587"/>
                <a:gd name="T1" fmla="*/ 0 h 43"/>
                <a:gd name="T2" fmla="*/ 0 w 1587"/>
                <a:gd name="T3" fmla="*/ 6719 h 43"/>
                <a:gd name="T4" fmla="*/ 0 w 1587"/>
                <a:gd name="T5" fmla="*/ 13438 h 43"/>
                <a:gd name="T6" fmla="*/ 0 w 1587"/>
                <a:gd name="T7" fmla="*/ 19124 h 43"/>
                <a:gd name="T8" fmla="*/ 0 w 1587"/>
                <a:gd name="T9" fmla="*/ 22225 h 4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587" h="43">
                  <a:moveTo>
                    <a:pt x="0" y="0"/>
                  </a:moveTo>
                  <a:lnTo>
                    <a:pt x="0" y="13"/>
                  </a:lnTo>
                  <a:lnTo>
                    <a:pt x="0" y="26"/>
                  </a:lnTo>
                  <a:lnTo>
                    <a:pt x="0" y="37"/>
                  </a:lnTo>
                  <a:lnTo>
                    <a:pt x="0" y="4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717" name="Line 184"/>
            <p:cNvSpPr>
              <a:spLocks noChangeShapeType="1"/>
            </p:cNvSpPr>
            <p:nvPr>
              <p:custDataLst>
                <p:tags r:id="rId109"/>
              </p:custDataLst>
            </p:nvPr>
          </p:nvSpPr>
          <p:spPr bwMode="auto">
            <a:xfrm flipV="1">
              <a:off x="9891611" y="4481048"/>
              <a:ext cx="1892" cy="3813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718" name="Freeform 185"/>
            <p:cNvSpPr>
              <a:spLocks/>
            </p:cNvSpPr>
            <p:nvPr>
              <p:custDataLst>
                <p:tags r:id="rId110"/>
              </p:custDataLst>
            </p:nvPr>
          </p:nvSpPr>
          <p:spPr bwMode="auto">
            <a:xfrm>
              <a:off x="9872685" y="4461984"/>
              <a:ext cx="1892" cy="19064"/>
            </a:xfrm>
            <a:custGeom>
              <a:avLst/>
              <a:gdLst>
                <a:gd name="T0" fmla="*/ 0 w 1587"/>
                <a:gd name="T1" fmla="*/ 15875 h 31"/>
                <a:gd name="T2" fmla="*/ 0 w 1587"/>
                <a:gd name="T3" fmla="*/ 11266 h 31"/>
                <a:gd name="T4" fmla="*/ 0 w 1587"/>
                <a:gd name="T5" fmla="*/ 7681 h 31"/>
                <a:gd name="T6" fmla="*/ 0 w 1587"/>
                <a:gd name="T7" fmla="*/ 4097 h 31"/>
                <a:gd name="T8" fmla="*/ 0 w 1587"/>
                <a:gd name="T9" fmla="*/ 0 h 3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587" h="31">
                  <a:moveTo>
                    <a:pt x="0" y="31"/>
                  </a:moveTo>
                  <a:lnTo>
                    <a:pt x="0" y="22"/>
                  </a:lnTo>
                  <a:lnTo>
                    <a:pt x="0" y="15"/>
                  </a:lnTo>
                  <a:lnTo>
                    <a:pt x="0" y="8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719" name="Freeform 186"/>
            <p:cNvSpPr>
              <a:spLocks/>
            </p:cNvSpPr>
            <p:nvPr>
              <p:custDataLst>
                <p:tags r:id="rId111"/>
              </p:custDataLst>
            </p:nvPr>
          </p:nvSpPr>
          <p:spPr bwMode="auto">
            <a:xfrm>
              <a:off x="9539587" y="5649657"/>
              <a:ext cx="115448" cy="104851"/>
            </a:xfrm>
            <a:custGeom>
              <a:avLst/>
              <a:gdLst>
                <a:gd name="T0" fmla="*/ 8177 w 225"/>
                <a:gd name="T1" fmla="*/ 82608 h 167"/>
                <a:gd name="T2" fmla="*/ 3013 w 225"/>
                <a:gd name="T3" fmla="*/ 74242 h 167"/>
                <a:gd name="T4" fmla="*/ 0 w 225"/>
                <a:gd name="T5" fmla="*/ 67968 h 167"/>
                <a:gd name="T6" fmla="*/ 430 w 225"/>
                <a:gd name="T7" fmla="*/ 56466 h 167"/>
                <a:gd name="T8" fmla="*/ 4734 w 225"/>
                <a:gd name="T9" fmla="*/ 35553 h 167"/>
                <a:gd name="T10" fmla="*/ 10329 w 225"/>
                <a:gd name="T11" fmla="*/ 20390 h 167"/>
                <a:gd name="T12" fmla="*/ 14633 w 225"/>
                <a:gd name="T13" fmla="*/ 10979 h 167"/>
                <a:gd name="T14" fmla="*/ 18937 w 225"/>
                <a:gd name="T15" fmla="*/ 4705 h 167"/>
                <a:gd name="T16" fmla="*/ 23241 w 225"/>
                <a:gd name="T17" fmla="*/ 523 h 167"/>
                <a:gd name="T18" fmla="*/ 27975 w 225"/>
                <a:gd name="T19" fmla="*/ 523 h 167"/>
                <a:gd name="T20" fmla="*/ 32709 w 225"/>
                <a:gd name="T21" fmla="*/ 1568 h 167"/>
                <a:gd name="T22" fmla="*/ 37874 w 225"/>
                <a:gd name="T23" fmla="*/ 4183 h 167"/>
                <a:gd name="T24" fmla="*/ 43039 w 225"/>
                <a:gd name="T25" fmla="*/ 8888 h 167"/>
                <a:gd name="T26" fmla="*/ 48203 w 225"/>
                <a:gd name="T27" fmla="*/ 12548 h 167"/>
                <a:gd name="T28" fmla="*/ 55089 w 225"/>
                <a:gd name="T29" fmla="*/ 12548 h 167"/>
                <a:gd name="T30" fmla="*/ 62406 w 225"/>
                <a:gd name="T31" fmla="*/ 9934 h 167"/>
                <a:gd name="T32" fmla="*/ 71014 w 225"/>
                <a:gd name="T33" fmla="*/ 3660 h 167"/>
                <a:gd name="T34" fmla="*/ 96837 w 225"/>
                <a:gd name="T35" fmla="*/ 0 h 167"/>
                <a:gd name="T36" fmla="*/ 92533 w 225"/>
                <a:gd name="T37" fmla="*/ 11502 h 167"/>
                <a:gd name="T38" fmla="*/ 86508 w 225"/>
                <a:gd name="T39" fmla="*/ 21436 h 167"/>
                <a:gd name="T40" fmla="*/ 72305 w 225"/>
                <a:gd name="T41" fmla="*/ 37644 h 167"/>
                <a:gd name="T42" fmla="*/ 59393 w 225"/>
                <a:gd name="T43" fmla="*/ 52283 h 167"/>
                <a:gd name="T44" fmla="*/ 55520 w 225"/>
                <a:gd name="T45" fmla="*/ 59603 h 167"/>
                <a:gd name="T46" fmla="*/ 54229 w 225"/>
                <a:gd name="T47" fmla="*/ 67968 h 167"/>
                <a:gd name="T48" fmla="*/ 52938 w 225"/>
                <a:gd name="T49" fmla="*/ 65877 h 167"/>
                <a:gd name="T50" fmla="*/ 51646 w 225"/>
                <a:gd name="T51" fmla="*/ 61171 h 167"/>
                <a:gd name="T52" fmla="*/ 45621 w 225"/>
                <a:gd name="T53" fmla="*/ 63263 h 167"/>
                <a:gd name="T54" fmla="*/ 41748 w 225"/>
                <a:gd name="T55" fmla="*/ 66923 h 167"/>
                <a:gd name="T56" fmla="*/ 34431 w 225"/>
                <a:gd name="T57" fmla="*/ 75811 h 167"/>
                <a:gd name="T58" fmla="*/ 30557 w 225"/>
                <a:gd name="T59" fmla="*/ 79993 h 167"/>
                <a:gd name="T60" fmla="*/ 25823 w 225"/>
                <a:gd name="T61" fmla="*/ 83653 h 167"/>
                <a:gd name="T62" fmla="*/ 19798 w 225"/>
                <a:gd name="T63" fmla="*/ 86267 h 167"/>
                <a:gd name="T64" fmla="*/ 11190 w 225"/>
                <a:gd name="T65" fmla="*/ 87313 h 16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25" h="167">
                  <a:moveTo>
                    <a:pt x="26" y="167"/>
                  </a:moveTo>
                  <a:lnTo>
                    <a:pt x="19" y="158"/>
                  </a:lnTo>
                  <a:lnTo>
                    <a:pt x="10" y="148"/>
                  </a:lnTo>
                  <a:lnTo>
                    <a:pt x="7" y="142"/>
                  </a:lnTo>
                  <a:lnTo>
                    <a:pt x="3" y="136"/>
                  </a:lnTo>
                  <a:lnTo>
                    <a:pt x="0" y="130"/>
                  </a:lnTo>
                  <a:lnTo>
                    <a:pt x="0" y="123"/>
                  </a:lnTo>
                  <a:lnTo>
                    <a:pt x="1" y="108"/>
                  </a:lnTo>
                  <a:lnTo>
                    <a:pt x="5" y="89"/>
                  </a:lnTo>
                  <a:lnTo>
                    <a:pt x="11" y="68"/>
                  </a:lnTo>
                  <a:lnTo>
                    <a:pt x="20" y="48"/>
                  </a:lnTo>
                  <a:lnTo>
                    <a:pt x="24" y="39"/>
                  </a:lnTo>
                  <a:lnTo>
                    <a:pt x="28" y="29"/>
                  </a:lnTo>
                  <a:lnTo>
                    <a:pt x="34" y="21"/>
                  </a:lnTo>
                  <a:lnTo>
                    <a:pt x="38" y="14"/>
                  </a:lnTo>
                  <a:lnTo>
                    <a:pt x="44" y="9"/>
                  </a:lnTo>
                  <a:lnTo>
                    <a:pt x="49" y="4"/>
                  </a:lnTo>
                  <a:lnTo>
                    <a:pt x="54" y="1"/>
                  </a:lnTo>
                  <a:lnTo>
                    <a:pt x="59" y="0"/>
                  </a:lnTo>
                  <a:lnTo>
                    <a:pt x="65" y="1"/>
                  </a:lnTo>
                  <a:lnTo>
                    <a:pt x="70" y="1"/>
                  </a:lnTo>
                  <a:lnTo>
                    <a:pt x="76" y="3"/>
                  </a:lnTo>
                  <a:lnTo>
                    <a:pt x="80" y="4"/>
                  </a:lnTo>
                  <a:lnTo>
                    <a:pt x="88" y="8"/>
                  </a:lnTo>
                  <a:lnTo>
                    <a:pt x="94" y="13"/>
                  </a:lnTo>
                  <a:lnTo>
                    <a:pt x="100" y="17"/>
                  </a:lnTo>
                  <a:lnTo>
                    <a:pt x="106" y="21"/>
                  </a:lnTo>
                  <a:lnTo>
                    <a:pt x="112" y="24"/>
                  </a:lnTo>
                  <a:lnTo>
                    <a:pt x="120" y="25"/>
                  </a:lnTo>
                  <a:lnTo>
                    <a:pt x="128" y="24"/>
                  </a:lnTo>
                  <a:lnTo>
                    <a:pt x="137" y="22"/>
                  </a:lnTo>
                  <a:lnTo>
                    <a:pt x="145" y="19"/>
                  </a:lnTo>
                  <a:lnTo>
                    <a:pt x="151" y="15"/>
                  </a:lnTo>
                  <a:lnTo>
                    <a:pt x="165" y="7"/>
                  </a:lnTo>
                  <a:lnTo>
                    <a:pt x="179" y="0"/>
                  </a:lnTo>
                  <a:lnTo>
                    <a:pt x="225" y="0"/>
                  </a:lnTo>
                  <a:lnTo>
                    <a:pt x="221" y="11"/>
                  </a:lnTo>
                  <a:lnTo>
                    <a:pt x="215" y="22"/>
                  </a:lnTo>
                  <a:lnTo>
                    <a:pt x="209" y="31"/>
                  </a:lnTo>
                  <a:lnTo>
                    <a:pt x="201" y="41"/>
                  </a:lnTo>
                  <a:lnTo>
                    <a:pt x="185" y="57"/>
                  </a:lnTo>
                  <a:lnTo>
                    <a:pt x="168" y="72"/>
                  </a:lnTo>
                  <a:lnTo>
                    <a:pt x="151" y="86"/>
                  </a:lnTo>
                  <a:lnTo>
                    <a:pt x="138" y="100"/>
                  </a:lnTo>
                  <a:lnTo>
                    <a:pt x="133" y="107"/>
                  </a:lnTo>
                  <a:lnTo>
                    <a:pt x="129" y="114"/>
                  </a:lnTo>
                  <a:lnTo>
                    <a:pt x="126" y="122"/>
                  </a:lnTo>
                  <a:lnTo>
                    <a:pt x="126" y="130"/>
                  </a:lnTo>
                  <a:lnTo>
                    <a:pt x="125" y="129"/>
                  </a:lnTo>
                  <a:lnTo>
                    <a:pt x="123" y="126"/>
                  </a:lnTo>
                  <a:lnTo>
                    <a:pt x="120" y="122"/>
                  </a:lnTo>
                  <a:lnTo>
                    <a:pt x="120" y="117"/>
                  </a:lnTo>
                  <a:lnTo>
                    <a:pt x="112" y="119"/>
                  </a:lnTo>
                  <a:lnTo>
                    <a:pt x="106" y="121"/>
                  </a:lnTo>
                  <a:lnTo>
                    <a:pt x="101" y="124"/>
                  </a:lnTo>
                  <a:lnTo>
                    <a:pt x="97" y="128"/>
                  </a:lnTo>
                  <a:lnTo>
                    <a:pt x="88" y="135"/>
                  </a:lnTo>
                  <a:lnTo>
                    <a:pt x="80" y="145"/>
                  </a:lnTo>
                  <a:lnTo>
                    <a:pt x="76" y="149"/>
                  </a:lnTo>
                  <a:lnTo>
                    <a:pt x="71" y="153"/>
                  </a:lnTo>
                  <a:lnTo>
                    <a:pt x="66" y="157"/>
                  </a:lnTo>
                  <a:lnTo>
                    <a:pt x="60" y="160"/>
                  </a:lnTo>
                  <a:lnTo>
                    <a:pt x="54" y="163"/>
                  </a:lnTo>
                  <a:lnTo>
                    <a:pt x="46" y="165"/>
                  </a:lnTo>
                  <a:lnTo>
                    <a:pt x="36" y="166"/>
                  </a:lnTo>
                  <a:lnTo>
                    <a:pt x="26" y="167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720" name="Freeform 187"/>
            <p:cNvSpPr>
              <a:spLocks/>
            </p:cNvSpPr>
            <p:nvPr>
              <p:custDataLst>
                <p:tags r:id="rId112"/>
              </p:custDataLst>
            </p:nvPr>
          </p:nvSpPr>
          <p:spPr bwMode="auto">
            <a:xfrm>
              <a:off x="9704243" y="4711719"/>
              <a:ext cx="3785" cy="20971"/>
            </a:xfrm>
            <a:custGeom>
              <a:avLst/>
              <a:gdLst>
                <a:gd name="T0" fmla="*/ 0 w 7"/>
                <a:gd name="T1" fmla="*/ 17463 h 31"/>
                <a:gd name="T2" fmla="*/ 2268 w 7"/>
                <a:gd name="T3" fmla="*/ 12393 h 31"/>
                <a:gd name="T4" fmla="*/ 2721 w 7"/>
                <a:gd name="T5" fmla="*/ 7323 h 31"/>
                <a:gd name="T6" fmla="*/ 3175 w 7"/>
                <a:gd name="T7" fmla="*/ 3380 h 31"/>
                <a:gd name="T8" fmla="*/ 3175 w 7"/>
                <a:gd name="T9" fmla="*/ 0 h 31"/>
                <a:gd name="T10" fmla="*/ 2721 w 7"/>
                <a:gd name="T11" fmla="*/ 3380 h 31"/>
                <a:gd name="T12" fmla="*/ 1814 w 7"/>
                <a:gd name="T13" fmla="*/ 7323 h 31"/>
                <a:gd name="T14" fmla="*/ 454 w 7"/>
                <a:gd name="T15" fmla="*/ 12393 h 31"/>
                <a:gd name="T16" fmla="*/ 0 w 7"/>
                <a:gd name="T17" fmla="*/ 17463 h 3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7" h="31">
                  <a:moveTo>
                    <a:pt x="0" y="31"/>
                  </a:moveTo>
                  <a:lnTo>
                    <a:pt x="5" y="22"/>
                  </a:lnTo>
                  <a:lnTo>
                    <a:pt x="6" y="13"/>
                  </a:lnTo>
                  <a:lnTo>
                    <a:pt x="7" y="6"/>
                  </a:lnTo>
                  <a:lnTo>
                    <a:pt x="7" y="0"/>
                  </a:lnTo>
                  <a:lnTo>
                    <a:pt x="6" y="6"/>
                  </a:lnTo>
                  <a:lnTo>
                    <a:pt x="4" y="13"/>
                  </a:lnTo>
                  <a:lnTo>
                    <a:pt x="1" y="22"/>
                  </a:lnTo>
                  <a:lnTo>
                    <a:pt x="0" y="3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721" name="Freeform 188"/>
            <p:cNvSpPr>
              <a:spLocks/>
            </p:cNvSpPr>
            <p:nvPr>
              <p:custDataLst>
                <p:tags r:id="rId113"/>
              </p:custDataLst>
            </p:nvPr>
          </p:nvSpPr>
          <p:spPr bwMode="auto">
            <a:xfrm>
              <a:off x="9624754" y="4618307"/>
              <a:ext cx="18926" cy="19064"/>
            </a:xfrm>
            <a:custGeom>
              <a:avLst/>
              <a:gdLst>
                <a:gd name="T0" fmla="*/ 15875 w 33"/>
                <a:gd name="T1" fmla="*/ 15875 h 31"/>
                <a:gd name="T2" fmla="*/ 15875 w 33"/>
                <a:gd name="T3" fmla="*/ 0 h 31"/>
                <a:gd name="T4" fmla="*/ 12989 w 33"/>
                <a:gd name="T5" fmla="*/ 0 h 31"/>
                <a:gd name="T6" fmla="*/ 10583 w 33"/>
                <a:gd name="T7" fmla="*/ 1024 h 31"/>
                <a:gd name="T8" fmla="*/ 7697 w 33"/>
                <a:gd name="T9" fmla="*/ 2560 h 31"/>
                <a:gd name="T10" fmla="*/ 5292 w 33"/>
                <a:gd name="T11" fmla="*/ 4097 h 31"/>
                <a:gd name="T12" fmla="*/ 2886 w 33"/>
                <a:gd name="T13" fmla="*/ 6145 h 31"/>
                <a:gd name="T14" fmla="*/ 1443 w 33"/>
                <a:gd name="T15" fmla="*/ 8194 h 31"/>
                <a:gd name="T16" fmla="*/ 481 w 33"/>
                <a:gd name="T17" fmla="*/ 10754 h 31"/>
                <a:gd name="T18" fmla="*/ 0 w 33"/>
                <a:gd name="T19" fmla="*/ 12802 h 31"/>
                <a:gd name="T20" fmla="*/ 481 w 33"/>
                <a:gd name="T21" fmla="*/ 13827 h 31"/>
                <a:gd name="T22" fmla="*/ 1443 w 33"/>
                <a:gd name="T23" fmla="*/ 14851 h 31"/>
                <a:gd name="T24" fmla="*/ 2886 w 33"/>
                <a:gd name="T25" fmla="*/ 15363 h 31"/>
                <a:gd name="T26" fmla="*/ 5292 w 33"/>
                <a:gd name="T27" fmla="*/ 15363 h 31"/>
                <a:gd name="T28" fmla="*/ 10583 w 33"/>
                <a:gd name="T29" fmla="*/ 15875 h 31"/>
                <a:gd name="T30" fmla="*/ 15875 w 33"/>
                <a:gd name="T31" fmla="*/ 15875 h 3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33" h="31">
                  <a:moveTo>
                    <a:pt x="33" y="31"/>
                  </a:moveTo>
                  <a:lnTo>
                    <a:pt x="33" y="0"/>
                  </a:lnTo>
                  <a:lnTo>
                    <a:pt x="27" y="0"/>
                  </a:lnTo>
                  <a:lnTo>
                    <a:pt x="22" y="2"/>
                  </a:lnTo>
                  <a:lnTo>
                    <a:pt x="16" y="5"/>
                  </a:lnTo>
                  <a:lnTo>
                    <a:pt x="11" y="8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1" y="21"/>
                  </a:lnTo>
                  <a:lnTo>
                    <a:pt x="0" y="25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6" y="30"/>
                  </a:lnTo>
                  <a:lnTo>
                    <a:pt x="11" y="30"/>
                  </a:lnTo>
                  <a:lnTo>
                    <a:pt x="22" y="31"/>
                  </a:lnTo>
                  <a:lnTo>
                    <a:pt x="33" y="3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722" name="Freeform 189"/>
            <p:cNvSpPr>
              <a:spLocks/>
            </p:cNvSpPr>
            <p:nvPr>
              <p:custDataLst>
                <p:tags r:id="rId114"/>
              </p:custDataLst>
            </p:nvPr>
          </p:nvSpPr>
          <p:spPr bwMode="auto">
            <a:xfrm>
              <a:off x="9643680" y="4513455"/>
              <a:ext cx="3785" cy="11438"/>
            </a:xfrm>
            <a:custGeom>
              <a:avLst/>
              <a:gdLst>
                <a:gd name="T0" fmla="*/ 0 w 13"/>
                <a:gd name="T1" fmla="*/ 9525 h 19"/>
                <a:gd name="T2" fmla="*/ 488 w 13"/>
                <a:gd name="T3" fmla="*/ 9024 h 19"/>
                <a:gd name="T4" fmla="*/ 1221 w 13"/>
                <a:gd name="T5" fmla="*/ 8522 h 19"/>
                <a:gd name="T6" fmla="*/ 1710 w 13"/>
                <a:gd name="T7" fmla="*/ 7520 h 19"/>
                <a:gd name="T8" fmla="*/ 1954 w 13"/>
                <a:gd name="T9" fmla="*/ 6016 h 19"/>
                <a:gd name="T10" fmla="*/ 2931 w 13"/>
                <a:gd name="T11" fmla="*/ 3008 h 19"/>
                <a:gd name="T12" fmla="*/ 3175 w 13"/>
                <a:gd name="T13" fmla="*/ 0 h 19"/>
                <a:gd name="T14" fmla="*/ 0 w 13"/>
                <a:gd name="T15" fmla="*/ 9525 h 1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3" h="19">
                  <a:moveTo>
                    <a:pt x="0" y="19"/>
                  </a:moveTo>
                  <a:lnTo>
                    <a:pt x="2" y="18"/>
                  </a:lnTo>
                  <a:lnTo>
                    <a:pt x="5" y="17"/>
                  </a:lnTo>
                  <a:lnTo>
                    <a:pt x="7" y="15"/>
                  </a:lnTo>
                  <a:lnTo>
                    <a:pt x="8" y="12"/>
                  </a:lnTo>
                  <a:lnTo>
                    <a:pt x="12" y="6"/>
                  </a:lnTo>
                  <a:lnTo>
                    <a:pt x="13" y="0"/>
                  </a:lnTo>
                  <a:lnTo>
                    <a:pt x="0" y="1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723" name="Freeform 190"/>
            <p:cNvSpPr>
              <a:spLocks/>
            </p:cNvSpPr>
            <p:nvPr>
              <p:custDataLst>
                <p:tags r:id="rId115"/>
              </p:custDataLst>
            </p:nvPr>
          </p:nvSpPr>
          <p:spPr bwMode="auto">
            <a:xfrm>
              <a:off x="9452526" y="4517268"/>
              <a:ext cx="43529" cy="26689"/>
            </a:xfrm>
            <a:custGeom>
              <a:avLst/>
              <a:gdLst>
                <a:gd name="T0" fmla="*/ 22663 w 87"/>
                <a:gd name="T1" fmla="*/ 22225 h 42"/>
                <a:gd name="T2" fmla="*/ 24761 w 87"/>
                <a:gd name="T3" fmla="*/ 22225 h 42"/>
                <a:gd name="T4" fmla="*/ 26859 w 87"/>
                <a:gd name="T5" fmla="*/ 21696 h 42"/>
                <a:gd name="T6" fmla="*/ 28538 w 87"/>
                <a:gd name="T7" fmla="*/ 21167 h 42"/>
                <a:gd name="T8" fmla="*/ 29797 w 87"/>
                <a:gd name="T9" fmla="*/ 20108 h 42"/>
                <a:gd name="T10" fmla="*/ 31476 w 87"/>
                <a:gd name="T11" fmla="*/ 17992 h 42"/>
                <a:gd name="T12" fmla="*/ 32735 w 87"/>
                <a:gd name="T13" fmla="*/ 14817 h 42"/>
                <a:gd name="T14" fmla="*/ 33155 w 87"/>
                <a:gd name="T15" fmla="*/ 11642 h 42"/>
                <a:gd name="T16" fmla="*/ 33574 w 87"/>
                <a:gd name="T17" fmla="*/ 8467 h 42"/>
                <a:gd name="T18" fmla="*/ 34414 w 87"/>
                <a:gd name="T19" fmla="*/ 5821 h 42"/>
                <a:gd name="T20" fmla="*/ 36512 w 87"/>
                <a:gd name="T21" fmla="*/ 3175 h 42"/>
                <a:gd name="T22" fmla="*/ 32315 w 87"/>
                <a:gd name="T23" fmla="*/ 1058 h 42"/>
                <a:gd name="T24" fmla="*/ 28118 w 87"/>
                <a:gd name="T25" fmla="*/ 0 h 42"/>
                <a:gd name="T26" fmla="*/ 23922 w 87"/>
                <a:gd name="T27" fmla="*/ 0 h 42"/>
                <a:gd name="T28" fmla="*/ 19725 w 87"/>
                <a:gd name="T29" fmla="*/ 0 h 42"/>
                <a:gd name="T30" fmla="*/ 16787 w 87"/>
                <a:gd name="T31" fmla="*/ 0 h 42"/>
                <a:gd name="T32" fmla="*/ 13430 w 87"/>
                <a:gd name="T33" fmla="*/ 1058 h 42"/>
                <a:gd name="T34" fmla="*/ 10492 w 87"/>
                <a:gd name="T35" fmla="*/ 2117 h 42"/>
                <a:gd name="T36" fmla="*/ 7974 w 87"/>
                <a:gd name="T37" fmla="*/ 3175 h 42"/>
                <a:gd name="T38" fmla="*/ 3357 w 87"/>
                <a:gd name="T39" fmla="*/ 6350 h 42"/>
                <a:gd name="T40" fmla="*/ 0 w 87"/>
                <a:gd name="T41" fmla="*/ 9525 h 42"/>
                <a:gd name="T42" fmla="*/ 4616 w 87"/>
                <a:gd name="T43" fmla="*/ 12700 h 42"/>
                <a:gd name="T44" fmla="*/ 11331 w 87"/>
                <a:gd name="T45" fmla="*/ 16933 h 42"/>
                <a:gd name="T46" fmla="*/ 18046 w 87"/>
                <a:gd name="T47" fmla="*/ 20638 h 42"/>
                <a:gd name="T48" fmla="*/ 22663 w 87"/>
                <a:gd name="T49" fmla="*/ 22225 h 4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87" h="42">
                  <a:moveTo>
                    <a:pt x="54" y="42"/>
                  </a:moveTo>
                  <a:lnTo>
                    <a:pt x="59" y="42"/>
                  </a:lnTo>
                  <a:lnTo>
                    <a:pt x="64" y="41"/>
                  </a:lnTo>
                  <a:lnTo>
                    <a:pt x="68" y="40"/>
                  </a:lnTo>
                  <a:lnTo>
                    <a:pt x="71" y="38"/>
                  </a:lnTo>
                  <a:lnTo>
                    <a:pt x="75" y="34"/>
                  </a:lnTo>
                  <a:lnTo>
                    <a:pt x="78" y="28"/>
                  </a:lnTo>
                  <a:lnTo>
                    <a:pt x="79" y="22"/>
                  </a:lnTo>
                  <a:lnTo>
                    <a:pt x="80" y="16"/>
                  </a:lnTo>
                  <a:lnTo>
                    <a:pt x="82" y="11"/>
                  </a:lnTo>
                  <a:lnTo>
                    <a:pt x="87" y="6"/>
                  </a:lnTo>
                  <a:lnTo>
                    <a:pt x="77" y="2"/>
                  </a:lnTo>
                  <a:lnTo>
                    <a:pt x="67" y="0"/>
                  </a:lnTo>
                  <a:lnTo>
                    <a:pt x="57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2" y="2"/>
                  </a:lnTo>
                  <a:lnTo>
                    <a:pt x="25" y="4"/>
                  </a:lnTo>
                  <a:lnTo>
                    <a:pt x="19" y="6"/>
                  </a:lnTo>
                  <a:lnTo>
                    <a:pt x="8" y="12"/>
                  </a:lnTo>
                  <a:lnTo>
                    <a:pt x="0" y="18"/>
                  </a:lnTo>
                  <a:lnTo>
                    <a:pt x="11" y="24"/>
                  </a:lnTo>
                  <a:lnTo>
                    <a:pt x="27" y="32"/>
                  </a:lnTo>
                  <a:lnTo>
                    <a:pt x="43" y="39"/>
                  </a:lnTo>
                  <a:lnTo>
                    <a:pt x="54" y="4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724" name="Freeform 191"/>
            <p:cNvSpPr>
              <a:spLocks/>
            </p:cNvSpPr>
            <p:nvPr>
              <p:custDataLst>
                <p:tags r:id="rId116"/>
              </p:custDataLst>
            </p:nvPr>
          </p:nvSpPr>
          <p:spPr bwMode="auto">
            <a:xfrm>
              <a:off x="9743988" y="5073929"/>
              <a:ext cx="1892" cy="17158"/>
            </a:xfrm>
            <a:custGeom>
              <a:avLst/>
              <a:gdLst>
                <a:gd name="T0" fmla="*/ 0 w 7"/>
                <a:gd name="T1" fmla="*/ 0 h 31"/>
                <a:gd name="T2" fmla="*/ 1587 w 7"/>
                <a:gd name="T3" fmla="*/ 0 h 31"/>
                <a:gd name="T4" fmla="*/ 1587 w 7"/>
                <a:gd name="T5" fmla="*/ 8296 h 31"/>
                <a:gd name="T6" fmla="*/ 0 w 7"/>
                <a:gd name="T7" fmla="*/ 14288 h 31"/>
                <a:gd name="T8" fmla="*/ 0 w 7"/>
                <a:gd name="T9" fmla="*/ 0 h 3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7" h="31">
                  <a:moveTo>
                    <a:pt x="0" y="0"/>
                  </a:moveTo>
                  <a:lnTo>
                    <a:pt x="7" y="0"/>
                  </a:lnTo>
                  <a:lnTo>
                    <a:pt x="7" y="18"/>
                  </a:lnTo>
                  <a:lnTo>
                    <a:pt x="0" y="31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725" name="Freeform 192"/>
            <p:cNvSpPr>
              <a:spLocks/>
            </p:cNvSpPr>
            <p:nvPr>
              <p:custDataLst>
                <p:tags r:id="rId117"/>
              </p:custDataLst>
            </p:nvPr>
          </p:nvSpPr>
          <p:spPr bwMode="auto">
            <a:xfrm>
              <a:off x="8833646" y="4481046"/>
              <a:ext cx="1215050" cy="1090448"/>
            </a:xfrm>
            <a:custGeom>
              <a:avLst/>
              <a:gdLst>
                <a:gd name="T0" fmla="*/ 93526 w 2332"/>
                <a:gd name="T1" fmla="*/ 370879 h 1731"/>
                <a:gd name="T2" fmla="*/ 142038 w 2332"/>
                <a:gd name="T3" fmla="*/ 340453 h 1731"/>
                <a:gd name="T4" fmla="*/ 190112 w 2332"/>
                <a:gd name="T5" fmla="*/ 317896 h 1731"/>
                <a:gd name="T6" fmla="*/ 264409 w 2332"/>
                <a:gd name="T7" fmla="*/ 299011 h 1731"/>
                <a:gd name="T8" fmla="*/ 295875 w 2332"/>
                <a:gd name="T9" fmla="*/ 229242 h 1731"/>
                <a:gd name="T10" fmla="*/ 331276 w 2332"/>
                <a:gd name="T11" fmla="*/ 230291 h 1731"/>
                <a:gd name="T12" fmla="*/ 342639 w 2332"/>
                <a:gd name="T13" fmla="*/ 190423 h 1731"/>
                <a:gd name="T14" fmla="*/ 378476 w 2332"/>
                <a:gd name="T15" fmla="*/ 165768 h 1731"/>
                <a:gd name="T16" fmla="*/ 410380 w 2332"/>
                <a:gd name="T17" fmla="*/ 129047 h 1731"/>
                <a:gd name="T18" fmla="*/ 448839 w 2332"/>
                <a:gd name="T19" fmla="*/ 116982 h 1731"/>
                <a:gd name="T20" fmla="*/ 471128 w 2332"/>
                <a:gd name="T21" fmla="*/ 148981 h 1731"/>
                <a:gd name="T22" fmla="*/ 496039 w 2332"/>
                <a:gd name="T23" fmla="*/ 141637 h 1731"/>
                <a:gd name="T24" fmla="*/ 513958 w 2332"/>
                <a:gd name="T25" fmla="*/ 90228 h 1731"/>
                <a:gd name="T26" fmla="*/ 576892 w 2332"/>
                <a:gd name="T27" fmla="*/ 61376 h 1731"/>
                <a:gd name="T28" fmla="*/ 583884 w 2332"/>
                <a:gd name="T29" fmla="*/ 21508 h 1731"/>
                <a:gd name="T30" fmla="*/ 625840 w 2332"/>
                <a:gd name="T31" fmla="*/ 56130 h 1731"/>
                <a:gd name="T32" fmla="*/ 674788 w 2332"/>
                <a:gd name="T33" fmla="*/ 61376 h 1731"/>
                <a:gd name="T34" fmla="*/ 640262 w 2332"/>
                <a:gd name="T35" fmla="*/ 137440 h 1731"/>
                <a:gd name="T36" fmla="*/ 659492 w 2332"/>
                <a:gd name="T37" fmla="*/ 174686 h 1731"/>
                <a:gd name="T38" fmla="*/ 691396 w 2332"/>
                <a:gd name="T39" fmla="*/ 185702 h 1731"/>
                <a:gd name="T40" fmla="*/ 728981 w 2332"/>
                <a:gd name="T41" fmla="*/ 221898 h 1731"/>
                <a:gd name="T42" fmla="*/ 770937 w 2332"/>
                <a:gd name="T43" fmla="*/ 216652 h 1731"/>
                <a:gd name="T44" fmla="*/ 799781 w 2332"/>
                <a:gd name="T45" fmla="*/ 107539 h 1731"/>
                <a:gd name="T46" fmla="*/ 832122 w 2332"/>
                <a:gd name="T47" fmla="*/ 5246 h 1731"/>
                <a:gd name="T48" fmla="*/ 844796 w 2332"/>
                <a:gd name="T49" fmla="*/ 41966 h 1731"/>
                <a:gd name="T50" fmla="*/ 849604 w 2332"/>
                <a:gd name="T51" fmla="*/ 92326 h 1731"/>
                <a:gd name="T52" fmla="*/ 867959 w 2332"/>
                <a:gd name="T53" fmla="*/ 125899 h 1731"/>
                <a:gd name="T54" fmla="*/ 891560 w 2332"/>
                <a:gd name="T55" fmla="*/ 225045 h 1731"/>
                <a:gd name="T56" fmla="*/ 912975 w 2332"/>
                <a:gd name="T57" fmla="*/ 283274 h 1731"/>
                <a:gd name="T58" fmla="*/ 945315 w 2332"/>
                <a:gd name="T59" fmla="*/ 359863 h 1731"/>
                <a:gd name="T60" fmla="*/ 969790 w 2332"/>
                <a:gd name="T61" fmla="*/ 403403 h 1731"/>
                <a:gd name="T62" fmla="*/ 1019175 w 2332"/>
                <a:gd name="T63" fmla="*/ 467926 h 1731"/>
                <a:gd name="T64" fmla="*/ 994701 w 2332"/>
                <a:gd name="T65" fmla="*/ 579662 h 1731"/>
                <a:gd name="T66" fmla="*/ 912100 w 2332"/>
                <a:gd name="T67" fmla="*/ 714480 h 1731"/>
                <a:gd name="T68" fmla="*/ 876263 w 2332"/>
                <a:gd name="T69" fmla="*/ 751200 h 1731"/>
                <a:gd name="T70" fmla="*/ 803278 w 2332"/>
                <a:gd name="T71" fmla="*/ 834609 h 1731"/>
                <a:gd name="T72" fmla="*/ 764381 w 2332"/>
                <a:gd name="T73" fmla="*/ 879198 h 1731"/>
                <a:gd name="T74" fmla="*/ 694455 w 2332"/>
                <a:gd name="T75" fmla="*/ 905427 h 1731"/>
                <a:gd name="T76" fmla="*/ 662988 w 2332"/>
                <a:gd name="T77" fmla="*/ 888116 h 1731"/>
                <a:gd name="T78" fmla="*/ 616225 w 2332"/>
                <a:gd name="T79" fmla="*/ 907001 h 1731"/>
                <a:gd name="T80" fmla="*/ 566840 w 2332"/>
                <a:gd name="T81" fmla="*/ 888116 h 1731"/>
                <a:gd name="T82" fmla="*/ 558973 w 2332"/>
                <a:gd name="T83" fmla="*/ 846674 h 1731"/>
                <a:gd name="T84" fmla="*/ 551980 w 2332"/>
                <a:gd name="T85" fmla="*/ 795265 h 1731"/>
                <a:gd name="T86" fmla="*/ 535373 w 2332"/>
                <a:gd name="T87" fmla="*/ 786872 h 1731"/>
                <a:gd name="T88" fmla="*/ 559410 w 2332"/>
                <a:gd name="T89" fmla="*/ 724971 h 1731"/>
                <a:gd name="T90" fmla="*/ 475498 w 2332"/>
                <a:gd name="T91" fmla="*/ 714480 h 1731"/>
                <a:gd name="T92" fmla="*/ 419995 w 2332"/>
                <a:gd name="T93" fmla="*/ 672513 h 1731"/>
                <a:gd name="T94" fmla="*/ 329527 w 2332"/>
                <a:gd name="T95" fmla="*/ 694021 h 1731"/>
                <a:gd name="T96" fmla="*/ 221579 w 2332"/>
                <a:gd name="T97" fmla="*/ 744381 h 1731"/>
                <a:gd name="T98" fmla="*/ 93526 w 2332"/>
                <a:gd name="T99" fmla="*/ 772708 h 1731"/>
                <a:gd name="T100" fmla="*/ 24037 w 2332"/>
                <a:gd name="T101" fmla="*/ 781626 h 1731"/>
                <a:gd name="T102" fmla="*/ 874 w 2332"/>
                <a:gd name="T103" fmla="*/ 746479 h 1731"/>
                <a:gd name="T104" fmla="*/ 42393 w 2332"/>
                <a:gd name="T105" fmla="*/ 705037 h 1731"/>
                <a:gd name="T106" fmla="*/ 32778 w 2332"/>
                <a:gd name="T107" fmla="*/ 651005 h 1731"/>
                <a:gd name="T108" fmla="*/ 49385 w 2332"/>
                <a:gd name="T109" fmla="*/ 613760 h 1731"/>
                <a:gd name="T110" fmla="*/ 25348 w 2332"/>
                <a:gd name="T111" fmla="*/ 494680 h 1731"/>
                <a:gd name="T112" fmla="*/ 49385 w 2332"/>
                <a:gd name="T113" fmla="*/ 505696 h 1731"/>
                <a:gd name="T114" fmla="*/ 46326 w 2332"/>
                <a:gd name="T115" fmla="*/ 452189 h 1731"/>
                <a:gd name="T116" fmla="*/ 64245 w 2332"/>
                <a:gd name="T117" fmla="*/ 401305 h 173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2332" h="1731">
                  <a:moveTo>
                    <a:pt x="153" y="721"/>
                  </a:moveTo>
                  <a:lnTo>
                    <a:pt x="156" y="727"/>
                  </a:lnTo>
                  <a:lnTo>
                    <a:pt x="159" y="732"/>
                  </a:lnTo>
                  <a:lnTo>
                    <a:pt x="162" y="735"/>
                  </a:lnTo>
                  <a:lnTo>
                    <a:pt x="167" y="738"/>
                  </a:lnTo>
                  <a:lnTo>
                    <a:pt x="173" y="744"/>
                  </a:lnTo>
                  <a:lnTo>
                    <a:pt x="180" y="751"/>
                  </a:lnTo>
                  <a:lnTo>
                    <a:pt x="189" y="744"/>
                  </a:lnTo>
                  <a:lnTo>
                    <a:pt x="195" y="737"/>
                  </a:lnTo>
                  <a:lnTo>
                    <a:pt x="201" y="729"/>
                  </a:lnTo>
                  <a:lnTo>
                    <a:pt x="205" y="722"/>
                  </a:lnTo>
                  <a:lnTo>
                    <a:pt x="210" y="714"/>
                  </a:lnTo>
                  <a:lnTo>
                    <a:pt x="214" y="707"/>
                  </a:lnTo>
                  <a:lnTo>
                    <a:pt x="219" y="701"/>
                  </a:lnTo>
                  <a:lnTo>
                    <a:pt x="226" y="696"/>
                  </a:lnTo>
                  <a:lnTo>
                    <a:pt x="234" y="690"/>
                  </a:lnTo>
                  <a:lnTo>
                    <a:pt x="241" y="685"/>
                  </a:lnTo>
                  <a:lnTo>
                    <a:pt x="249" y="680"/>
                  </a:lnTo>
                  <a:lnTo>
                    <a:pt x="258" y="677"/>
                  </a:lnTo>
                  <a:lnTo>
                    <a:pt x="274" y="672"/>
                  </a:lnTo>
                  <a:lnTo>
                    <a:pt x="290" y="667"/>
                  </a:lnTo>
                  <a:lnTo>
                    <a:pt x="297" y="665"/>
                  </a:lnTo>
                  <a:lnTo>
                    <a:pt x="305" y="661"/>
                  </a:lnTo>
                  <a:lnTo>
                    <a:pt x="312" y="658"/>
                  </a:lnTo>
                  <a:lnTo>
                    <a:pt x="318" y="654"/>
                  </a:lnTo>
                  <a:lnTo>
                    <a:pt x="325" y="649"/>
                  </a:lnTo>
                  <a:lnTo>
                    <a:pt x="330" y="644"/>
                  </a:lnTo>
                  <a:lnTo>
                    <a:pt x="335" y="637"/>
                  </a:lnTo>
                  <a:lnTo>
                    <a:pt x="339" y="628"/>
                  </a:lnTo>
                  <a:lnTo>
                    <a:pt x="360" y="631"/>
                  </a:lnTo>
                  <a:lnTo>
                    <a:pt x="370" y="631"/>
                  </a:lnTo>
                  <a:lnTo>
                    <a:pt x="375" y="629"/>
                  </a:lnTo>
                  <a:lnTo>
                    <a:pt x="385" y="628"/>
                  </a:lnTo>
                  <a:lnTo>
                    <a:pt x="393" y="628"/>
                  </a:lnTo>
                  <a:lnTo>
                    <a:pt x="400" y="627"/>
                  </a:lnTo>
                  <a:lnTo>
                    <a:pt x="405" y="624"/>
                  </a:lnTo>
                  <a:lnTo>
                    <a:pt x="412" y="622"/>
                  </a:lnTo>
                  <a:lnTo>
                    <a:pt x="423" y="615"/>
                  </a:lnTo>
                  <a:lnTo>
                    <a:pt x="435" y="606"/>
                  </a:lnTo>
                  <a:lnTo>
                    <a:pt x="447" y="598"/>
                  </a:lnTo>
                  <a:lnTo>
                    <a:pt x="461" y="592"/>
                  </a:lnTo>
                  <a:lnTo>
                    <a:pt x="469" y="589"/>
                  </a:lnTo>
                  <a:lnTo>
                    <a:pt x="478" y="587"/>
                  </a:lnTo>
                  <a:lnTo>
                    <a:pt x="487" y="585"/>
                  </a:lnTo>
                  <a:lnTo>
                    <a:pt x="498" y="585"/>
                  </a:lnTo>
                  <a:lnTo>
                    <a:pt x="520" y="585"/>
                  </a:lnTo>
                  <a:lnTo>
                    <a:pt x="544" y="584"/>
                  </a:lnTo>
                  <a:lnTo>
                    <a:pt x="558" y="584"/>
                  </a:lnTo>
                  <a:lnTo>
                    <a:pt x="570" y="582"/>
                  </a:lnTo>
                  <a:lnTo>
                    <a:pt x="581" y="581"/>
                  </a:lnTo>
                  <a:lnTo>
                    <a:pt x="592" y="579"/>
                  </a:lnTo>
                  <a:lnTo>
                    <a:pt x="605" y="570"/>
                  </a:lnTo>
                  <a:lnTo>
                    <a:pt x="619" y="558"/>
                  </a:lnTo>
                  <a:lnTo>
                    <a:pt x="635" y="542"/>
                  </a:lnTo>
                  <a:lnTo>
                    <a:pt x="650" y="525"/>
                  </a:lnTo>
                  <a:lnTo>
                    <a:pt x="664" y="508"/>
                  </a:lnTo>
                  <a:lnTo>
                    <a:pt x="677" y="490"/>
                  </a:lnTo>
                  <a:lnTo>
                    <a:pt x="688" y="475"/>
                  </a:lnTo>
                  <a:lnTo>
                    <a:pt x="698" y="462"/>
                  </a:lnTo>
                  <a:lnTo>
                    <a:pt x="695" y="461"/>
                  </a:lnTo>
                  <a:lnTo>
                    <a:pt x="693" y="459"/>
                  </a:lnTo>
                  <a:lnTo>
                    <a:pt x="691" y="456"/>
                  </a:lnTo>
                  <a:lnTo>
                    <a:pt x="688" y="452"/>
                  </a:lnTo>
                  <a:lnTo>
                    <a:pt x="683" y="444"/>
                  </a:lnTo>
                  <a:lnTo>
                    <a:pt x="677" y="437"/>
                  </a:lnTo>
                  <a:lnTo>
                    <a:pt x="688" y="432"/>
                  </a:lnTo>
                  <a:lnTo>
                    <a:pt x="697" y="426"/>
                  </a:lnTo>
                  <a:lnTo>
                    <a:pt x="705" y="419"/>
                  </a:lnTo>
                  <a:lnTo>
                    <a:pt x="710" y="413"/>
                  </a:lnTo>
                  <a:lnTo>
                    <a:pt x="716" y="406"/>
                  </a:lnTo>
                  <a:lnTo>
                    <a:pt x="721" y="399"/>
                  </a:lnTo>
                  <a:lnTo>
                    <a:pt x="729" y="393"/>
                  </a:lnTo>
                  <a:lnTo>
                    <a:pt x="738" y="388"/>
                  </a:lnTo>
                  <a:lnTo>
                    <a:pt x="739" y="399"/>
                  </a:lnTo>
                  <a:lnTo>
                    <a:pt x="741" y="409"/>
                  </a:lnTo>
                  <a:lnTo>
                    <a:pt x="744" y="418"/>
                  </a:lnTo>
                  <a:lnTo>
                    <a:pt x="749" y="425"/>
                  </a:lnTo>
                  <a:lnTo>
                    <a:pt x="758" y="439"/>
                  </a:lnTo>
                  <a:lnTo>
                    <a:pt x="764" y="450"/>
                  </a:lnTo>
                  <a:lnTo>
                    <a:pt x="768" y="437"/>
                  </a:lnTo>
                  <a:lnTo>
                    <a:pt x="770" y="428"/>
                  </a:lnTo>
                  <a:lnTo>
                    <a:pt x="771" y="418"/>
                  </a:lnTo>
                  <a:lnTo>
                    <a:pt x="771" y="406"/>
                  </a:lnTo>
                  <a:lnTo>
                    <a:pt x="775" y="402"/>
                  </a:lnTo>
                  <a:lnTo>
                    <a:pt x="776" y="397"/>
                  </a:lnTo>
                  <a:lnTo>
                    <a:pt x="777" y="391"/>
                  </a:lnTo>
                  <a:lnTo>
                    <a:pt x="777" y="385"/>
                  </a:lnTo>
                  <a:lnTo>
                    <a:pt x="777" y="379"/>
                  </a:lnTo>
                  <a:lnTo>
                    <a:pt x="778" y="373"/>
                  </a:lnTo>
                  <a:lnTo>
                    <a:pt x="781" y="368"/>
                  </a:lnTo>
                  <a:lnTo>
                    <a:pt x="784" y="363"/>
                  </a:lnTo>
                  <a:lnTo>
                    <a:pt x="787" y="370"/>
                  </a:lnTo>
                  <a:lnTo>
                    <a:pt x="790" y="381"/>
                  </a:lnTo>
                  <a:lnTo>
                    <a:pt x="838" y="381"/>
                  </a:lnTo>
                  <a:lnTo>
                    <a:pt x="833" y="369"/>
                  </a:lnTo>
                  <a:lnTo>
                    <a:pt x="832" y="358"/>
                  </a:lnTo>
                  <a:lnTo>
                    <a:pt x="831" y="349"/>
                  </a:lnTo>
                  <a:lnTo>
                    <a:pt x="832" y="341"/>
                  </a:lnTo>
                  <a:lnTo>
                    <a:pt x="835" y="327"/>
                  </a:lnTo>
                  <a:lnTo>
                    <a:pt x="838" y="314"/>
                  </a:lnTo>
                  <a:lnTo>
                    <a:pt x="852" y="315"/>
                  </a:lnTo>
                  <a:lnTo>
                    <a:pt x="860" y="316"/>
                  </a:lnTo>
                  <a:lnTo>
                    <a:pt x="863" y="316"/>
                  </a:lnTo>
                  <a:lnTo>
                    <a:pt x="866" y="316"/>
                  </a:lnTo>
                  <a:lnTo>
                    <a:pt x="871" y="315"/>
                  </a:lnTo>
                  <a:lnTo>
                    <a:pt x="877" y="314"/>
                  </a:lnTo>
                  <a:lnTo>
                    <a:pt x="885" y="295"/>
                  </a:lnTo>
                  <a:lnTo>
                    <a:pt x="891" y="281"/>
                  </a:lnTo>
                  <a:lnTo>
                    <a:pt x="898" y="268"/>
                  </a:lnTo>
                  <a:lnTo>
                    <a:pt x="910" y="252"/>
                  </a:lnTo>
                  <a:lnTo>
                    <a:pt x="916" y="255"/>
                  </a:lnTo>
                  <a:lnTo>
                    <a:pt x="921" y="256"/>
                  </a:lnTo>
                  <a:lnTo>
                    <a:pt x="925" y="256"/>
                  </a:lnTo>
                  <a:lnTo>
                    <a:pt x="930" y="255"/>
                  </a:lnTo>
                  <a:lnTo>
                    <a:pt x="933" y="253"/>
                  </a:lnTo>
                  <a:lnTo>
                    <a:pt x="935" y="250"/>
                  </a:lnTo>
                  <a:lnTo>
                    <a:pt x="939" y="246"/>
                  </a:lnTo>
                  <a:lnTo>
                    <a:pt x="940" y="242"/>
                  </a:lnTo>
                  <a:lnTo>
                    <a:pt x="946" y="224"/>
                  </a:lnTo>
                  <a:lnTo>
                    <a:pt x="951" y="209"/>
                  </a:lnTo>
                  <a:lnTo>
                    <a:pt x="957" y="212"/>
                  </a:lnTo>
                  <a:lnTo>
                    <a:pt x="965" y="214"/>
                  </a:lnTo>
                  <a:lnTo>
                    <a:pt x="973" y="215"/>
                  </a:lnTo>
                  <a:lnTo>
                    <a:pt x="980" y="214"/>
                  </a:lnTo>
                  <a:lnTo>
                    <a:pt x="989" y="214"/>
                  </a:lnTo>
                  <a:lnTo>
                    <a:pt x="998" y="213"/>
                  </a:lnTo>
                  <a:lnTo>
                    <a:pt x="1007" y="213"/>
                  </a:lnTo>
                  <a:lnTo>
                    <a:pt x="1017" y="215"/>
                  </a:lnTo>
                  <a:lnTo>
                    <a:pt x="1022" y="219"/>
                  </a:lnTo>
                  <a:lnTo>
                    <a:pt x="1027" y="223"/>
                  </a:lnTo>
                  <a:lnTo>
                    <a:pt x="1031" y="227"/>
                  </a:lnTo>
                  <a:lnTo>
                    <a:pt x="1033" y="232"/>
                  </a:lnTo>
                  <a:lnTo>
                    <a:pt x="1037" y="244"/>
                  </a:lnTo>
                  <a:lnTo>
                    <a:pt x="1040" y="257"/>
                  </a:lnTo>
                  <a:lnTo>
                    <a:pt x="1043" y="269"/>
                  </a:lnTo>
                  <a:lnTo>
                    <a:pt x="1046" y="280"/>
                  </a:lnTo>
                  <a:lnTo>
                    <a:pt x="1050" y="284"/>
                  </a:lnTo>
                  <a:lnTo>
                    <a:pt x="1053" y="287"/>
                  </a:lnTo>
                  <a:lnTo>
                    <a:pt x="1057" y="289"/>
                  </a:lnTo>
                  <a:lnTo>
                    <a:pt x="1063" y="290"/>
                  </a:lnTo>
                  <a:lnTo>
                    <a:pt x="1069" y="289"/>
                  </a:lnTo>
                  <a:lnTo>
                    <a:pt x="1076" y="286"/>
                  </a:lnTo>
                  <a:lnTo>
                    <a:pt x="1078" y="284"/>
                  </a:lnTo>
                  <a:lnTo>
                    <a:pt x="1081" y="282"/>
                  </a:lnTo>
                  <a:lnTo>
                    <a:pt x="1083" y="280"/>
                  </a:lnTo>
                  <a:lnTo>
                    <a:pt x="1084" y="277"/>
                  </a:lnTo>
                  <a:lnTo>
                    <a:pt x="1088" y="279"/>
                  </a:lnTo>
                  <a:lnTo>
                    <a:pt x="1092" y="280"/>
                  </a:lnTo>
                  <a:lnTo>
                    <a:pt x="1096" y="280"/>
                  </a:lnTo>
                  <a:lnTo>
                    <a:pt x="1099" y="280"/>
                  </a:lnTo>
                  <a:lnTo>
                    <a:pt x="1104" y="278"/>
                  </a:lnTo>
                  <a:lnTo>
                    <a:pt x="1110" y="277"/>
                  </a:lnTo>
                  <a:lnTo>
                    <a:pt x="1120" y="277"/>
                  </a:lnTo>
                  <a:lnTo>
                    <a:pt x="1128" y="276"/>
                  </a:lnTo>
                  <a:lnTo>
                    <a:pt x="1133" y="274"/>
                  </a:lnTo>
                  <a:lnTo>
                    <a:pt x="1135" y="270"/>
                  </a:lnTo>
                  <a:lnTo>
                    <a:pt x="1136" y="261"/>
                  </a:lnTo>
                  <a:lnTo>
                    <a:pt x="1136" y="246"/>
                  </a:lnTo>
                  <a:lnTo>
                    <a:pt x="1136" y="240"/>
                  </a:lnTo>
                  <a:lnTo>
                    <a:pt x="1137" y="234"/>
                  </a:lnTo>
                  <a:lnTo>
                    <a:pt x="1140" y="228"/>
                  </a:lnTo>
                  <a:lnTo>
                    <a:pt x="1143" y="223"/>
                  </a:lnTo>
                  <a:lnTo>
                    <a:pt x="1148" y="212"/>
                  </a:lnTo>
                  <a:lnTo>
                    <a:pt x="1156" y="204"/>
                  </a:lnTo>
                  <a:lnTo>
                    <a:pt x="1164" y="195"/>
                  </a:lnTo>
                  <a:lnTo>
                    <a:pt x="1170" y="186"/>
                  </a:lnTo>
                  <a:lnTo>
                    <a:pt x="1173" y="182"/>
                  </a:lnTo>
                  <a:lnTo>
                    <a:pt x="1175" y="177"/>
                  </a:lnTo>
                  <a:lnTo>
                    <a:pt x="1176" y="172"/>
                  </a:lnTo>
                  <a:lnTo>
                    <a:pt x="1176" y="167"/>
                  </a:lnTo>
                  <a:lnTo>
                    <a:pt x="1189" y="154"/>
                  </a:lnTo>
                  <a:lnTo>
                    <a:pt x="1201" y="146"/>
                  </a:lnTo>
                  <a:lnTo>
                    <a:pt x="1213" y="139"/>
                  </a:lnTo>
                  <a:lnTo>
                    <a:pt x="1225" y="134"/>
                  </a:lnTo>
                  <a:lnTo>
                    <a:pt x="1237" y="131"/>
                  </a:lnTo>
                  <a:lnTo>
                    <a:pt x="1248" y="128"/>
                  </a:lnTo>
                  <a:lnTo>
                    <a:pt x="1259" y="127"/>
                  </a:lnTo>
                  <a:lnTo>
                    <a:pt x="1270" y="126"/>
                  </a:lnTo>
                  <a:lnTo>
                    <a:pt x="1289" y="125"/>
                  </a:lnTo>
                  <a:lnTo>
                    <a:pt x="1305" y="123"/>
                  </a:lnTo>
                  <a:lnTo>
                    <a:pt x="1313" y="121"/>
                  </a:lnTo>
                  <a:lnTo>
                    <a:pt x="1320" y="117"/>
                  </a:lnTo>
                  <a:lnTo>
                    <a:pt x="1324" y="112"/>
                  </a:lnTo>
                  <a:lnTo>
                    <a:pt x="1328" y="104"/>
                  </a:lnTo>
                  <a:lnTo>
                    <a:pt x="1322" y="94"/>
                  </a:lnTo>
                  <a:lnTo>
                    <a:pt x="1314" y="86"/>
                  </a:lnTo>
                  <a:lnTo>
                    <a:pt x="1308" y="80"/>
                  </a:lnTo>
                  <a:lnTo>
                    <a:pt x="1301" y="75"/>
                  </a:lnTo>
                  <a:lnTo>
                    <a:pt x="1297" y="69"/>
                  </a:lnTo>
                  <a:lnTo>
                    <a:pt x="1292" y="64"/>
                  </a:lnTo>
                  <a:lnTo>
                    <a:pt x="1290" y="58"/>
                  </a:lnTo>
                  <a:lnTo>
                    <a:pt x="1289" y="49"/>
                  </a:lnTo>
                  <a:lnTo>
                    <a:pt x="1305" y="48"/>
                  </a:lnTo>
                  <a:lnTo>
                    <a:pt x="1322" y="45"/>
                  </a:lnTo>
                  <a:lnTo>
                    <a:pt x="1336" y="41"/>
                  </a:lnTo>
                  <a:lnTo>
                    <a:pt x="1349" y="36"/>
                  </a:lnTo>
                  <a:lnTo>
                    <a:pt x="1352" y="46"/>
                  </a:lnTo>
                  <a:lnTo>
                    <a:pt x="1356" y="56"/>
                  </a:lnTo>
                  <a:lnTo>
                    <a:pt x="1360" y="64"/>
                  </a:lnTo>
                  <a:lnTo>
                    <a:pt x="1366" y="72"/>
                  </a:lnTo>
                  <a:lnTo>
                    <a:pt x="1372" y="78"/>
                  </a:lnTo>
                  <a:lnTo>
                    <a:pt x="1379" y="84"/>
                  </a:lnTo>
                  <a:lnTo>
                    <a:pt x="1387" y="90"/>
                  </a:lnTo>
                  <a:lnTo>
                    <a:pt x="1394" y="94"/>
                  </a:lnTo>
                  <a:lnTo>
                    <a:pt x="1403" y="98"/>
                  </a:lnTo>
                  <a:lnTo>
                    <a:pt x="1412" y="101"/>
                  </a:lnTo>
                  <a:lnTo>
                    <a:pt x="1422" y="104"/>
                  </a:lnTo>
                  <a:lnTo>
                    <a:pt x="1432" y="107"/>
                  </a:lnTo>
                  <a:lnTo>
                    <a:pt x="1443" y="109"/>
                  </a:lnTo>
                  <a:lnTo>
                    <a:pt x="1453" y="110"/>
                  </a:lnTo>
                  <a:lnTo>
                    <a:pt x="1464" y="111"/>
                  </a:lnTo>
                  <a:lnTo>
                    <a:pt x="1476" y="111"/>
                  </a:lnTo>
                  <a:lnTo>
                    <a:pt x="1481" y="110"/>
                  </a:lnTo>
                  <a:lnTo>
                    <a:pt x="1489" y="108"/>
                  </a:lnTo>
                  <a:lnTo>
                    <a:pt x="1499" y="105"/>
                  </a:lnTo>
                  <a:lnTo>
                    <a:pt x="1509" y="104"/>
                  </a:lnTo>
                  <a:lnTo>
                    <a:pt x="1514" y="109"/>
                  </a:lnTo>
                  <a:lnTo>
                    <a:pt x="1523" y="113"/>
                  </a:lnTo>
                  <a:lnTo>
                    <a:pt x="1532" y="116"/>
                  </a:lnTo>
                  <a:lnTo>
                    <a:pt x="1541" y="117"/>
                  </a:lnTo>
                  <a:lnTo>
                    <a:pt x="1544" y="117"/>
                  </a:lnTo>
                  <a:lnTo>
                    <a:pt x="1547" y="115"/>
                  </a:lnTo>
                  <a:lnTo>
                    <a:pt x="1549" y="113"/>
                  </a:lnTo>
                  <a:lnTo>
                    <a:pt x="1551" y="110"/>
                  </a:lnTo>
                  <a:lnTo>
                    <a:pt x="1557" y="103"/>
                  </a:lnTo>
                  <a:lnTo>
                    <a:pt x="1561" y="98"/>
                  </a:lnTo>
                  <a:lnTo>
                    <a:pt x="1561" y="135"/>
                  </a:lnTo>
                  <a:lnTo>
                    <a:pt x="1556" y="146"/>
                  </a:lnTo>
                  <a:lnTo>
                    <a:pt x="1545" y="163"/>
                  </a:lnTo>
                  <a:lnTo>
                    <a:pt x="1530" y="183"/>
                  </a:lnTo>
                  <a:lnTo>
                    <a:pt x="1513" y="205"/>
                  </a:lnTo>
                  <a:lnTo>
                    <a:pt x="1495" y="228"/>
                  </a:lnTo>
                  <a:lnTo>
                    <a:pt x="1479" y="247"/>
                  </a:lnTo>
                  <a:lnTo>
                    <a:pt x="1465" y="262"/>
                  </a:lnTo>
                  <a:lnTo>
                    <a:pt x="1455" y="270"/>
                  </a:lnTo>
                  <a:lnTo>
                    <a:pt x="1464" y="275"/>
                  </a:lnTo>
                  <a:lnTo>
                    <a:pt x="1470" y="278"/>
                  </a:lnTo>
                  <a:lnTo>
                    <a:pt x="1474" y="282"/>
                  </a:lnTo>
                  <a:lnTo>
                    <a:pt x="1479" y="286"/>
                  </a:lnTo>
                  <a:lnTo>
                    <a:pt x="1485" y="294"/>
                  </a:lnTo>
                  <a:lnTo>
                    <a:pt x="1489" y="302"/>
                  </a:lnTo>
                  <a:lnTo>
                    <a:pt x="1492" y="310"/>
                  </a:lnTo>
                  <a:lnTo>
                    <a:pt x="1495" y="317"/>
                  </a:lnTo>
                  <a:lnTo>
                    <a:pt x="1498" y="321"/>
                  </a:lnTo>
                  <a:lnTo>
                    <a:pt x="1500" y="325"/>
                  </a:lnTo>
                  <a:lnTo>
                    <a:pt x="1504" y="328"/>
                  </a:lnTo>
                  <a:lnTo>
                    <a:pt x="1509" y="333"/>
                  </a:lnTo>
                  <a:lnTo>
                    <a:pt x="1514" y="336"/>
                  </a:lnTo>
                  <a:lnTo>
                    <a:pt x="1520" y="338"/>
                  </a:lnTo>
                  <a:lnTo>
                    <a:pt x="1525" y="339"/>
                  </a:lnTo>
                  <a:lnTo>
                    <a:pt x="1532" y="338"/>
                  </a:lnTo>
                  <a:lnTo>
                    <a:pt x="1538" y="338"/>
                  </a:lnTo>
                  <a:lnTo>
                    <a:pt x="1544" y="337"/>
                  </a:lnTo>
                  <a:lnTo>
                    <a:pt x="1549" y="337"/>
                  </a:lnTo>
                  <a:lnTo>
                    <a:pt x="1555" y="339"/>
                  </a:lnTo>
                  <a:lnTo>
                    <a:pt x="1560" y="340"/>
                  </a:lnTo>
                  <a:lnTo>
                    <a:pt x="1566" y="342"/>
                  </a:lnTo>
                  <a:lnTo>
                    <a:pt x="1570" y="345"/>
                  </a:lnTo>
                  <a:lnTo>
                    <a:pt x="1574" y="347"/>
                  </a:lnTo>
                  <a:lnTo>
                    <a:pt x="1582" y="354"/>
                  </a:lnTo>
                  <a:lnTo>
                    <a:pt x="1588" y="361"/>
                  </a:lnTo>
                  <a:lnTo>
                    <a:pt x="1594" y="368"/>
                  </a:lnTo>
                  <a:lnTo>
                    <a:pt x="1602" y="376"/>
                  </a:lnTo>
                  <a:lnTo>
                    <a:pt x="1605" y="379"/>
                  </a:lnTo>
                  <a:lnTo>
                    <a:pt x="1611" y="382"/>
                  </a:lnTo>
                  <a:lnTo>
                    <a:pt x="1615" y="386"/>
                  </a:lnTo>
                  <a:lnTo>
                    <a:pt x="1622" y="388"/>
                  </a:lnTo>
                  <a:lnTo>
                    <a:pt x="1629" y="391"/>
                  </a:lnTo>
                  <a:lnTo>
                    <a:pt x="1637" y="394"/>
                  </a:lnTo>
                  <a:lnTo>
                    <a:pt x="1644" y="398"/>
                  </a:lnTo>
                  <a:lnTo>
                    <a:pt x="1649" y="403"/>
                  </a:lnTo>
                  <a:lnTo>
                    <a:pt x="1659" y="413"/>
                  </a:lnTo>
                  <a:lnTo>
                    <a:pt x="1668" y="423"/>
                  </a:lnTo>
                  <a:lnTo>
                    <a:pt x="1677" y="433"/>
                  </a:lnTo>
                  <a:lnTo>
                    <a:pt x="1686" y="442"/>
                  </a:lnTo>
                  <a:lnTo>
                    <a:pt x="1692" y="445"/>
                  </a:lnTo>
                  <a:lnTo>
                    <a:pt x="1698" y="448"/>
                  </a:lnTo>
                  <a:lnTo>
                    <a:pt x="1706" y="449"/>
                  </a:lnTo>
                  <a:lnTo>
                    <a:pt x="1714" y="450"/>
                  </a:lnTo>
                  <a:lnTo>
                    <a:pt x="1719" y="449"/>
                  </a:lnTo>
                  <a:lnTo>
                    <a:pt x="1724" y="448"/>
                  </a:lnTo>
                  <a:lnTo>
                    <a:pt x="1729" y="446"/>
                  </a:lnTo>
                  <a:lnTo>
                    <a:pt x="1735" y="444"/>
                  </a:lnTo>
                  <a:lnTo>
                    <a:pt x="1745" y="435"/>
                  </a:lnTo>
                  <a:lnTo>
                    <a:pt x="1754" y="425"/>
                  </a:lnTo>
                  <a:lnTo>
                    <a:pt x="1764" y="413"/>
                  </a:lnTo>
                  <a:lnTo>
                    <a:pt x="1773" y="400"/>
                  </a:lnTo>
                  <a:lnTo>
                    <a:pt x="1782" y="385"/>
                  </a:lnTo>
                  <a:lnTo>
                    <a:pt x="1791" y="368"/>
                  </a:lnTo>
                  <a:lnTo>
                    <a:pt x="1798" y="351"/>
                  </a:lnTo>
                  <a:lnTo>
                    <a:pt x="1805" y="334"/>
                  </a:lnTo>
                  <a:lnTo>
                    <a:pt x="1812" y="316"/>
                  </a:lnTo>
                  <a:lnTo>
                    <a:pt x="1817" y="299"/>
                  </a:lnTo>
                  <a:lnTo>
                    <a:pt x="1821" y="283"/>
                  </a:lnTo>
                  <a:lnTo>
                    <a:pt x="1825" y="266"/>
                  </a:lnTo>
                  <a:lnTo>
                    <a:pt x="1827" y="252"/>
                  </a:lnTo>
                  <a:lnTo>
                    <a:pt x="1827" y="240"/>
                  </a:lnTo>
                  <a:lnTo>
                    <a:pt x="1828" y="223"/>
                  </a:lnTo>
                  <a:lnTo>
                    <a:pt x="1830" y="205"/>
                  </a:lnTo>
                  <a:lnTo>
                    <a:pt x="1834" y="189"/>
                  </a:lnTo>
                  <a:lnTo>
                    <a:pt x="1839" y="174"/>
                  </a:lnTo>
                  <a:lnTo>
                    <a:pt x="1845" y="159"/>
                  </a:lnTo>
                  <a:lnTo>
                    <a:pt x="1850" y="145"/>
                  </a:lnTo>
                  <a:lnTo>
                    <a:pt x="1857" y="131"/>
                  </a:lnTo>
                  <a:lnTo>
                    <a:pt x="1863" y="118"/>
                  </a:lnTo>
                  <a:lnTo>
                    <a:pt x="1877" y="90"/>
                  </a:lnTo>
                  <a:lnTo>
                    <a:pt x="1888" y="63"/>
                  </a:lnTo>
                  <a:lnTo>
                    <a:pt x="1894" y="47"/>
                  </a:lnTo>
                  <a:lnTo>
                    <a:pt x="1897" y="32"/>
                  </a:lnTo>
                  <a:lnTo>
                    <a:pt x="1899" y="17"/>
                  </a:lnTo>
                  <a:lnTo>
                    <a:pt x="1901" y="0"/>
                  </a:lnTo>
                  <a:lnTo>
                    <a:pt x="1904" y="10"/>
                  </a:lnTo>
                  <a:lnTo>
                    <a:pt x="1909" y="21"/>
                  </a:lnTo>
                  <a:lnTo>
                    <a:pt x="1917" y="32"/>
                  </a:lnTo>
                  <a:lnTo>
                    <a:pt x="1925" y="43"/>
                  </a:lnTo>
                  <a:lnTo>
                    <a:pt x="1932" y="55"/>
                  </a:lnTo>
                  <a:lnTo>
                    <a:pt x="1940" y="63"/>
                  </a:lnTo>
                  <a:lnTo>
                    <a:pt x="1948" y="70"/>
                  </a:lnTo>
                  <a:lnTo>
                    <a:pt x="1953" y="74"/>
                  </a:lnTo>
                  <a:lnTo>
                    <a:pt x="1952" y="76"/>
                  </a:lnTo>
                  <a:lnTo>
                    <a:pt x="1950" y="77"/>
                  </a:lnTo>
                  <a:lnTo>
                    <a:pt x="1947" y="78"/>
                  </a:lnTo>
                  <a:lnTo>
                    <a:pt x="1943" y="79"/>
                  </a:lnTo>
                  <a:lnTo>
                    <a:pt x="1937" y="80"/>
                  </a:lnTo>
                  <a:lnTo>
                    <a:pt x="1933" y="80"/>
                  </a:lnTo>
                  <a:lnTo>
                    <a:pt x="1935" y="90"/>
                  </a:lnTo>
                  <a:lnTo>
                    <a:pt x="1937" y="98"/>
                  </a:lnTo>
                  <a:lnTo>
                    <a:pt x="1940" y="104"/>
                  </a:lnTo>
                  <a:lnTo>
                    <a:pt x="1943" y="110"/>
                  </a:lnTo>
                  <a:lnTo>
                    <a:pt x="1947" y="115"/>
                  </a:lnTo>
                  <a:lnTo>
                    <a:pt x="1950" y="121"/>
                  </a:lnTo>
                  <a:lnTo>
                    <a:pt x="1952" y="127"/>
                  </a:lnTo>
                  <a:lnTo>
                    <a:pt x="1953" y="135"/>
                  </a:lnTo>
                  <a:lnTo>
                    <a:pt x="1953" y="144"/>
                  </a:lnTo>
                  <a:lnTo>
                    <a:pt x="1951" y="152"/>
                  </a:lnTo>
                  <a:lnTo>
                    <a:pt x="1949" y="160"/>
                  </a:lnTo>
                  <a:lnTo>
                    <a:pt x="1947" y="169"/>
                  </a:lnTo>
                  <a:lnTo>
                    <a:pt x="1944" y="176"/>
                  </a:lnTo>
                  <a:lnTo>
                    <a:pt x="1942" y="183"/>
                  </a:lnTo>
                  <a:lnTo>
                    <a:pt x="1941" y="190"/>
                  </a:lnTo>
                  <a:lnTo>
                    <a:pt x="1940" y="197"/>
                  </a:lnTo>
                  <a:lnTo>
                    <a:pt x="1940" y="201"/>
                  </a:lnTo>
                  <a:lnTo>
                    <a:pt x="1941" y="206"/>
                  </a:lnTo>
                  <a:lnTo>
                    <a:pt x="1942" y="210"/>
                  </a:lnTo>
                  <a:lnTo>
                    <a:pt x="1944" y="214"/>
                  </a:lnTo>
                  <a:lnTo>
                    <a:pt x="1950" y="222"/>
                  </a:lnTo>
                  <a:lnTo>
                    <a:pt x="1955" y="228"/>
                  </a:lnTo>
                  <a:lnTo>
                    <a:pt x="1963" y="233"/>
                  </a:lnTo>
                  <a:lnTo>
                    <a:pt x="1971" y="237"/>
                  </a:lnTo>
                  <a:lnTo>
                    <a:pt x="1978" y="239"/>
                  </a:lnTo>
                  <a:lnTo>
                    <a:pt x="1986" y="240"/>
                  </a:lnTo>
                  <a:lnTo>
                    <a:pt x="1987" y="244"/>
                  </a:lnTo>
                  <a:lnTo>
                    <a:pt x="1989" y="248"/>
                  </a:lnTo>
                  <a:lnTo>
                    <a:pt x="1993" y="251"/>
                  </a:lnTo>
                  <a:lnTo>
                    <a:pt x="1997" y="254"/>
                  </a:lnTo>
                  <a:lnTo>
                    <a:pt x="2006" y="257"/>
                  </a:lnTo>
                  <a:lnTo>
                    <a:pt x="2014" y="258"/>
                  </a:lnTo>
                  <a:lnTo>
                    <a:pt x="2014" y="278"/>
                  </a:lnTo>
                  <a:lnTo>
                    <a:pt x="2015" y="297"/>
                  </a:lnTo>
                  <a:lnTo>
                    <a:pt x="2017" y="314"/>
                  </a:lnTo>
                  <a:lnTo>
                    <a:pt x="2019" y="332"/>
                  </a:lnTo>
                  <a:lnTo>
                    <a:pt x="2026" y="365"/>
                  </a:lnTo>
                  <a:lnTo>
                    <a:pt x="2033" y="398"/>
                  </a:lnTo>
                  <a:lnTo>
                    <a:pt x="2040" y="429"/>
                  </a:lnTo>
                  <a:lnTo>
                    <a:pt x="2047" y="461"/>
                  </a:lnTo>
                  <a:lnTo>
                    <a:pt x="2050" y="476"/>
                  </a:lnTo>
                  <a:lnTo>
                    <a:pt x="2051" y="491"/>
                  </a:lnTo>
                  <a:lnTo>
                    <a:pt x="2053" y="508"/>
                  </a:lnTo>
                  <a:lnTo>
                    <a:pt x="2053" y="523"/>
                  </a:lnTo>
                  <a:lnTo>
                    <a:pt x="2053" y="526"/>
                  </a:lnTo>
                  <a:lnTo>
                    <a:pt x="2054" y="528"/>
                  </a:lnTo>
                  <a:lnTo>
                    <a:pt x="2056" y="529"/>
                  </a:lnTo>
                  <a:lnTo>
                    <a:pt x="2060" y="531"/>
                  </a:lnTo>
                  <a:lnTo>
                    <a:pt x="2066" y="533"/>
                  </a:lnTo>
                  <a:lnTo>
                    <a:pt x="2074" y="536"/>
                  </a:lnTo>
                  <a:lnTo>
                    <a:pt x="2082" y="538"/>
                  </a:lnTo>
                  <a:lnTo>
                    <a:pt x="2089" y="540"/>
                  </a:lnTo>
                  <a:lnTo>
                    <a:pt x="2096" y="544"/>
                  </a:lnTo>
                  <a:lnTo>
                    <a:pt x="2099" y="548"/>
                  </a:lnTo>
                  <a:lnTo>
                    <a:pt x="2108" y="562"/>
                  </a:lnTo>
                  <a:lnTo>
                    <a:pt x="2116" y="574"/>
                  </a:lnTo>
                  <a:lnTo>
                    <a:pt x="2120" y="578"/>
                  </a:lnTo>
                  <a:lnTo>
                    <a:pt x="2123" y="582"/>
                  </a:lnTo>
                  <a:lnTo>
                    <a:pt x="2128" y="584"/>
                  </a:lnTo>
                  <a:lnTo>
                    <a:pt x="2133" y="585"/>
                  </a:lnTo>
                  <a:lnTo>
                    <a:pt x="2134" y="596"/>
                  </a:lnTo>
                  <a:lnTo>
                    <a:pt x="2139" y="615"/>
                  </a:lnTo>
                  <a:lnTo>
                    <a:pt x="2146" y="637"/>
                  </a:lnTo>
                  <a:lnTo>
                    <a:pt x="2154" y="661"/>
                  </a:lnTo>
                  <a:lnTo>
                    <a:pt x="2163" y="686"/>
                  </a:lnTo>
                  <a:lnTo>
                    <a:pt x="2172" y="707"/>
                  </a:lnTo>
                  <a:lnTo>
                    <a:pt x="2179" y="724"/>
                  </a:lnTo>
                  <a:lnTo>
                    <a:pt x="2186" y="733"/>
                  </a:lnTo>
                  <a:lnTo>
                    <a:pt x="2188" y="735"/>
                  </a:lnTo>
                  <a:lnTo>
                    <a:pt x="2194" y="737"/>
                  </a:lnTo>
                  <a:lnTo>
                    <a:pt x="2201" y="738"/>
                  </a:lnTo>
                  <a:lnTo>
                    <a:pt x="2211" y="739"/>
                  </a:lnTo>
                  <a:lnTo>
                    <a:pt x="2231" y="742"/>
                  </a:lnTo>
                  <a:lnTo>
                    <a:pt x="2245" y="745"/>
                  </a:lnTo>
                  <a:lnTo>
                    <a:pt x="2242" y="756"/>
                  </a:lnTo>
                  <a:lnTo>
                    <a:pt x="2238" y="762"/>
                  </a:lnTo>
                  <a:lnTo>
                    <a:pt x="2231" y="766"/>
                  </a:lnTo>
                  <a:lnTo>
                    <a:pt x="2219" y="769"/>
                  </a:lnTo>
                  <a:lnTo>
                    <a:pt x="2223" y="781"/>
                  </a:lnTo>
                  <a:lnTo>
                    <a:pt x="2228" y="790"/>
                  </a:lnTo>
                  <a:lnTo>
                    <a:pt x="2233" y="800"/>
                  </a:lnTo>
                  <a:lnTo>
                    <a:pt x="2239" y="809"/>
                  </a:lnTo>
                  <a:lnTo>
                    <a:pt x="2251" y="827"/>
                  </a:lnTo>
                  <a:lnTo>
                    <a:pt x="2263" y="846"/>
                  </a:lnTo>
                  <a:lnTo>
                    <a:pt x="2289" y="879"/>
                  </a:lnTo>
                  <a:lnTo>
                    <a:pt x="2312" y="912"/>
                  </a:lnTo>
                  <a:lnTo>
                    <a:pt x="2318" y="907"/>
                  </a:lnTo>
                  <a:lnTo>
                    <a:pt x="2324" y="902"/>
                  </a:lnTo>
                  <a:lnTo>
                    <a:pt x="2328" y="899"/>
                  </a:lnTo>
                  <a:lnTo>
                    <a:pt x="2330" y="896"/>
                  </a:lnTo>
                  <a:lnTo>
                    <a:pt x="2332" y="892"/>
                  </a:lnTo>
                  <a:lnTo>
                    <a:pt x="2332" y="887"/>
                  </a:lnTo>
                  <a:lnTo>
                    <a:pt x="2332" y="896"/>
                  </a:lnTo>
                  <a:lnTo>
                    <a:pt x="2332" y="903"/>
                  </a:lnTo>
                  <a:lnTo>
                    <a:pt x="2332" y="910"/>
                  </a:lnTo>
                  <a:lnTo>
                    <a:pt x="2332" y="918"/>
                  </a:lnTo>
                  <a:lnTo>
                    <a:pt x="2293" y="1010"/>
                  </a:lnTo>
                  <a:lnTo>
                    <a:pt x="2295" y="1024"/>
                  </a:lnTo>
                  <a:lnTo>
                    <a:pt x="2296" y="1038"/>
                  </a:lnTo>
                  <a:lnTo>
                    <a:pt x="2295" y="1051"/>
                  </a:lnTo>
                  <a:lnTo>
                    <a:pt x="2291" y="1066"/>
                  </a:lnTo>
                  <a:lnTo>
                    <a:pt x="2288" y="1079"/>
                  </a:lnTo>
                  <a:lnTo>
                    <a:pt x="2283" y="1092"/>
                  </a:lnTo>
                  <a:lnTo>
                    <a:pt x="2276" y="1105"/>
                  </a:lnTo>
                  <a:lnTo>
                    <a:pt x="2269" y="1118"/>
                  </a:lnTo>
                  <a:lnTo>
                    <a:pt x="2253" y="1143"/>
                  </a:lnTo>
                  <a:lnTo>
                    <a:pt x="2237" y="1167"/>
                  </a:lnTo>
                  <a:lnTo>
                    <a:pt x="2220" y="1188"/>
                  </a:lnTo>
                  <a:lnTo>
                    <a:pt x="2206" y="1207"/>
                  </a:lnTo>
                  <a:lnTo>
                    <a:pt x="2188" y="1233"/>
                  </a:lnTo>
                  <a:lnTo>
                    <a:pt x="2172" y="1260"/>
                  </a:lnTo>
                  <a:lnTo>
                    <a:pt x="2153" y="1289"/>
                  </a:lnTo>
                  <a:lnTo>
                    <a:pt x="2133" y="1317"/>
                  </a:lnTo>
                  <a:lnTo>
                    <a:pt x="2123" y="1329"/>
                  </a:lnTo>
                  <a:lnTo>
                    <a:pt x="2111" y="1342"/>
                  </a:lnTo>
                  <a:lnTo>
                    <a:pt x="2100" y="1352"/>
                  </a:lnTo>
                  <a:lnTo>
                    <a:pt x="2087" y="1362"/>
                  </a:lnTo>
                  <a:lnTo>
                    <a:pt x="2081" y="1366"/>
                  </a:lnTo>
                  <a:lnTo>
                    <a:pt x="2074" y="1369"/>
                  </a:lnTo>
                  <a:lnTo>
                    <a:pt x="2066" y="1372"/>
                  </a:lnTo>
                  <a:lnTo>
                    <a:pt x="2059" y="1375"/>
                  </a:lnTo>
                  <a:lnTo>
                    <a:pt x="2051" y="1377"/>
                  </a:lnTo>
                  <a:lnTo>
                    <a:pt x="2043" y="1378"/>
                  </a:lnTo>
                  <a:lnTo>
                    <a:pt x="2036" y="1379"/>
                  </a:lnTo>
                  <a:lnTo>
                    <a:pt x="2027" y="1380"/>
                  </a:lnTo>
                  <a:lnTo>
                    <a:pt x="2026" y="1393"/>
                  </a:lnTo>
                  <a:lnTo>
                    <a:pt x="2022" y="1404"/>
                  </a:lnTo>
                  <a:lnTo>
                    <a:pt x="2018" y="1414"/>
                  </a:lnTo>
                  <a:lnTo>
                    <a:pt x="2013" y="1423"/>
                  </a:lnTo>
                  <a:lnTo>
                    <a:pt x="2005" y="1432"/>
                  </a:lnTo>
                  <a:lnTo>
                    <a:pt x="1997" y="1440"/>
                  </a:lnTo>
                  <a:lnTo>
                    <a:pt x="1988" y="1449"/>
                  </a:lnTo>
                  <a:lnTo>
                    <a:pt x="1978" y="1456"/>
                  </a:lnTo>
                  <a:lnTo>
                    <a:pt x="1958" y="1470"/>
                  </a:lnTo>
                  <a:lnTo>
                    <a:pt x="1937" y="1483"/>
                  </a:lnTo>
                  <a:lnTo>
                    <a:pt x="1917" y="1495"/>
                  </a:lnTo>
                  <a:lnTo>
                    <a:pt x="1901" y="1510"/>
                  </a:lnTo>
                  <a:lnTo>
                    <a:pt x="1885" y="1525"/>
                  </a:lnTo>
                  <a:lnTo>
                    <a:pt x="1873" y="1539"/>
                  </a:lnTo>
                  <a:lnTo>
                    <a:pt x="1864" y="1553"/>
                  </a:lnTo>
                  <a:lnTo>
                    <a:pt x="1857" y="1565"/>
                  </a:lnTo>
                  <a:lnTo>
                    <a:pt x="1848" y="1578"/>
                  </a:lnTo>
                  <a:lnTo>
                    <a:pt x="1838" y="1591"/>
                  </a:lnTo>
                  <a:lnTo>
                    <a:pt x="1825" y="1604"/>
                  </a:lnTo>
                  <a:lnTo>
                    <a:pt x="1807" y="1621"/>
                  </a:lnTo>
                  <a:lnTo>
                    <a:pt x="1801" y="1630"/>
                  </a:lnTo>
                  <a:lnTo>
                    <a:pt x="1796" y="1639"/>
                  </a:lnTo>
                  <a:lnTo>
                    <a:pt x="1793" y="1648"/>
                  </a:lnTo>
                  <a:lnTo>
                    <a:pt x="1790" y="1657"/>
                  </a:lnTo>
                  <a:lnTo>
                    <a:pt x="1786" y="1665"/>
                  </a:lnTo>
                  <a:lnTo>
                    <a:pt x="1782" y="1671"/>
                  </a:lnTo>
                  <a:lnTo>
                    <a:pt x="1780" y="1673"/>
                  </a:lnTo>
                  <a:lnTo>
                    <a:pt x="1776" y="1675"/>
                  </a:lnTo>
                  <a:lnTo>
                    <a:pt x="1772" y="1676"/>
                  </a:lnTo>
                  <a:lnTo>
                    <a:pt x="1768" y="1676"/>
                  </a:lnTo>
                  <a:lnTo>
                    <a:pt x="1749" y="1676"/>
                  </a:lnTo>
                  <a:lnTo>
                    <a:pt x="1733" y="1676"/>
                  </a:lnTo>
                  <a:lnTo>
                    <a:pt x="1718" y="1676"/>
                  </a:lnTo>
                  <a:lnTo>
                    <a:pt x="1707" y="1676"/>
                  </a:lnTo>
                  <a:lnTo>
                    <a:pt x="1702" y="1676"/>
                  </a:lnTo>
                  <a:lnTo>
                    <a:pt x="1695" y="1678"/>
                  </a:lnTo>
                  <a:lnTo>
                    <a:pt x="1689" y="1680"/>
                  </a:lnTo>
                  <a:lnTo>
                    <a:pt x="1682" y="1683"/>
                  </a:lnTo>
                  <a:lnTo>
                    <a:pt x="1668" y="1690"/>
                  </a:lnTo>
                  <a:lnTo>
                    <a:pt x="1652" y="1699"/>
                  </a:lnTo>
                  <a:lnTo>
                    <a:pt x="1634" y="1708"/>
                  </a:lnTo>
                  <a:lnTo>
                    <a:pt x="1613" y="1717"/>
                  </a:lnTo>
                  <a:lnTo>
                    <a:pt x="1602" y="1722"/>
                  </a:lnTo>
                  <a:lnTo>
                    <a:pt x="1589" y="1726"/>
                  </a:lnTo>
                  <a:lnTo>
                    <a:pt x="1576" y="1729"/>
                  </a:lnTo>
                  <a:lnTo>
                    <a:pt x="1561" y="1731"/>
                  </a:lnTo>
                  <a:lnTo>
                    <a:pt x="1558" y="1725"/>
                  </a:lnTo>
                  <a:lnTo>
                    <a:pt x="1555" y="1718"/>
                  </a:lnTo>
                  <a:lnTo>
                    <a:pt x="1548" y="1718"/>
                  </a:lnTo>
                  <a:lnTo>
                    <a:pt x="1541" y="1717"/>
                  </a:lnTo>
                  <a:lnTo>
                    <a:pt x="1536" y="1715"/>
                  </a:lnTo>
                  <a:lnTo>
                    <a:pt x="1532" y="1713"/>
                  </a:lnTo>
                  <a:lnTo>
                    <a:pt x="1528" y="1711"/>
                  </a:lnTo>
                  <a:lnTo>
                    <a:pt x="1525" y="1708"/>
                  </a:lnTo>
                  <a:lnTo>
                    <a:pt x="1522" y="1705"/>
                  </a:lnTo>
                  <a:lnTo>
                    <a:pt x="1520" y="1701"/>
                  </a:lnTo>
                  <a:lnTo>
                    <a:pt x="1517" y="1693"/>
                  </a:lnTo>
                  <a:lnTo>
                    <a:pt x="1515" y="1685"/>
                  </a:lnTo>
                  <a:lnTo>
                    <a:pt x="1515" y="1677"/>
                  </a:lnTo>
                  <a:lnTo>
                    <a:pt x="1515" y="1670"/>
                  </a:lnTo>
                  <a:lnTo>
                    <a:pt x="1489" y="1690"/>
                  </a:lnTo>
                  <a:lnTo>
                    <a:pt x="1462" y="1709"/>
                  </a:lnTo>
                  <a:lnTo>
                    <a:pt x="1449" y="1718"/>
                  </a:lnTo>
                  <a:lnTo>
                    <a:pt x="1437" y="1725"/>
                  </a:lnTo>
                  <a:lnTo>
                    <a:pt x="1432" y="1728"/>
                  </a:lnTo>
                  <a:lnTo>
                    <a:pt x="1426" y="1730"/>
                  </a:lnTo>
                  <a:lnTo>
                    <a:pt x="1421" y="1731"/>
                  </a:lnTo>
                  <a:lnTo>
                    <a:pt x="1415" y="1731"/>
                  </a:lnTo>
                  <a:lnTo>
                    <a:pt x="1413" y="1731"/>
                  </a:lnTo>
                  <a:lnTo>
                    <a:pt x="1410" y="1729"/>
                  </a:lnTo>
                  <a:lnTo>
                    <a:pt x="1406" y="1727"/>
                  </a:lnTo>
                  <a:lnTo>
                    <a:pt x="1403" y="1725"/>
                  </a:lnTo>
                  <a:lnTo>
                    <a:pt x="1400" y="1722"/>
                  </a:lnTo>
                  <a:lnTo>
                    <a:pt x="1398" y="1718"/>
                  </a:lnTo>
                  <a:lnTo>
                    <a:pt x="1395" y="1715"/>
                  </a:lnTo>
                  <a:lnTo>
                    <a:pt x="1395" y="1712"/>
                  </a:lnTo>
                  <a:lnTo>
                    <a:pt x="1372" y="1711"/>
                  </a:lnTo>
                  <a:lnTo>
                    <a:pt x="1349" y="1709"/>
                  </a:lnTo>
                  <a:lnTo>
                    <a:pt x="1338" y="1707"/>
                  </a:lnTo>
                  <a:lnTo>
                    <a:pt x="1327" y="1704"/>
                  </a:lnTo>
                  <a:lnTo>
                    <a:pt x="1316" y="1701"/>
                  </a:lnTo>
                  <a:lnTo>
                    <a:pt x="1307" y="1697"/>
                  </a:lnTo>
                  <a:lnTo>
                    <a:pt x="1297" y="1693"/>
                  </a:lnTo>
                  <a:lnTo>
                    <a:pt x="1289" y="1688"/>
                  </a:lnTo>
                  <a:lnTo>
                    <a:pt x="1281" y="1683"/>
                  </a:lnTo>
                  <a:lnTo>
                    <a:pt x="1275" y="1677"/>
                  </a:lnTo>
                  <a:lnTo>
                    <a:pt x="1269" y="1670"/>
                  </a:lnTo>
                  <a:lnTo>
                    <a:pt x="1266" y="1662"/>
                  </a:lnTo>
                  <a:lnTo>
                    <a:pt x="1264" y="1653"/>
                  </a:lnTo>
                  <a:lnTo>
                    <a:pt x="1263" y="1645"/>
                  </a:lnTo>
                  <a:lnTo>
                    <a:pt x="1263" y="1639"/>
                  </a:lnTo>
                  <a:lnTo>
                    <a:pt x="1264" y="1635"/>
                  </a:lnTo>
                  <a:lnTo>
                    <a:pt x="1266" y="1631"/>
                  </a:lnTo>
                  <a:lnTo>
                    <a:pt x="1268" y="1627"/>
                  </a:lnTo>
                  <a:lnTo>
                    <a:pt x="1272" y="1620"/>
                  </a:lnTo>
                  <a:lnTo>
                    <a:pt x="1279" y="1614"/>
                  </a:lnTo>
                  <a:lnTo>
                    <a:pt x="1286" y="1609"/>
                  </a:lnTo>
                  <a:lnTo>
                    <a:pt x="1290" y="1601"/>
                  </a:lnTo>
                  <a:lnTo>
                    <a:pt x="1292" y="1597"/>
                  </a:lnTo>
                  <a:lnTo>
                    <a:pt x="1294" y="1593"/>
                  </a:lnTo>
                  <a:lnTo>
                    <a:pt x="1296" y="1589"/>
                  </a:lnTo>
                  <a:lnTo>
                    <a:pt x="1296" y="1583"/>
                  </a:lnTo>
                  <a:lnTo>
                    <a:pt x="1296" y="1546"/>
                  </a:lnTo>
                  <a:lnTo>
                    <a:pt x="1309" y="1528"/>
                  </a:lnTo>
                  <a:lnTo>
                    <a:pt x="1309" y="1522"/>
                  </a:lnTo>
                  <a:lnTo>
                    <a:pt x="1256" y="1522"/>
                  </a:lnTo>
                  <a:lnTo>
                    <a:pt x="1249" y="1534"/>
                  </a:lnTo>
                  <a:lnTo>
                    <a:pt x="1255" y="1525"/>
                  </a:lnTo>
                  <a:lnTo>
                    <a:pt x="1263" y="1516"/>
                  </a:lnTo>
                  <a:lnTo>
                    <a:pt x="1269" y="1509"/>
                  </a:lnTo>
                  <a:lnTo>
                    <a:pt x="1276" y="1504"/>
                  </a:lnTo>
                  <a:lnTo>
                    <a:pt x="1276" y="1460"/>
                  </a:lnTo>
                  <a:lnTo>
                    <a:pt x="1270" y="1462"/>
                  </a:lnTo>
                  <a:lnTo>
                    <a:pt x="1265" y="1464"/>
                  </a:lnTo>
                  <a:lnTo>
                    <a:pt x="1260" y="1466"/>
                  </a:lnTo>
                  <a:lnTo>
                    <a:pt x="1256" y="1469"/>
                  </a:lnTo>
                  <a:lnTo>
                    <a:pt x="1249" y="1475"/>
                  </a:lnTo>
                  <a:lnTo>
                    <a:pt x="1243" y="1481"/>
                  </a:lnTo>
                  <a:lnTo>
                    <a:pt x="1237" y="1488"/>
                  </a:lnTo>
                  <a:lnTo>
                    <a:pt x="1232" y="1494"/>
                  </a:lnTo>
                  <a:lnTo>
                    <a:pt x="1229" y="1498"/>
                  </a:lnTo>
                  <a:lnTo>
                    <a:pt x="1225" y="1500"/>
                  </a:lnTo>
                  <a:lnTo>
                    <a:pt x="1221" y="1502"/>
                  </a:lnTo>
                  <a:lnTo>
                    <a:pt x="1216" y="1504"/>
                  </a:lnTo>
                  <a:lnTo>
                    <a:pt x="1189" y="1504"/>
                  </a:lnTo>
                  <a:lnTo>
                    <a:pt x="1222" y="1472"/>
                  </a:lnTo>
                  <a:lnTo>
                    <a:pt x="1252" y="1442"/>
                  </a:lnTo>
                  <a:lnTo>
                    <a:pt x="1280" y="1411"/>
                  </a:lnTo>
                  <a:lnTo>
                    <a:pt x="1309" y="1380"/>
                  </a:lnTo>
                  <a:lnTo>
                    <a:pt x="1305" y="1378"/>
                  </a:lnTo>
                  <a:lnTo>
                    <a:pt x="1301" y="1377"/>
                  </a:lnTo>
                  <a:lnTo>
                    <a:pt x="1298" y="1376"/>
                  </a:lnTo>
                  <a:lnTo>
                    <a:pt x="1294" y="1376"/>
                  </a:lnTo>
                  <a:lnTo>
                    <a:pt x="1287" y="1378"/>
                  </a:lnTo>
                  <a:lnTo>
                    <a:pt x="1280" y="1382"/>
                  </a:lnTo>
                  <a:lnTo>
                    <a:pt x="1267" y="1392"/>
                  </a:lnTo>
                  <a:lnTo>
                    <a:pt x="1256" y="1399"/>
                  </a:lnTo>
                  <a:lnTo>
                    <a:pt x="1230" y="1418"/>
                  </a:lnTo>
                  <a:lnTo>
                    <a:pt x="1185" y="1450"/>
                  </a:lnTo>
                  <a:lnTo>
                    <a:pt x="1142" y="1478"/>
                  </a:lnTo>
                  <a:lnTo>
                    <a:pt x="1123" y="1490"/>
                  </a:lnTo>
                  <a:lnTo>
                    <a:pt x="1123" y="1380"/>
                  </a:lnTo>
                  <a:lnTo>
                    <a:pt x="1113" y="1379"/>
                  </a:lnTo>
                  <a:lnTo>
                    <a:pt x="1106" y="1377"/>
                  </a:lnTo>
                  <a:lnTo>
                    <a:pt x="1099" y="1375"/>
                  </a:lnTo>
                  <a:lnTo>
                    <a:pt x="1093" y="1371"/>
                  </a:lnTo>
                  <a:lnTo>
                    <a:pt x="1090" y="1367"/>
                  </a:lnTo>
                  <a:lnTo>
                    <a:pt x="1088" y="1362"/>
                  </a:lnTo>
                  <a:lnTo>
                    <a:pt x="1088" y="1356"/>
                  </a:lnTo>
                  <a:lnTo>
                    <a:pt x="1090" y="1349"/>
                  </a:lnTo>
                  <a:lnTo>
                    <a:pt x="1078" y="1338"/>
                  </a:lnTo>
                  <a:lnTo>
                    <a:pt x="1064" y="1325"/>
                  </a:lnTo>
                  <a:lnTo>
                    <a:pt x="1047" y="1314"/>
                  </a:lnTo>
                  <a:lnTo>
                    <a:pt x="1030" y="1304"/>
                  </a:lnTo>
                  <a:lnTo>
                    <a:pt x="1020" y="1299"/>
                  </a:lnTo>
                  <a:lnTo>
                    <a:pt x="1011" y="1295"/>
                  </a:lnTo>
                  <a:lnTo>
                    <a:pt x="1001" y="1291"/>
                  </a:lnTo>
                  <a:lnTo>
                    <a:pt x="990" y="1288"/>
                  </a:lnTo>
                  <a:lnTo>
                    <a:pt x="980" y="1285"/>
                  </a:lnTo>
                  <a:lnTo>
                    <a:pt x="971" y="1283"/>
                  </a:lnTo>
                  <a:lnTo>
                    <a:pt x="961" y="1282"/>
                  </a:lnTo>
                  <a:lnTo>
                    <a:pt x="951" y="1282"/>
                  </a:lnTo>
                  <a:lnTo>
                    <a:pt x="941" y="1283"/>
                  </a:lnTo>
                  <a:lnTo>
                    <a:pt x="931" y="1285"/>
                  </a:lnTo>
                  <a:lnTo>
                    <a:pt x="923" y="1289"/>
                  </a:lnTo>
                  <a:lnTo>
                    <a:pt x="917" y="1294"/>
                  </a:lnTo>
                  <a:lnTo>
                    <a:pt x="831" y="1294"/>
                  </a:lnTo>
                  <a:lnTo>
                    <a:pt x="819" y="1301"/>
                  </a:lnTo>
                  <a:lnTo>
                    <a:pt x="807" y="1307"/>
                  </a:lnTo>
                  <a:lnTo>
                    <a:pt x="796" y="1312"/>
                  </a:lnTo>
                  <a:lnTo>
                    <a:pt x="785" y="1316"/>
                  </a:lnTo>
                  <a:lnTo>
                    <a:pt x="775" y="1319"/>
                  </a:lnTo>
                  <a:lnTo>
                    <a:pt x="764" y="1321"/>
                  </a:lnTo>
                  <a:lnTo>
                    <a:pt x="754" y="1323"/>
                  </a:lnTo>
                  <a:lnTo>
                    <a:pt x="745" y="1324"/>
                  </a:lnTo>
                  <a:lnTo>
                    <a:pt x="726" y="1326"/>
                  </a:lnTo>
                  <a:lnTo>
                    <a:pt x="706" y="1328"/>
                  </a:lnTo>
                  <a:lnTo>
                    <a:pt x="686" y="1332"/>
                  </a:lnTo>
                  <a:lnTo>
                    <a:pt x="664" y="1337"/>
                  </a:lnTo>
                  <a:lnTo>
                    <a:pt x="636" y="1345"/>
                  </a:lnTo>
                  <a:lnTo>
                    <a:pt x="596" y="1356"/>
                  </a:lnTo>
                  <a:lnTo>
                    <a:pt x="577" y="1362"/>
                  </a:lnTo>
                  <a:lnTo>
                    <a:pt x="560" y="1369"/>
                  </a:lnTo>
                  <a:lnTo>
                    <a:pt x="547" y="1374"/>
                  </a:lnTo>
                  <a:lnTo>
                    <a:pt x="538" y="1380"/>
                  </a:lnTo>
                  <a:lnTo>
                    <a:pt x="521" y="1402"/>
                  </a:lnTo>
                  <a:lnTo>
                    <a:pt x="507" y="1419"/>
                  </a:lnTo>
                  <a:lnTo>
                    <a:pt x="501" y="1426"/>
                  </a:lnTo>
                  <a:lnTo>
                    <a:pt x="493" y="1431"/>
                  </a:lnTo>
                  <a:lnTo>
                    <a:pt x="488" y="1433"/>
                  </a:lnTo>
                  <a:lnTo>
                    <a:pt x="483" y="1434"/>
                  </a:lnTo>
                  <a:lnTo>
                    <a:pt x="478" y="1435"/>
                  </a:lnTo>
                  <a:lnTo>
                    <a:pt x="472" y="1435"/>
                  </a:lnTo>
                  <a:lnTo>
                    <a:pt x="306" y="1435"/>
                  </a:lnTo>
                  <a:lnTo>
                    <a:pt x="291" y="1439"/>
                  </a:lnTo>
                  <a:lnTo>
                    <a:pt x="277" y="1444"/>
                  </a:lnTo>
                  <a:lnTo>
                    <a:pt x="265" y="1448"/>
                  </a:lnTo>
                  <a:lnTo>
                    <a:pt x="254" y="1453"/>
                  </a:lnTo>
                  <a:lnTo>
                    <a:pt x="233" y="1463"/>
                  </a:lnTo>
                  <a:lnTo>
                    <a:pt x="214" y="1473"/>
                  </a:lnTo>
                  <a:lnTo>
                    <a:pt x="204" y="1478"/>
                  </a:lnTo>
                  <a:lnTo>
                    <a:pt x="193" y="1482"/>
                  </a:lnTo>
                  <a:lnTo>
                    <a:pt x="182" y="1486"/>
                  </a:lnTo>
                  <a:lnTo>
                    <a:pt x="170" y="1490"/>
                  </a:lnTo>
                  <a:lnTo>
                    <a:pt x="157" y="1493"/>
                  </a:lnTo>
                  <a:lnTo>
                    <a:pt x="142" y="1495"/>
                  </a:lnTo>
                  <a:lnTo>
                    <a:pt x="125" y="1496"/>
                  </a:lnTo>
                  <a:lnTo>
                    <a:pt x="106" y="1496"/>
                  </a:lnTo>
                  <a:lnTo>
                    <a:pt x="95" y="1496"/>
                  </a:lnTo>
                  <a:lnTo>
                    <a:pt x="84" y="1495"/>
                  </a:lnTo>
                  <a:lnTo>
                    <a:pt x="75" y="1494"/>
                  </a:lnTo>
                  <a:lnTo>
                    <a:pt x="65" y="1492"/>
                  </a:lnTo>
                  <a:lnTo>
                    <a:pt x="55" y="1490"/>
                  </a:lnTo>
                  <a:lnTo>
                    <a:pt x="46" y="1487"/>
                  </a:lnTo>
                  <a:lnTo>
                    <a:pt x="38" y="1483"/>
                  </a:lnTo>
                  <a:lnTo>
                    <a:pt x="31" y="1479"/>
                  </a:lnTo>
                  <a:lnTo>
                    <a:pt x="24" y="1475"/>
                  </a:lnTo>
                  <a:lnTo>
                    <a:pt x="19" y="1470"/>
                  </a:lnTo>
                  <a:lnTo>
                    <a:pt x="13" y="1464"/>
                  </a:lnTo>
                  <a:lnTo>
                    <a:pt x="9" y="1458"/>
                  </a:lnTo>
                  <a:lnTo>
                    <a:pt x="4" y="1452"/>
                  </a:lnTo>
                  <a:lnTo>
                    <a:pt x="2" y="1445"/>
                  </a:lnTo>
                  <a:lnTo>
                    <a:pt x="1" y="1437"/>
                  </a:lnTo>
                  <a:lnTo>
                    <a:pt x="0" y="1429"/>
                  </a:lnTo>
                  <a:lnTo>
                    <a:pt x="1" y="1426"/>
                  </a:lnTo>
                  <a:lnTo>
                    <a:pt x="2" y="1423"/>
                  </a:lnTo>
                  <a:lnTo>
                    <a:pt x="4" y="1421"/>
                  </a:lnTo>
                  <a:lnTo>
                    <a:pt x="6" y="1418"/>
                  </a:lnTo>
                  <a:lnTo>
                    <a:pt x="13" y="1415"/>
                  </a:lnTo>
                  <a:lnTo>
                    <a:pt x="22" y="1413"/>
                  </a:lnTo>
                  <a:lnTo>
                    <a:pt x="39" y="1411"/>
                  </a:lnTo>
                  <a:lnTo>
                    <a:pt x="54" y="1411"/>
                  </a:lnTo>
                  <a:lnTo>
                    <a:pt x="58" y="1408"/>
                  </a:lnTo>
                  <a:lnTo>
                    <a:pt x="64" y="1404"/>
                  </a:lnTo>
                  <a:lnTo>
                    <a:pt x="68" y="1399"/>
                  </a:lnTo>
                  <a:lnTo>
                    <a:pt x="72" y="1393"/>
                  </a:lnTo>
                  <a:lnTo>
                    <a:pt x="82" y="1378"/>
                  </a:lnTo>
                  <a:lnTo>
                    <a:pt x="90" y="1361"/>
                  </a:lnTo>
                  <a:lnTo>
                    <a:pt x="97" y="1344"/>
                  </a:lnTo>
                  <a:lnTo>
                    <a:pt x="102" y="1325"/>
                  </a:lnTo>
                  <a:lnTo>
                    <a:pt x="105" y="1309"/>
                  </a:lnTo>
                  <a:lnTo>
                    <a:pt x="106" y="1294"/>
                  </a:lnTo>
                  <a:lnTo>
                    <a:pt x="106" y="1288"/>
                  </a:lnTo>
                  <a:lnTo>
                    <a:pt x="105" y="1284"/>
                  </a:lnTo>
                  <a:lnTo>
                    <a:pt x="103" y="1279"/>
                  </a:lnTo>
                  <a:lnTo>
                    <a:pt x="101" y="1275"/>
                  </a:lnTo>
                  <a:lnTo>
                    <a:pt x="95" y="1267"/>
                  </a:lnTo>
                  <a:lnTo>
                    <a:pt x="90" y="1260"/>
                  </a:lnTo>
                  <a:lnTo>
                    <a:pt x="83" y="1254"/>
                  </a:lnTo>
                  <a:lnTo>
                    <a:pt x="79" y="1248"/>
                  </a:lnTo>
                  <a:lnTo>
                    <a:pt x="77" y="1244"/>
                  </a:lnTo>
                  <a:lnTo>
                    <a:pt x="75" y="1241"/>
                  </a:lnTo>
                  <a:lnTo>
                    <a:pt x="73" y="1237"/>
                  </a:lnTo>
                  <a:lnTo>
                    <a:pt x="73" y="1232"/>
                  </a:lnTo>
                  <a:lnTo>
                    <a:pt x="73" y="1225"/>
                  </a:lnTo>
                  <a:lnTo>
                    <a:pt x="75" y="1218"/>
                  </a:lnTo>
                  <a:lnTo>
                    <a:pt x="77" y="1212"/>
                  </a:lnTo>
                  <a:lnTo>
                    <a:pt x="79" y="1207"/>
                  </a:lnTo>
                  <a:lnTo>
                    <a:pt x="86" y="1200"/>
                  </a:lnTo>
                  <a:lnTo>
                    <a:pt x="93" y="1193"/>
                  </a:lnTo>
                  <a:lnTo>
                    <a:pt x="101" y="1188"/>
                  </a:lnTo>
                  <a:lnTo>
                    <a:pt x="106" y="1182"/>
                  </a:lnTo>
                  <a:lnTo>
                    <a:pt x="110" y="1179"/>
                  </a:lnTo>
                  <a:lnTo>
                    <a:pt x="112" y="1175"/>
                  </a:lnTo>
                  <a:lnTo>
                    <a:pt x="113" y="1170"/>
                  </a:lnTo>
                  <a:lnTo>
                    <a:pt x="113" y="1165"/>
                  </a:lnTo>
                  <a:lnTo>
                    <a:pt x="113" y="1150"/>
                  </a:lnTo>
                  <a:lnTo>
                    <a:pt x="111" y="1137"/>
                  </a:lnTo>
                  <a:lnTo>
                    <a:pt x="109" y="1123"/>
                  </a:lnTo>
                  <a:lnTo>
                    <a:pt x="105" y="1110"/>
                  </a:lnTo>
                  <a:lnTo>
                    <a:pt x="98" y="1082"/>
                  </a:lnTo>
                  <a:lnTo>
                    <a:pt x="88" y="1056"/>
                  </a:lnTo>
                  <a:lnTo>
                    <a:pt x="78" y="1030"/>
                  </a:lnTo>
                  <a:lnTo>
                    <a:pt x="68" y="1006"/>
                  </a:lnTo>
                  <a:lnTo>
                    <a:pt x="59" y="982"/>
                  </a:lnTo>
                  <a:lnTo>
                    <a:pt x="54" y="961"/>
                  </a:lnTo>
                  <a:lnTo>
                    <a:pt x="54" y="930"/>
                  </a:lnTo>
                  <a:lnTo>
                    <a:pt x="58" y="943"/>
                  </a:lnTo>
                  <a:lnTo>
                    <a:pt x="64" y="954"/>
                  </a:lnTo>
                  <a:lnTo>
                    <a:pt x="71" y="964"/>
                  </a:lnTo>
                  <a:lnTo>
                    <a:pt x="80" y="973"/>
                  </a:lnTo>
                  <a:lnTo>
                    <a:pt x="80" y="949"/>
                  </a:lnTo>
                  <a:lnTo>
                    <a:pt x="80" y="954"/>
                  </a:lnTo>
                  <a:lnTo>
                    <a:pt x="82" y="958"/>
                  </a:lnTo>
                  <a:lnTo>
                    <a:pt x="84" y="962"/>
                  </a:lnTo>
                  <a:lnTo>
                    <a:pt x="88" y="966"/>
                  </a:lnTo>
                  <a:lnTo>
                    <a:pt x="92" y="969"/>
                  </a:lnTo>
                  <a:lnTo>
                    <a:pt x="97" y="971"/>
                  </a:lnTo>
                  <a:lnTo>
                    <a:pt x="102" y="973"/>
                  </a:lnTo>
                  <a:lnTo>
                    <a:pt x="106" y="973"/>
                  </a:lnTo>
                  <a:lnTo>
                    <a:pt x="113" y="964"/>
                  </a:lnTo>
                  <a:lnTo>
                    <a:pt x="122" y="955"/>
                  </a:lnTo>
                  <a:lnTo>
                    <a:pt x="126" y="951"/>
                  </a:lnTo>
                  <a:lnTo>
                    <a:pt x="129" y="946"/>
                  </a:lnTo>
                  <a:lnTo>
                    <a:pt x="132" y="940"/>
                  </a:lnTo>
                  <a:lnTo>
                    <a:pt x="133" y="936"/>
                  </a:lnTo>
                  <a:lnTo>
                    <a:pt x="132" y="923"/>
                  </a:lnTo>
                  <a:lnTo>
                    <a:pt x="128" y="913"/>
                  </a:lnTo>
                  <a:lnTo>
                    <a:pt x="125" y="903"/>
                  </a:lnTo>
                  <a:lnTo>
                    <a:pt x="120" y="895"/>
                  </a:lnTo>
                  <a:lnTo>
                    <a:pt x="115" y="887"/>
                  </a:lnTo>
                  <a:lnTo>
                    <a:pt x="111" y="879"/>
                  </a:lnTo>
                  <a:lnTo>
                    <a:pt x="107" y="871"/>
                  </a:lnTo>
                  <a:lnTo>
                    <a:pt x="106" y="862"/>
                  </a:lnTo>
                  <a:lnTo>
                    <a:pt x="107" y="855"/>
                  </a:lnTo>
                  <a:lnTo>
                    <a:pt x="111" y="847"/>
                  </a:lnTo>
                  <a:lnTo>
                    <a:pt x="115" y="839"/>
                  </a:lnTo>
                  <a:lnTo>
                    <a:pt x="121" y="831"/>
                  </a:lnTo>
                  <a:lnTo>
                    <a:pt x="126" y="823"/>
                  </a:lnTo>
                  <a:lnTo>
                    <a:pt x="132" y="818"/>
                  </a:lnTo>
                  <a:lnTo>
                    <a:pt x="136" y="814"/>
                  </a:lnTo>
                  <a:lnTo>
                    <a:pt x="139" y="813"/>
                  </a:lnTo>
                  <a:lnTo>
                    <a:pt x="139" y="807"/>
                  </a:lnTo>
                  <a:lnTo>
                    <a:pt x="140" y="800"/>
                  </a:lnTo>
                  <a:lnTo>
                    <a:pt x="143" y="792"/>
                  </a:lnTo>
                  <a:lnTo>
                    <a:pt x="146" y="783"/>
                  </a:lnTo>
                  <a:lnTo>
                    <a:pt x="147" y="765"/>
                  </a:lnTo>
                  <a:lnTo>
                    <a:pt x="149" y="751"/>
                  </a:lnTo>
                  <a:lnTo>
                    <a:pt x="151" y="737"/>
                  </a:lnTo>
                  <a:lnTo>
                    <a:pt x="153" y="72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726" name="Freeform 193"/>
            <p:cNvSpPr>
              <a:spLocks/>
            </p:cNvSpPr>
            <p:nvPr>
              <p:custDataLst>
                <p:tags r:id="rId118"/>
              </p:custDataLst>
            </p:nvPr>
          </p:nvSpPr>
          <p:spPr bwMode="auto">
            <a:xfrm>
              <a:off x="2260644" y="2879690"/>
              <a:ext cx="796784" cy="697734"/>
            </a:xfrm>
            <a:custGeom>
              <a:avLst/>
              <a:gdLst>
                <a:gd name="T0" fmla="*/ 541201 w 1535"/>
                <a:gd name="T1" fmla="*/ 484624 h 1109"/>
                <a:gd name="T2" fmla="*/ 565583 w 1535"/>
                <a:gd name="T3" fmla="*/ 514487 h 1109"/>
                <a:gd name="T4" fmla="*/ 531186 w 1535"/>
                <a:gd name="T5" fmla="*/ 523394 h 1109"/>
                <a:gd name="T6" fmla="*/ 512464 w 1535"/>
                <a:gd name="T7" fmla="*/ 573690 h 1109"/>
                <a:gd name="T8" fmla="*/ 463700 w 1535"/>
                <a:gd name="T9" fmla="*/ 527061 h 1109"/>
                <a:gd name="T10" fmla="*/ 432786 w 1535"/>
                <a:gd name="T11" fmla="*/ 530205 h 1109"/>
                <a:gd name="T12" fmla="*/ 397519 w 1535"/>
                <a:gd name="T13" fmla="*/ 544351 h 1109"/>
                <a:gd name="T14" fmla="*/ 342223 w 1535"/>
                <a:gd name="T15" fmla="*/ 508724 h 1109"/>
                <a:gd name="T16" fmla="*/ 282138 w 1535"/>
                <a:gd name="T17" fmla="*/ 480433 h 1109"/>
                <a:gd name="T18" fmla="*/ 256014 w 1535"/>
                <a:gd name="T19" fmla="*/ 462620 h 1109"/>
                <a:gd name="T20" fmla="*/ 233809 w 1535"/>
                <a:gd name="T21" fmla="*/ 437471 h 1109"/>
                <a:gd name="T22" fmla="*/ 211168 w 1535"/>
                <a:gd name="T23" fmla="*/ 432756 h 1109"/>
                <a:gd name="T24" fmla="*/ 191140 w 1535"/>
                <a:gd name="T25" fmla="*/ 396606 h 1109"/>
                <a:gd name="T26" fmla="*/ 203331 w 1535"/>
                <a:gd name="T27" fmla="*/ 369362 h 1109"/>
                <a:gd name="T28" fmla="*/ 195929 w 1535"/>
                <a:gd name="T29" fmla="*/ 314875 h 1109"/>
                <a:gd name="T30" fmla="*/ 153260 w 1535"/>
                <a:gd name="T31" fmla="*/ 245194 h 1109"/>
                <a:gd name="T32" fmla="*/ 132361 w 1535"/>
                <a:gd name="T33" fmla="*/ 223189 h 1109"/>
                <a:gd name="T34" fmla="*/ 127572 w 1535"/>
                <a:gd name="T35" fmla="*/ 193326 h 1109"/>
                <a:gd name="T36" fmla="*/ 94482 w 1535"/>
                <a:gd name="T37" fmla="*/ 129932 h 1109"/>
                <a:gd name="T38" fmla="*/ 72712 w 1535"/>
                <a:gd name="T39" fmla="*/ 38770 h 1109"/>
                <a:gd name="T40" fmla="*/ 36573 w 1535"/>
                <a:gd name="T41" fmla="*/ 54487 h 1109"/>
                <a:gd name="T42" fmla="*/ 49200 w 1535"/>
                <a:gd name="T43" fmla="*/ 116310 h 1109"/>
                <a:gd name="T44" fmla="*/ 65310 w 1535"/>
                <a:gd name="T45" fmla="*/ 170797 h 1109"/>
                <a:gd name="T46" fmla="*/ 85338 w 1535"/>
                <a:gd name="T47" fmla="*/ 210615 h 1109"/>
                <a:gd name="T48" fmla="*/ 87080 w 1535"/>
                <a:gd name="T49" fmla="*/ 243622 h 1109"/>
                <a:gd name="T50" fmla="*/ 92740 w 1535"/>
                <a:gd name="T51" fmla="*/ 274533 h 1109"/>
                <a:gd name="T52" fmla="*/ 112768 w 1535"/>
                <a:gd name="T53" fmla="*/ 299157 h 1109"/>
                <a:gd name="T54" fmla="*/ 93175 w 1535"/>
                <a:gd name="T55" fmla="*/ 312255 h 1109"/>
                <a:gd name="T56" fmla="*/ 84032 w 1535"/>
                <a:gd name="T57" fmla="*/ 283964 h 1109"/>
                <a:gd name="T58" fmla="*/ 52248 w 1535"/>
                <a:gd name="T59" fmla="*/ 248337 h 1109"/>
                <a:gd name="T60" fmla="*/ 63568 w 1535"/>
                <a:gd name="T61" fmla="*/ 220046 h 1109"/>
                <a:gd name="T62" fmla="*/ 38750 w 1535"/>
                <a:gd name="T63" fmla="*/ 191754 h 1109"/>
                <a:gd name="T64" fmla="*/ 11756 w 1535"/>
                <a:gd name="T65" fmla="*/ 160843 h 1109"/>
                <a:gd name="T66" fmla="*/ 28301 w 1535"/>
                <a:gd name="T67" fmla="*/ 151412 h 1109"/>
                <a:gd name="T68" fmla="*/ 27866 w 1535"/>
                <a:gd name="T69" fmla="*/ 117882 h 1109"/>
                <a:gd name="T70" fmla="*/ 2612 w 1535"/>
                <a:gd name="T71" fmla="*/ 61298 h 1109"/>
                <a:gd name="T72" fmla="*/ 16545 w 1535"/>
                <a:gd name="T73" fmla="*/ 2620 h 1109"/>
                <a:gd name="T74" fmla="*/ 91869 w 1535"/>
                <a:gd name="T75" fmla="*/ 9431 h 1109"/>
                <a:gd name="T76" fmla="*/ 157179 w 1535"/>
                <a:gd name="T77" fmla="*/ 39818 h 1109"/>
                <a:gd name="T78" fmla="*/ 216829 w 1535"/>
                <a:gd name="T79" fmla="*/ 28815 h 1109"/>
                <a:gd name="T80" fmla="*/ 258191 w 1535"/>
                <a:gd name="T81" fmla="*/ 28292 h 1109"/>
                <a:gd name="T82" fmla="*/ 275607 w 1535"/>
                <a:gd name="T83" fmla="*/ 57631 h 1109"/>
                <a:gd name="T84" fmla="*/ 304779 w 1535"/>
                <a:gd name="T85" fmla="*/ 112642 h 1109"/>
                <a:gd name="T86" fmla="*/ 326549 w 1535"/>
                <a:gd name="T87" fmla="*/ 100592 h 1109"/>
                <a:gd name="T88" fmla="*/ 357898 w 1535"/>
                <a:gd name="T89" fmla="*/ 92210 h 1109"/>
                <a:gd name="T90" fmla="*/ 382715 w 1535"/>
                <a:gd name="T91" fmla="*/ 127836 h 1109"/>
                <a:gd name="T92" fmla="*/ 394036 w 1535"/>
                <a:gd name="T93" fmla="*/ 189658 h 1109"/>
                <a:gd name="T94" fmla="*/ 419724 w 1535"/>
                <a:gd name="T95" fmla="*/ 212187 h 1109"/>
                <a:gd name="T96" fmla="*/ 425385 w 1535"/>
                <a:gd name="T97" fmla="*/ 238907 h 1109"/>
                <a:gd name="T98" fmla="*/ 405356 w 1535"/>
                <a:gd name="T99" fmla="*/ 257768 h 1109"/>
                <a:gd name="T100" fmla="*/ 399261 w 1535"/>
                <a:gd name="T101" fmla="*/ 332164 h 1109"/>
                <a:gd name="T102" fmla="*/ 416241 w 1535"/>
                <a:gd name="T103" fmla="*/ 414419 h 1109"/>
                <a:gd name="T104" fmla="*/ 458910 w 1535"/>
                <a:gd name="T105" fmla="*/ 459476 h 1109"/>
                <a:gd name="T106" fmla="*/ 507675 w 1535"/>
                <a:gd name="T107" fmla="*/ 444806 h 1109"/>
                <a:gd name="T108" fmla="*/ 543813 w 1535"/>
                <a:gd name="T109" fmla="*/ 445330 h 1109"/>
                <a:gd name="T110" fmla="*/ 564277 w 1535"/>
                <a:gd name="T111" fmla="*/ 388747 h 1109"/>
                <a:gd name="T112" fmla="*/ 581693 w 1535"/>
                <a:gd name="T113" fmla="*/ 363075 h 1109"/>
                <a:gd name="T114" fmla="*/ 655710 w 1535"/>
                <a:gd name="T115" fmla="*/ 355216 h 1109"/>
                <a:gd name="T116" fmla="*/ 654404 w 1535"/>
                <a:gd name="T117" fmla="*/ 381936 h 1109"/>
                <a:gd name="T118" fmla="*/ 639165 w 1535"/>
                <a:gd name="T119" fmla="*/ 430137 h 1109"/>
                <a:gd name="T120" fmla="*/ 596061 w 1535"/>
                <a:gd name="T121" fmla="*/ 465239 h 110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535" h="1109">
                  <a:moveTo>
                    <a:pt x="1336" y="888"/>
                  </a:moveTo>
                  <a:lnTo>
                    <a:pt x="1319" y="891"/>
                  </a:lnTo>
                  <a:lnTo>
                    <a:pt x="1287" y="901"/>
                  </a:lnTo>
                  <a:lnTo>
                    <a:pt x="1270" y="907"/>
                  </a:lnTo>
                  <a:lnTo>
                    <a:pt x="1256" y="913"/>
                  </a:lnTo>
                  <a:lnTo>
                    <a:pt x="1251" y="916"/>
                  </a:lnTo>
                  <a:lnTo>
                    <a:pt x="1246" y="919"/>
                  </a:lnTo>
                  <a:lnTo>
                    <a:pt x="1244" y="922"/>
                  </a:lnTo>
                  <a:lnTo>
                    <a:pt x="1243" y="925"/>
                  </a:lnTo>
                  <a:lnTo>
                    <a:pt x="1243" y="929"/>
                  </a:lnTo>
                  <a:lnTo>
                    <a:pt x="1244" y="933"/>
                  </a:lnTo>
                  <a:lnTo>
                    <a:pt x="1246" y="937"/>
                  </a:lnTo>
                  <a:lnTo>
                    <a:pt x="1248" y="940"/>
                  </a:lnTo>
                  <a:lnTo>
                    <a:pt x="1255" y="946"/>
                  </a:lnTo>
                  <a:lnTo>
                    <a:pt x="1263" y="951"/>
                  </a:lnTo>
                  <a:lnTo>
                    <a:pt x="1282" y="961"/>
                  </a:lnTo>
                  <a:lnTo>
                    <a:pt x="1302" y="973"/>
                  </a:lnTo>
                  <a:lnTo>
                    <a:pt x="1299" y="982"/>
                  </a:lnTo>
                  <a:lnTo>
                    <a:pt x="1294" y="988"/>
                  </a:lnTo>
                  <a:lnTo>
                    <a:pt x="1289" y="993"/>
                  </a:lnTo>
                  <a:lnTo>
                    <a:pt x="1282" y="996"/>
                  </a:lnTo>
                  <a:lnTo>
                    <a:pt x="1275" y="998"/>
                  </a:lnTo>
                  <a:lnTo>
                    <a:pt x="1267" y="999"/>
                  </a:lnTo>
                  <a:lnTo>
                    <a:pt x="1258" y="999"/>
                  </a:lnTo>
                  <a:lnTo>
                    <a:pt x="1251" y="999"/>
                  </a:lnTo>
                  <a:lnTo>
                    <a:pt x="1234" y="999"/>
                  </a:lnTo>
                  <a:lnTo>
                    <a:pt x="1220" y="999"/>
                  </a:lnTo>
                  <a:lnTo>
                    <a:pt x="1213" y="1000"/>
                  </a:lnTo>
                  <a:lnTo>
                    <a:pt x="1209" y="1002"/>
                  </a:lnTo>
                  <a:lnTo>
                    <a:pt x="1204" y="1006"/>
                  </a:lnTo>
                  <a:lnTo>
                    <a:pt x="1203" y="1011"/>
                  </a:lnTo>
                  <a:lnTo>
                    <a:pt x="1193" y="1036"/>
                  </a:lnTo>
                  <a:lnTo>
                    <a:pt x="1185" y="1058"/>
                  </a:lnTo>
                  <a:lnTo>
                    <a:pt x="1181" y="1069"/>
                  </a:lnTo>
                  <a:lnTo>
                    <a:pt x="1178" y="1080"/>
                  </a:lnTo>
                  <a:lnTo>
                    <a:pt x="1177" y="1095"/>
                  </a:lnTo>
                  <a:lnTo>
                    <a:pt x="1176" y="1109"/>
                  </a:lnTo>
                  <a:lnTo>
                    <a:pt x="1165" y="1100"/>
                  </a:lnTo>
                  <a:lnTo>
                    <a:pt x="1153" y="1091"/>
                  </a:lnTo>
                  <a:lnTo>
                    <a:pt x="1141" y="1081"/>
                  </a:lnTo>
                  <a:lnTo>
                    <a:pt x="1130" y="1072"/>
                  </a:lnTo>
                  <a:lnTo>
                    <a:pt x="1112" y="1051"/>
                  </a:lnTo>
                  <a:lnTo>
                    <a:pt x="1090" y="1026"/>
                  </a:lnTo>
                  <a:lnTo>
                    <a:pt x="1078" y="1015"/>
                  </a:lnTo>
                  <a:lnTo>
                    <a:pt x="1065" y="1006"/>
                  </a:lnTo>
                  <a:lnTo>
                    <a:pt x="1058" y="1003"/>
                  </a:lnTo>
                  <a:lnTo>
                    <a:pt x="1052" y="1001"/>
                  </a:lnTo>
                  <a:lnTo>
                    <a:pt x="1044" y="999"/>
                  </a:lnTo>
                  <a:lnTo>
                    <a:pt x="1036" y="998"/>
                  </a:lnTo>
                  <a:lnTo>
                    <a:pt x="1028" y="999"/>
                  </a:lnTo>
                  <a:lnTo>
                    <a:pt x="1019" y="1000"/>
                  </a:lnTo>
                  <a:lnTo>
                    <a:pt x="1011" y="1002"/>
                  </a:lnTo>
                  <a:lnTo>
                    <a:pt x="1006" y="1005"/>
                  </a:lnTo>
                  <a:lnTo>
                    <a:pt x="994" y="1012"/>
                  </a:lnTo>
                  <a:lnTo>
                    <a:pt x="984" y="1020"/>
                  </a:lnTo>
                  <a:lnTo>
                    <a:pt x="974" y="1027"/>
                  </a:lnTo>
                  <a:lnTo>
                    <a:pt x="962" y="1035"/>
                  </a:lnTo>
                  <a:lnTo>
                    <a:pt x="955" y="1038"/>
                  </a:lnTo>
                  <a:lnTo>
                    <a:pt x="949" y="1040"/>
                  </a:lnTo>
                  <a:lnTo>
                    <a:pt x="940" y="1041"/>
                  </a:lnTo>
                  <a:lnTo>
                    <a:pt x="930" y="1042"/>
                  </a:lnTo>
                  <a:lnTo>
                    <a:pt x="922" y="1041"/>
                  </a:lnTo>
                  <a:lnTo>
                    <a:pt x="913" y="1039"/>
                  </a:lnTo>
                  <a:lnTo>
                    <a:pt x="902" y="1037"/>
                  </a:lnTo>
                  <a:lnTo>
                    <a:pt x="891" y="1032"/>
                  </a:lnTo>
                  <a:lnTo>
                    <a:pt x="868" y="1023"/>
                  </a:lnTo>
                  <a:lnTo>
                    <a:pt x="845" y="1011"/>
                  </a:lnTo>
                  <a:lnTo>
                    <a:pt x="823" y="999"/>
                  </a:lnTo>
                  <a:lnTo>
                    <a:pt x="805" y="987"/>
                  </a:lnTo>
                  <a:lnTo>
                    <a:pt x="797" y="982"/>
                  </a:lnTo>
                  <a:lnTo>
                    <a:pt x="790" y="976"/>
                  </a:lnTo>
                  <a:lnTo>
                    <a:pt x="786" y="971"/>
                  </a:lnTo>
                  <a:lnTo>
                    <a:pt x="784" y="967"/>
                  </a:lnTo>
                  <a:lnTo>
                    <a:pt x="731" y="973"/>
                  </a:lnTo>
                  <a:lnTo>
                    <a:pt x="714" y="962"/>
                  </a:lnTo>
                  <a:lnTo>
                    <a:pt x="697" y="953"/>
                  </a:lnTo>
                  <a:lnTo>
                    <a:pt x="680" y="945"/>
                  </a:lnTo>
                  <a:lnTo>
                    <a:pt x="658" y="937"/>
                  </a:lnTo>
                  <a:lnTo>
                    <a:pt x="653" y="932"/>
                  </a:lnTo>
                  <a:lnTo>
                    <a:pt x="650" y="925"/>
                  </a:lnTo>
                  <a:lnTo>
                    <a:pt x="648" y="917"/>
                  </a:lnTo>
                  <a:lnTo>
                    <a:pt x="644" y="910"/>
                  </a:lnTo>
                  <a:lnTo>
                    <a:pt x="642" y="904"/>
                  </a:lnTo>
                  <a:lnTo>
                    <a:pt x="639" y="898"/>
                  </a:lnTo>
                  <a:lnTo>
                    <a:pt x="638" y="896"/>
                  </a:lnTo>
                  <a:lnTo>
                    <a:pt x="636" y="895"/>
                  </a:lnTo>
                  <a:lnTo>
                    <a:pt x="633" y="894"/>
                  </a:lnTo>
                  <a:lnTo>
                    <a:pt x="631" y="894"/>
                  </a:lnTo>
                  <a:lnTo>
                    <a:pt x="607" y="887"/>
                  </a:lnTo>
                  <a:lnTo>
                    <a:pt x="588" y="883"/>
                  </a:lnTo>
                  <a:lnTo>
                    <a:pt x="575" y="882"/>
                  </a:lnTo>
                  <a:lnTo>
                    <a:pt x="565" y="880"/>
                  </a:lnTo>
                  <a:lnTo>
                    <a:pt x="561" y="879"/>
                  </a:lnTo>
                  <a:lnTo>
                    <a:pt x="558" y="877"/>
                  </a:lnTo>
                  <a:lnTo>
                    <a:pt x="554" y="874"/>
                  </a:lnTo>
                  <a:lnTo>
                    <a:pt x="551" y="870"/>
                  </a:lnTo>
                  <a:lnTo>
                    <a:pt x="546" y="857"/>
                  </a:lnTo>
                  <a:lnTo>
                    <a:pt x="538" y="838"/>
                  </a:lnTo>
                  <a:lnTo>
                    <a:pt x="537" y="835"/>
                  </a:lnTo>
                  <a:lnTo>
                    <a:pt x="535" y="833"/>
                  </a:lnTo>
                  <a:lnTo>
                    <a:pt x="532" y="831"/>
                  </a:lnTo>
                  <a:lnTo>
                    <a:pt x="530" y="829"/>
                  </a:lnTo>
                  <a:lnTo>
                    <a:pt x="524" y="828"/>
                  </a:lnTo>
                  <a:lnTo>
                    <a:pt x="517" y="828"/>
                  </a:lnTo>
                  <a:lnTo>
                    <a:pt x="509" y="828"/>
                  </a:lnTo>
                  <a:lnTo>
                    <a:pt x="501" y="828"/>
                  </a:lnTo>
                  <a:lnTo>
                    <a:pt x="493" y="828"/>
                  </a:lnTo>
                  <a:lnTo>
                    <a:pt x="485" y="826"/>
                  </a:lnTo>
                  <a:lnTo>
                    <a:pt x="480" y="822"/>
                  </a:lnTo>
                  <a:lnTo>
                    <a:pt x="472" y="816"/>
                  </a:lnTo>
                  <a:lnTo>
                    <a:pt x="464" y="806"/>
                  </a:lnTo>
                  <a:lnTo>
                    <a:pt x="457" y="796"/>
                  </a:lnTo>
                  <a:lnTo>
                    <a:pt x="450" y="784"/>
                  </a:lnTo>
                  <a:lnTo>
                    <a:pt x="445" y="773"/>
                  </a:lnTo>
                  <a:lnTo>
                    <a:pt x="442" y="768"/>
                  </a:lnTo>
                  <a:lnTo>
                    <a:pt x="440" y="762"/>
                  </a:lnTo>
                  <a:lnTo>
                    <a:pt x="439" y="757"/>
                  </a:lnTo>
                  <a:lnTo>
                    <a:pt x="439" y="751"/>
                  </a:lnTo>
                  <a:lnTo>
                    <a:pt x="439" y="747"/>
                  </a:lnTo>
                  <a:lnTo>
                    <a:pt x="440" y="743"/>
                  </a:lnTo>
                  <a:lnTo>
                    <a:pt x="441" y="739"/>
                  </a:lnTo>
                  <a:lnTo>
                    <a:pt x="443" y="735"/>
                  </a:lnTo>
                  <a:lnTo>
                    <a:pt x="449" y="728"/>
                  </a:lnTo>
                  <a:lnTo>
                    <a:pt x="456" y="720"/>
                  </a:lnTo>
                  <a:lnTo>
                    <a:pt x="461" y="713"/>
                  </a:lnTo>
                  <a:lnTo>
                    <a:pt x="467" y="705"/>
                  </a:lnTo>
                  <a:lnTo>
                    <a:pt x="469" y="700"/>
                  </a:lnTo>
                  <a:lnTo>
                    <a:pt x="471" y="694"/>
                  </a:lnTo>
                  <a:lnTo>
                    <a:pt x="472" y="689"/>
                  </a:lnTo>
                  <a:lnTo>
                    <a:pt x="472" y="684"/>
                  </a:lnTo>
                  <a:lnTo>
                    <a:pt x="471" y="664"/>
                  </a:lnTo>
                  <a:lnTo>
                    <a:pt x="468" y="647"/>
                  </a:lnTo>
                  <a:lnTo>
                    <a:pt x="463" y="630"/>
                  </a:lnTo>
                  <a:lnTo>
                    <a:pt x="457" y="615"/>
                  </a:lnTo>
                  <a:lnTo>
                    <a:pt x="450" y="601"/>
                  </a:lnTo>
                  <a:lnTo>
                    <a:pt x="441" y="589"/>
                  </a:lnTo>
                  <a:lnTo>
                    <a:pt x="431" y="576"/>
                  </a:lnTo>
                  <a:lnTo>
                    <a:pt x="423" y="565"/>
                  </a:lnTo>
                  <a:lnTo>
                    <a:pt x="402" y="543"/>
                  </a:lnTo>
                  <a:lnTo>
                    <a:pt x="382" y="520"/>
                  </a:lnTo>
                  <a:lnTo>
                    <a:pt x="373" y="509"/>
                  </a:lnTo>
                  <a:lnTo>
                    <a:pt x="366" y="496"/>
                  </a:lnTo>
                  <a:lnTo>
                    <a:pt x="358" y="483"/>
                  </a:lnTo>
                  <a:lnTo>
                    <a:pt x="352" y="468"/>
                  </a:lnTo>
                  <a:lnTo>
                    <a:pt x="350" y="464"/>
                  </a:lnTo>
                  <a:lnTo>
                    <a:pt x="348" y="460"/>
                  </a:lnTo>
                  <a:lnTo>
                    <a:pt x="345" y="456"/>
                  </a:lnTo>
                  <a:lnTo>
                    <a:pt x="341" y="453"/>
                  </a:lnTo>
                  <a:lnTo>
                    <a:pt x="333" y="447"/>
                  </a:lnTo>
                  <a:lnTo>
                    <a:pt x="324" y="441"/>
                  </a:lnTo>
                  <a:lnTo>
                    <a:pt x="314" y="435"/>
                  </a:lnTo>
                  <a:lnTo>
                    <a:pt x="306" y="429"/>
                  </a:lnTo>
                  <a:lnTo>
                    <a:pt x="304" y="426"/>
                  </a:lnTo>
                  <a:lnTo>
                    <a:pt x="301" y="422"/>
                  </a:lnTo>
                  <a:lnTo>
                    <a:pt x="300" y="417"/>
                  </a:lnTo>
                  <a:lnTo>
                    <a:pt x="300" y="413"/>
                  </a:lnTo>
                  <a:lnTo>
                    <a:pt x="306" y="404"/>
                  </a:lnTo>
                  <a:lnTo>
                    <a:pt x="313" y="394"/>
                  </a:lnTo>
                  <a:lnTo>
                    <a:pt x="306" y="391"/>
                  </a:lnTo>
                  <a:lnTo>
                    <a:pt x="300" y="388"/>
                  </a:lnTo>
                  <a:lnTo>
                    <a:pt x="297" y="380"/>
                  </a:lnTo>
                  <a:lnTo>
                    <a:pt x="293" y="369"/>
                  </a:lnTo>
                  <a:lnTo>
                    <a:pt x="286" y="356"/>
                  </a:lnTo>
                  <a:lnTo>
                    <a:pt x="279" y="344"/>
                  </a:lnTo>
                  <a:lnTo>
                    <a:pt x="262" y="321"/>
                  </a:lnTo>
                  <a:lnTo>
                    <a:pt x="252" y="308"/>
                  </a:lnTo>
                  <a:lnTo>
                    <a:pt x="245" y="291"/>
                  </a:lnTo>
                  <a:lnTo>
                    <a:pt x="238" y="278"/>
                  </a:lnTo>
                  <a:lnTo>
                    <a:pt x="230" y="267"/>
                  </a:lnTo>
                  <a:lnTo>
                    <a:pt x="224" y="258"/>
                  </a:lnTo>
                  <a:lnTo>
                    <a:pt x="217" y="248"/>
                  </a:lnTo>
                  <a:lnTo>
                    <a:pt x="211" y="239"/>
                  </a:lnTo>
                  <a:lnTo>
                    <a:pt x="205" y="228"/>
                  </a:lnTo>
                  <a:lnTo>
                    <a:pt x="200" y="216"/>
                  </a:lnTo>
                  <a:lnTo>
                    <a:pt x="193" y="195"/>
                  </a:lnTo>
                  <a:lnTo>
                    <a:pt x="187" y="176"/>
                  </a:lnTo>
                  <a:lnTo>
                    <a:pt x="182" y="158"/>
                  </a:lnTo>
                  <a:lnTo>
                    <a:pt x="178" y="140"/>
                  </a:lnTo>
                  <a:lnTo>
                    <a:pt x="171" y="107"/>
                  </a:lnTo>
                  <a:lnTo>
                    <a:pt x="167" y="74"/>
                  </a:lnTo>
                  <a:lnTo>
                    <a:pt x="155" y="74"/>
                  </a:lnTo>
                  <a:lnTo>
                    <a:pt x="146" y="73"/>
                  </a:lnTo>
                  <a:lnTo>
                    <a:pt x="138" y="71"/>
                  </a:lnTo>
                  <a:lnTo>
                    <a:pt x="132" y="69"/>
                  </a:lnTo>
                  <a:lnTo>
                    <a:pt x="120" y="64"/>
                  </a:lnTo>
                  <a:lnTo>
                    <a:pt x="106" y="56"/>
                  </a:lnTo>
                  <a:lnTo>
                    <a:pt x="97" y="74"/>
                  </a:lnTo>
                  <a:lnTo>
                    <a:pt x="89" y="94"/>
                  </a:lnTo>
                  <a:lnTo>
                    <a:pt x="84" y="104"/>
                  </a:lnTo>
                  <a:lnTo>
                    <a:pt x="82" y="114"/>
                  </a:lnTo>
                  <a:lnTo>
                    <a:pt x="80" y="124"/>
                  </a:lnTo>
                  <a:lnTo>
                    <a:pt x="80" y="135"/>
                  </a:lnTo>
                  <a:lnTo>
                    <a:pt x="81" y="148"/>
                  </a:lnTo>
                  <a:lnTo>
                    <a:pt x="83" y="160"/>
                  </a:lnTo>
                  <a:lnTo>
                    <a:pt x="87" y="171"/>
                  </a:lnTo>
                  <a:lnTo>
                    <a:pt x="90" y="182"/>
                  </a:lnTo>
                  <a:lnTo>
                    <a:pt x="101" y="203"/>
                  </a:lnTo>
                  <a:lnTo>
                    <a:pt x="113" y="222"/>
                  </a:lnTo>
                  <a:lnTo>
                    <a:pt x="125" y="241"/>
                  </a:lnTo>
                  <a:lnTo>
                    <a:pt x="136" y="263"/>
                  </a:lnTo>
                  <a:lnTo>
                    <a:pt x="140" y="273"/>
                  </a:lnTo>
                  <a:lnTo>
                    <a:pt x="144" y="284"/>
                  </a:lnTo>
                  <a:lnTo>
                    <a:pt x="146" y="296"/>
                  </a:lnTo>
                  <a:lnTo>
                    <a:pt x="146" y="308"/>
                  </a:lnTo>
                  <a:lnTo>
                    <a:pt x="147" y="314"/>
                  </a:lnTo>
                  <a:lnTo>
                    <a:pt x="148" y="320"/>
                  </a:lnTo>
                  <a:lnTo>
                    <a:pt x="150" y="326"/>
                  </a:lnTo>
                  <a:lnTo>
                    <a:pt x="154" y="332"/>
                  </a:lnTo>
                  <a:lnTo>
                    <a:pt x="161" y="344"/>
                  </a:lnTo>
                  <a:lnTo>
                    <a:pt x="170" y="355"/>
                  </a:lnTo>
                  <a:lnTo>
                    <a:pt x="178" y="366"/>
                  </a:lnTo>
                  <a:lnTo>
                    <a:pt x="185" y="375"/>
                  </a:lnTo>
                  <a:lnTo>
                    <a:pt x="191" y="383"/>
                  </a:lnTo>
                  <a:lnTo>
                    <a:pt x="193" y="388"/>
                  </a:lnTo>
                  <a:lnTo>
                    <a:pt x="195" y="395"/>
                  </a:lnTo>
                  <a:lnTo>
                    <a:pt x="196" y="402"/>
                  </a:lnTo>
                  <a:lnTo>
                    <a:pt x="196" y="409"/>
                  </a:lnTo>
                  <a:lnTo>
                    <a:pt x="198" y="415"/>
                  </a:lnTo>
                  <a:lnTo>
                    <a:pt x="196" y="429"/>
                  </a:lnTo>
                  <a:lnTo>
                    <a:pt x="195" y="441"/>
                  </a:lnTo>
                  <a:lnTo>
                    <a:pt x="195" y="446"/>
                  </a:lnTo>
                  <a:lnTo>
                    <a:pt x="195" y="452"/>
                  </a:lnTo>
                  <a:lnTo>
                    <a:pt x="196" y="456"/>
                  </a:lnTo>
                  <a:lnTo>
                    <a:pt x="198" y="461"/>
                  </a:lnTo>
                  <a:lnTo>
                    <a:pt x="200" y="465"/>
                  </a:lnTo>
                  <a:lnTo>
                    <a:pt x="203" y="469"/>
                  </a:lnTo>
                  <a:lnTo>
                    <a:pt x="207" y="472"/>
                  </a:lnTo>
                  <a:lnTo>
                    <a:pt x="213" y="474"/>
                  </a:lnTo>
                  <a:lnTo>
                    <a:pt x="211" y="483"/>
                  </a:lnTo>
                  <a:lnTo>
                    <a:pt x="210" y="489"/>
                  </a:lnTo>
                  <a:lnTo>
                    <a:pt x="210" y="495"/>
                  </a:lnTo>
                  <a:lnTo>
                    <a:pt x="211" y="499"/>
                  </a:lnTo>
                  <a:lnTo>
                    <a:pt x="212" y="509"/>
                  </a:lnTo>
                  <a:lnTo>
                    <a:pt x="213" y="524"/>
                  </a:lnTo>
                  <a:lnTo>
                    <a:pt x="221" y="525"/>
                  </a:lnTo>
                  <a:lnTo>
                    <a:pt x="228" y="528"/>
                  </a:lnTo>
                  <a:lnTo>
                    <a:pt x="236" y="533"/>
                  </a:lnTo>
                  <a:lnTo>
                    <a:pt x="244" y="539"/>
                  </a:lnTo>
                  <a:lnTo>
                    <a:pt x="250" y="546"/>
                  </a:lnTo>
                  <a:lnTo>
                    <a:pt x="255" y="553"/>
                  </a:lnTo>
                  <a:lnTo>
                    <a:pt x="258" y="560"/>
                  </a:lnTo>
                  <a:lnTo>
                    <a:pt x="259" y="567"/>
                  </a:lnTo>
                  <a:lnTo>
                    <a:pt x="259" y="571"/>
                  </a:lnTo>
                  <a:lnTo>
                    <a:pt x="258" y="575"/>
                  </a:lnTo>
                  <a:lnTo>
                    <a:pt x="257" y="579"/>
                  </a:lnTo>
                  <a:lnTo>
                    <a:pt x="255" y="583"/>
                  </a:lnTo>
                  <a:lnTo>
                    <a:pt x="250" y="590"/>
                  </a:lnTo>
                  <a:lnTo>
                    <a:pt x="245" y="596"/>
                  </a:lnTo>
                  <a:lnTo>
                    <a:pt x="232" y="604"/>
                  </a:lnTo>
                  <a:lnTo>
                    <a:pt x="219" y="610"/>
                  </a:lnTo>
                  <a:lnTo>
                    <a:pt x="216" y="603"/>
                  </a:lnTo>
                  <a:lnTo>
                    <a:pt x="214" y="596"/>
                  </a:lnTo>
                  <a:lnTo>
                    <a:pt x="213" y="587"/>
                  </a:lnTo>
                  <a:lnTo>
                    <a:pt x="213" y="580"/>
                  </a:lnTo>
                  <a:lnTo>
                    <a:pt x="213" y="573"/>
                  </a:lnTo>
                  <a:lnTo>
                    <a:pt x="212" y="566"/>
                  </a:lnTo>
                  <a:lnTo>
                    <a:pt x="210" y="560"/>
                  </a:lnTo>
                  <a:lnTo>
                    <a:pt x="206" y="555"/>
                  </a:lnTo>
                  <a:lnTo>
                    <a:pt x="203" y="550"/>
                  </a:lnTo>
                  <a:lnTo>
                    <a:pt x="199" y="546"/>
                  </a:lnTo>
                  <a:lnTo>
                    <a:pt x="193" y="542"/>
                  </a:lnTo>
                  <a:lnTo>
                    <a:pt x="188" y="537"/>
                  </a:lnTo>
                  <a:lnTo>
                    <a:pt x="173" y="528"/>
                  </a:lnTo>
                  <a:lnTo>
                    <a:pt x="158" y="519"/>
                  </a:lnTo>
                  <a:lnTo>
                    <a:pt x="144" y="510"/>
                  </a:lnTo>
                  <a:lnTo>
                    <a:pt x="132" y="499"/>
                  </a:lnTo>
                  <a:lnTo>
                    <a:pt x="126" y="494"/>
                  </a:lnTo>
                  <a:lnTo>
                    <a:pt x="123" y="488"/>
                  </a:lnTo>
                  <a:lnTo>
                    <a:pt x="121" y="482"/>
                  </a:lnTo>
                  <a:lnTo>
                    <a:pt x="120" y="474"/>
                  </a:lnTo>
                  <a:lnTo>
                    <a:pt x="121" y="468"/>
                  </a:lnTo>
                  <a:lnTo>
                    <a:pt x="124" y="461"/>
                  </a:lnTo>
                  <a:lnTo>
                    <a:pt x="128" y="456"/>
                  </a:lnTo>
                  <a:lnTo>
                    <a:pt x="133" y="450"/>
                  </a:lnTo>
                  <a:lnTo>
                    <a:pt x="138" y="444"/>
                  </a:lnTo>
                  <a:lnTo>
                    <a:pt x="143" y="438"/>
                  </a:lnTo>
                  <a:lnTo>
                    <a:pt x="145" y="432"/>
                  </a:lnTo>
                  <a:lnTo>
                    <a:pt x="146" y="426"/>
                  </a:lnTo>
                  <a:lnTo>
                    <a:pt x="146" y="420"/>
                  </a:lnTo>
                  <a:lnTo>
                    <a:pt x="145" y="415"/>
                  </a:lnTo>
                  <a:lnTo>
                    <a:pt x="144" y="411"/>
                  </a:lnTo>
                  <a:lnTo>
                    <a:pt x="142" y="406"/>
                  </a:lnTo>
                  <a:lnTo>
                    <a:pt x="136" y="399"/>
                  </a:lnTo>
                  <a:lnTo>
                    <a:pt x="128" y="391"/>
                  </a:lnTo>
                  <a:lnTo>
                    <a:pt x="120" y="385"/>
                  </a:lnTo>
                  <a:lnTo>
                    <a:pt x="111" y="378"/>
                  </a:lnTo>
                  <a:lnTo>
                    <a:pt x="100" y="372"/>
                  </a:lnTo>
                  <a:lnTo>
                    <a:pt x="89" y="366"/>
                  </a:lnTo>
                  <a:lnTo>
                    <a:pt x="78" y="359"/>
                  </a:lnTo>
                  <a:lnTo>
                    <a:pt x="68" y="353"/>
                  </a:lnTo>
                  <a:lnTo>
                    <a:pt x="57" y="347"/>
                  </a:lnTo>
                  <a:lnTo>
                    <a:pt x="48" y="339"/>
                  </a:lnTo>
                  <a:lnTo>
                    <a:pt x="41" y="332"/>
                  </a:lnTo>
                  <a:lnTo>
                    <a:pt x="34" y="323"/>
                  </a:lnTo>
                  <a:lnTo>
                    <a:pt x="32" y="318"/>
                  </a:lnTo>
                  <a:lnTo>
                    <a:pt x="30" y="313"/>
                  </a:lnTo>
                  <a:lnTo>
                    <a:pt x="27" y="307"/>
                  </a:lnTo>
                  <a:lnTo>
                    <a:pt x="27" y="302"/>
                  </a:lnTo>
                  <a:lnTo>
                    <a:pt x="34" y="302"/>
                  </a:lnTo>
                  <a:lnTo>
                    <a:pt x="41" y="301"/>
                  </a:lnTo>
                  <a:lnTo>
                    <a:pt x="46" y="300"/>
                  </a:lnTo>
                  <a:lnTo>
                    <a:pt x="50" y="298"/>
                  </a:lnTo>
                  <a:lnTo>
                    <a:pt x="55" y="297"/>
                  </a:lnTo>
                  <a:lnTo>
                    <a:pt x="59" y="294"/>
                  </a:lnTo>
                  <a:lnTo>
                    <a:pt x="62" y="292"/>
                  </a:lnTo>
                  <a:lnTo>
                    <a:pt x="65" y="289"/>
                  </a:lnTo>
                  <a:lnTo>
                    <a:pt x="69" y="282"/>
                  </a:lnTo>
                  <a:lnTo>
                    <a:pt x="71" y="274"/>
                  </a:lnTo>
                  <a:lnTo>
                    <a:pt x="73" y="264"/>
                  </a:lnTo>
                  <a:lnTo>
                    <a:pt x="73" y="252"/>
                  </a:lnTo>
                  <a:lnTo>
                    <a:pt x="73" y="247"/>
                  </a:lnTo>
                  <a:lnTo>
                    <a:pt x="72" y="242"/>
                  </a:lnTo>
                  <a:lnTo>
                    <a:pt x="71" y="237"/>
                  </a:lnTo>
                  <a:lnTo>
                    <a:pt x="69" y="233"/>
                  </a:lnTo>
                  <a:lnTo>
                    <a:pt x="64" y="225"/>
                  </a:lnTo>
                  <a:lnTo>
                    <a:pt x="58" y="217"/>
                  </a:lnTo>
                  <a:lnTo>
                    <a:pt x="43" y="205"/>
                  </a:lnTo>
                  <a:lnTo>
                    <a:pt x="27" y="191"/>
                  </a:lnTo>
                  <a:lnTo>
                    <a:pt x="19" y="176"/>
                  </a:lnTo>
                  <a:lnTo>
                    <a:pt x="13" y="163"/>
                  </a:lnTo>
                  <a:lnTo>
                    <a:pt x="10" y="151"/>
                  </a:lnTo>
                  <a:lnTo>
                    <a:pt x="9" y="139"/>
                  </a:lnTo>
                  <a:lnTo>
                    <a:pt x="8" y="128"/>
                  </a:lnTo>
                  <a:lnTo>
                    <a:pt x="6" y="117"/>
                  </a:lnTo>
                  <a:lnTo>
                    <a:pt x="4" y="106"/>
                  </a:lnTo>
                  <a:lnTo>
                    <a:pt x="0" y="93"/>
                  </a:lnTo>
                  <a:lnTo>
                    <a:pt x="0" y="50"/>
                  </a:lnTo>
                  <a:lnTo>
                    <a:pt x="1" y="36"/>
                  </a:lnTo>
                  <a:lnTo>
                    <a:pt x="3" y="22"/>
                  </a:lnTo>
                  <a:lnTo>
                    <a:pt x="5" y="10"/>
                  </a:lnTo>
                  <a:lnTo>
                    <a:pt x="6" y="0"/>
                  </a:lnTo>
                  <a:lnTo>
                    <a:pt x="23" y="4"/>
                  </a:lnTo>
                  <a:lnTo>
                    <a:pt x="38" y="5"/>
                  </a:lnTo>
                  <a:lnTo>
                    <a:pt x="53" y="6"/>
                  </a:lnTo>
                  <a:lnTo>
                    <a:pt x="66" y="5"/>
                  </a:lnTo>
                  <a:lnTo>
                    <a:pt x="92" y="2"/>
                  </a:lnTo>
                  <a:lnTo>
                    <a:pt x="120" y="0"/>
                  </a:lnTo>
                  <a:lnTo>
                    <a:pt x="140" y="1"/>
                  </a:lnTo>
                  <a:lnTo>
                    <a:pt x="159" y="4"/>
                  </a:lnTo>
                  <a:lnTo>
                    <a:pt x="178" y="7"/>
                  </a:lnTo>
                  <a:lnTo>
                    <a:pt x="194" y="13"/>
                  </a:lnTo>
                  <a:lnTo>
                    <a:pt x="211" y="18"/>
                  </a:lnTo>
                  <a:lnTo>
                    <a:pt x="226" y="25"/>
                  </a:lnTo>
                  <a:lnTo>
                    <a:pt x="243" y="33"/>
                  </a:lnTo>
                  <a:lnTo>
                    <a:pt x="258" y="41"/>
                  </a:lnTo>
                  <a:lnTo>
                    <a:pt x="273" y="48"/>
                  </a:lnTo>
                  <a:lnTo>
                    <a:pt x="290" y="55"/>
                  </a:lnTo>
                  <a:lnTo>
                    <a:pt x="306" y="62"/>
                  </a:lnTo>
                  <a:lnTo>
                    <a:pt x="324" y="68"/>
                  </a:lnTo>
                  <a:lnTo>
                    <a:pt x="342" y="73"/>
                  </a:lnTo>
                  <a:lnTo>
                    <a:pt x="361" y="76"/>
                  </a:lnTo>
                  <a:lnTo>
                    <a:pt x="383" y="79"/>
                  </a:lnTo>
                  <a:lnTo>
                    <a:pt x="405" y="80"/>
                  </a:lnTo>
                  <a:lnTo>
                    <a:pt x="419" y="79"/>
                  </a:lnTo>
                  <a:lnTo>
                    <a:pt x="432" y="78"/>
                  </a:lnTo>
                  <a:lnTo>
                    <a:pt x="443" y="77"/>
                  </a:lnTo>
                  <a:lnTo>
                    <a:pt x="452" y="74"/>
                  </a:lnTo>
                  <a:lnTo>
                    <a:pt x="470" y="68"/>
                  </a:lnTo>
                  <a:lnTo>
                    <a:pt x="484" y="62"/>
                  </a:lnTo>
                  <a:lnTo>
                    <a:pt x="498" y="55"/>
                  </a:lnTo>
                  <a:lnTo>
                    <a:pt x="515" y="49"/>
                  </a:lnTo>
                  <a:lnTo>
                    <a:pt x="524" y="47"/>
                  </a:lnTo>
                  <a:lnTo>
                    <a:pt x="534" y="45"/>
                  </a:lnTo>
                  <a:lnTo>
                    <a:pt x="546" y="44"/>
                  </a:lnTo>
                  <a:lnTo>
                    <a:pt x="559" y="44"/>
                  </a:lnTo>
                  <a:lnTo>
                    <a:pt x="569" y="44"/>
                  </a:lnTo>
                  <a:lnTo>
                    <a:pt x="577" y="46"/>
                  </a:lnTo>
                  <a:lnTo>
                    <a:pt x="585" y="50"/>
                  </a:lnTo>
                  <a:lnTo>
                    <a:pt x="593" y="54"/>
                  </a:lnTo>
                  <a:lnTo>
                    <a:pt x="598" y="59"/>
                  </a:lnTo>
                  <a:lnTo>
                    <a:pt x="603" y="65"/>
                  </a:lnTo>
                  <a:lnTo>
                    <a:pt x="607" y="71"/>
                  </a:lnTo>
                  <a:lnTo>
                    <a:pt x="610" y="77"/>
                  </a:lnTo>
                  <a:lnTo>
                    <a:pt x="617" y="90"/>
                  </a:lnTo>
                  <a:lnTo>
                    <a:pt x="622" y="101"/>
                  </a:lnTo>
                  <a:lnTo>
                    <a:pt x="626" y="105"/>
                  </a:lnTo>
                  <a:lnTo>
                    <a:pt x="629" y="108"/>
                  </a:lnTo>
                  <a:lnTo>
                    <a:pt x="633" y="110"/>
                  </a:lnTo>
                  <a:lnTo>
                    <a:pt x="638" y="111"/>
                  </a:lnTo>
                  <a:lnTo>
                    <a:pt x="642" y="121"/>
                  </a:lnTo>
                  <a:lnTo>
                    <a:pt x="649" y="134"/>
                  </a:lnTo>
                  <a:lnTo>
                    <a:pt x="658" y="151"/>
                  </a:lnTo>
                  <a:lnTo>
                    <a:pt x="667" y="169"/>
                  </a:lnTo>
                  <a:lnTo>
                    <a:pt x="678" y="186"/>
                  </a:lnTo>
                  <a:lnTo>
                    <a:pt x="689" y="202"/>
                  </a:lnTo>
                  <a:lnTo>
                    <a:pt x="695" y="209"/>
                  </a:lnTo>
                  <a:lnTo>
                    <a:pt x="700" y="215"/>
                  </a:lnTo>
                  <a:lnTo>
                    <a:pt x="706" y="219"/>
                  </a:lnTo>
                  <a:lnTo>
                    <a:pt x="711" y="222"/>
                  </a:lnTo>
                  <a:lnTo>
                    <a:pt x="738" y="222"/>
                  </a:lnTo>
                  <a:lnTo>
                    <a:pt x="738" y="217"/>
                  </a:lnTo>
                  <a:lnTo>
                    <a:pt x="739" y="211"/>
                  </a:lnTo>
                  <a:lnTo>
                    <a:pt x="741" y="206"/>
                  </a:lnTo>
                  <a:lnTo>
                    <a:pt x="743" y="202"/>
                  </a:lnTo>
                  <a:lnTo>
                    <a:pt x="747" y="196"/>
                  </a:lnTo>
                  <a:lnTo>
                    <a:pt x="750" y="192"/>
                  </a:lnTo>
                  <a:lnTo>
                    <a:pt x="754" y="189"/>
                  </a:lnTo>
                  <a:lnTo>
                    <a:pt x="759" y="185"/>
                  </a:lnTo>
                  <a:lnTo>
                    <a:pt x="768" y="180"/>
                  </a:lnTo>
                  <a:lnTo>
                    <a:pt x="779" y="176"/>
                  </a:lnTo>
                  <a:lnTo>
                    <a:pt x="792" y="173"/>
                  </a:lnTo>
                  <a:lnTo>
                    <a:pt x="805" y="173"/>
                  </a:lnTo>
                  <a:lnTo>
                    <a:pt x="810" y="173"/>
                  </a:lnTo>
                  <a:lnTo>
                    <a:pt x="816" y="174"/>
                  </a:lnTo>
                  <a:lnTo>
                    <a:pt x="822" y="176"/>
                  </a:lnTo>
                  <a:lnTo>
                    <a:pt x="828" y="178"/>
                  </a:lnTo>
                  <a:lnTo>
                    <a:pt x="833" y="181"/>
                  </a:lnTo>
                  <a:lnTo>
                    <a:pt x="838" y="185"/>
                  </a:lnTo>
                  <a:lnTo>
                    <a:pt x="843" y="189"/>
                  </a:lnTo>
                  <a:lnTo>
                    <a:pt x="848" y="193"/>
                  </a:lnTo>
                  <a:lnTo>
                    <a:pt x="856" y="205"/>
                  </a:lnTo>
                  <a:lnTo>
                    <a:pt x="865" y="217"/>
                  </a:lnTo>
                  <a:lnTo>
                    <a:pt x="872" y="230"/>
                  </a:lnTo>
                  <a:lnTo>
                    <a:pt x="879" y="244"/>
                  </a:lnTo>
                  <a:lnTo>
                    <a:pt x="885" y="260"/>
                  </a:lnTo>
                  <a:lnTo>
                    <a:pt x="889" y="275"/>
                  </a:lnTo>
                  <a:lnTo>
                    <a:pt x="894" y="290"/>
                  </a:lnTo>
                  <a:lnTo>
                    <a:pt x="898" y="305"/>
                  </a:lnTo>
                  <a:lnTo>
                    <a:pt x="900" y="320"/>
                  </a:lnTo>
                  <a:lnTo>
                    <a:pt x="902" y="334"/>
                  </a:lnTo>
                  <a:lnTo>
                    <a:pt x="904" y="346"/>
                  </a:lnTo>
                  <a:lnTo>
                    <a:pt x="904" y="357"/>
                  </a:lnTo>
                  <a:lnTo>
                    <a:pt x="905" y="362"/>
                  </a:lnTo>
                  <a:lnTo>
                    <a:pt x="906" y="367"/>
                  </a:lnTo>
                  <a:lnTo>
                    <a:pt x="908" y="372"/>
                  </a:lnTo>
                  <a:lnTo>
                    <a:pt x="910" y="376"/>
                  </a:lnTo>
                  <a:lnTo>
                    <a:pt x="918" y="384"/>
                  </a:lnTo>
                  <a:lnTo>
                    <a:pt x="928" y="391"/>
                  </a:lnTo>
                  <a:lnTo>
                    <a:pt x="939" y="398"/>
                  </a:lnTo>
                  <a:lnTo>
                    <a:pt x="952" y="402"/>
                  </a:lnTo>
                  <a:lnTo>
                    <a:pt x="957" y="404"/>
                  </a:lnTo>
                  <a:lnTo>
                    <a:pt x="964" y="405"/>
                  </a:lnTo>
                  <a:lnTo>
                    <a:pt x="971" y="406"/>
                  </a:lnTo>
                  <a:lnTo>
                    <a:pt x="977" y="407"/>
                  </a:lnTo>
                  <a:lnTo>
                    <a:pt x="977" y="394"/>
                  </a:lnTo>
                  <a:lnTo>
                    <a:pt x="976" y="414"/>
                  </a:lnTo>
                  <a:lnTo>
                    <a:pt x="975" y="430"/>
                  </a:lnTo>
                  <a:lnTo>
                    <a:pt x="974" y="437"/>
                  </a:lnTo>
                  <a:lnTo>
                    <a:pt x="974" y="443"/>
                  </a:lnTo>
                  <a:lnTo>
                    <a:pt x="975" y="449"/>
                  </a:lnTo>
                  <a:lnTo>
                    <a:pt x="977" y="456"/>
                  </a:lnTo>
                  <a:lnTo>
                    <a:pt x="971" y="457"/>
                  </a:lnTo>
                  <a:lnTo>
                    <a:pt x="964" y="458"/>
                  </a:lnTo>
                  <a:lnTo>
                    <a:pt x="958" y="461"/>
                  </a:lnTo>
                  <a:lnTo>
                    <a:pt x="953" y="464"/>
                  </a:lnTo>
                  <a:lnTo>
                    <a:pt x="949" y="467"/>
                  </a:lnTo>
                  <a:lnTo>
                    <a:pt x="944" y="471"/>
                  </a:lnTo>
                  <a:lnTo>
                    <a:pt x="940" y="475"/>
                  </a:lnTo>
                  <a:lnTo>
                    <a:pt x="936" y="481"/>
                  </a:lnTo>
                  <a:lnTo>
                    <a:pt x="931" y="492"/>
                  </a:lnTo>
                  <a:lnTo>
                    <a:pt x="926" y="504"/>
                  </a:lnTo>
                  <a:lnTo>
                    <a:pt x="922" y="517"/>
                  </a:lnTo>
                  <a:lnTo>
                    <a:pt x="920" y="531"/>
                  </a:lnTo>
                  <a:lnTo>
                    <a:pt x="918" y="546"/>
                  </a:lnTo>
                  <a:lnTo>
                    <a:pt x="917" y="561"/>
                  </a:lnTo>
                  <a:lnTo>
                    <a:pt x="917" y="575"/>
                  </a:lnTo>
                  <a:lnTo>
                    <a:pt x="917" y="590"/>
                  </a:lnTo>
                  <a:lnTo>
                    <a:pt x="917" y="615"/>
                  </a:lnTo>
                  <a:lnTo>
                    <a:pt x="917" y="634"/>
                  </a:lnTo>
                  <a:lnTo>
                    <a:pt x="917" y="654"/>
                  </a:lnTo>
                  <a:lnTo>
                    <a:pt x="918" y="685"/>
                  </a:lnTo>
                  <a:lnTo>
                    <a:pt x="919" y="702"/>
                  </a:lnTo>
                  <a:lnTo>
                    <a:pt x="920" y="717"/>
                  </a:lnTo>
                  <a:lnTo>
                    <a:pt x="921" y="730"/>
                  </a:lnTo>
                  <a:lnTo>
                    <a:pt x="923" y="739"/>
                  </a:lnTo>
                  <a:lnTo>
                    <a:pt x="933" y="758"/>
                  </a:lnTo>
                  <a:lnTo>
                    <a:pt x="947" y="780"/>
                  </a:lnTo>
                  <a:lnTo>
                    <a:pt x="956" y="791"/>
                  </a:lnTo>
                  <a:lnTo>
                    <a:pt x="965" y="803"/>
                  </a:lnTo>
                  <a:lnTo>
                    <a:pt x="975" y="816"/>
                  </a:lnTo>
                  <a:lnTo>
                    <a:pt x="985" y="827"/>
                  </a:lnTo>
                  <a:lnTo>
                    <a:pt x="996" y="838"/>
                  </a:lnTo>
                  <a:lnTo>
                    <a:pt x="1007" y="848"/>
                  </a:lnTo>
                  <a:lnTo>
                    <a:pt x="1019" y="857"/>
                  </a:lnTo>
                  <a:lnTo>
                    <a:pt x="1030" y="865"/>
                  </a:lnTo>
                  <a:lnTo>
                    <a:pt x="1042" y="872"/>
                  </a:lnTo>
                  <a:lnTo>
                    <a:pt x="1054" y="877"/>
                  </a:lnTo>
                  <a:lnTo>
                    <a:pt x="1065" y="880"/>
                  </a:lnTo>
                  <a:lnTo>
                    <a:pt x="1077" y="881"/>
                  </a:lnTo>
                  <a:lnTo>
                    <a:pt x="1090" y="877"/>
                  </a:lnTo>
                  <a:lnTo>
                    <a:pt x="1114" y="865"/>
                  </a:lnTo>
                  <a:lnTo>
                    <a:pt x="1126" y="860"/>
                  </a:lnTo>
                  <a:lnTo>
                    <a:pt x="1140" y="855"/>
                  </a:lnTo>
                  <a:lnTo>
                    <a:pt x="1149" y="852"/>
                  </a:lnTo>
                  <a:lnTo>
                    <a:pt x="1156" y="850"/>
                  </a:lnTo>
                  <a:lnTo>
                    <a:pt x="1166" y="849"/>
                  </a:lnTo>
                  <a:lnTo>
                    <a:pt x="1178" y="849"/>
                  </a:lnTo>
                  <a:lnTo>
                    <a:pt x="1192" y="851"/>
                  </a:lnTo>
                  <a:lnTo>
                    <a:pt x="1208" y="852"/>
                  </a:lnTo>
                  <a:lnTo>
                    <a:pt x="1222" y="854"/>
                  </a:lnTo>
                  <a:lnTo>
                    <a:pt x="1235" y="854"/>
                  </a:lnTo>
                  <a:lnTo>
                    <a:pt x="1240" y="854"/>
                  </a:lnTo>
                  <a:lnTo>
                    <a:pt x="1244" y="853"/>
                  </a:lnTo>
                  <a:lnTo>
                    <a:pt x="1247" y="852"/>
                  </a:lnTo>
                  <a:lnTo>
                    <a:pt x="1249" y="850"/>
                  </a:lnTo>
                  <a:lnTo>
                    <a:pt x="1257" y="842"/>
                  </a:lnTo>
                  <a:lnTo>
                    <a:pt x="1264" y="834"/>
                  </a:lnTo>
                  <a:lnTo>
                    <a:pt x="1269" y="826"/>
                  </a:lnTo>
                  <a:lnTo>
                    <a:pt x="1274" y="818"/>
                  </a:lnTo>
                  <a:lnTo>
                    <a:pt x="1280" y="801"/>
                  </a:lnTo>
                  <a:lnTo>
                    <a:pt x="1285" y="785"/>
                  </a:lnTo>
                  <a:lnTo>
                    <a:pt x="1288" y="768"/>
                  </a:lnTo>
                  <a:lnTo>
                    <a:pt x="1292" y="750"/>
                  </a:lnTo>
                  <a:lnTo>
                    <a:pt x="1296" y="742"/>
                  </a:lnTo>
                  <a:lnTo>
                    <a:pt x="1299" y="733"/>
                  </a:lnTo>
                  <a:lnTo>
                    <a:pt x="1303" y="724"/>
                  </a:lnTo>
                  <a:lnTo>
                    <a:pt x="1309" y="715"/>
                  </a:lnTo>
                  <a:lnTo>
                    <a:pt x="1311" y="712"/>
                  </a:lnTo>
                  <a:lnTo>
                    <a:pt x="1313" y="709"/>
                  </a:lnTo>
                  <a:lnTo>
                    <a:pt x="1315" y="706"/>
                  </a:lnTo>
                  <a:lnTo>
                    <a:pt x="1319" y="703"/>
                  </a:lnTo>
                  <a:lnTo>
                    <a:pt x="1326" y="697"/>
                  </a:lnTo>
                  <a:lnTo>
                    <a:pt x="1336" y="693"/>
                  </a:lnTo>
                  <a:lnTo>
                    <a:pt x="1347" y="690"/>
                  </a:lnTo>
                  <a:lnTo>
                    <a:pt x="1359" y="687"/>
                  </a:lnTo>
                  <a:lnTo>
                    <a:pt x="1373" y="684"/>
                  </a:lnTo>
                  <a:lnTo>
                    <a:pt x="1387" y="682"/>
                  </a:lnTo>
                  <a:lnTo>
                    <a:pt x="1416" y="680"/>
                  </a:lnTo>
                  <a:lnTo>
                    <a:pt x="1446" y="678"/>
                  </a:lnTo>
                  <a:lnTo>
                    <a:pt x="1472" y="678"/>
                  </a:lnTo>
                  <a:lnTo>
                    <a:pt x="1495" y="678"/>
                  </a:lnTo>
                  <a:lnTo>
                    <a:pt x="1506" y="678"/>
                  </a:lnTo>
                  <a:lnTo>
                    <a:pt x="1522" y="678"/>
                  </a:lnTo>
                  <a:lnTo>
                    <a:pt x="1524" y="684"/>
                  </a:lnTo>
                  <a:lnTo>
                    <a:pt x="1528" y="693"/>
                  </a:lnTo>
                  <a:lnTo>
                    <a:pt x="1533" y="703"/>
                  </a:lnTo>
                  <a:lnTo>
                    <a:pt x="1535" y="709"/>
                  </a:lnTo>
                  <a:lnTo>
                    <a:pt x="1526" y="714"/>
                  </a:lnTo>
                  <a:lnTo>
                    <a:pt x="1515" y="720"/>
                  </a:lnTo>
                  <a:lnTo>
                    <a:pt x="1510" y="724"/>
                  </a:lnTo>
                  <a:lnTo>
                    <a:pt x="1503" y="729"/>
                  </a:lnTo>
                  <a:lnTo>
                    <a:pt x="1498" y="735"/>
                  </a:lnTo>
                  <a:lnTo>
                    <a:pt x="1492" y="741"/>
                  </a:lnTo>
                  <a:lnTo>
                    <a:pt x="1487" y="748"/>
                  </a:lnTo>
                  <a:lnTo>
                    <a:pt x="1481" y="758"/>
                  </a:lnTo>
                  <a:lnTo>
                    <a:pt x="1477" y="767"/>
                  </a:lnTo>
                  <a:lnTo>
                    <a:pt x="1473" y="778"/>
                  </a:lnTo>
                  <a:lnTo>
                    <a:pt x="1470" y="791"/>
                  </a:lnTo>
                  <a:lnTo>
                    <a:pt x="1469" y="804"/>
                  </a:lnTo>
                  <a:lnTo>
                    <a:pt x="1468" y="821"/>
                  </a:lnTo>
                  <a:lnTo>
                    <a:pt x="1469" y="838"/>
                  </a:lnTo>
                  <a:lnTo>
                    <a:pt x="1455" y="854"/>
                  </a:lnTo>
                  <a:lnTo>
                    <a:pt x="1444" y="868"/>
                  </a:lnTo>
                  <a:lnTo>
                    <a:pt x="1435" y="878"/>
                  </a:lnTo>
                  <a:lnTo>
                    <a:pt x="1428" y="888"/>
                  </a:lnTo>
                  <a:lnTo>
                    <a:pt x="1414" y="888"/>
                  </a:lnTo>
                  <a:lnTo>
                    <a:pt x="1401" y="888"/>
                  </a:lnTo>
                  <a:lnTo>
                    <a:pt x="1387" y="888"/>
                  </a:lnTo>
                  <a:lnTo>
                    <a:pt x="1369" y="888"/>
                  </a:lnTo>
                  <a:lnTo>
                    <a:pt x="1367" y="888"/>
                  </a:lnTo>
                  <a:lnTo>
                    <a:pt x="1359" y="888"/>
                  </a:lnTo>
                  <a:lnTo>
                    <a:pt x="1349" y="888"/>
                  </a:lnTo>
                  <a:lnTo>
                    <a:pt x="1336" y="88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727" name="Freeform 194"/>
            <p:cNvSpPr>
              <a:spLocks/>
            </p:cNvSpPr>
            <p:nvPr>
              <p:custDataLst>
                <p:tags r:id="rId119"/>
              </p:custDataLst>
            </p:nvPr>
          </p:nvSpPr>
          <p:spPr bwMode="auto">
            <a:xfrm>
              <a:off x="3780401" y="4848978"/>
              <a:ext cx="251717" cy="318366"/>
            </a:xfrm>
            <a:custGeom>
              <a:avLst/>
              <a:gdLst>
                <a:gd name="T0" fmla="*/ 6082 w 486"/>
                <a:gd name="T1" fmla="*/ 92396 h 505"/>
                <a:gd name="T2" fmla="*/ 13468 w 486"/>
                <a:gd name="T3" fmla="*/ 103945 h 505"/>
                <a:gd name="T4" fmla="*/ 22156 w 486"/>
                <a:gd name="T5" fmla="*/ 121794 h 505"/>
                <a:gd name="T6" fmla="*/ 35624 w 486"/>
                <a:gd name="T7" fmla="*/ 139644 h 505"/>
                <a:gd name="T8" fmla="*/ 54739 w 486"/>
                <a:gd name="T9" fmla="*/ 153818 h 505"/>
                <a:gd name="T10" fmla="*/ 73855 w 486"/>
                <a:gd name="T11" fmla="*/ 162743 h 505"/>
                <a:gd name="T12" fmla="*/ 106872 w 486"/>
                <a:gd name="T13" fmla="*/ 172192 h 505"/>
                <a:gd name="T14" fmla="*/ 128160 w 486"/>
                <a:gd name="T15" fmla="*/ 180592 h 505"/>
                <a:gd name="T16" fmla="*/ 129898 w 486"/>
                <a:gd name="T17" fmla="*/ 200016 h 505"/>
                <a:gd name="T18" fmla="*/ 120340 w 486"/>
                <a:gd name="T19" fmla="*/ 219440 h 505"/>
                <a:gd name="T20" fmla="*/ 115996 w 486"/>
                <a:gd name="T21" fmla="*/ 232564 h 505"/>
                <a:gd name="T22" fmla="*/ 115561 w 486"/>
                <a:gd name="T23" fmla="*/ 243064 h 505"/>
                <a:gd name="T24" fmla="*/ 120774 w 486"/>
                <a:gd name="T25" fmla="*/ 253039 h 505"/>
                <a:gd name="T26" fmla="*/ 129898 w 486"/>
                <a:gd name="T27" fmla="*/ 259338 h 505"/>
                <a:gd name="T28" fmla="*/ 149447 w 486"/>
                <a:gd name="T29" fmla="*/ 264588 h 505"/>
                <a:gd name="T30" fmla="*/ 168128 w 486"/>
                <a:gd name="T31" fmla="*/ 264588 h 505"/>
                <a:gd name="T32" fmla="*/ 180293 w 486"/>
                <a:gd name="T33" fmla="*/ 259338 h 505"/>
                <a:gd name="T34" fmla="*/ 193760 w 486"/>
                <a:gd name="T35" fmla="*/ 248839 h 505"/>
                <a:gd name="T36" fmla="*/ 205490 w 486"/>
                <a:gd name="T37" fmla="*/ 234664 h 505"/>
                <a:gd name="T38" fmla="*/ 210704 w 486"/>
                <a:gd name="T39" fmla="*/ 219440 h 505"/>
                <a:gd name="T40" fmla="*/ 210269 w 486"/>
                <a:gd name="T41" fmla="*/ 208416 h 505"/>
                <a:gd name="T42" fmla="*/ 207662 w 486"/>
                <a:gd name="T43" fmla="*/ 187941 h 505"/>
                <a:gd name="T44" fmla="*/ 204621 w 486"/>
                <a:gd name="T45" fmla="*/ 165892 h 505"/>
                <a:gd name="T46" fmla="*/ 202015 w 486"/>
                <a:gd name="T47" fmla="*/ 141744 h 505"/>
                <a:gd name="T48" fmla="*/ 198105 w 486"/>
                <a:gd name="T49" fmla="*/ 132294 h 505"/>
                <a:gd name="T50" fmla="*/ 190719 w 486"/>
                <a:gd name="T51" fmla="*/ 125469 h 505"/>
                <a:gd name="T52" fmla="*/ 179424 w 486"/>
                <a:gd name="T53" fmla="*/ 121794 h 505"/>
                <a:gd name="T54" fmla="*/ 170301 w 486"/>
                <a:gd name="T55" fmla="*/ 116545 h 505"/>
                <a:gd name="T56" fmla="*/ 160743 w 486"/>
                <a:gd name="T57" fmla="*/ 108670 h 505"/>
                <a:gd name="T58" fmla="*/ 143365 w 486"/>
                <a:gd name="T59" fmla="*/ 98696 h 505"/>
                <a:gd name="T60" fmla="*/ 125988 w 486"/>
                <a:gd name="T61" fmla="*/ 90296 h 505"/>
                <a:gd name="T62" fmla="*/ 118602 w 486"/>
                <a:gd name="T63" fmla="*/ 83996 h 505"/>
                <a:gd name="T64" fmla="*/ 114692 w 486"/>
                <a:gd name="T65" fmla="*/ 79271 h 505"/>
                <a:gd name="T66" fmla="*/ 113389 w 486"/>
                <a:gd name="T67" fmla="*/ 65622 h 505"/>
                <a:gd name="T68" fmla="*/ 113389 w 486"/>
                <a:gd name="T69" fmla="*/ 47248 h 505"/>
                <a:gd name="T70" fmla="*/ 110782 w 486"/>
                <a:gd name="T71" fmla="*/ 37273 h 505"/>
                <a:gd name="T72" fmla="*/ 104700 w 486"/>
                <a:gd name="T73" fmla="*/ 28874 h 505"/>
                <a:gd name="T74" fmla="*/ 101659 w 486"/>
                <a:gd name="T75" fmla="*/ 19424 h 505"/>
                <a:gd name="T76" fmla="*/ 86454 w 486"/>
                <a:gd name="T77" fmla="*/ 6300 h 505"/>
                <a:gd name="T78" fmla="*/ 80806 w 486"/>
                <a:gd name="T79" fmla="*/ 4200 h 505"/>
                <a:gd name="T80" fmla="*/ 75158 w 486"/>
                <a:gd name="T81" fmla="*/ 1050 h 505"/>
                <a:gd name="T82" fmla="*/ 60387 w 486"/>
                <a:gd name="T83" fmla="*/ 525 h 505"/>
                <a:gd name="T84" fmla="*/ 30411 w 486"/>
                <a:gd name="T85" fmla="*/ 5775 h 505"/>
                <a:gd name="T86" fmla="*/ 18246 w 486"/>
                <a:gd name="T87" fmla="*/ 11025 h 505"/>
                <a:gd name="T88" fmla="*/ 10427 w 486"/>
                <a:gd name="T89" fmla="*/ 19424 h 505"/>
                <a:gd name="T90" fmla="*/ 8689 w 486"/>
                <a:gd name="T91" fmla="*/ 33598 h 505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486" h="505">
                  <a:moveTo>
                    <a:pt x="0" y="166"/>
                  </a:moveTo>
                  <a:lnTo>
                    <a:pt x="7" y="171"/>
                  </a:lnTo>
                  <a:lnTo>
                    <a:pt x="14" y="176"/>
                  </a:lnTo>
                  <a:lnTo>
                    <a:pt x="19" y="181"/>
                  </a:lnTo>
                  <a:lnTo>
                    <a:pt x="24" y="186"/>
                  </a:lnTo>
                  <a:lnTo>
                    <a:pt x="31" y="198"/>
                  </a:lnTo>
                  <a:lnTo>
                    <a:pt x="39" y="210"/>
                  </a:lnTo>
                  <a:lnTo>
                    <a:pt x="44" y="221"/>
                  </a:lnTo>
                  <a:lnTo>
                    <a:pt x="51" y="232"/>
                  </a:lnTo>
                  <a:lnTo>
                    <a:pt x="58" y="242"/>
                  </a:lnTo>
                  <a:lnTo>
                    <a:pt x="66" y="253"/>
                  </a:lnTo>
                  <a:lnTo>
                    <a:pt x="82" y="266"/>
                  </a:lnTo>
                  <a:lnTo>
                    <a:pt x="96" y="276"/>
                  </a:lnTo>
                  <a:lnTo>
                    <a:pt x="111" y="285"/>
                  </a:lnTo>
                  <a:lnTo>
                    <a:pt x="126" y="293"/>
                  </a:lnTo>
                  <a:lnTo>
                    <a:pt x="140" y="299"/>
                  </a:lnTo>
                  <a:lnTo>
                    <a:pt x="155" y="305"/>
                  </a:lnTo>
                  <a:lnTo>
                    <a:pt x="170" y="310"/>
                  </a:lnTo>
                  <a:lnTo>
                    <a:pt x="185" y="314"/>
                  </a:lnTo>
                  <a:lnTo>
                    <a:pt x="215" y="321"/>
                  </a:lnTo>
                  <a:lnTo>
                    <a:pt x="246" y="328"/>
                  </a:lnTo>
                  <a:lnTo>
                    <a:pt x="262" y="332"/>
                  </a:lnTo>
                  <a:lnTo>
                    <a:pt x="278" y="338"/>
                  </a:lnTo>
                  <a:lnTo>
                    <a:pt x="295" y="344"/>
                  </a:lnTo>
                  <a:lnTo>
                    <a:pt x="312" y="351"/>
                  </a:lnTo>
                  <a:lnTo>
                    <a:pt x="307" y="367"/>
                  </a:lnTo>
                  <a:lnTo>
                    <a:pt x="299" y="381"/>
                  </a:lnTo>
                  <a:lnTo>
                    <a:pt x="291" y="394"/>
                  </a:lnTo>
                  <a:lnTo>
                    <a:pt x="284" y="406"/>
                  </a:lnTo>
                  <a:lnTo>
                    <a:pt x="277" y="418"/>
                  </a:lnTo>
                  <a:lnTo>
                    <a:pt x="272" y="430"/>
                  </a:lnTo>
                  <a:lnTo>
                    <a:pt x="269" y="436"/>
                  </a:lnTo>
                  <a:lnTo>
                    <a:pt x="267" y="443"/>
                  </a:lnTo>
                  <a:lnTo>
                    <a:pt x="266" y="449"/>
                  </a:lnTo>
                  <a:lnTo>
                    <a:pt x="266" y="456"/>
                  </a:lnTo>
                  <a:lnTo>
                    <a:pt x="266" y="463"/>
                  </a:lnTo>
                  <a:lnTo>
                    <a:pt x="269" y="471"/>
                  </a:lnTo>
                  <a:lnTo>
                    <a:pt x="273" y="477"/>
                  </a:lnTo>
                  <a:lnTo>
                    <a:pt x="278" y="482"/>
                  </a:lnTo>
                  <a:lnTo>
                    <a:pt x="284" y="487"/>
                  </a:lnTo>
                  <a:lnTo>
                    <a:pt x="291" y="491"/>
                  </a:lnTo>
                  <a:lnTo>
                    <a:pt x="299" y="494"/>
                  </a:lnTo>
                  <a:lnTo>
                    <a:pt x="308" y="497"/>
                  </a:lnTo>
                  <a:lnTo>
                    <a:pt x="325" y="501"/>
                  </a:lnTo>
                  <a:lnTo>
                    <a:pt x="344" y="504"/>
                  </a:lnTo>
                  <a:lnTo>
                    <a:pt x="363" y="505"/>
                  </a:lnTo>
                  <a:lnTo>
                    <a:pt x="379" y="505"/>
                  </a:lnTo>
                  <a:lnTo>
                    <a:pt x="387" y="504"/>
                  </a:lnTo>
                  <a:lnTo>
                    <a:pt x="396" y="502"/>
                  </a:lnTo>
                  <a:lnTo>
                    <a:pt x="406" y="499"/>
                  </a:lnTo>
                  <a:lnTo>
                    <a:pt x="415" y="494"/>
                  </a:lnTo>
                  <a:lnTo>
                    <a:pt x="426" y="488"/>
                  </a:lnTo>
                  <a:lnTo>
                    <a:pt x="436" y="482"/>
                  </a:lnTo>
                  <a:lnTo>
                    <a:pt x="446" y="474"/>
                  </a:lnTo>
                  <a:lnTo>
                    <a:pt x="456" y="465"/>
                  </a:lnTo>
                  <a:lnTo>
                    <a:pt x="465" y="456"/>
                  </a:lnTo>
                  <a:lnTo>
                    <a:pt x="473" y="447"/>
                  </a:lnTo>
                  <a:lnTo>
                    <a:pt x="478" y="437"/>
                  </a:lnTo>
                  <a:lnTo>
                    <a:pt x="482" y="428"/>
                  </a:lnTo>
                  <a:lnTo>
                    <a:pt x="485" y="418"/>
                  </a:lnTo>
                  <a:lnTo>
                    <a:pt x="486" y="407"/>
                  </a:lnTo>
                  <a:lnTo>
                    <a:pt x="485" y="402"/>
                  </a:lnTo>
                  <a:lnTo>
                    <a:pt x="484" y="397"/>
                  </a:lnTo>
                  <a:lnTo>
                    <a:pt x="481" y="393"/>
                  </a:lnTo>
                  <a:lnTo>
                    <a:pt x="478" y="388"/>
                  </a:lnTo>
                  <a:lnTo>
                    <a:pt x="478" y="358"/>
                  </a:lnTo>
                  <a:lnTo>
                    <a:pt x="475" y="345"/>
                  </a:lnTo>
                  <a:lnTo>
                    <a:pt x="473" y="331"/>
                  </a:lnTo>
                  <a:lnTo>
                    <a:pt x="471" y="316"/>
                  </a:lnTo>
                  <a:lnTo>
                    <a:pt x="470" y="299"/>
                  </a:lnTo>
                  <a:lnTo>
                    <a:pt x="468" y="284"/>
                  </a:lnTo>
                  <a:lnTo>
                    <a:pt x="465" y="270"/>
                  </a:lnTo>
                  <a:lnTo>
                    <a:pt x="463" y="263"/>
                  </a:lnTo>
                  <a:lnTo>
                    <a:pt x="461" y="257"/>
                  </a:lnTo>
                  <a:lnTo>
                    <a:pt x="456" y="252"/>
                  </a:lnTo>
                  <a:lnTo>
                    <a:pt x="452" y="247"/>
                  </a:lnTo>
                  <a:lnTo>
                    <a:pt x="446" y="242"/>
                  </a:lnTo>
                  <a:lnTo>
                    <a:pt x="439" y="239"/>
                  </a:lnTo>
                  <a:lnTo>
                    <a:pt x="431" y="236"/>
                  </a:lnTo>
                  <a:lnTo>
                    <a:pt x="422" y="234"/>
                  </a:lnTo>
                  <a:lnTo>
                    <a:pt x="413" y="232"/>
                  </a:lnTo>
                  <a:lnTo>
                    <a:pt x="406" y="229"/>
                  </a:lnTo>
                  <a:lnTo>
                    <a:pt x="398" y="226"/>
                  </a:lnTo>
                  <a:lnTo>
                    <a:pt x="392" y="222"/>
                  </a:lnTo>
                  <a:lnTo>
                    <a:pt x="386" y="216"/>
                  </a:lnTo>
                  <a:lnTo>
                    <a:pt x="378" y="212"/>
                  </a:lnTo>
                  <a:lnTo>
                    <a:pt x="370" y="207"/>
                  </a:lnTo>
                  <a:lnTo>
                    <a:pt x="363" y="203"/>
                  </a:lnTo>
                  <a:lnTo>
                    <a:pt x="346" y="196"/>
                  </a:lnTo>
                  <a:lnTo>
                    <a:pt x="330" y="188"/>
                  </a:lnTo>
                  <a:lnTo>
                    <a:pt x="313" y="182"/>
                  </a:lnTo>
                  <a:lnTo>
                    <a:pt x="298" y="176"/>
                  </a:lnTo>
                  <a:lnTo>
                    <a:pt x="290" y="172"/>
                  </a:lnTo>
                  <a:lnTo>
                    <a:pt x="284" y="169"/>
                  </a:lnTo>
                  <a:lnTo>
                    <a:pt x="278" y="165"/>
                  </a:lnTo>
                  <a:lnTo>
                    <a:pt x="273" y="160"/>
                  </a:lnTo>
                  <a:lnTo>
                    <a:pt x="269" y="158"/>
                  </a:lnTo>
                  <a:lnTo>
                    <a:pt x="266" y="154"/>
                  </a:lnTo>
                  <a:lnTo>
                    <a:pt x="264" y="151"/>
                  </a:lnTo>
                  <a:lnTo>
                    <a:pt x="263" y="146"/>
                  </a:lnTo>
                  <a:lnTo>
                    <a:pt x="262" y="136"/>
                  </a:lnTo>
                  <a:lnTo>
                    <a:pt x="261" y="125"/>
                  </a:lnTo>
                  <a:lnTo>
                    <a:pt x="261" y="113"/>
                  </a:lnTo>
                  <a:lnTo>
                    <a:pt x="262" y="101"/>
                  </a:lnTo>
                  <a:lnTo>
                    <a:pt x="261" y="90"/>
                  </a:lnTo>
                  <a:lnTo>
                    <a:pt x="260" y="81"/>
                  </a:lnTo>
                  <a:lnTo>
                    <a:pt x="258" y="75"/>
                  </a:lnTo>
                  <a:lnTo>
                    <a:pt x="255" y="71"/>
                  </a:lnTo>
                  <a:lnTo>
                    <a:pt x="251" y="67"/>
                  </a:lnTo>
                  <a:lnTo>
                    <a:pt x="246" y="61"/>
                  </a:lnTo>
                  <a:lnTo>
                    <a:pt x="241" y="55"/>
                  </a:lnTo>
                  <a:lnTo>
                    <a:pt x="237" y="47"/>
                  </a:lnTo>
                  <a:lnTo>
                    <a:pt x="235" y="43"/>
                  </a:lnTo>
                  <a:lnTo>
                    <a:pt x="234" y="37"/>
                  </a:lnTo>
                  <a:lnTo>
                    <a:pt x="233" y="32"/>
                  </a:lnTo>
                  <a:lnTo>
                    <a:pt x="233" y="25"/>
                  </a:lnTo>
                  <a:lnTo>
                    <a:pt x="199" y="12"/>
                  </a:lnTo>
                  <a:lnTo>
                    <a:pt x="195" y="12"/>
                  </a:lnTo>
                  <a:lnTo>
                    <a:pt x="190" y="10"/>
                  </a:lnTo>
                  <a:lnTo>
                    <a:pt x="186" y="8"/>
                  </a:lnTo>
                  <a:lnTo>
                    <a:pt x="182" y="6"/>
                  </a:lnTo>
                  <a:lnTo>
                    <a:pt x="177" y="4"/>
                  </a:lnTo>
                  <a:lnTo>
                    <a:pt x="173" y="2"/>
                  </a:lnTo>
                  <a:lnTo>
                    <a:pt x="166" y="0"/>
                  </a:lnTo>
                  <a:lnTo>
                    <a:pt x="160" y="0"/>
                  </a:lnTo>
                  <a:lnTo>
                    <a:pt x="139" y="1"/>
                  </a:lnTo>
                  <a:lnTo>
                    <a:pt x="116" y="2"/>
                  </a:lnTo>
                  <a:lnTo>
                    <a:pt x="92" y="6"/>
                  </a:lnTo>
                  <a:lnTo>
                    <a:pt x="70" y="11"/>
                  </a:lnTo>
                  <a:lnTo>
                    <a:pt x="60" y="14"/>
                  </a:lnTo>
                  <a:lnTo>
                    <a:pt x="50" y="17"/>
                  </a:lnTo>
                  <a:lnTo>
                    <a:pt x="42" y="21"/>
                  </a:lnTo>
                  <a:lnTo>
                    <a:pt x="34" y="27"/>
                  </a:lnTo>
                  <a:lnTo>
                    <a:pt x="28" y="31"/>
                  </a:lnTo>
                  <a:lnTo>
                    <a:pt x="24" y="37"/>
                  </a:lnTo>
                  <a:lnTo>
                    <a:pt x="21" y="43"/>
                  </a:lnTo>
                  <a:lnTo>
                    <a:pt x="20" y="49"/>
                  </a:lnTo>
                  <a:lnTo>
                    <a:pt x="20" y="64"/>
                  </a:lnTo>
                  <a:lnTo>
                    <a:pt x="20" y="74"/>
                  </a:lnTo>
                  <a:lnTo>
                    <a:pt x="0" y="16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728" name="Freeform 195"/>
            <p:cNvSpPr>
              <a:spLocks/>
            </p:cNvSpPr>
            <p:nvPr>
              <p:custDataLst>
                <p:tags r:id="rId120"/>
              </p:custDataLst>
            </p:nvPr>
          </p:nvSpPr>
          <p:spPr bwMode="auto">
            <a:xfrm>
              <a:off x="3982911" y="3893883"/>
              <a:ext cx="87060" cy="131539"/>
            </a:xfrm>
            <a:custGeom>
              <a:avLst/>
              <a:gdLst>
                <a:gd name="T0" fmla="*/ 3079 w 166"/>
                <a:gd name="T1" fmla="*/ 96371 h 208"/>
                <a:gd name="T2" fmla="*/ 34753 w 166"/>
                <a:gd name="T3" fmla="*/ 109537 h 208"/>
                <a:gd name="T4" fmla="*/ 37392 w 166"/>
                <a:gd name="T5" fmla="*/ 109010 h 208"/>
                <a:gd name="T6" fmla="*/ 39592 w 166"/>
                <a:gd name="T7" fmla="*/ 107431 h 208"/>
                <a:gd name="T8" fmla="*/ 42671 w 166"/>
                <a:gd name="T9" fmla="*/ 104271 h 208"/>
                <a:gd name="T10" fmla="*/ 45751 w 166"/>
                <a:gd name="T11" fmla="*/ 101111 h 208"/>
                <a:gd name="T12" fmla="*/ 51469 w 166"/>
                <a:gd name="T13" fmla="*/ 92685 h 208"/>
                <a:gd name="T14" fmla="*/ 57188 w 166"/>
                <a:gd name="T15" fmla="*/ 83206 h 208"/>
                <a:gd name="T16" fmla="*/ 67746 w 166"/>
                <a:gd name="T17" fmla="*/ 64248 h 208"/>
                <a:gd name="T18" fmla="*/ 73025 w 166"/>
                <a:gd name="T19" fmla="*/ 54242 h 208"/>
                <a:gd name="T20" fmla="*/ 63347 w 166"/>
                <a:gd name="T21" fmla="*/ 49502 h 208"/>
                <a:gd name="T22" fmla="*/ 55429 w 166"/>
                <a:gd name="T23" fmla="*/ 44236 h 208"/>
                <a:gd name="T24" fmla="*/ 47510 w 166"/>
                <a:gd name="T25" fmla="*/ 38970 h 208"/>
                <a:gd name="T26" fmla="*/ 40912 w 166"/>
                <a:gd name="T27" fmla="*/ 33704 h 208"/>
                <a:gd name="T28" fmla="*/ 37832 w 166"/>
                <a:gd name="T29" fmla="*/ 30544 h 208"/>
                <a:gd name="T30" fmla="*/ 35633 w 166"/>
                <a:gd name="T31" fmla="*/ 27911 h 208"/>
                <a:gd name="T32" fmla="*/ 32993 w 166"/>
                <a:gd name="T33" fmla="*/ 24751 h 208"/>
                <a:gd name="T34" fmla="*/ 31234 w 166"/>
                <a:gd name="T35" fmla="*/ 21065 h 208"/>
                <a:gd name="T36" fmla="*/ 29474 w 166"/>
                <a:gd name="T37" fmla="*/ 17378 h 208"/>
                <a:gd name="T38" fmla="*/ 28154 w 166"/>
                <a:gd name="T39" fmla="*/ 13692 h 208"/>
                <a:gd name="T40" fmla="*/ 27274 w 166"/>
                <a:gd name="T41" fmla="*/ 9479 h 208"/>
                <a:gd name="T42" fmla="*/ 26395 w 166"/>
                <a:gd name="T43" fmla="*/ 5793 h 208"/>
                <a:gd name="T44" fmla="*/ 21995 w 166"/>
                <a:gd name="T45" fmla="*/ 5266 h 208"/>
                <a:gd name="T46" fmla="*/ 18916 w 166"/>
                <a:gd name="T47" fmla="*/ 4213 h 208"/>
                <a:gd name="T48" fmla="*/ 17596 w 166"/>
                <a:gd name="T49" fmla="*/ 2633 h 208"/>
                <a:gd name="T50" fmla="*/ 17156 w 166"/>
                <a:gd name="T51" fmla="*/ 1580 h 208"/>
                <a:gd name="T52" fmla="*/ 16717 w 166"/>
                <a:gd name="T53" fmla="*/ 527 h 208"/>
                <a:gd name="T54" fmla="*/ 15837 w 166"/>
                <a:gd name="T55" fmla="*/ 0 h 208"/>
                <a:gd name="T56" fmla="*/ 14077 w 166"/>
                <a:gd name="T57" fmla="*/ 527 h 208"/>
                <a:gd name="T58" fmla="*/ 11878 w 166"/>
                <a:gd name="T59" fmla="*/ 2633 h 208"/>
                <a:gd name="T60" fmla="*/ 8798 w 166"/>
                <a:gd name="T61" fmla="*/ 5793 h 208"/>
                <a:gd name="T62" fmla="*/ 4839 w 166"/>
                <a:gd name="T63" fmla="*/ 11586 h 208"/>
                <a:gd name="T64" fmla="*/ 3079 w 166"/>
                <a:gd name="T65" fmla="*/ 15272 h 208"/>
                <a:gd name="T66" fmla="*/ 1760 w 166"/>
                <a:gd name="T67" fmla="*/ 19485 h 208"/>
                <a:gd name="T68" fmla="*/ 880 w 166"/>
                <a:gd name="T69" fmla="*/ 23698 h 208"/>
                <a:gd name="T70" fmla="*/ 0 w 166"/>
                <a:gd name="T71" fmla="*/ 28437 h 208"/>
                <a:gd name="T72" fmla="*/ 0 w 166"/>
                <a:gd name="T73" fmla="*/ 31597 h 208"/>
                <a:gd name="T74" fmla="*/ 880 w 166"/>
                <a:gd name="T75" fmla="*/ 34230 h 208"/>
                <a:gd name="T76" fmla="*/ 1320 w 166"/>
                <a:gd name="T77" fmla="*/ 36863 h 208"/>
                <a:gd name="T78" fmla="*/ 2200 w 166"/>
                <a:gd name="T79" fmla="*/ 40023 h 208"/>
                <a:gd name="T80" fmla="*/ 4399 w 166"/>
                <a:gd name="T81" fmla="*/ 45289 h 208"/>
                <a:gd name="T82" fmla="*/ 7478 w 166"/>
                <a:gd name="T83" fmla="*/ 51609 h 208"/>
                <a:gd name="T84" fmla="*/ 9678 w 166"/>
                <a:gd name="T85" fmla="*/ 57402 h 208"/>
                <a:gd name="T86" fmla="*/ 12317 w 166"/>
                <a:gd name="T87" fmla="*/ 63194 h 208"/>
                <a:gd name="T88" fmla="*/ 13197 w 166"/>
                <a:gd name="T89" fmla="*/ 66354 h 208"/>
                <a:gd name="T90" fmla="*/ 14077 w 166"/>
                <a:gd name="T91" fmla="*/ 70040 h 208"/>
                <a:gd name="T92" fmla="*/ 14517 w 166"/>
                <a:gd name="T93" fmla="*/ 73200 h 208"/>
                <a:gd name="T94" fmla="*/ 14517 w 166"/>
                <a:gd name="T95" fmla="*/ 77413 h 208"/>
                <a:gd name="T96" fmla="*/ 14077 w 166"/>
                <a:gd name="T97" fmla="*/ 80573 h 208"/>
                <a:gd name="T98" fmla="*/ 13637 w 166"/>
                <a:gd name="T99" fmla="*/ 83733 h 208"/>
                <a:gd name="T100" fmla="*/ 12317 w 166"/>
                <a:gd name="T101" fmla="*/ 86892 h 208"/>
                <a:gd name="T102" fmla="*/ 10998 w 166"/>
                <a:gd name="T103" fmla="*/ 88999 h 208"/>
                <a:gd name="T104" fmla="*/ 9238 w 166"/>
                <a:gd name="T105" fmla="*/ 91632 h 208"/>
                <a:gd name="T106" fmla="*/ 7478 w 166"/>
                <a:gd name="T107" fmla="*/ 93212 h 208"/>
                <a:gd name="T108" fmla="*/ 4839 w 166"/>
                <a:gd name="T109" fmla="*/ 94792 h 208"/>
                <a:gd name="T110" fmla="*/ 3079 w 166"/>
                <a:gd name="T111" fmla="*/ 96371 h 20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166" h="208">
                  <a:moveTo>
                    <a:pt x="7" y="183"/>
                  </a:moveTo>
                  <a:lnTo>
                    <a:pt x="79" y="208"/>
                  </a:lnTo>
                  <a:lnTo>
                    <a:pt x="85" y="207"/>
                  </a:lnTo>
                  <a:lnTo>
                    <a:pt x="90" y="204"/>
                  </a:lnTo>
                  <a:lnTo>
                    <a:pt x="97" y="198"/>
                  </a:lnTo>
                  <a:lnTo>
                    <a:pt x="104" y="192"/>
                  </a:lnTo>
                  <a:lnTo>
                    <a:pt x="117" y="176"/>
                  </a:lnTo>
                  <a:lnTo>
                    <a:pt x="130" y="158"/>
                  </a:lnTo>
                  <a:lnTo>
                    <a:pt x="154" y="122"/>
                  </a:lnTo>
                  <a:lnTo>
                    <a:pt x="166" y="103"/>
                  </a:lnTo>
                  <a:lnTo>
                    <a:pt x="144" y="94"/>
                  </a:lnTo>
                  <a:lnTo>
                    <a:pt x="126" y="84"/>
                  </a:lnTo>
                  <a:lnTo>
                    <a:pt x="108" y="74"/>
                  </a:lnTo>
                  <a:lnTo>
                    <a:pt x="93" y="64"/>
                  </a:lnTo>
                  <a:lnTo>
                    <a:pt x="86" y="58"/>
                  </a:lnTo>
                  <a:lnTo>
                    <a:pt x="81" y="53"/>
                  </a:lnTo>
                  <a:lnTo>
                    <a:pt x="75" y="47"/>
                  </a:lnTo>
                  <a:lnTo>
                    <a:pt x="71" y="40"/>
                  </a:lnTo>
                  <a:lnTo>
                    <a:pt x="67" y="33"/>
                  </a:lnTo>
                  <a:lnTo>
                    <a:pt x="64" y="26"/>
                  </a:lnTo>
                  <a:lnTo>
                    <a:pt x="62" y="18"/>
                  </a:lnTo>
                  <a:lnTo>
                    <a:pt x="60" y="11"/>
                  </a:lnTo>
                  <a:lnTo>
                    <a:pt x="50" y="10"/>
                  </a:lnTo>
                  <a:lnTo>
                    <a:pt x="43" y="8"/>
                  </a:lnTo>
                  <a:lnTo>
                    <a:pt x="40" y="5"/>
                  </a:lnTo>
                  <a:lnTo>
                    <a:pt x="39" y="3"/>
                  </a:lnTo>
                  <a:lnTo>
                    <a:pt x="38" y="1"/>
                  </a:lnTo>
                  <a:lnTo>
                    <a:pt x="36" y="0"/>
                  </a:lnTo>
                  <a:lnTo>
                    <a:pt x="32" y="1"/>
                  </a:lnTo>
                  <a:lnTo>
                    <a:pt x="27" y="5"/>
                  </a:lnTo>
                  <a:lnTo>
                    <a:pt x="20" y="11"/>
                  </a:lnTo>
                  <a:lnTo>
                    <a:pt x="11" y="22"/>
                  </a:lnTo>
                  <a:lnTo>
                    <a:pt x="7" y="29"/>
                  </a:lnTo>
                  <a:lnTo>
                    <a:pt x="4" y="37"/>
                  </a:lnTo>
                  <a:lnTo>
                    <a:pt x="2" y="45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2" y="65"/>
                  </a:lnTo>
                  <a:lnTo>
                    <a:pt x="3" y="70"/>
                  </a:lnTo>
                  <a:lnTo>
                    <a:pt x="5" y="76"/>
                  </a:lnTo>
                  <a:lnTo>
                    <a:pt x="10" y="86"/>
                  </a:lnTo>
                  <a:lnTo>
                    <a:pt x="17" y="98"/>
                  </a:lnTo>
                  <a:lnTo>
                    <a:pt x="22" y="109"/>
                  </a:lnTo>
                  <a:lnTo>
                    <a:pt x="28" y="120"/>
                  </a:lnTo>
                  <a:lnTo>
                    <a:pt x="30" y="126"/>
                  </a:lnTo>
                  <a:lnTo>
                    <a:pt x="32" y="133"/>
                  </a:lnTo>
                  <a:lnTo>
                    <a:pt x="33" y="139"/>
                  </a:lnTo>
                  <a:lnTo>
                    <a:pt x="33" y="147"/>
                  </a:lnTo>
                  <a:lnTo>
                    <a:pt x="32" y="153"/>
                  </a:lnTo>
                  <a:lnTo>
                    <a:pt x="31" y="159"/>
                  </a:lnTo>
                  <a:lnTo>
                    <a:pt x="28" y="165"/>
                  </a:lnTo>
                  <a:lnTo>
                    <a:pt x="25" y="169"/>
                  </a:lnTo>
                  <a:lnTo>
                    <a:pt x="21" y="174"/>
                  </a:lnTo>
                  <a:lnTo>
                    <a:pt x="17" y="177"/>
                  </a:lnTo>
                  <a:lnTo>
                    <a:pt x="11" y="180"/>
                  </a:lnTo>
                  <a:lnTo>
                    <a:pt x="7" y="18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729" name="Freeform 196"/>
            <p:cNvSpPr>
              <a:spLocks/>
            </p:cNvSpPr>
            <p:nvPr>
              <p:custDataLst>
                <p:tags r:id="rId121"/>
              </p:custDataLst>
            </p:nvPr>
          </p:nvSpPr>
          <p:spPr bwMode="auto">
            <a:xfrm>
              <a:off x="3403774" y="3363910"/>
              <a:ext cx="83274" cy="70535"/>
            </a:xfrm>
            <a:custGeom>
              <a:avLst/>
              <a:gdLst>
                <a:gd name="T0" fmla="*/ 65165 w 164"/>
                <a:gd name="T1" fmla="*/ 58737 h 104"/>
                <a:gd name="T2" fmla="*/ 57073 w 164"/>
                <a:gd name="T3" fmla="*/ 57607 h 104"/>
                <a:gd name="T4" fmla="*/ 46851 w 164"/>
                <a:gd name="T5" fmla="*/ 54784 h 104"/>
                <a:gd name="T6" fmla="*/ 40888 w 164"/>
                <a:gd name="T7" fmla="*/ 53089 h 104"/>
                <a:gd name="T8" fmla="*/ 34073 w 164"/>
                <a:gd name="T9" fmla="*/ 52524 h 104"/>
                <a:gd name="T10" fmla="*/ 31092 w 164"/>
                <a:gd name="T11" fmla="*/ 52524 h 104"/>
                <a:gd name="T12" fmla="*/ 27259 w 164"/>
                <a:gd name="T13" fmla="*/ 53089 h 104"/>
                <a:gd name="T14" fmla="*/ 23425 w 164"/>
                <a:gd name="T15" fmla="*/ 54219 h 104"/>
                <a:gd name="T16" fmla="*/ 20018 w 164"/>
                <a:gd name="T17" fmla="*/ 55348 h 104"/>
                <a:gd name="T18" fmla="*/ 17463 w 164"/>
                <a:gd name="T19" fmla="*/ 56478 h 104"/>
                <a:gd name="T20" fmla="*/ 14481 w 164"/>
                <a:gd name="T21" fmla="*/ 56478 h 104"/>
                <a:gd name="T22" fmla="*/ 11500 w 164"/>
                <a:gd name="T23" fmla="*/ 55913 h 104"/>
                <a:gd name="T24" fmla="*/ 8092 w 164"/>
                <a:gd name="T25" fmla="*/ 54219 h 104"/>
                <a:gd name="T26" fmla="*/ 4685 w 164"/>
                <a:gd name="T27" fmla="*/ 51960 h 104"/>
                <a:gd name="T28" fmla="*/ 2555 w 164"/>
                <a:gd name="T29" fmla="*/ 49701 h 104"/>
                <a:gd name="T30" fmla="*/ 1278 w 164"/>
                <a:gd name="T31" fmla="*/ 48571 h 104"/>
                <a:gd name="T32" fmla="*/ 426 w 164"/>
                <a:gd name="T33" fmla="*/ 47441 h 104"/>
                <a:gd name="T34" fmla="*/ 0 w 164"/>
                <a:gd name="T35" fmla="*/ 45747 h 104"/>
                <a:gd name="T36" fmla="*/ 0 w 164"/>
                <a:gd name="T37" fmla="*/ 44618 h 104"/>
                <a:gd name="T38" fmla="*/ 0 w 164"/>
                <a:gd name="T39" fmla="*/ 42923 h 104"/>
                <a:gd name="T40" fmla="*/ 426 w 164"/>
                <a:gd name="T41" fmla="*/ 41794 h 104"/>
                <a:gd name="T42" fmla="*/ 1278 w 164"/>
                <a:gd name="T43" fmla="*/ 40099 h 104"/>
                <a:gd name="T44" fmla="*/ 2555 w 164"/>
                <a:gd name="T45" fmla="*/ 39535 h 104"/>
                <a:gd name="T46" fmla="*/ 5111 w 164"/>
                <a:gd name="T47" fmla="*/ 37840 h 104"/>
                <a:gd name="T48" fmla="*/ 8518 w 164"/>
                <a:gd name="T49" fmla="*/ 37275 h 104"/>
                <a:gd name="T50" fmla="*/ 17037 w 164"/>
                <a:gd name="T51" fmla="*/ 37275 h 104"/>
                <a:gd name="T52" fmla="*/ 25981 w 164"/>
                <a:gd name="T53" fmla="*/ 37840 h 104"/>
                <a:gd name="T54" fmla="*/ 29814 w 164"/>
                <a:gd name="T55" fmla="*/ 37840 h 104"/>
                <a:gd name="T56" fmla="*/ 33647 w 164"/>
                <a:gd name="T57" fmla="*/ 37840 h 104"/>
                <a:gd name="T58" fmla="*/ 37055 w 164"/>
                <a:gd name="T59" fmla="*/ 37840 h 104"/>
                <a:gd name="T60" fmla="*/ 40036 w 164"/>
                <a:gd name="T61" fmla="*/ 37840 h 104"/>
                <a:gd name="T62" fmla="*/ 40036 w 164"/>
                <a:gd name="T63" fmla="*/ 31628 h 104"/>
                <a:gd name="T64" fmla="*/ 40036 w 164"/>
                <a:gd name="T65" fmla="*/ 24285 h 104"/>
                <a:gd name="T66" fmla="*/ 40036 w 164"/>
                <a:gd name="T67" fmla="*/ 16379 h 104"/>
                <a:gd name="T68" fmla="*/ 40036 w 164"/>
                <a:gd name="T69" fmla="*/ 10166 h 104"/>
                <a:gd name="T70" fmla="*/ 33647 w 164"/>
                <a:gd name="T71" fmla="*/ 9601 h 104"/>
                <a:gd name="T72" fmla="*/ 28536 w 164"/>
                <a:gd name="T73" fmla="*/ 8472 h 104"/>
                <a:gd name="T74" fmla="*/ 26407 w 164"/>
                <a:gd name="T75" fmla="*/ 7342 h 104"/>
                <a:gd name="T76" fmla="*/ 24277 w 164"/>
                <a:gd name="T77" fmla="*/ 5648 h 104"/>
                <a:gd name="T78" fmla="*/ 22148 w 164"/>
                <a:gd name="T79" fmla="*/ 3389 h 104"/>
                <a:gd name="T80" fmla="*/ 20018 w 164"/>
                <a:gd name="T81" fmla="*/ 0 h 104"/>
                <a:gd name="T82" fmla="*/ 62184 w 164"/>
                <a:gd name="T83" fmla="*/ 0 h 104"/>
                <a:gd name="T84" fmla="*/ 62609 w 164"/>
                <a:gd name="T85" fmla="*/ 3389 h 104"/>
                <a:gd name="T86" fmla="*/ 63035 w 164"/>
                <a:gd name="T87" fmla="*/ 7342 h 104"/>
                <a:gd name="T88" fmla="*/ 63887 w 164"/>
                <a:gd name="T89" fmla="*/ 10731 h 104"/>
                <a:gd name="T90" fmla="*/ 64739 w 164"/>
                <a:gd name="T91" fmla="*/ 14119 h 104"/>
                <a:gd name="T92" fmla="*/ 66443 w 164"/>
                <a:gd name="T93" fmla="*/ 19767 h 104"/>
                <a:gd name="T94" fmla="*/ 67720 w 164"/>
                <a:gd name="T95" fmla="*/ 25980 h 104"/>
                <a:gd name="T96" fmla="*/ 69424 w 164"/>
                <a:gd name="T97" fmla="*/ 30498 h 104"/>
                <a:gd name="T98" fmla="*/ 69850 w 164"/>
                <a:gd name="T99" fmla="*/ 35016 h 104"/>
                <a:gd name="T100" fmla="*/ 69424 w 164"/>
                <a:gd name="T101" fmla="*/ 36711 h 104"/>
                <a:gd name="T102" fmla="*/ 68146 w 164"/>
                <a:gd name="T103" fmla="*/ 38405 h 104"/>
                <a:gd name="T104" fmla="*/ 66869 w 164"/>
                <a:gd name="T105" fmla="*/ 40099 h 104"/>
                <a:gd name="T106" fmla="*/ 65165 w 164"/>
                <a:gd name="T107" fmla="*/ 41229 h 104"/>
                <a:gd name="T108" fmla="*/ 65165 w 164"/>
                <a:gd name="T109" fmla="*/ 58737 h 10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64" h="104">
                  <a:moveTo>
                    <a:pt x="153" y="104"/>
                  </a:moveTo>
                  <a:lnTo>
                    <a:pt x="134" y="102"/>
                  </a:lnTo>
                  <a:lnTo>
                    <a:pt x="110" y="97"/>
                  </a:lnTo>
                  <a:lnTo>
                    <a:pt x="96" y="94"/>
                  </a:lnTo>
                  <a:lnTo>
                    <a:pt x="80" y="93"/>
                  </a:lnTo>
                  <a:lnTo>
                    <a:pt x="73" y="93"/>
                  </a:lnTo>
                  <a:lnTo>
                    <a:pt x="64" y="94"/>
                  </a:lnTo>
                  <a:lnTo>
                    <a:pt x="55" y="96"/>
                  </a:lnTo>
                  <a:lnTo>
                    <a:pt x="47" y="98"/>
                  </a:lnTo>
                  <a:lnTo>
                    <a:pt x="41" y="100"/>
                  </a:lnTo>
                  <a:lnTo>
                    <a:pt x="34" y="100"/>
                  </a:lnTo>
                  <a:lnTo>
                    <a:pt x="27" y="99"/>
                  </a:lnTo>
                  <a:lnTo>
                    <a:pt x="19" y="96"/>
                  </a:lnTo>
                  <a:lnTo>
                    <a:pt x="11" y="92"/>
                  </a:lnTo>
                  <a:lnTo>
                    <a:pt x="6" y="88"/>
                  </a:lnTo>
                  <a:lnTo>
                    <a:pt x="3" y="86"/>
                  </a:lnTo>
                  <a:lnTo>
                    <a:pt x="1" y="84"/>
                  </a:lnTo>
                  <a:lnTo>
                    <a:pt x="0" y="81"/>
                  </a:lnTo>
                  <a:lnTo>
                    <a:pt x="0" y="79"/>
                  </a:lnTo>
                  <a:lnTo>
                    <a:pt x="0" y="76"/>
                  </a:lnTo>
                  <a:lnTo>
                    <a:pt x="1" y="74"/>
                  </a:lnTo>
                  <a:lnTo>
                    <a:pt x="3" y="71"/>
                  </a:lnTo>
                  <a:lnTo>
                    <a:pt x="6" y="70"/>
                  </a:lnTo>
                  <a:lnTo>
                    <a:pt x="12" y="67"/>
                  </a:lnTo>
                  <a:lnTo>
                    <a:pt x="20" y="66"/>
                  </a:lnTo>
                  <a:lnTo>
                    <a:pt x="40" y="66"/>
                  </a:lnTo>
                  <a:lnTo>
                    <a:pt x="61" y="67"/>
                  </a:lnTo>
                  <a:lnTo>
                    <a:pt x="70" y="67"/>
                  </a:lnTo>
                  <a:lnTo>
                    <a:pt x="79" y="67"/>
                  </a:lnTo>
                  <a:lnTo>
                    <a:pt x="87" y="67"/>
                  </a:lnTo>
                  <a:lnTo>
                    <a:pt x="94" y="67"/>
                  </a:lnTo>
                  <a:lnTo>
                    <a:pt x="94" y="56"/>
                  </a:lnTo>
                  <a:lnTo>
                    <a:pt x="94" y="43"/>
                  </a:lnTo>
                  <a:lnTo>
                    <a:pt x="94" y="29"/>
                  </a:lnTo>
                  <a:lnTo>
                    <a:pt x="94" y="18"/>
                  </a:lnTo>
                  <a:lnTo>
                    <a:pt x="79" y="17"/>
                  </a:lnTo>
                  <a:lnTo>
                    <a:pt x="67" y="15"/>
                  </a:lnTo>
                  <a:lnTo>
                    <a:pt x="62" y="13"/>
                  </a:lnTo>
                  <a:lnTo>
                    <a:pt x="57" y="10"/>
                  </a:lnTo>
                  <a:lnTo>
                    <a:pt x="52" y="6"/>
                  </a:lnTo>
                  <a:lnTo>
                    <a:pt x="47" y="0"/>
                  </a:lnTo>
                  <a:lnTo>
                    <a:pt x="146" y="0"/>
                  </a:lnTo>
                  <a:lnTo>
                    <a:pt x="147" y="6"/>
                  </a:lnTo>
                  <a:lnTo>
                    <a:pt x="148" y="13"/>
                  </a:lnTo>
                  <a:lnTo>
                    <a:pt x="150" y="19"/>
                  </a:lnTo>
                  <a:lnTo>
                    <a:pt x="152" y="25"/>
                  </a:lnTo>
                  <a:lnTo>
                    <a:pt x="156" y="35"/>
                  </a:lnTo>
                  <a:lnTo>
                    <a:pt x="159" y="46"/>
                  </a:lnTo>
                  <a:lnTo>
                    <a:pt x="163" y="54"/>
                  </a:lnTo>
                  <a:lnTo>
                    <a:pt x="164" y="62"/>
                  </a:lnTo>
                  <a:lnTo>
                    <a:pt x="163" y="65"/>
                  </a:lnTo>
                  <a:lnTo>
                    <a:pt x="160" y="68"/>
                  </a:lnTo>
                  <a:lnTo>
                    <a:pt x="157" y="71"/>
                  </a:lnTo>
                  <a:lnTo>
                    <a:pt x="153" y="73"/>
                  </a:lnTo>
                  <a:lnTo>
                    <a:pt x="153" y="104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730" name="Freeform 199"/>
            <p:cNvSpPr>
              <a:spLocks/>
            </p:cNvSpPr>
            <p:nvPr>
              <p:custDataLst>
                <p:tags r:id="rId122"/>
              </p:custDataLst>
            </p:nvPr>
          </p:nvSpPr>
          <p:spPr bwMode="auto">
            <a:xfrm>
              <a:off x="3799328" y="6141502"/>
              <a:ext cx="26496" cy="72442"/>
            </a:xfrm>
            <a:custGeom>
              <a:avLst/>
              <a:gdLst>
                <a:gd name="T0" fmla="*/ 9663 w 46"/>
                <a:gd name="T1" fmla="*/ 0 h 27"/>
                <a:gd name="T2" fmla="*/ 0 w 46"/>
                <a:gd name="T3" fmla="*/ 40217 h 27"/>
                <a:gd name="T4" fmla="*/ 4348 w 46"/>
                <a:gd name="T5" fmla="*/ 49154 h 27"/>
                <a:gd name="T6" fmla="*/ 7730 w 46"/>
                <a:gd name="T7" fmla="*/ 55856 h 27"/>
                <a:gd name="T8" fmla="*/ 11113 w 46"/>
                <a:gd name="T9" fmla="*/ 60325 h 27"/>
                <a:gd name="T10" fmla="*/ 14011 w 46"/>
                <a:gd name="T11" fmla="*/ 60325 h 27"/>
                <a:gd name="T12" fmla="*/ 15944 w 46"/>
                <a:gd name="T13" fmla="*/ 60325 h 27"/>
                <a:gd name="T14" fmla="*/ 17877 w 46"/>
                <a:gd name="T15" fmla="*/ 55856 h 27"/>
                <a:gd name="T16" fmla="*/ 20292 w 46"/>
                <a:gd name="T17" fmla="*/ 49154 h 27"/>
                <a:gd name="T18" fmla="*/ 22225 w 46"/>
                <a:gd name="T19" fmla="*/ 40217 h 27"/>
                <a:gd name="T20" fmla="*/ 19809 w 46"/>
                <a:gd name="T21" fmla="*/ 35748 h 27"/>
                <a:gd name="T22" fmla="*/ 15944 w 46"/>
                <a:gd name="T23" fmla="*/ 24577 h 27"/>
                <a:gd name="T24" fmla="*/ 12562 w 46"/>
                <a:gd name="T25" fmla="*/ 11171 h 27"/>
                <a:gd name="T26" fmla="*/ 9663 w 46"/>
                <a:gd name="T27" fmla="*/ 0 h 2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46" h="27">
                  <a:moveTo>
                    <a:pt x="20" y="0"/>
                  </a:moveTo>
                  <a:lnTo>
                    <a:pt x="0" y="18"/>
                  </a:lnTo>
                  <a:lnTo>
                    <a:pt x="9" y="22"/>
                  </a:lnTo>
                  <a:lnTo>
                    <a:pt x="16" y="25"/>
                  </a:lnTo>
                  <a:lnTo>
                    <a:pt x="23" y="27"/>
                  </a:lnTo>
                  <a:lnTo>
                    <a:pt x="29" y="27"/>
                  </a:lnTo>
                  <a:lnTo>
                    <a:pt x="33" y="27"/>
                  </a:lnTo>
                  <a:lnTo>
                    <a:pt x="37" y="25"/>
                  </a:lnTo>
                  <a:lnTo>
                    <a:pt x="42" y="22"/>
                  </a:lnTo>
                  <a:lnTo>
                    <a:pt x="46" y="18"/>
                  </a:lnTo>
                  <a:lnTo>
                    <a:pt x="41" y="16"/>
                  </a:lnTo>
                  <a:lnTo>
                    <a:pt x="33" y="11"/>
                  </a:lnTo>
                  <a:lnTo>
                    <a:pt x="26" y="5"/>
                  </a:lnTo>
                  <a:lnTo>
                    <a:pt x="2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731" name="Freeform 200"/>
            <p:cNvSpPr>
              <a:spLocks/>
            </p:cNvSpPr>
            <p:nvPr>
              <p:custDataLst>
                <p:tags r:id="rId123"/>
              </p:custDataLst>
            </p:nvPr>
          </p:nvSpPr>
          <p:spPr bwMode="auto">
            <a:xfrm>
              <a:off x="3763368" y="6133877"/>
              <a:ext cx="30282" cy="72442"/>
            </a:xfrm>
            <a:custGeom>
              <a:avLst/>
              <a:gdLst>
                <a:gd name="T0" fmla="*/ 15993 w 54"/>
                <a:gd name="T1" fmla="*/ 0 h 39"/>
                <a:gd name="T2" fmla="*/ 9407 w 54"/>
                <a:gd name="T3" fmla="*/ 6187 h 39"/>
                <a:gd name="T4" fmla="*/ 4704 w 54"/>
                <a:gd name="T5" fmla="*/ 15468 h 39"/>
                <a:gd name="T6" fmla="*/ 2822 w 54"/>
                <a:gd name="T7" fmla="*/ 20108 h 39"/>
                <a:gd name="T8" fmla="*/ 1881 w 54"/>
                <a:gd name="T9" fmla="*/ 24749 h 39"/>
                <a:gd name="T10" fmla="*/ 941 w 54"/>
                <a:gd name="T11" fmla="*/ 30936 h 39"/>
                <a:gd name="T12" fmla="*/ 0 w 54"/>
                <a:gd name="T13" fmla="*/ 37123 h 39"/>
                <a:gd name="T14" fmla="*/ 941 w 54"/>
                <a:gd name="T15" fmla="*/ 43310 h 39"/>
                <a:gd name="T16" fmla="*/ 1411 w 54"/>
                <a:gd name="T17" fmla="*/ 49497 h 39"/>
                <a:gd name="T18" fmla="*/ 2352 w 54"/>
                <a:gd name="T19" fmla="*/ 54138 h 39"/>
                <a:gd name="T20" fmla="*/ 3763 w 54"/>
                <a:gd name="T21" fmla="*/ 57231 h 39"/>
                <a:gd name="T22" fmla="*/ 5174 w 54"/>
                <a:gd name="T23" fmla="*/ 58778 h 39"/>
                <a:gd name="T24" fmla="*/ 7526 w 54"/>
                <a:gd name="T25" fmla="*/ 60325 h 39"/>
                <a:gd name="T26" fmla="*/ 9407 w 54"/>
                <a:gd name="T27" fmla="*/ 60325 h 39"/>
                <a:gd name="T28" fmla="*/ 11759 w 54"/>
                <a:gd name="T29" fmla="*/ 60325 h 39"/>
                <a:gd name="T30" fmla="*/ 14111 w 54"/>
                <a:gd name="T31" fmla="*/ 58778 h 39"/>
                <a:gd name="T32" fmla="*/ 15993 w 54"/>
                <a:gd name="T33" fmla="*/ 57231 h 39"/>
                <a:gd name="T34" fmla="*/ 18344 w 54"/>
                <a:gd name="T35" fmla="*/ 54138 h 39"/>
                <a:gd name="T36" fmla="*/ 20226 w 54"/>
                <a:gd name="T37" fmla="*/ 51044 h 39"/>
                <a:gd name="T38" fmla="*/ 22107 w 54"/>
                <a:gd name="T39" fmla="*/ 46404 h 39"/>
                <a:gd name="T40" fmla="*/ 23519 w 54"/>
                <a:gd name="T41" fmla="*/ 40217 h 39"/>
                <a:gd name="T42" fmla="*/ 24459 w 54"/>
                <a:gd name="T43" fmla="*/ 34029 h 39"/>
                <a:gd name="T44" fmla="*/ 25400 w 54"/>
                <a:gd name="T45" fmla="*/ 27842 h 39"/>
                <a:gd name="T46" fmla="*/ 23989 w 54"/>
                <a:gd name="T47" fmla="*/ 26296 h 39"/>
                <a:gd name="T48" fmla="*/ 22578 w 54"/>
                <a:gd name="T49" fmla="*/ 24749 h 39"/>
                <a:gd name="T50" fmla="*/ 20696 w 54"/>
                <a:gd name="T51" fmla="*/ 21655 h 39"/>
                <a:gd name="T52" fmla="*/ 19756 w 54"/>
                <a:gd name="T53" fmla="*/ 17015 h 39"/>
                <a:gd name="T54" fmla="*/ 18344 w 54"/>
                <a:gd name="T55" fmla="*/ 12374 h 39"/>
                <a:gd name="T56" fmla="*/ 17404 w 54"/>
                <a:gd name="T57" fmla="*/ 7734 h 39"/>
                <a:gd name="T58" fmla="*/ 15993 w 54"/>
                <a:gd name="T59" fmla="*/ 3094 h 39"/>
                <a:gd name="T60" fmla="*/ 15993 w 54"/>
                <a:gd name="T61" fmla="*/ 0 h 39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54" h="39">
                  <a:moveTo>
                    <a:pt x="34" y="0"/>
                  </a:moveTo>
                  <a:lnTo>
                    <a:pt x="20" y="4"/>
                  </a:lnTo>
                  <a:lnTo>
                    <a:pt x="10" y="10"/>
                  </a:lnTo>
                  <a:lnTo>
                    <a:pt x="6" y="13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0" y="24"/>
                  </a:lnTo>
                  <a:lnTo>
                    <a:pt x="2" y="28"/>
                  </a:lnTo>
                  <a:lnTo>
                    <a:pt x="3" y="32"/>
                  </a:lnTo>
                  <a:lnTo>
                    <a:pt x="5" y="35"/>
                  </a:lnTo>
                  <a:lnTo>
                    <a:pt x="8" y="37"/>
                  </a:lnTo>
                  <a:lnTo>
                    <a:pt x="11" y="38"/>
                  </a:lnTo>
                  <a:lnTo>
                    <a:pt x="16" y="39"/>
                  </a:lnTo>
                  <a:lnTo>
                    <a:pt x="20" y="39"/>
                  </a:lnTo>
                  <a:lnTo>
                    <a:pt x="25" y="39"/>
                  </a:lnTo>
                  <a:lnTo>
                    <a:pt x="30" y="38"/>
                  </a:lnTo>
                  <a:lnTo>
                    <a:pt x="34" y="37"/>
                  </a:lnTo>
                  <a:lnTo>
                    <a:pt x="39" y="35"/>
                  </a:lnTo>
                  <a:lnTo>
                    <a:pt x="43" y="33"/>
                  </a:lnTo>
                  <a:lnTo>
                    <a:pt x="47" y="30"/>
                  </a:lnTo>
                  <a:lnTo>
                    <a:pt x="50" y="26"/>
                  </a:lnTo>
                  <a:lnTo>
                    <a:pt x="52" y="22"/>
                  </a:lnTo>
                  <a:lnTo>
                    <a:pt x="54" y="18"/>
                  </a:lnTo>
                  <a:lnTo>
                    <a:pt x="51" y="17"/>
                  </a:lnTo>
                  <a:lnTo>
                    <a:pt x="48" y="16"/>
                  </a:lnTo>
                  <a:lnTo>
                    <a:pt x="44" y="14"/>
                  </a:lnTo>
                  <a:lnTo>
                    <a:pt x="42" y="11"/>
                  </a:lnTo>
                  <a:lnTo>
                    <a:pt x="39" y="8"/>
                  </a:lnTo>
                  <a:lnTo>
                    <a:pt x="37" y="5"/>
                  </a:lnTo>
                  <a:lnTo>
                    <a:pt x="34" y="2"/>
                  </a:lnTo>
                  <a:lnTo>
                    <a:pt x="34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732" name="Freeform 201"/>
            <p:cNvSpPr>
              <a:spLocks/>
            </p:cNvSpPr>
            <p:nvPr>
              <p:custDataLst>
                <p:tags r:id="rId124"/>
              </p:custDataLst>
            </p:nvPr>
          </p:nvSpPr>
          <p:spPr bwMode="auto">
            <a:xfrm>
              <a:off x="3733087" y="6122437"/>
              <a:ext cx="34067" cy="70537"/>
            </a:xfrm>
            <a:custGeom>
              <a:avLst/>
              <a:gdLst>
                <a:gd name="T0" fmla="*/ 0 w 60"/>
                <a:gd name="T1" fmla="*/ 43075 h 15"/>
                <a:gd name="T2" fmla="*/ 4763 w 60"/>
                <a:gd name="T3" fmla="*/ 50906 h 15"/>
                <a:gd name="T4" fmla="*/ 8573 w 60"/>
                <a:gd name="T5" fmla="*/ 54822 h 15"/>
                <a:gd name="T6" fmla="*/ 12859 w 60"/>
                <a:gd name="T7" fmla="*/ 58738 h 15"/>
                <a:gd name="T8" fmla="*/ 16669 w 60"/>
                <a:gd name="T9" fmla="*/ 58738 h 15"/>
                <a:gd name="T10" fmla="*/ 19526 w 60"/>
                <a:gd name="T11" fmla="*/ 54822 h 15"/>
                <a:gd name="T12" fmla="*/ 22860 w 60"/>
                <a:gd name="T13" fmla="*/ 46990 h 15"/>
                <a:gd name="T14" fmla="*/ 26194 w 60"/>
                <a:gd name="T15" fmla="*/ 35243 h 15"/>
                <a:gd name="T16" fmla="*/ 28575 w 60"/>
                <a:gd name="T17" fmla="*/ 19579 h 15"/>
                <a:gd name="T18" fmla="*/ 27146 w 60"/>
                <a:gd name="T19" fmla="*/ 11748 h 15"/>
                <a:gd name="T20" fmla="*/ 25718 w 60"/>
                <a:gd name="T21" fmla="*/ 0 h 15"/>
                <a:gd name="T22" fmla="*/ 24289 w 60"/>
                <a:gd name="T23" fmla="*/ 0 h 15"/>
                <a:gd name="T24" fmla="*/ 22384 w 60"/>
                <a:gd name="T25" fmla="*/ 0 h 15"/>
                <a:gd name="T26" fmla="*/ 19050 w 60"/>
                <a:gd name="T27" fmla="*/ 0 h 15"/>
                <a:gd name="T28" fmla="*/ 15716 w 60"/>
                <a:gd name="T29" fmla="*/ 11748 h 15"/>
                <a:gd name="T30" fmla="*/ 11430 w 60"/>
                <a:gd name="T31" fmla="*/ 23495 h 15"/>
                <a:gd name="T32" fmla="*/ 7620 w 60"/>
                <a:gd name="T33" fmla="*/ 31327 h 15"/>
                <a:gd name="T34" fmla="*/ 3334 w 60"/>
                <a:gd name="T35" fmla="*/ 39159 h 15"/>
                <a:gd name="T36" fmla="*/ 0 w 60"/>
                <a:gd name="T37" fmla="*/ 43075 h 1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0" h="15">
                  <a:moveTo>
                    <a:pt x="0" y="11"/>
                  </a:moveTo>
                  <a:lnTo>
                    <a:pt x="10" y="13"/>
                  </a:lnTo>
                  <a:lnTo>
                    <a:pt x="18" y="14"/>
                  </a:lnTo>
                  <a:lnTo>
                    <a:pt x="27" y="15"/>
                  </a:lnTo>
                  <a:lnTo>
                    <a:pt x="35" y="15"/>
                  </a:lnTo>
                  <a:lnTo>
                    <a:pt x="41" y="14"/>
                  </a:lnTo>
                  <a:lnTo>
                    <a:pt x="48" y="12"/>
                  </a:lnTo>
                  <a:lnTo>
                    <a:pt x="55" y="9"/>
                  </a:lnTo>
                  <a:lnTo>
                    <a:pt x="60" y="5"/>
                  </a:lnTo>
                  <a:lnTo>
                    <a:pt x="57" y="3"/>
                  </a:lnTo>
                  <a:lnTo>
                    <a:pt x="54" y="0"/>
                  </a:lnTo>
                  <a:lnTo>
                    <a:pt x="51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3" y="3"/>
                  </a:lnTo>
                  <a:lnTo>
                    <a:pt x="24" y="6"/>
                  </a:lnTo>
                  <a:lnTo>
                    <a:pt x="16" y="8"/>
                  </a:lnTo>
                  <a:lnTo>
                    <a:pt x="7" y="10"/>
                  </a:lnTo>
                  <a:lnTo>
                    <a:pt x="0" y="1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733" name="Freeform 202"/>
            <p:cNvSpPr>
              <a:spLocks/>
            </p:cNvSpPr>
            <p:nvPr>
              <p:custDataLst>
                <p:tags r:id="rId125"/>
              </p:custDataLst>
            </p:nvPr>
          </p:nvSpPr>
          <p:spPr bwMode="auto">
            <a:xfrm>
              <a:off x="3704697" y="6107186"/>
              <a:ext cx="39745" cy="68630"/>
            </a:xfrm>
            <a:custGeom>
              <a:avLst/>
              <a:gdLst>
                <a:gd name="T0" fmla="*/ 16880 w 79"/>
                <a:gd name="T1" fmla="*/ 0 h 32"/>
                <a:gd name="T2" fmla="*/ 14348 w 79"/>
                <a:gd name="T3" fmla="*/ 1786 h 32"/>
                <a:gd name="T4" fmla="*/ 12660 w 79"/>
                <a:gd name="T5" fmla="*/ 3572 h 32"/>
                <a:gd name="T6" fmla="*/ 10550 w 79"/>
                <a:gd name="T7" fmla="*/ 7144 h 32"/>
                <a:gd name="T8" fmla="*/ 8440 w 79"/>
                <a:gd name="T9" fmla="*/ 10716 h 32"/>
                <a:gd name="T10" fmla="*/ 6330 w 79"/>
                <a:gd name="T11" fmla="*/ 16073 h 32"/>
                <a:gd name="T12" fmla="*/ 4220 w 79"/>
                <a:gd name="T13" fmla="*/ 19645 h 32"/>
                <a:gd name="T14" fmla="*/ 2110 w 79"/>
                <a:gd name="T15" fmla="*/ 21431 h 32"/>
                <a:gd name="T16" fmla="*/ 0 w 79"/>
                <a:gd name="T17" fmla="*/ 23217 h 32"/>
                <a:gd name="T18" fmla="*/ 2110 w 79"/>
                <a:gd name="T19" fmla="*/ 37505 h 32"/>
                <a:gd name="T20" fmla="*/ 4220 w 79"/>
                <a:gd name="T21" fmla="*/ 46434 h 32"/>
                <a:gd name="T22" fmla="*/ 5064 w 79"/>
                <a:gd name="T23" fmla="*/ 51792 h 32"/>
                <a:gd name="T24" fmla="*/ 6330 w 79"/>
                <a:gd name="T25" fmla="*/ 55364 h 32"/>
                <a:gd name="T26" fmla="*/ 7596 w 79"/>
                <a:gd name="T27" fmla="*/ 55364 h 32"/>
                <a:gd name="T28" fmla="*/ 8440 w 79"/>
                <a:gd name="T29" fmla="*/ 57150 h 32"/>
                <a:gd name="T30" fmla="*/ 11394 w 79"/>
                <a:gd name="T31" fmla="*/ 55364 h 32"/>
                <a:gd name="T32" fmla="*/ 14348 w 79"/>
                <a:gd name="T33" fmla="*/ 53578 h 32"/>
                <a:gd name="T34" fmla="*/ 17302 w 79"/>
                <a:gd name="T35" fmla="*/ 48220 h 32"/>
                <a:gd name="T36" fmla="*/ 20256 w 79"/>
                <a:gd name="T37" fmla="*/ 42863 h 32"/>
                <a:gd name="T38" fmla="*/ 26164 w 79"/>
                <a:gd name="T39" fmla="*/ 32147 h 32"/>
                <a:gd name="T40" fmla="*/ 33338 w 79"/>
                <a:gd name="T41" fmla="*/ 23217 h 32"/>
                <a:gd name="T42" fmla="*/ 28274 w 79"/>
                <a:gd name="T43" fmla="*/ 10716 h 32"/>
                <a:gd name="T44" fmla="*/ 24476 w 79"/>
                <a:gd name="T45" fmla="*/ 3572 h 32"/>
                <a:gd name="T46" fmla="*/ 20678 w 79"/>
                <a:gd name="T47" fmla="*/ 1786 h 32"/>
                <a:gd name="T48" fmla="*/ 16880 w 79"/>
                <a:gd name="T49" fmla="*/ 0 h 3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79" h="32">
                  <a:moveTo>
                    <a:pt x="40" y="0"/>
                  </a:moveTo>
                  <a:lnTo>
                    <a:pt x="34" y="1"/>
                  </a:lnTo>
                  <a:lnTo>
                    <a:pt x="30" y="2"/>
                  </a:lnTo>
                  <a:lnTo>
                    <a:pt x="25" y="4"/>
                  </a:lnTo>
                  <a:lnTo>
                    <a:pt x="20" y="6"/>
                  </a:lnTo>
                  <a:lnTo>
                    <a:pt x="15" y="9"/>
                  </a:lnTo>
                  <a:lnTo>
                    <a:pt x="10" y="11"/>
                  </a:lnTo>
                  <a:lnTo>
                    <a:pt x="5" y="12"/>
                  </a:lnTo>
                  <a:lnTo>
                    <a:pt x="0" y="13"/>
                  </a:lnTo>
                  <a:lnTo>
                    <a:pt x="5" y="21"/>
                  </a:lnTo>
                  <a:lnTo>
                    <a:pt x="10" y="26"/>
                  </a:lnTo>
                  <a:lnTo>
                    <a:pt x="12" y="29"/>
                  </a:lnTo>
                  <a:lnTo>
                    <a:pt x="15" y="31"/>
                  </a:lnTo>
                  <a:lnTo>
                    <a:pt x="18" y="31"/>
                  </a:lnTo>
                  <a:lnTo>
                    <a:pt x="20" y="32"/>
                  </a:lnTo>
                  <a:lnTo>
                    <a:pt x="27" y="31"/>
                  </a:lnTo>
                  <a:lnTo>
                    <a:pt x="34" y="30"/>
                  </a:lnTo>
                  <a:lnTo>
                    <a:pt x="41" y="27"/>
                  </a:lnTo>
                  <a:lnTo>
                    <a:pt x="48" y="24"/>
                  </a:lnTo>
                  <a:lnTo>
                    <a:pt x="62" y="18"/>
                  </a:lnTo>
                  <a:lnTo>
                    <a:pt x="79" y="13"/>
                  </a:lnTo>
                  <a:lnTo>
                    <a:pt x="67" y="6"/>
                  </a:lnTo>
                  <a:lnTo>
                    <a:pt x="58" y="2"/>
                  </a:lnTo>
                  <a:lnTo>
                    <a:pt x="49" y="1"/>
                  </a:lnTo>
                  <a:lnTo>
                    <a:pt x="4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734" name="Freeform 203"/>
            <p:cNvSpPr>
              <a:spLocks/>
            </p:cNvSpPr>
            <p:nvPr>
              <p:custDataLst>
                <p:tags r:id="rId126"/>
              </p:custDataLst>
            </p:nvPr>
          </p:nvSpPr>
          <p:spPr bwMode="auto">
            <a:xfrm>
              <a:off x="3697127" y="6084310"/>
              <a:ext cx="35960" cy="68630"/>
            </a:xfrm>
            <a:custGeom>
              <a:avLst/>
              <a:gdLst>
                <a:gd name="T0" fmla="*/ 15082 w 66"/>
                <a:gd name="T1" fmla="*/ 0 h 19"/>
                <a:gd name="T2" fmla="*/ 11425 w 66"/>
                <a:gd name="T3" fmla="*/ 3008 h 19"/>
                <a:gd name="T4" fmla="*/ 8683 w 66"/>
                <a:gd name="T5" fmla="*/ 6016 h 19"/>
                <a:gd name="T6" fmla="*/ 5941 w 66"/>
                <a:gd name="T7" fmla="*/ 12032 h 19"/>
                <a:gd name="T8" fmla="*/ 4113 w 66"/>
                <a:gd name="T9" fmla="*/ 21055 h 19"/>
                <a:gd name="T10" fmla="*/ 2285 w 66"/>
                <a:gd name="T11" fmla="*/ 33087 h 19"/>
                <a:gd name="T12" fmla="*/ 914 w 66"/>
                <a:gd name="T13" fmla="*/ 42111 h 19"/>
                <a:gd name="T14" fmla="*/ 0 w 66"/>
                <a:gd name="T15" fmla="*/ 51134 h 19"/>
                <a:gd name="T16" fmla="*/ 0 w 66"/>
                <a:gd name="T17" fmla="*/ 57150 h 19"/>
                <a:gd name="T18" fmla="*/ 8683 w 66"/>
                <a:gd name="T19" fmla="*/ 57150 h 19"/>
                <a:gd name="T20" fmla="*/ 17367 w 66"/>
                <a:gd name="T21" fmla="*/ 57150 h 19"/>
                <a:gd name="T22" fmla="*/ 21023 w 66"/>
                <a:gd name="T23" fmla="*/ 54142 h 19"/>
                <a:gd name="T24" fmla="*/ 24679 w 66"/>
                <a:gd name="T25" fmla="*/ 51134 h 19"/>
                <a:gd name="T26" fmla="*/ 27878 w 66"/>
                <a:gd name="T27" fmla="*/ 45118 h 19"/>
                <a:gd name="T28" fmla="*/ 30163 w 66"/>
                <a:gd name="T29" fmla="*/ 39103 h 19"/>
                <a:gd name="T30" fmla="*/ 26050 w 66"/>
                <a:gd name="T31" fmla="*/ 24063 h 19"/>
                <a:gd name="T32" fmla="*/ 22851 w 66"/>
                <a:gd name="T33" fmla="*/ 12032 h 19"/>
                <a:gd name="T34" fmla="*/ 19195 w 66"/>
                <a:gd name="T35" fmla="*/ 3008 h 19"/>
                <a:gd name="T36" fmla="*/ 15082 w 66"/>
                <a:gd name="T37" fmla="*/ 0 h 1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6" h="19">
                  <a:moveTo>
                    <a:pt x="33" y="0"/>
                  </a:moveTo>
                  <a:lnTo>
                    <a:pt x="25" y="1"/>
                  </a:lnTo>
                  <a:lnTo>
                    <a:pt x="19" y="2"/>
                  </a:lnTo>
                  <a:lnTo>
                    <a:pt x="13" y="4"/>
                  </a:lnTo>
                  <a:lnTo>
                    <a:pt x="9" y="7"/>
                  </a:lnTo>
                  <a:lnTo>
                    <a:pt x="5" y="11"/>
                  </a:lnTo>
                  <a:lnTo>
                    <a:pt x="2" y="14"/>
                  </a:lnTo>
                  <a:lnTo>
                    <a:pt x="0" y="17"/>
                  </a:lnTo>
                  <a:lnTo>
                    <a:pt x="0" y="19"/>
                  </a:lnTo>
                  <a:lnTo>
                    <a:pt x="19" y="19"/>
                  </a:lnTo>
                  <a:lnTo>
                    <a:pt x="38" y="19"/>
                  </a:lnTo>
                  <a:lnTo>
                    <a:pt x="46" y="18"/>
                  </a:lnTo>
                  <a:lnTo>
                    <a:pt x="54" y="17"/>
                  </a:lnTo>
                  <a:lnTo>
                    <a:pt x="61" y="15"/>
                  </a:lnTo>
                  <a:lnTo>
                    <a:pt x="66" y="13"/>
                  </a:lnTo>
                  <a:lnTo>
                    <a:pt x="57" y="8"/>
                  </a:lnTo>
                  <a:lnTo>
                    <a:pt x="50" y="4"/>
                  </a:lnTo>
                  <a:lnTo>
                    <a:pt x="42" y="1"/>
                  </a:lnTo>
                  <a:lnTo>
                    <a:pt x="3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735" name="Freeform 204"/>
            <p:cNvSpPr>
              <a:spLocks/>
            </p:cNvSpPr>
            <p:nvPr>
              <p:custDataLst>
                <p:tags r:id="rId127"/>
              </p:custDataLst>
            </p:nvPr>
          </p:nvSpPr>
          <p:spPr bwMode="auto">
            <a:xfrm>
              <a:off x="3577893" y="5712568"/>
              <a:ext cx="30282" cy="72442"/>
            </a:xfrm>
            <a:custGeom>
              <a:avLst/>
              <a:gdLst>
                <a:gd name="T0" fmla="*/ 6230 w 53"/>
                <a:gd name="T1" fmla="*/ 0 h 80"/>
                <a:gd name="T2" fmla="*/ 3834 w 53"/>
                <a:gd name="T3" fmla="*/ 3770 h 80"/>
                <a:gd name="T4" fmla="*/ 1917 w 53"/>
                <a:gd name="T5" fmla="*/ 7541 h 80"/>
                <a:gd name="T6" fmla="*/ 958 w 53"/>
                <a:gd name="T7" fmla="*/ 9803 h 80"/>
                <a:gd name="T8" fmla="*/ 479 w 53"/>
                <a:gd name="T9" fmla="*/ 12065 h 80"/>
                <a:gd name="T10" fmla="*/ 0 w 53"/>
                <a:gd name="T11" fmla="*/ 15081 h 80"/>
                <a:gd name="T12" fmla="*/ 0 w 53"/>
                <a:gd name="T13" fmla="*/ 18852 h 80"/>
                <a:gd name="T14" fmla="*/ 0 w 53"/>
                <a:gd name="T15" fmla="*/ 22622 h 80"/>
                <a:gd name="T16" fmla="*/ 958 w 53"/>
                <a:gd name="T17" fmla="*/ 29408 h 80"/>
                <a:gd name="T18" fmla="*/ 2875 w 53"/>
                <a:gd name="T19" fmla="*/ 36195 h 80"/>
                <a:gd name="T20" fmla="*/ 4313 w 53"/>
                <a:gd name="T21" fmla="*/ 42982 h 80"/>
                <a:gd name="T22" fmla="*/ 6230 w 53"/>
                <a:gd name="T23" fmla="*/ 49768 h 80"/>
                <a:gd name="T24" fmla="*/ 9585 w 53"/>
                <a:gd name="T25" fmla="*/ 55047 h 80"/>
                <a:gd name="T26" fmla="*/ 10543 w 53"/>
                <a:gd name="T27" fmla="*/ 57309 h 80"/>
                <a:gd name="T28" fmla="*/ 12460 w 53"/>
                <a:gd name="T29" fmla="*/ 58817 h 80"/>
                <a:gd name="T30" fmla="*/ 14377 w 53"/>
                <a:gd name="T31" fmla="*/ 60325 h 80"/>
                <a:gd name="T32" fmla="*/ 15815 w 53"/>
                <a:gd name="T33" fmla="*/ 60325 h 80"/>
                <a:gd name="T34" fmla="*/ 17253 w 53"/>
                <a:gd name="T35" fmla="*/ 59571 h 80"/>
                <a:gd name="T36" fmla="*/ 18211 w 53"/>
                <a:gd name="T37" fmla="*/ 58817 h 80"/>
                <a:gd name="T38" fmla="*/ 20128 w 53"/>
                <a:gd name="T39" fmla="*/ 57309 h 80"/>
                <a:gd name="T40" fmla="*/ 21566 w 53"/>
                <a:gd name="T41" fmla="*/ 55047 h 80"/>
                <a:gd name="T42" fmla="*/ 23004 w 53"/>
                <a:gd name="T43" fmla="*/ 52784 h 80"/>
                <a:gd name="T44" fmla="*/ 24442 w 53"/>
                <a:gd name="T45" fmla="*/ 50522 h 80"/>
                <a:gd name="T46" fmla="*/ 25400 w 53"/>
                <a:gd name="T47" fmla="*/ 48260 h 80"/>
                <a:gd name="T48" fmla="*/ 25400 w 53"/>
                <a:gd name="T49" fmla="*/ 46752 h 80"/>
                <a:gd name="T50" fmla="*/ 24921 w 53"/>
                <a:gd name="T51" fmla="*/ 40719 h 80"/>
                <a:gd name="T52" fmla="*/ 23483 w 53"/>
                <a:gd name="T53" fmla="*/ 35441 h 80"/>
                <a:gd name="T54" fmla="*/ 22045 w 53"/>
                <a:gd name="T55" fmla="*/ 31671 h 80"/>
                <a:gd name="T56" fmla="*/ 20608 w 53"/>
                <a:gd name="T57" fmla="*/ 27900 h 80"/>
                <a:gd name="T58" fmla="*/ 19170 w 53"/>
                <a:gd name="T59" fmla="*/ 24130 h 80"/>
                <a:gd name="T60" fmla="*/ 17253 w 53"/>
                <a:gd name="T61" fmla="*/ 20360 h 80"/>
                <a:gd name="T62" fmla="*/ 16294 w 53"/>
                <a:gd name="T63" fmla="*/ 15081 h 80"/>
                <a:gd name="T64" fmla="*/ 15815 w 53"/>
                <a:gd name="T65" fmla="*/ 9049 h 80"/>
                <a:gd name="T66" fmla="*/ 15815 w 53"/>
                <a:gd name="T67" fmla="*/ 7541 h 80"/>
                <a:gd name="T68" fmla="*/ 14857 w 53"/>
                <a:gd name="T69" fmla="*/ 6033 h 80"/>
                <a:gd name="T70" fmla="*/ 13898 w 53"/>
                <a:gd name="T71" fmla="*/ 4524 h 80"/>
                <a:gd name="T72" fmla="*/ 11981 w 53"/>
                <a:gd name="T73" fmla="*/ 3016 h 80"/>
                <a:gd name="T74" fmla="*/ 9106 w 53"/>
                <a:gd name="T75" fmla="*/ 754 h 80"/>
                <a:gd name="T76" fmla="*/ 6230 w 53"/>
                <a:gd name="T77" fmla="*/ 0 h 80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53" h="80">
                  <a:moveTo>
                    <a:pt x="13" y="0"/>
                  </a:moveTo>
                  <a:lnTo>
                    <a:pt x="8" y="5"/>
                  </a:lnTo>
                  <a:lnTo>
                    <a:pt x="4" y="10"/>
                  </a:lnTo>
                  <a:lnTo>
                    <a:pt x="2" y="13"/>
                  </a:lnTo>
                  <a:lnTo>
                    <a:pt x="1" y="16"/>
                  </a:lnTo>
                  <a:lnTo>
                    <a:pt x="0" y="20"/>
                  </a:lnTo>
                  <a:lnTo>
                    <a:pt x="0" y="25"/>
                  </a:lnTo>
                  <a:lnTo>
                    <a:pt x="0" y="30"/>
                  </a:lnTo>
                  <a:lnTo>
                    <a:pt x="2" y="39"/>
                  </a:lnTo>
                  <a:lnTo>
                    <a:pt x="6" y="48"/>
                  </a:lnTo>
                  <a:lnTo>
                    <a:pt x="9" y="57"/>
                  </a:lnTo>
                  <a:lnTo>
                    <a:pt x="13" y="66"/>
                  </a:lnTo>
                  <a:lnTo>
                    <a:pt x="20" y="73"/>
                  </a:lnTo>
                  <a:lnTo>
                    <a:pt x="22" y="76"/>
                  </a:lnTo>
                  <a:lnTo>
                    <a:pt x="26" y="78"/>
                  </a:lnTo>
                  <a:lnTo>
                    <a:pt x="30" y="80"/>
                  </a:lnTo>
                  <a:lnTo>
                    <a:pt x="33" y="80"/>
                  </a:lnTo>
                  <a:lnTo>
                    <a:pt x="36" y="79"/>
                  </a:lnTo>
                  <a:lnTo>
                    <a:pt x="38" y="78"/>
                  </a:lnTo>
                  <a:lnTo>
                    <a:pt x="42" y="76"/>
                  </a:lnTo>
                  <a:lnTo>
                    <a:pt x="45" y="73"/>
                  </a:lnTo>
                  <a:lnTo>
                    <a:pt x="48" y="70"/>
                  </a:lnTo>
                  <a:lnTo>
                    <a:pt x="51" y="67"/>
                  </a:lnTo>
                  <a:lnTo>
                    <a:pt x="53" y="64"/>
                  </a:lnTo>
                  <a:lnTo>
                    <a:pt x="53" y="62"/>
                  </a:lnTo>
                  <a:lnTo>
                    <a:pt x="52" y="54"/>
                  </a:lnTo>
                  <a:lnTo>
                    <a:pt x="49" y="47"/>
                  </a:lnTo>
                  <a:lnTo>
                    <a:pt x="46" y="42"/>
                  </a:lnTo>
                  <a:lnTo>
                    <a:pt x="43" y="37"/>
                  </a:lnTo>
                  <a:lnTo>
                    <a:pt x="40" y="32"/>
                  </a:lnTo>
                  <a:lnTo>
                    <a:pt x="36" y="27"/>
                  </a:lnTo>
                  <a:lnTo>
                    <a:pt x="34" y="20"/>
                  </a:lnTo>
                  <a:lnTo>
                    <a:pt x="33" y="12"/>
                  </a:lnTo>
                  <a:lnTo>
                    <a:pt x="33" y="10"/>
                  </a:lnTo>
                  <a:lnTo>
                    <a:pt x="31" y="8"/>
                  </a:lnTo>
                  <a:lnTo>
                    <a:pt x="29" y="6"/>
                  </a:lnTo>
                  <a:lnTo>
                    <a:pt x="25" y="4"/>
                  </a:lnTo>
                  <a:lnTo>
                    <a:pt x="19" y="1"/>
                  </a:lnTo>
                  <a:lnTo>
                    <a:pt x="1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736" name="Freeform 205"/>
            <p:cNvSpPr>
              <a:spLocks/>
            </p:cNvSpPr>
            <p:nvPr>
              <p:custDataLst>
                <p:tags r:id="rId128"/>
              </p:custDataLst>
            </p:nvPr>
          </p:nvSpPr>
          <p:spPr bwMode="auto">
            <a:xfrm>
              <a:off x="3613853" y="5826951"/>
              <a:ext cx="20819" cy="64817"/>
            </a:xfrm>
            <a:custGeom>
              <a:avLst/>
              <a:gdLst>
                <a:gd name="T0" fmla="*/ 0 w 41"/>
                <a:gd name="T1" fmla="*/ 53975 h 43"/>
                <a:gd name="T2" fmla="*/ 11500 w 41"/>
                <a:gd name="T3" fmla="*/ 53975 h 43"/>
                <a:gd name="T4" fmla="*/ 17463 w 41"/>
                <a:gd name="T5" fmla="*/ 30126 h 43"/>
                <a:gd name="T6" fmla="*/ 16185 w 41"/>
                <a:gd name="T7" fmla="*/ 15063 h 43"/>
                <a:gd name="T8" fmla="*/ 14482 w 41"/>
                <a:gd name="T9" fmla="*/ 0 h 43"/>
                <a:gd name="T10" fmla="*/ 11500 w 41"/>
                <a:gd name="T11" fmla="*/ 5021 h 43"/>
                <a:gd name="T12" fmla="*/ 8519 w 41"/>
                <a:gd name="T13" fmla="*/ 11297 h 43"/>
                <a:gd name="T14" fmla="*/ 6389 w 41"/>
                <a:gd name="T15" fmla="*/ 17573 h 43"/>
                <a:gd name="T16" fmla="*/ 4259 w 41"/>
                <a:gd name="T17" fmla="*/ 23849 h 43"/>
                <a:gd name="T18" fmla="*/ 2556 w 41"/>
                <a:gd name="T19" fmla="*/ 30126 h 43"/>
                <a:gd name="T20" fmla="*/ 1278 w 41"/>
                <a:gd name="T21" fmla="*/ 37657 h 43"/>
                <a:gd name="T22" fmla="*/ 426 w 41"/>
                <a:gd name="T23" fmla="*/ 46444 h 43"/>
                <a:gd name="T24" fmla="*/ 0 w 41"/>
                <a:gd name="T25" fmla="*/ 53975 h 4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1" h="43">
                  <a:moveTo>
                    <a:pt x="0" y="43"/>
                  </a:moveTo>
                  <a:lnTo>
                    <a:pt x="27" y="43"/>
                  </a:lnTo>
                  <a:lnTo>
                    <a:pt x="41" y="24"/>
                  </a:lnTo>
                  <a:lnTo>
                    <a:pt x="38" y="12"/>
                  </a:lnTo>
                  <a:lnTo>
                    <a:pt x="34" y="0"/>
                  </a:lnTo>
                  <a:lnTo>
                    <a:pt x="27" y="4"/>
                  </a:lnTo>
                  <a:lnTo>
                    <a:pt x="20" y="9"/>
                  </a:lnTo>
                  <a:lnTo>
                    <a:pt x="15" y="14"/>
                  </a:lnTo>
                  <a:lnTo>
                    <a:pt x="10" y="19"/>
                  </a:lnTo>
                  <a:lnTo>
                    <a:pt x="6" y="24"/>
                  </a:lnTo>
                  <a:lnTo>
                    <a:pt x="3" y="30"/>
                  </a:lnTo>
                  <a:lnTo>
                    <a:pt x="1" y="37"/>
                  </a:lnTo>
                  <a:lnTo>
                    <a:pt x="0" y="4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737" name="Freeform 206"/>
            <p:cNvSpPr>
              <a:spLocks/>
            </p:cNvSpPr>
            <p:nvPr>
              <p:custDataLst>
                <p:tags r:id="rId129"/>
              </p:custDataLst>
            </p:nvPr>
          </p:nvSpPr>
          <p:spPr bwMode="auto">
            <a:xfrm>
              <a:off x="3619531" y="5853640"/>
              <a:ext cx="9462" cy="70535"/>
            </a:xfrm>
            <a:custGeom>
              <a:avLst/>
              <a:gdLst>
                <a:gd name="T0" fmla="*/ 7937 w 20"/>
                <a:gd name="T1" fmla="*/ 0 h 24"/>
                <a:gd name="T2" fmla="*/ 0 w 20"/>
                <a:gd name="T3" fmla="*/ 0 h 24"/>
                <a:gd name="T4" fmla="*/ 397 w 20"/>
                <a:gd name="T5" fmla="*/ 12237 h 24"/>
                <a:gd name="T6" fmla="*/ 794 w 20"/>
                <a:gd name="T7" fmla="*/ 22026 h 24"/>
                <a:gd name="T8" fmla="*/ 1587 w 20"/>
                <a:gd name="T9" fmla="*/ 31816 h 24"/>
                <a:gd name="T10" fmla="*/ 2778 w 20"/>
                <a:gd name="T11" fmla="*/ 41605 h 24"/>
                <a:gd name="T12" fmla="*/ 3969 w 20"/>
                <a:gd name="T13" fmla="*/ 48948 h 24"/>
                <a:gd name="T14" fmla="*/ 5556 w 20"/>
                <a:gd name="T15" fmla="*/ 53842 h 24"/>
                <a:gd name="T16" fmla="*/ 6746 w 20"/>
                <a:gd name="T17" fmla="*/ 58737 h 24"/>
                <a:gd name="T18" fmla="*/ 7937 w 20"/>
                <a:gd name="T19" fmla="*/ 58737 h 24"/>
                <a:gd name="T20" fmla="*/ 7937 w 20"/>
                <a:gd name="T21" fmla="*/ 0 h 2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0" h="24">
                  <a:moveTo>
                    <a:pt x="20" y="0"/>
                  </a:moveTo>
                  <a:lnTo>
                    <a:pt x="0" y="0"/>
                  </a:lnTo>
                  <a:lnTo>
                    <a:pt x="1" y="5"/>
                  </a:lnTo>
                  <a:lnTo>
                    <a:pt x="2" y="9"/>
                  </a:lnTo>
                  <a:lnTo>
                    <a:pt x="4" y="13"/>
                  </a:lnTo>
                  <a:lnTo>
                    <a:pt x="7" y="17"/>
                  </a:lnTo>
                  <a:lnTo>
                    <a:pt x="10" y="20"/>
                  </a:lnTo>
                  <a:lnTo>
                    <a:pt x="14" y="22"/>
                  </a:lnTo>
                  <a:lnTo>
                    <a:pt x="17" y="24"/>
                  </a:lnTo>
                  <a:lnTo>
                    <a:pt x="20" y="24"/>
                  </a:lnTo>
                  <a:lnTo>
                    <a:pt x="2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738" name="Freeform 207"/>
            <p:cNvSpPr>
              <a:spLocks/>
            </p:cNvSpPr>
            <p:nvPr>
              <p:custDataLst>
                <p:tags r:id="rId130"/>
              </p:custDataLst>
            </p:nvPr>
          </p:nvSpPr>
          <p:spPr bwMode="auto">
            <a:xfrm>
              <a:off x="3636564" y="5927988"/>
              <a:ext cx="20819" cy="72442"/>
            </a:xfrm>
            <a:custGeom>
              <a:avLst/>
              <a:gdLst>
                <a:gd name="T0" fmla="*/ 0 w 39"/>
                <a:gd name="T1" fmla="*/ 16835 h 43"/>
                <a:gd name="T2" fmla="*/ 896 w 39"/>
                <a:gd name="T3" fmla="*/ 23849 h 43"/>
                <a:gd name="T4" fmla="*/ 2687 w 39"/>
                <a:gd name="T5" fmla="*/ 30864 h 43"/>
                <a:gd name="T6" fmla="*/ 5373 w 39"/>
                <a:gd name="T7" fmla="*/ 37878 h 43"/>
                <a:gd name="T8" fmla="*/ 7164 w 39"/>
                <a:gd name="T9" fmla="*/ 44893 h 43"/>
                <a:gd name="T10" fmla="*/ 10299 w 39"/>
                <a:gd name="T11" fmla="*/ 51908 h 43"/>
                <a:gd name="T12" fmla="*/ 12538 w 39"/>
                <a:gd name="T13" fmla="*/ 56116 h 43"/>
                <a:gd name="T14" fmla="*/ 15224 w 39"/>
                <a:gd name="T15" fmla="*/ 60325 h 43"/>
                <a:gd name="T16" fmla="*/ 17463 w 39"/>
                <a:gd name="T17" fmla="*/ 60325 h 43"/>
                <a:gd name="T18" fmla="*/ 17015 w 39"/>
                <a:gd name="T19" fmla="*/ 44893 h 43"/>
                <a:gd name="T20" fmla="*/ 16120 w 39"/>
                <a:gd name="T21" fmla="*/ 26655 h 43"/>
                <a:gd name="T22" fmla="*/ 15224 w 39"/>
                <a:gd name="T23" fmla="*/ 11223 h 43"/>
                <a:gd name="T24" fmla="*/ 14329 w 39"/>
                <a:gd name="T25" fmla="*/ 0 h 43"/>
                <a:gd name="T26" fmla="*/ 8508 w 39"/>
                <a:gd name="T27" fmla="*/ 4209 h 43"/>
                <a:gd name="T28" fmla="*/ 2687 w 39"/>
                <a:gd name="T29" fmla="*/ 8417 h 43"/>
                <a:gd name="T30" fmla="*/ 0 w 39"/>
                <a:gd name="T31" fmla="*/ 16835 h 4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39" h="43">
                  <a:moveTo>
                    <a:pt x="0" y="12"/>
                  </a:moveTo>
                  <a:lnTo>
                    <a:pt x="2" y="17"/>
                  </a:lnTo>
                  <a:lnTo>
                    <a:pt x="6" y="22"/>
                  </a:lnTo>
                  <a:lnTo>
                    <a:pt x="12" y="27"/>
                  </a:lnTo>
                  <a:lnTo>
                    <a:pt x="16" y="32"/>
                  </a:lnTo>
                  <a:lnTo>
                    <a:pt x="23" y="37"/>
                  </a:lnTo>
                  <a:lnTo>
                    <a:pt x="28" y="40"/>
                  </a:lnTo>
                  <a:lnTo>
                    <a:pt x="34" y="43"/>
                  </a:lnTo>
                  <a:lnTo>
                    <a:pt x="39" y="43"/>
                  </a:lnTo>
                  <a:lnTo>
                    <a:pt x="38" y="32"/>
                  </a:lnTo>
                  <a:lnTo>
                    <a:pt x="36" y="19"/>
                  </a:lnTo>
                  <a:lnTo>
                    <a:pt x="34" y="8"/>
                  </a:lnTo>
                  <a:lnTo>
                    <a:pt x="32" y="0"/>
                  </a:lnTo>
                  <a:lnTo>
                    <a:pt x="19" y="3"/>
                  </a:lnTo>
                  <a:lnTo>
                    <a:pt x="6" y="6"/>
                  </a:lnTo>
                  <a:lnTo>
                    <a:pt x="0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739" name="Freeform 208"/>
            <p:cNvSpPr>
              <a:spLocks/>
            </p:cNvSpPr>
            <p:nvPr>
              <p:custDataLst>
                <p:tags r:id="rId131"/>
              </p:custDataLst>
            </p:nvPr>
          </p:nvSpPr>
          <p:spPr bwMode="auto">
            <a:xfrm>
              <a:off x="3621422" y="5943238"/>
              <a:ext cx="32175" cy="70537"/>
            </a:xfrm>
            <a:custGeom>
              <a:avLst/>
              <a:gdLst>
                <a:gd name="T0" fmla="*/ 14230 w 55"/>
                <a:gd name="T1" fmla="*/ 24632 h 62"/>
                <a:gd name="T2" fmla="*/ 3926 w 55"/>
                <a:gd name="T3" fmla="*/ 0 h 62"/>
                <a:gd name="T4" fmla="*/ 1963 w 55"/>
                <a:gd name="T5" fmla="*/ 4737 h 62"/>
                <a:gd name="T6" fmla="*/ 491 w 55"/>
                <a:gd name="T7" fmla="*/ 10421 h 62"/>
                <a:gd name="T8" fmla="*/ 0 w 55"/>
                <a:gd name="T9" fmla="*/ 15158 h 62"/>
                <a:gd name="T10" fmla="*/ 0 w 55"/>
                <a:gd name="T11" fmla="*/ 19895 h 62"/>
                <a:gd name="T12" fmla="*/ 981 w 55"/>
                <a:gd name="T13" fmla="*/ 24632 h 62"/>
                <a:gd name="T14" fmla="*/ 1963 w 55"/>
                <a:gd name="T15" fmla="*/ 29369 h 62"/>
                <a:gd name="T16" fmla="*/ 3926 w 55"/>
                <a:gd name="T17" fmla="*/ 34106 h 62"/>
                <a:gd name="T18" fmla="*/ 5398 w 55"/>
                <a:gd name="T19" fmla="*/ 38843 h 62"/>
                <a:gd name="T20" fmla="*/ 7851 w 55"/>
                <a:gd name="T21" fmla="*/ 42632 h 62"/>
                <a:gd name="T22" fmla="*/ 10305 w 55"/>
                <a:gd name="T23" fmla="*/ 46422 h 62"/>
                <a:gd name="T24" fmla="*/ 12758 w 55"/>
                <a:gd name="T25" fmla="*/ 50212 h 62"/>
                <a:gd name="T26" fmla="*/ 16193 w 55"/>
                <a:gd name="T27" fmla="*/ 53054 h 62"/>
                <a:gd name="T28" fmla="*/ 18646 w 55"/>
                <a:gd name="T29" fmla="*/ 54948 h 62"/>
                <a:gd name="T30" fmla="*/ 21590 w 55"/>
                <a:gd name="T31" fmla="*/ 56843 h 62"/>
                <a:gd name="T32" fmla="*/ 24044 w 55"/>
                <a:gd name="T33" fmla="*/ 57791 h 62"/>
                <a:gd name="T34" fmla="*/ 26988 w 55"/>
                <a:gd name="T35" fmla="*/ 58738 h 62"/>
                <a:gd name="T36" fmla="*/ 26497 w 55"/>
                <a:gd name="T37" fmla="*/ 50212 h 62"/>
                <a:gd name="T38" fmla="*/ 26007 w 55"/>
                <a:gd name="T39" fmla="*/ 43580 h 62"/>
                <a:gd name="T40" fmla="*/ 24044 w 55"/>
                <a:gd name="T41" fmla="*/ 37895 h 62"/>
                <a:gd name="T42" fmla="*/ 22572 w 55"/>
                <a:gd name="T43" fmla="*/ 33159 h 62"/>
                <a:gd name="T44" fmla="*/ 21100 w 55"/>
                <a:gd name="T45" fmla="*/ 29369 h 62"/>
                <a:gd name="T46" fmla="*/ 18646 w 55"/>
                <a:gd name="T47" fmla="*/ 26527 h 62"/>
                <a:gd name="T48" fmla="*/ 16193 w 55"/>
                <a:gd name="T49" fmla="*/ 24632 h 62"/>
                <a:gd name="T50" fmla="*/ 14230 w 55"/>
                <a:gd name="T51" fmla="*/ 24632 h 6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55" h="62">
                  <a:moveTo>
                    <a:pt x="29" y="26"/>
                  </a:moveTo>
                  <a:lnTo>
                    <a:pt x="8" y="0"/>
                  </a:lnTo>
                  <a:lnTo>
                    <a:pt x="4" y="5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1"/>
                  </a:lnTo>
                  <a:lnTo>
                    <a:pt x="2" y="26"/>
                  </a:lnTo>
                  <a:lnTo>
                    <a:pt x="4" y="31"/>
                  </a:lnTo>
                  <a:lnTo>
                    <a:pt x="8" y="36"/>
                  </a:lnTo>
                  <a:lnTo>
                    <a:pt x="11" y="41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6" y="53"/>
                  </a:lnTo>
                  <a:lnTo>
                    <a:pt x="33" y="56"/>
                  </a:lnTo>
                  <a:lnTo>
                    <a:pt x="38" y="58"/>
                  </a:lnTo>
                  <a:lnTo>
                    <a:pt x="44" y="60"/>
                  </a:lnTo>
                  <a:lnTo>
                    <a:pt x="49" y="61"/>
                  </a:lnTo>
                  <a:lnTo>
                    <a:pt x="55" y="62"/>
                  </a:lnTo>
                  <a:lnTo>
                    <a:pt x="54" y="53"/>
                  </a:lnTo>
                  <a:lnTo>
                    <a:pt x="53" y="46"/>
                  </a:lnTo>
                  <a:lnTo>
                    <a:pt x="49" y="40"/>
                  </a:lnTo>
                  <a:lnTo>
                    <a:pt x="46" y="35"/>
                  </a:lnTo>
                  <a:lnTo>
                    <a:pt x="43" y="31"/>
                  </a:lnTo>
                  <a:lnTo>
                    <a:pt x="38" y="28"/>
                  </a:lnTo>
                  <a:lnTo>
                    <a:pt x="33" y="26"/>
                  </a:lnTo>
                  <a:lnTo>
                    <a:pt x="29" y="2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740" name="Freeform 209"/>
            <p:cNvSpPr>
              <a:spLocks/>
            </p:cNvSpPr>
            <p:nvPr>
              <p:custDataLst>
                <p:tags r:id="rId132"/>
              </p:custDataLst>
            </p:nvPr>
          </p:nvSpPr>
          <p:spPr bwMode="auto">
            <a:xfrm>
              <a:off x="3657382" y="5983274"/>
              <a:ext cx="13248" cy="70535"/>
            </a:xfrm>
            <a:custGeom>
              <a:avLst/>
              <a:gdLst>
                <a:gd name="T0" fmla="*/ 10477 w 35"/>
                <a:gd name="T1" fmla="*/ 17758 h 43"/>
                <a:gd name="T2" fmla="*/ 2222 w 35"/>
                <a:gd name="T3" fmla="*/ 0 h 43"/>
                <a:gd name="T4" fmla="*/ 1270 w 35"/>
                <a:gd name="T5" fmla="*/ 10928 h 43"/>
                <a:gd name="T6" fmla="*/ 0 w 35"/>
                <a:gd name="T7" fmla="*/ 25954 h 43"/>
                <a:gd name="T8" fmla="*/ 635 w 35"/>
                <a:gd name="T9" fmla="*/ 38247 h 43"/>
                <a:gd name="T10" fmla="*/ 1587 w 35"/>
                <a:gd name="T11" fmla="*/ 49175 h 43"/>
                <a:gd name="T12" fmla="*/ 1905 w 35"/>
                <a:gd name="T13" fmla="*/ 53273 h 43"/>
                <a:gd name="T14" fmla="*/ 2540 w 35"/>
                <a:gd name="T15" fmla="*/ 56005 h 43"/>
                <a:gd name="T16" fmla="*/ 3492 w 35"/>
                <a:gd name="T17" fmla="*/ 58737 h 43"/>
                <a:gd name="T18" fmla="*/ 4445 w 35"/>
                <a:gd name="T19" fmla="*/ 58737 h 43"/>
                <a:gd name="T20" fmla="*/ 5715 w 35"/>
                <a:gd name="T21" fmla="*/ 58737 h 43"/>
                <a:gd name="T22" fmla="*/ 6985 w 35"/>
                <a:gd name="T23" fmla="*/ 57371 h 43"/>
                <a:gd name="T24" fmla="*/ 8255 w 35"/>
                <a:gd name="T25" fmla="*/ 56005 h 43"/>
                <a:gd name="T26" fmla="*/ 8890 w 35"/>
                <a:gd name="T27" fmla="*/ 53273 h 43"/>
                <a:gd name="T28" fmla="*/ 9842 w 35"/>
                <a:gd name="T29" fmla="*/ 47809 h 43"/>
                <a:gd name="T30" fmla="*/ 10477 w 35"/>
                <a:gd name="T31" fmla="*/ 40979 h 43"/>
                <a:gd name="T32" fmla="*/ 11112 w 35"/>
                <a:gd name="T33" fmla="*/ 27320 h 43"/>
                <a:gd name="T34" fmla="*/ 10477 w 35"/>
                <a:gd name="T35" fmla="*/ 17758 h 4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35" h="43">
                  <a:moveTo>
                    <a:pt x="33" y="13"/>
                  </a:moveTo>
                  <a:lnTo>
                    <a:pt x="7" y="0"/>
                  </a:lnTo>
                  <a:lnTo>
                    <a:pt x="4" y="8"/>
                  </a:lnTo>
                  <a:lnTo>
                    <a:pt x="0" y="19"/>
                  </a:lnTo>
                  <a:lnTo>
                    <a:pt x="2" y="28"/>
                  </a:lnTo>
                  <a:lnTo>
                    <a:pt x="5" y="36"/>
                  </a:lnTo>
                  <a:lnTo>
                    <a:pt x="6" y="39"/>
                  </a:lnTo>
                  <a:lnTo>
                    <a:pt x="8" y="41"/>
                  </a:lnTo>
                  <a:lnTo>
                    <a:pt x="11" y="43"/>
                  </a:lnTo>
                  <a:lnTo>
                    <a:pt x="14" y="43"/>
                  </a:lnTo>
                  <a:lnTo>
                    <a:pt x="18" y="43"/>
                  </a:lnTo>
                  <a:lnTo>
                    <a:pt x="22" y="42"/>
                  </a:lnTo>
                  <a:lnTo>
                    <a:pt x="26" y="41"/>
                  </a:lnTo>
                  <a:lnTo>
                    <a:pt x="28" y="39"/>
                  </a:lnTo>
                  <a:lnTo>
                    <a:pt x="31" y="35"/>
                  </a:lnTo>
                  <a:lnTo>
                    <a:pt x="33" y="30"/>
                  </a:lnTo>
                  <a:lnTo>
                    <a:pt x="35" y="20"/>
                  </a:lnTo>
                  <a:lnTo>
                    <a:pt x="33" y="1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741" name="Freeform 210"/>
            <p:cNvSpPr>
              <a:spLocks/>
            </p:cNvSpPr>
            <p:nvPr>
              <p:custDataLst>
                <p:tags r:id="rId133"/>
              </p:custDataLst>
            </p:nvPr>
          </p:nvSpPr>
          <p:spPr bwMode="auto">
            <a:xfrm>
              <a:off x="3653598" y="6023307"/>
              <a:ext cx="24603" cy="66724"/>
            </a:xfrm>
            <a:custGeom>
              <a:avLst/>
              <a:gdLst>
                <a:gd name="T0" fmla="*/ 20637 w 53"/>
                <a:gd name="T1" fmla="*/ 0 h 21"/>
                <a:gd name="T2" fmla="*/ 15964 w 53"/>
                <a:gd name="T3" fmla="*/ 2646 h 21"/>
                <a:gd name="T4" fmla="*/ 12460 w 53"/>
                <a:gd name="T5" fmla="*/ 5292 h 21"/>
                <a:gd name="T6" fmla="*/ 9734 w 53"/>
                <a:gd name="T7" fmla="*/ 13229 h 21"/>
                <a:gd name="T8" fmla="*/ 8177 w 53"/>
                <a:gd name="T9" fmla="*/ 18521 h 21"/>
                <a:gd name="T10" fmla="*/ 6619 w 53"/>
                <a:gd name="T11" fmla="*/ 26459 h 21"/>
                <a:gd name="T12" fmla="*/ 5062 w 53"/>
                <a:gd name="T13" fmla="*/ 34396 h 21"/>
                <a:gd name="T14" fmla="*/ 3115 w 53"/>
                <a:gd name="T15" fmla="*/ 42334 h 21"/>
                <a:gd name="T16" fmla="*/ 0 w 53"/>
                <a:gd name="T17" fmla="*/ 47625 h 21"/>
                <a:gd name="T18" fmla="*/ 1947 w 53"/>
                <a:gd name="T19" fmla="*/ 52917 h 21"/>
                <a:gd name="T20" fmla="*/ 4283 w 53"/>
                <a:gd name="T21" fmla="*/ 55563 h 21"/>
                <a:gd name="T22" fmla="*/ 6619 w 53"/>
                <a:gd name="T23" fmla="*/ 55563 h 21"/>
                <a:gd name="T24" fmla="*/ 9345 w 53"/>
                <a:gd name="T25" fmla="*/ 55563 h 21"/>
                <a:gd name="T26" fmla="*/ 14796 w 53"/>
                <a:gd name="T27" fmla="*/ 50271 h 21"/>
                <a:gd name="T28" fmla="*/ 20637 w 53"/>
                <a:gd name="T29" fmla="*/ 47625 h 21"/>
                <a:gd name="T30" fmla="*/ 20637 w 53"/>
                <a:gd name="T31" fmla="*/ 0 h 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3" h="21">
                  <a:moveTo>
                    <a:pt x="53" y="0"/>
                  </a:moveTo>
                  <a:lnTo>
                    <a:pt x="41" y="1"/>
                  </a:lnTo>
                  <a:lnTo>
                    <a:pt x="32" y="2"/>
                  </a:lnTo>
                  <a:lnTo>
                    <a:pt x="25" y="5"/>
                  </a:lnTo>
                  <a:lnTo>
                    <a:pt x="21" y="7"/>
                  </a:lnTo>
                  <a:lnTo>
                    <a:pt x="17" y="10"/>
                  </a:lnTo>
                  <a:lnTo>
                    <a:pt x="13" y="13"/>
                  </a:lnTo>
                  <a:lnTo>
                    <a:pt x="8" y="16"/>
                  </a:lnTo>
                  <a:lnTo>
                    <a:pt x="0" y="18"/>
                  </a:lnTo>
                  <a:lnTo>
                    <a:pt x="5" y="20"/>
                  </a:lnTo>
                  <a:lnTo>
                    <a:pt x="11" y="21"/>
                  </a:lnTo>
                  <a:lnTo>
                    <a:pt x="17" y="21"/>
                  </a:lnTo>
                  <a:lnTo>
                    <a:pt x="24" y="21"/>
                  </a:lnTo>
                  <a:lnTo>
                    <a:pt x="38" y="19"/>
                  </a:lnTo>
                  <a:lnTo>
                    <a:pt x="53" y="18"/>
                  </a:lnTo>
                  <a:lnTo>
                    <a:pt x="5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742" name="Freeform 211"/>
            <p:cNvSpPr>
              <a:spLocks/>
            </p:cNvSpPr>
            <p:nvPr>
              <p:custDataLst>
                <p:tags r:id="rId134"/>
              </p:custDataLst>
            </p:nvPr>
          </p:nvSpPr>
          <p:spPr bwMode="auto">
            <a:xfrm>
              <a:off x="3681987" y="6040464"/>
              <a:ext cx="20819" cy="68630"/>
            </a:xfrm>
            <a:custGeom>
              <a:avLst/>
              <a:gdLst>
                <a:gd name="T0" fmla="*/ 8935 w 43"/>
                <a:gd name="T1" fmla="*/ 0 h 38"/>
                <a:gd name="T2" fmla="*/ 4873 w 43"/>
                <a:gd name="T3" fmla="*/ 0 h 38"/>
                <a:gd name="T4" fmla="*/ 812 w 43"/>
                <a:gd name="T5" fmla="*/ 0 h 38"/>
                <a:gd name="T6" fmla="*/ 406 w 43"/>
                <a:gd name="T7" fmla="*/ 0 h 38"/>
                <a:gd name="T8" fmla="*/ 0 w 43"/>
                <a:gd name="T9" fmla="*/ 1504 h 38"/>
                <a:gd name="T10" fmla="*/ 0 w 43"/>
                <a:gd name="T11" fmla="*/ 4512 h 38"/>
                <a:gd name="T12" fmla="*/ 0 w 43"/>
                <a:gd name="T13" fmla="*/ 9024 h 38"/>
                <a:gd name="T14" fmla="*/ 406 w 43"/>
                <a:gd name="T15" fmla="*/ 15039 h 38"/>
                <a:gd name="T16" fmla="*/ 812 w 43"/>
                <a:gd name="T17" fmla="*/ 18047 h 38"/>
                <a:gd name="T18" fmla="*/ 1218 w 43"/>
                <a:gd name="T19" fmla="*/ 27071 h 38"/>
                <a:gd name="T20" fmla="*/ 2031 w 43"/>
                <a:gd name="T21" fmla="*/ 37599 h 38"/>
                <a:gd name="T22" fmla="*/ 4061 w 43"/>
                <a:gd name="T23" fmla="*/ 45118 h 38"/>
                <a:gd name="T24" fmla="*/ 6092 w 43"/>
                <a:gd name="T25" fmla="*/ 51134 h 38"/>
                <a:gd name="T26" fmla="*/ 8528 w 43"/>
                <a:gd name="T27" fmla="*/ 55646 h 38"/>
                <a:gd name="T28" fmla="*/ 10965 w 43"/>
                <a:gd name="T29" fmla="*/ 57150 h 38"/>
                <a:gd name="T30" fmla="*/ 14214 w 43"/>
                <a:gd name="T31" fmla="*/ 57150 h 38"/>
                <a:gd name="T32" fmla="*/ 17463 w 43"/>
                <a:gd name="T33" fmla="*/ 55646 h 38"/>
                <a:gd name="T34" fmla="*/ 16245 w 43"/>
                <a:gd name="T35" fmla="*/ 43614 h 38"/>
                <a:gd name="T36" fmla="*/ 14620 w 43"/>
                <a:gd name="T37" fmla="*/ 34591 h 38"/>
                <a:gd name="T38" fmla="*/ 13402 w 43"/>
                <a:gd name="T39" fmla="*/ 25567 h 38"/>
                <a:gd name="T40" fmla="*/ 12183 w 43"/>
                <a:gd name="T41" fmla="*/ 19551 h 38"/>
                <a:gd name="T42" fmla="*/ 10965 w 43"/>
                <a:gd name="T43" fmla="*/ 15039 h 38"/>
                <a:gd name="T44" fmla="*/ 9747 w 43"/>
                <a:gd name="T45" fmla="*/ 10528 h 38"/>
                <a:gd name="T46" fmla="*/ 9341 w 43"/>
                <a:gd name="T47" fmla="*/ 6016 h 38"/>
                <a:gd name="T48" fmla="*/ 8935 w 43"/>
                <a:gd name="T49" fmla="*/ 0 h 3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43" h="38">
                  <a:moveTo>
                    <a:pt x="22" y="0"/>
                  </a:moveTo>
                  <a:lnTo>
                    <a:pt x="12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0" y="6"/>
                  </a:lnTo>
                  <a:lnTo>
                    <a:pt x="1" y="10"/>
                  </a:lnTo>
                  <a:lnTo>
                    <a:pt x="2" y="12"/>
                  </a:lnTo>
                  <a:lnTo>
                    <a:pt x="3" y="18"/>
                  </a:lnTo>
                  <a:lnTo>
                    <a:pt x="5" y="25"/>
                  </a:lnTo>
                  <a:lnTo>
                    <a:pt x="10" y="30"/>
                  </a:lnTo>
                  <a:lnTo>
                    <a:pt x="15" y="34"/>
                  </a:lnTo>
                  <a:lnTo>
                    <a:pt x="21" y="37"/>
                  </a:lnTo>
                  <a:lnTo>
                    <a:pt x="27" y="38"/>
                  </a:lnTo>
                  <a:lnTo>
                    <a:pt x="35" y="38"/>
                  </a:lnTo>
                  <a:lnTo>
                    <a:pt x="43" y="37"/>
                  </a:lnTo>
                  <a:lnTo>
                    <a:pt x="40" y="29"/>
                  </a:lnTo>
                  <a:lnTo>
                    <a:pt x="36" y="23"/>
                  </a:lnTo>
                  <a:lnTo>
                    <a:pt x="33" y="17"/>
                  </a:lnTo>
                  <a:lnTo>
                    <a:pt x="30" y="13"/>
                  </a:lnTo>
                  <a:lnTo>
                    <a:pt x="27" y="10"/>
                  </a:lnTo>
                  <a:lnTo>
                    <a:pt x="24" y="7"/>
                  </a:lnTo>
                  <a:lnTo>
                    <a:pt x="23" y="4"/>
                  </a:lnTo>
                  <a:lnTo>
                    <a:pt x="22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743" name="Freeform 212"/>
            <p:cNvSpPr>
              <a:spLocks/>
            </p:cNvSpPr>
            <p:nvPr>
              <p:custDataLst>
                <p:tags r:id="rId135"/>
              </p:custDataLst>
            </p:nvPr>
          </p:nvSpPr>
          <p:spPr bwMode="auto">
            <a:xfrm>
              <a:off x="3683879" y="6074779"/>
              <a:ext cx="7570" cy="68630"/>
            </a:xfrm>
            <a:custGeom>
              <a:avLst/>
              <a:gdLst>
                <a:gd name="T0" fmla="*/ 0 w 20"/>
                <a:gd name="T1" fmla="*/ 0 h 5"/>
                <a:gd name="T2" fmla="*/ 318 w 20"/>
                <a:gd name="T3" fmla="*/ 22860 h 5"/>
                <a:gd name="T4" fmla="*/ 635 w 20"/>
                <a:gd name="T5" fmla="*/ 34290 h 5"/>
                <a:gd name="T6" fmla="*/ 1270 w 20"/>
                <a:gd name="T7" fmla="*/ 45720 h 5"/>
                <a:gd name="T8" fmla="*/ 2223 w 20"/>
                <a:gd name="T9" fmla="*/ 57150 h 5"/>
                <a:gd name="T10" fmla="*/ 3493 w 20"/>
                <a:gd name="T11" fmla="*/ 45720 h 5"/>
                <a:gd name="T12" fmla="*/ 4445 w 20"/>
                <a:gd name="T13" fmla="*/ 34290 h 5"/>
                <a:gd name="T14" fmla="*/ 5398 w 20"/>
                <a:gd name="T15" fmla="*/ 22860 h 5"/>
                <a:gd name="T16" fmla="*/ 6350 w 20"/>
                <a:gd name="T17" fmla="*/ 0 h 5"/>
                <a:gd name="T18" fmla="*/ 0 w 20"/>
                <a:gd name="T19" fmla="*/ 0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0" h="5">
                  <a:moveTo>
                    <a:pt x="0" y="0"/>
                  </a:moveTo>
                  <a:lnTo>
                    <a:pt x="1" y="2"/>
                  </a:lnTo>
                  <a:lnTo>
                    <a:pt x="2" y="3"/>
                  </a:lnTo>
                  <a:lnTo>
                    <a:pt x="4" y="4"/>
                  </a:lnTo>
                  <a:lnTo>
                    <a:pt x="7" y="5"/>
                  </a:lnTo>
                  <a:lnTo>
                    <a:pt x="11" y="4"/>
                  </a:lnTo>
                  <a:lnTo>
                    <a:pt x="14" y="3"/>
                  </a:lnTo>
                  <a:lnTo>
                    <a:pt x="17" y="2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744" name="Freeform 214"/>
            <p:cNvSpPr>
              <a:spLocks/>
            </p:cNvSpPr>
            <p:nvPr>
              <p:custDataLst>
                <p:tags r:id="rId136"/>
              </p:custDataLst>
            </p:nvPr>
          </p:nvSpPr>
          <p:spPr bwMode="auto">
            <a:xfrm>
              <a:off x="3818254" y="6088124"/>
              <a:ext cx="147623" cy="120102"/>
            </a:xfrm>
            <a:custGeom>
              <a:avLst/>
              <a:gdLst>
                <a:gd name="T0" fmla="*/ 103555 w 281"/>
                <a:gd name="T1" fmla="*/ 87058 h 193"/>
                <a:gd name="T2" fmla="*/ 82844 w 281"/>
                <a:gd name="T3" fmla="*/ 88613 h 193"/>
                <a:gd name="T4" fmla="*/ 74031 w 281"/>
                <a:gd name="T5" fmla="*/ 87058 h 193"/>
                <a:gd name="T6" fmla="*/ 68302 w 281"/>
                <a:gd name="T7" fmla="*/ 84985 h 193"/>
                <a:gd name="T8" fmla="*/ 57286 w 281"/>
                <a:gd name="T9" fmla="*/ 69957 h 193"/>
                <a:gd name="T10" fmla="*/ 45828 w 281"/>
                <a:gd name="T11" fmla="*/ 48711 h 193"/>
                <a:gd name="T12" fmla="*/ 41422 w 281"/>
                <a:gd name="T13" fmla="*/ 38347 h 193"/>
                <a:gd name="T14" fmla="*/ 38337 w 281"/>
                <a:gd name="T15" fmla="*/ 26428 h 193"/>
                <a:gd name="T16" fmla="*/ 36575 w 281"/>
                <a:gd name="T17" fmla="*/ 13991 h 193"/>
                <a:gd name="T18" fmla="*/ 18948 w 281"/>
                <a:gd name="T19" fmla="*/ 0 h 193"/>
                <a:gd name="T20" fmla="*/ 12338 w 281"/>
                <a:gd name="T21" fmla="*/ 26947 h 193"/>
                <a:gd name="T22" fmla="*/ 7932 w 281"/>
                <a:gd name="T23" fmla="*/ 31610 h 193"/>
                <a:gd name="T24" fmla="*/ 2644 w 281"/>
                <a:gd name="T25" fmla="*/ 35756 h 193"/>
                <a:gd name="T26" fmla="*/ 0 w 281"/>
                <a:gd name="T27" fmla="*/ 37829 h 193"/>
                <a:gd name="T28" fmla="*/ 441 w 281"/>
                <a:gd name="T29" fmla="*/ 38865 h 193"/>
                <a:gd name="T30" fmla="*/ 3966 w 281"/>
                <a:gd name="T31" fmla="*/ 41974 h 193"/>
                <a:gd name="T32" fmla="*/ 16304 w 281"/>
                <a:gd name="T33" fmla="*/ 57520 h 193"/>
                <a:gd name="T34" fmla="*/ 19830 w 281"/>
                <a:gd name="T35" fmla="*/ 63221 h 193"/>
                <a:gd name="T36" fmla="*/ 23355 w 281"/>
                <a:gd name="T37" fmla="*/ 66848 h 193"/>
                <a:gd name="T38" fmla="*/ 27321 w 281"/>
                <a:gd name="T39" fmla="*/ 69439 h 193"/>
                <a:gd name="T40" fmla="*/ 31287 w 281"/>
                <a:gd name="T41" fmla="*/ 70475 h 193"/>
                <a:gd name="T42" fmla="*/ 33490 w 281"/>
                <a:gd name="T43" fmla="*/ 73066 h 193"/>
                <a:gd name="T44" fmla="*/ 34812 w 281"/>
                <a:gd name="T45" fmla="*/ 76694 h 193"/>
                <a:gd name="T46" fmla="*/ 37897 w 281"/>
                <a:gd name="T47" fmla="*/ 79285 h 193"/>
                <a:gd name="T48" fmla="*/ 43625 w 281"/>
                <a:gd name="T49" fmla="*/ 79803 h 193"/>
                <a:gd name="T50" fmla="*/ 46710 w 281"/>
                <a:gd name="T51" fmla="*/ 81358 h 193"/>
                <a:gd name="T52" fmla="*/ 48032 w 281"/>
                <a:gd name="T53" fmla="*/ 84467 h 193"/>
                <a:gd name="T54" fmla="*/ 48032 w 281"/>
                <a:gd name="T55" fmla="*/ 92758 h 193"/>
                <a:gd name="T56" fmla="*/ 48913 w 281"/>
                <a:gd name="T57" fmla="*/ 97940 h 193"/>
                <a:gd name="T58" fmla="*/ 50676 w 281"/>
                <a:gd name="T59" fmla="*/ 100013 h 193"/>
                <a:gd name="T60" fmla="*/ 56845 w 281"/>
                <a:gd name="T61" fmla="*/ 100013 h 193"/>
                <a:gd name="T62" fmla="*/ 72268 w 281"/>
                <a:gd name="T63" fmla="*/ 98977 h 193"/>
                <a:gd name="T64" fmla="*/ 79319 w 281"/>
                <a:gd name="T65" fmla="*/ 97940 h 193"/>
                <a:gd name="T66" fmla="*/ 84606 w 281"/>
                <a:gd name="T67" fmla="*/ 96386 h 193"/>
                <a:gd name="T68" fmla="*/ 93420 w 281"/>
                <a:gd name="T69" fmla="*/ 97422 h 193"/>
                <a:gd name="T70" fmla="*/ 123825 w 281"/>
                <a:gd name="T71" fmla="*/ 86540 h 193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81" h="193">
                  <a:moveTo>
                    <a:pt x="275" y="167"/>
                  </a:moveTo>
                  <a:lnTo>
                    <a:pt x="235" y="168"/>
                  </a:lnTo>
                  <a:lnTo>
                    <a:pt x="202" y="171"/>
                  </a:lnTo>
                  <a:lnTo>
                    <a:pt x="188" y="171"/>
                  </a:lnTo>
                  <a:lnTo>
                    <a:pt x="175" y="169"/>
                  </a:lnTo>
                  <a:lnTo>
                    <a:pt x="168" y="168"/>
                  </a:lnTo>
                  <a:lnTo>
                    <a:pt x="162" y="166"/>
                  </a:lnTo>
                  <a:lnTo>
                    <a:pt x="155" y="164"/>
                  </a:lnTo>
                  <a:lnTo>
                    <a:pt x="149" y="161"/>
                  </a:lnTo>
                  <a:lnTo>
                    <a:pt x="130" y="135"/>
                  </a:lnTo>
                  <a:lnTo>
                    <a:pt x="108" y="103"/>
                  </a:lnTo>
                  <a:lnTo>
                    <a:pt x="104" y="94"/>
                  </a:lnTo>
                  <a:lnTo>
                    <a:pt x="98" y="84"/>
                  </a:lnTo>
                  <a:lnTo>
                    <a:pt x="94" y="74"/>
                  </a:lnTo>
                  <a:lnTo>
                    <a:pt x="90" y="63"/>
                  </a:lnTo>
                  <a:lnTo>
                    <a:pt x="87" y="51"/>
                  </a:lnTo>
                  <a:lnTo>
                    <a:pt x="85" y="39"/>
                  </a:lnTo>
                  <a:lnTo>
                    <a:pt x="83" y="27"/>
                  </a:lnTo>
                  <a:lnTo>
                    <a:pt x="83" y="13"/>
                  </a:lnTo>
                  <a:lnTo>
                    <a:pt x="43" y="0"/>
                  </a:lnTo>
                  <a:lnTo>
                    <a:pt x="30" y="50"/>
                  </a:lnTo>
                  <a:lnTo>
                    <a:pt x="28" y="52"/>
                  </a:lnTo>
                  <a:lnTo>
                    <a:pt x="23" y="56"/>
                  </a:lnTo>
                  <a:lnTo>
                    <a:pt x="18" y="61"/>
                  </a:lnTo>
                  <a:lnTo>
                    <a:pt x="11" y="65"/>
                  </a:lnTo>
                  <a:lnTo>
                    <a:pt x="6" y="69"/>
                  </a:lnTo>
                  <a:lnTo>
                    <a:pt x="1" y="72"/>
                  </a:lnTo>
                  <a:lnTo>
                    <a:pt x="0" y="73"/>
                  </a:lnTo>
                  <a:lnTo>
                    <a:pt x="0" y="74"/>
                  </a:lnTo>
                  <a:lnTo>
                    <a:pt x="1" y="75"/>
                  </a:lnTo>
                  <a:lnTo>
                    <a:pt x="3" y="75"/>
                  </a:lnTo>
                  <a:lnTo>
                    <a:pt x="9" y="81"/>
                  </a:lnTo>
                  <a:lnTo>
                    <a:pt x="23" y="96"/>
                  </a:lnTo>
                  <a:lnTo>
                    <a:pt x="37" y="111"/>
                  </a:lnTo>
                  <a:lnTo>
                    <a:pt x="43" y="118"/>
                  </a:lnTo>
                  <a:lnTo>
                    <a:pt x="45" y="122"/>
                  </a:lnTo>
                  <a:lnTo>
                    <a:pt x="49" y="126"/>
                  </a:lnTo>
                  <a:lnTo>
                    <a:pt x="53" y="129"/>
                  </a:lnTo>
                  <a:lnTo>
                    <a:pt x="57" y="132"/>
                  </a:lnTo>
                  <a:lnTo>
                    <a:pt x="62" y="134"/>
                  </a:lnTo>
                  <a:lnTo>
                    <a:pt x="66" y="135"/>
                  </a:lnTo>
                  <a:lnTo>
                    <a:pt x="71" y="136"/>
                  </a:lnTo>
                  <a:lnTo>
                    <a:pt x="76" y="136"/>
                  </a:lnTo>
                  <a:lnTo>
                    <a:pt x="76" y="141"/>
                  </a:lnTo>
                  <a:lnTo>
                    <a:pt x="77" y="145"/>
                  </a:lnTo>
                  <a:lnTo>
                    <a:pt x="79" y="148"/>
                  </a:lnTo>
                  <a:lnTo>
                    <a:pt x="82" y="150"/>
                  </a:lnTo>
                  <a:lnTo>
                    <a:pt x="86" y="153"/>
                  </a:lnTo>
                  <a:lnTo>
                    <a:pt x="93" y="154"/>
                  </a:lnTo>
                  <a:lnTo>
                    <a:pt x="99" y="154"/>
                  </a:lnTo>
                  <a:lnTo>
                    <a:pt x="104" y="156"/>
                  </a:lnTo>
                  <a:lnTo>
                    <a:pt x="106" y="157"/>
                  </a:lnTo>
                  <a:lnTo>
                    <a:pt x="108" y="160"/>
                  </a:lnTo>
                  <a:lnTo>
                    <a:pt x="109" y="163"/>
                  </a:lnTo>
                  <a:lnTo>
                    <a:pt x="109" y="167"/>
                  </a:lnTo>
                  <a:lnTo>
                    <a:pt x="109" y="179"/>
                  </a:lnTo>
                  <a:lnTo>
                    <a:pt x="111" y="187"/>
                  </a:lnTo>
                  <a:lnTo>
                    <a:pt x="111" y="189"/>
                  </a:lnTo>
                  <a:lnTo>
                    <a:pt x="113" y="191"/>
                  </a:lnTo>
                  <a:lnTo>
                    <a:pt x="115" y="193"/>
                  </a:lnTo>
                  <a:lnTo>
                    <a:pt x="117" y="193"/>
                  </a:lnTo>
                  <a:lnTo>
                    <a:pt x="129" y="193"/>
                  </a:lnTo>
                  <a:lnTo>
                    <a:pt x="149" y="192"/>
                  </a:lnTo>
                  <a:lnTo>
                    <a:pt x="164" y="191"/>
                  </a:lnTo>
                  <a:lnTo>
                    <a:pt x="174" y="190"/>
                  </a:lnTo>
                  <a:lnTo>
                    <a:pt x="180" y="189"/>
                  </a:lnTo>
                  <a:lnTo>
                    <a:pt x="186" y="187"/>
                  </a:lnTo>
                  <a:lnTo>
                    <a:pt x="192" y="186"/>
                  </a:lnTo>
                  <a:lnTo>
                    <a:pt x="200" y="187"/>
                  </a:lnTo>
                  <a:lnTo>
                    <a:pt x="212" y="188"/>
                  </a:lnTo>
                  <a:lnTo>
                    <a:pt x="229" y="192"/>
                  </a:lnTo>
                  <a:lnTo>
                    <a:pt x="281" y="167"/>
                  </a:lnTo>
                  <a:lnTo>
                    <a:pt x="275" y="167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745" name="Freeform 215"/>
            <p:cNvSpPr>
              <a:spLocks/>
            </p:cNvSpPr>
            <p:nvPr>
              <p:custDataLst>
                <p:tags r:id="rId137"/>
              </p:custDataLst>
            </p:nvPr>
          </p:nvSpPr>
          <p:spPr bwMode="auto">
            <a:xfrm>
              <a:off x="3284539" y="3405850"/>
              <a:ext cx="62456" cy="70535"/>
            </a:xfrm>
            <a:custGeom>
              <a:avLst/>
              <a:gdLst>
                <a:gd name="T0" fmla="*/ 0 w 120"/>
                <a:gd name="T1" fmla="*/ 18880 h 56"/>
                <a:gd name="T2" fmla="*/ 1746 w 120"/>
                <a:gd name="T3" fmla="*/ 27271 h 56"/>
                <a:gd name="T4" fmla="*/ 4366 w 120"/>
                <a:gd name="T5" fmla="*/ 34613 h 56"/>
                <a:gd name="T6" fmla="*/ 6549 w 120"/>
                <a:gd name="T7" fmla="*/ 38808 h 56"/>
                <a:gd name="T8" fmla="*/ 9168 w 120"/>
                <a:gd name="T9" fmla="*/ 43004 h 56"/>
                <a:gd name="T10" fmla="*/ 11787 w 120"/>
                <a:gd name="T11" fmla="*/ 46151 h 56"/>
                <a:gd name="T12" fmla="*/ 15280 w 120"/>
                <a:gd name="T13" fmla="*/ 48248 h 56"/>
                <a:gd name="T14" fmla="*/ 18772 w 120"/>
                <a:gd name="T15" fmla="*/ 50346 h 56"/>
                <a:gd name="T16" fmla="*/ 22265 w 120"/>
                <a:gd name="T17" fmla="*/ 51395 h 56"/>
                <a:gd name="T18" fmla="*/ 29250 w 120"/>
                <a:gd name="T19" fmla="*/ 52444 h 56"/>
                <a:gd name="T20" fmla="*/ 37108 w 120"/>
                <a:gd name="T21" fmla="*/ 53493 h 56"/>
                <a:gd name="T22" fmla="*/ 44530 w 120"/>
                <a:gd name="T23" fmla="*/ 54542 h 56"/>
                <a:gd name="T24" fmla="*/ 52388 w 120"/>
                <a:gd name="T25" fmla="*/ 58737 h 56"/>
                <a:gd name="T26" fmla="*/ 52388 w 120"/>
                <a:gd name="T27" fmla="*/ 38808 h 56"/>
                <a:gd name="T28" fmla="*/ 48459 w 120"/>
                <a:gd name="T29" fmla="*/ 35662 h 56"/>
                <a:gd name="T30" fmla="*/ 44530 w 120"/>
                <a:gd name="T31" fmla="*/ 31466 h 56"/>
                <a:gd name="T32" fmla="*/ 41037 w 120"/>
                <a:gd name="T33" fmla="*/ 25173 h 56"/>
                <a:gd name="T34" fmla="*/ 38418 w 120"/>
                <a:gd name="T35" fmla="*/ 18880 h 56"/>
                <a:gd name="T36" fmla="*/ 35362 w 120"/>
                <a:gd name="T37" fmla="*/ 13635 h 56"/>
                <a:gd name="T38" fmla="*/ 32743 w 120"/>
                <a:gd name="T39" fmla="*/ 7342 h 56"/>
                <a:gd name="T40" fmla="*/ 29250 w 120"/>
                <a:gd name="T41" fmla="*/ 3147 h 56"/>
                <a:gd name="T42" fmla="*/ 26194 w 120"/>
                <a:gd name="T43" fmla="*/ 0 h 56"/>
                <a:gd name="T44" fmla="*/ 24011 w 120"/>
                <a:gd name="T45" fmla="*/ 1049 h 56"/>
                <a:gd name="T46" fmla="*/ 20955 w 120"/>
                <a:gd name="T47" fmla="*/ 3147 h 56"/>
                <a:gd name="T48" fmla="*/ 17899 w 120"/>
                <a:gd name="T49" fmla="*/ 6293 h 56"/>
                <a:gd name="T50" fmla="*/ 14407 w 120"/>
                <a:gd name="T51" fmla="*/ 9440 h 56"/>
                <a:gd name="T52" fmla="*/ 10478 w 120"/>
                <a:gd name="T53" fmla="*/ 13635 h 56"/>
                <a:gd name="T54" fmla="*/ 6985 w 120"/>
                <a:gd name="T55" fmla="*/ 15733 h 56"/>
                <a:gd name="T56" fmla="*/ 3493 w 120"/>
                <a:gd name="T57" fmla="*/ 18880 h 56"/>
                <a:gd name="T58" fmla="*/ 0 w 120"/>
                <a:gd name="T59" fmla="*/ 18880 h 5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120" h="56">
                  <a:moveTo>
                    <a:pt x="0" y="18"/>
                  </a:moveTo>
                  <a:lnTo>
                    <a:pt x="4" y="26"/>
                  </a:lnTo>
                  <a:lnTo>
                    <a:pt x="10" y="33"/>
                  </a:lnTo>
                  <a:lnTo>
                    <a:pt x="15" y="37"/>
                  </a:lnTo>
                  <a:lnTo>
                    <a:pt x="21" y="41"/>
                  </a:lnTo>
                  <a:lnTo>
                    <a:pt x="27" y="44"/>
                  </a:lnTo>
                  <a:lnTo>
                    <a:pt x="35" y="46"/>
                  </a:lnTo>
                  <a:lnTo>
                    <a:pt x="43" y="48"/>
                  </a:lnTo>
                  <a:lnTo>
                    <a:pt x="51" y="49"/>
                  </a:lnTo>
                  <a:lnTo>
                    <a:pt x="67" y="50"/>
                  </a:lnTo>
                  <a:lnTo>
                    <a:pt x="85" y="51"/>
                  </a:lnTo>
                  <a:lnTo>
                    <a:pt x="102" y="52"/>
                  </a:lnTo>
                  <a:lnTo>
                    <a:pt x="120" y="56"/>
                  </a:lnTo>
                  <a:lnTo>
                    <a:pt x="120" y="37"/>
                  </a:lnTo>
                  <a:lnTo>
                    <a:pt x="111" y="34"/>
                  </a:lnTo>
                  <a:lnTo>
                    <a:pt x="102" y="30"/>
                  </a:lnTo>
                  <a:lnTo>
                    <a:pt x="94" y="24"/>
                  </a:lnTo>
                  <a:lnTo>
                    <a:pt x="88" y="18"/>
                  </a:lnTo>
                  <a:lnTo>
                    <a:pt x="81" y="13"/>
                  </a:lnTo>
                  <a:lnTo>
                    <a:pt x="75" y="7"/>
                  </a:lnTo>
                  <a:lnTo>
                    <a:pt x="67" y="3"/>
                  </a:lnTo>
                  <a:lnTo>
                    <a:pt x="60" y="0"/>
                  </a:lnTo>
                  <a:lnTo>
                    <a:pt x="55" y="1"/>
                  </a:lnTo>
                  <a:lnTo>
                    <a:pt x="48" y="3"/>
                  </a:lnTo>
                  <a:lnTo>
                    <a:pt x="41" y="6"/>
                  </a:lnTo>
                  <a:lnTo>
                    <a:pt x="33" y="9"/>
                  </a:lnTo>
                  <a:lnTo>
                    <a:pt x="24" y="13"/>
                  </a:lnTo>
                  <a:lnTo>
                    <a:pt x="16" y="15"/>
                  </a:lnTo>
                  <a:lnTo>
                    <a:pt x="8" y="18"/>
                  </a:lnTo>
                  <a:lnTo>
                    <a:pt x="0" y="1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746" name="Freeform 216"/>
            <p:cNvSpPr>
              <a:spLocks/>
            </p:cNvSpPr>
            <p:nvPr>
              <p:custDataLst>
                <p:tags r:id="rId138"/>
              </p:custDataLst>
            </p:nvPr>
          </p:nvSpPr>
          <p:spPr bwMode="auto">
            <a:xfrm>
              <a:off x="3114206" y="3239994"/>
              <a:ext cx="299031" cy="131541"/>
            </a:xfrm>
            <a:custGeom>
              <a:avLst/>
              <a:gdLst>
                <a:gd name="T0" fmla="*/ 55496 w 574"/>
                <a:gd name="T1" fmla="*/ 537 h 204"/>
                <a:gd name="T2" fmla="*/ 41513 w 574"/>
                <a:gd name="T3" fmla="*/ 3222 h 204"/>
                <a:gd name="T4" fmla="*/ 28841 w 574"/>
                <a:gd name="T5" fmla="*/ 8591 h 204"/>
                <a:gd name="T6" fmla="*/ 18790 w 574"/>
                <a:gd name="T7" fmla="*/ 13961 h 204"/>
                <a:gd name="T8" fmla="*/ 13109 w 574"/>
                <a:gd name="T9" fmla="*/ 18793 h 204"/>
                <a:gd name="T10" fmla="*/ 6992 w 574"/>
                <a:gd name="T11" fmla="*/ 27385 h 204"/>
                <a:gd name="T12" fmla="*/ 1748 w 574"/>
                <a:gd name="T13" fmla="*/ 38124 h 204"/>
                <a:gd name="T14" fmla="*/ 0 w 574"/>
                <a:gd name="T15" fmla="*/ 44030 h 204"/>
                <a:gd name="T16" fmla="*/ 437 w 574"/>
                <a:gd name="T17" fmla="*/ 46178 h 204"/>
                <a:gd name="T18" fmla="*/ 5681 w 574"/>
                <a:gd name="T19" fmla="*/ 46178 h 204"/>
                <a:gd name="T20" fmla="*/ 12672 w 574"/>
                <a:gd name="T21" fmla="*/ 44567 h 204"/>
                <a:gd name="T22" fmla="*/ 22723 w 574"/>
                <a:gd name="T23" fmla="*/ 40271 h 204"/>
                <a:gd name="T24" fmla="*/ 34958 w 574"/>
                <a:gd name="T25" fmla="*/ 31143 h 204"/>
                <a:gd name="T26" fmla="*/ 44572 w 574"/>
                <a:gd name="T27" fmla="*/ 24700 h 204"/>
                <a:gd name="T28" fmla="*/ 52000 w 574"/>
                <a:gd name="T29" fmla="*/ 21478 h 204"/>
                <a:gd name="T30" fmla="*/ 76471 w 574"/>
                <a:gd name="T31" fmla="*/ 19867 h 204"/>
                <a:gd name="T32" fmla="*/ 76908 w 574"/>
                <a:gd name="T33" fmla="*/ 25774 h 204"/>
                <a:gd name="T34" fmla="*/ 78656 w 574"/>
                <a:gd name="T35" fmla="*/ 29532 h 204"/>
                <a:gd name="T36" fmla="*/ 80404 w 574"/>
                <a:gd name="T37" fmla="*/ 31680 h 204"/>
                <a:gd name="T38" fmla="*/ 83026 w 574"/>
                <a:gd name="T39" fmla="*/ 32754 h 204"/>
                <a:gd name="T40" fmla="*/ 100068 w 574"/>
                <a:gd name="T41" fmla="*/ 32754 h 204"/>
                <a:gd name="T42" fmla="*/ 117547 w 574"/>
                <a:gd name="T43" fmla="*/ 41882 h 204"/>
                <a:gd name="T44" fmla="*/ 131967 w 574"/>
                <a:gd name="T45" fmla="*/ 51010 h 204"/>
                <a:gd name="T46" fmla="*/ 146824 w 574"/>
                <a:gd name="T47" fmla="*/ 59602 h 204"/>
                <a:gd name="T48" fmla="*/ 163867 w 574"/>
                <a:gd name="T49" fmla="*/ 66045 h 204"/>
                <a:gd name="T50" fmla="*/ 164303 w 574"/>
                <a:gd name="T51" fmla="*/ 71951 h 204"/>
                <a:gd name="T52" fmla="*/ 166925 w 574"/>
                <a:gd name="T53" fmla="*/ 76247 h 204"/>
                <a:gd name="T54" fmla="*/ 173043 w 574"/>
                <a:gd name="T55" fmla="*/ 81617 h 204"/>
                <a:gd name="T56" fmla="*/ 187026 w 574"/>
                <a:gd name="T57" fmla="*/ 89134 h 204"/>
                <a:gd name="T58" fmla="*/ 175665 w 574"/>
                <a:gd name="T59" fmla="*/ 102558 h 204"/>
                <a:gd name="T60" fmla="*/ 177850 w 574"/>
                <a:gd name="T61" fmla="*/ 105779 h 204"/>
                <a:gd name="T62" fmla="*/ 180909 w 574"/>
                <a:gd name="T63" fmla="*/ 107927 h 204"/>
                <a:gd name="T64" fmla="*/ 187463 w 574"/>
                <a:gd name="T65" fmla="*/ 109538 h 204"/>
                <a:gd name="T66" fmla="*/ 201447 w 574"/>
                <a:gd name="T67" fmla="*/ 109538 h 204"/>
                <a:gd name="T68" fmla="*/ 242522 w 574"/>
                <a:gd name="T69" fmla="*/ 101484 h 204"/>
                <a:gd name="T70" fmla="*/ 244270 w 574"/>
                <a:gd name="T71" fmla="*/ 98262 h 204"/>
                <a:gd name="T72" fmla="*/ 246892 w 574"/>
                <a:gd name="T73" fmla="*/ 95040 h 204"/>
                <a:gd name="T74" fmla="*/ 249951 w 574"/>
                <a:gd name="T75" fmla="*/ 92893 h 204"/>
                <a:gd name="T76" fmla="*/ 250825 w 574"/>
                <a:gd name="T77" fmla="*/ 86449 h 204"/>
                <a:gd name="T78" fmla="*/ 245144 w 574"/>
                <a:gd name="T79" fmla="*/ 82154 h 204"/>
                <a:gd name="T80" fmla="*/ 232472 w 574"/>
                <a:gd name="T81" fmla="*/ 79469 h 204"/>
                <a:gd name="T82" fmla="*/ 220237 w 574"/>
                <a:gd name="T83" fmla="*/ 74099 h 204"/>
                <a:gd name="T84" fmla="*/ 207564 w 574"/>
                <a:gd name="T85" fmla="*/ 66582 h 204"/>
                <a:gd name="T86" fmla="*/ 189211 w 574"/>
                <a:gd name="T87" fmla="*/ 53695 h 204"/>
                <a:gd name="T88" fmla="*/ 167362 w 574"/>
                <a:gd name="T89" fmla="*/ 36513 h 204"/>
                <a:gd name="T90" fmla="*/ 156438 w 574"/>
                <a:gd name="T91" fmla="*/ 28995 h 204"/>
                <a:gd name="T92" fmla="*/ 152068 w 574"/>
                <a:gd name="T93" fmla="*/ 27921 h 204"/>
                <a:gd name="T94" fmla="*/ 144203 w 574"/>
                <a:gd name="T95" fmla="*/ 27921 h 204"/>
                <a:gd name="T96" fmla="*/ 136337 w 574"/>
                <a:gd name="T97" fmla="*/ 27385 h 204"/>
                <a:gd name="T98" fmla="*/ 131967 w 574"/>
                <a:gd name="T99" fmla="*/ 26311 h 204"/>
                <a:gd name="T100" fmla="*/ 128471 w 574"/>
                <a:gd name="T101" fmla="*/ 23089 h 204"/>
                <a:gd name="T102" fmla="*/ 126723 w 574"/>
                <a:gd name="T103" fmla="*/ 17182 h 204"/>
                <a:gd name="T104" fmla="*/ 62051 w 574"/>
                <a:gd name="T105" fmla="*/ 0 h 20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574" h="204">
                  <a:moveTo>
                    <a:pt x="142" y="0"/>
                  </a:moveTo>
                  <a:lnTo>
                    <a:pt x="127" y="1"/>
                  </a:lnTo>
                  <a:lnTo>
                    <a:pt x="111" y="3"/>
                  </a:lnTo>
                  <a:lnTo>
                    <a:pt x="95" y="6"/>
                  </a:lnTo>
                  <a:lnTo>
                    <a:pt x="80" y="11"/>
                  </a:lnTo>
                  <a:lnTo>
                    <a:pt x="66" y="16"/>
                  </a:lnTo>
                  <a:lnTo>
                    <a:pt x="52" y="21"/>
                  </a:lnTo>
                  <a:lnTo>
                    <a:pt x="43" y="26"/>
                  </a:lnTo>
                  <a:lnTo>
                    <a:pt x="36" y="31"/>
                  </a:lnTo>
                  <a:lnTo>
                    <a:pt x="30" y="35"/>
                  </a:lnTo>
                  <a:lnTo>
                    <a:pt x="24" y="42"/>
                  </a:lnTo>
                  <a:lnTo>
                    <a:pt x="16" y="51"/>
                  </a:lnTo>
                  <a:lnTo>
                    <a:pt x="10" y="61"/>
                  </a:lnTo>
                  <a:lnTo>
                    <a:pt x="4" y="71"/>
                  </a:lnTo>
                  <a:lnTo>
                    <a:pt x="1" y="79"/>
                  </a:lnTo>
                  <a:lnTo>
                    <a:pt x="0" y="82"/>
                  </a:lnTo>
                  <a:lnTo>
                    <a:pt x="0" y="85"/>
                  </a:lnTo>
                  <a:lnTo>
                    <a:pt x="1" y="86"/>
                  </a:lnTo>
                  <a:lnTo>
                    <a:pt x="3" y="87"/>
                  </a:lnTo>
                  <a:lnTo>
                    <a:pt x="13" y="86"/>
                  </a:lnTo>
                  <a:lnTo>
                    <a:pt x="22" y="85"/>
                  </a:lnTo>
                  <a:lnTo>
                    <a:pt x="29" y="83"/>
                  </a:lnTo>
                  <a:lnTo>
                    <a:pt x="38" y="81"/>
                  </a:lnTo>
                  <a:lnTo>
                    <a:pt x="52" y="75"/>
                  </a:lnTo>
                  <a:lnTo>
                    <a:pt x="66" y="66"/>
                  </a:lnTo>
                  <a:lnTo>
                    <a:pt x="80" y="58"/>
                  </a:lnTo>
                  <a:lnTo>
                    <a:pt x="94" y="50"/>
                  </a:lnTo>
                  <a:lnTo>
                    <a:pt x="102" y="46"/>
                  </a:lnTo>
                  <a:lnTo>
                    <a:pt x="111" y="43"/>
                  </a:lnTo>
                  <a:lnTo>
                    <a:pt x="119" y="40"/>
                  </a:lnTo>
                  <a:lnTo>
                    <a:pt x="129" y="37"/>
                  </a:lnTo>
                  <a:lnTo>
                    <a:pt x="175" y="37"/>
                  </a:lnTo>
                  <a:lnTo>
                    <a:pt x="175" y="43"/>
                  </a:lnTo>
                  <a:lnTo>
                    <a:pt x="176" y="48"/>
                  </a:lnTo>
                  <a:lnTo>
                    <a:pt x="178" y="52"/>
                  </a:lnTo>
                  <a:lnTo>
                    <a:pt x="180" y="55"/>
                  </a:lnTo>
                  <a:lnTo>
                    <a:pt x="181" y="58"/>
                  </a:lnTo>
                  <a:lnTo>
                    <a:pt x="184" y="59"/>
                  </a:lnTo>
                  <a:lnTo>
                    <a:pt x="186" y="60"/>
                  </a:lnTo>
                  <a:lnTo>
                    <a:pt x="190" y="61"/>
                  </a:lnTo>
                  <a:lnTo>
                    <a:pt x="206" y="60"/>
                  </a:lnTo>
                  <a:lnTo>
                    <a:pt x="229" y="61"/>
                  </a:lnTo>
                  <a:lnTo>
                    <a:pt x="250" y="69"/>
                  </a:lnTo>
                  <a:lnTo>
                    <a:pt x="269" y="78"/>
                  </a:lnTo>
                  <a:lnTo>
                    <a:pt x="285" y="86"/>
                  </a:lnTo>
                  <a:lnTo>
                    <a:pt x="302" y="95"/>
                  </a:lnTo>
                  <a:lnTo>
                    <a:pt x="318" y="103"/>
                  </a:lnTo>
                  <a:lnTo>
                    <a:pt x="336" y="111"/>
                  </a:lnTo>
                  <a:lnTo>
                    <a:pt x="354" y="118"/>
                  </a:lnTo>
                  <a:lnTo>
                    <a:pt x="375" y="123"/>
                  </a:lnTo>
                  <a:lnTo>
                    <a:pt x="375" y="129"/>
                  </a:lnTo>
                  <a:lnTo>
                    <a:pt x="376" y="134"/>
                  </a:lnTo>
                  <a:lnTo>
                    <a:pt x="379" y="138"/>
                  </a:lnTo>
                  <a:lnTo>
                    <a:pt x="382" y="142"/>
                  </a:lnTo>
                  <a:lnTo>
                    <a:pt x="388" y="147"/>
                  </a:lnTo>
                  <a:lnTo>
                    <a:pt x="396" y="152"/>
                  </a:lnTo>
                  <a:lnTo>
                    <a:pt x="415" y="159"/>
                  </a:lnTo>
                  <a:lnTo>
                    <a:pt x="428" y="166"/>
                  </a:lnTo>
                  <a:lnTo>
                    <a:pt x="417" y="176"/>
                  </a:lnTo>
                  <a:lnTo>
                    <a:pt x="402" y="191"/>
                  </a:lnTo>
                  <a:lnTo>
                    <a:pt x="404" y="195"/>
                  </a:lnTo>
                  <a:lnTo>
                    <a:pt x="407" y="197"/>
                  </a:lnTo>
                  <a:lnTo>
                    <a:pt x="410" y="199"/>
                  </a:lnTo>
                  <a:lnTo>
                    <a:pt x="414" y="201"/>
                  </a:lnTo>
                  <a:lnTo>
                    <a:pt x="421" y="203"/>
                  </a:lnTo>
                  <a:lnTo>
                    <a:pt x="429" y="204"/>
                  </a:lnTo>
                  <a:lnTo>
                    <a:pt x="445" y="204"/>
                  </a:lnTo>
                  <a:lnTo>
                    <a:pt x="461" y="204"/>
                  </a:lnTo>
                  <a:lnTo>
                    <a:pt x="554" y="191"/>
                  </a:lnTo>
                  <a:lnTo>
                    <a:pt x="555" y="189"/>
                  </a:lnTo>
                  <a:lnTo>
                    <a:pt x="556" y="186"/>
                  </a:lnTo>
                  <a:lnTo>
                    <a:pt x="559" y="183"/>
                  </a:lnTo>
                  <a:lnTo>
                    <a:pt x="562" y="179"/>
                  </a:lnTo>
                  <a:lnTo>
                    <a:pt x="565" y="177"/>
                  </a:lnTo>
                  <a:lnTo>
                    <a:pt x="568" y="174"/>
                  </a:lnTo>
                  <a:lnTo>
                    <a:pt x="572" y="173"/>
                  </a:lnTo>
                  <a:lnTo>
                    <a:pt x="574" y="172"/>
                  </a:lnTo>
                  <a:lnTo>
                    <a:pt x="574" y="161"/>
                  </a:lnTo>
                  <a:lnTo>
                    <a:pt x="574" y="154"/>
                  </a:lnTo>
                  <a:lnTo>
                    <a:pt x="561" y="153"/>
                  </a:lnTo>
                  <a:lnTo>
                    <a:pt x="546" y="151"/>
                  </a:lnTo>
                  <a:lnTo>
                    <a:pt x="532" y="148"/>
                  </a:lnTo>
                  <a:lnTo>
                    <a:pt x="518" y="143"/>
                  </a:lnTo>
                  <a:lnTo>
                    <a:pt x="504" y="138"/>
                  </a:lnTo>
                  <a:lnTo>
                    <a:pt x="489" y="132"/>
                  </a:lnTo>
                  <a:lnTo>
                    <a:pt x="475" y="124"/>
                  </a:lnTo>
                  <a:lnTo>
                    <a:pt x="461" y="116"/>
                  </a:lnTo>
                  <a:lnTo>
                    <a:pt x="433" y="100"/>
                  </a:lnTo>
                  <a:lnTo>
                    <a:pt x="407" y="84"/>
                  </a:lnTo>
                  <a:lnTo>
                    <a:pt x="383" y="68"/>
                  </a:lnTo>
                  <a:lnTo>
                    <a:pt x="362" y="55"/>
                  </a:lnTo>
                  <a:lnTo>
                    <a:pt x="358" y="54"/>
                  </a:lnTo>
                  <a:lnTo>
                    <a:pt x="353" y="52"/>
                  </a:lnTo>
                  <a:lnTo>
                    <a:pt x="348" y="52"/>
                  </a:lnTo>
                  <a:lnTo>
                    <a:pt x="342" y="52"/>
                  </a:lnTo>
                  <a:lnTo>
                    <a:pt x="330" y="52"/>
                  </a:lnTo>
                  <a:lnTo>
                    <a:pt x="318" y="52"/>
                  </a:lnTo>
                  <a:lnTo>
                    <a:pt x="312" y="51"/>
                  </a:lnTo>
                  <a:lnTo>
                    <a:pt x="306" y="50"/>
                  </a:lnTo>
                  <a:lnTo>
                    <a:pt x="302" y="49"/>
                  </a:lnTo>
                  <a:lnTo>
                    <a:pt x="297" y="46"/>
                  </a:lnTo>
                  <a:lnTo>
                    <a:pt x="294" y="43"/>
                  </a:lnTo>
                  <a:lnTo>
                    <a:pt x="291" y="38"/>
                  </a:lnTo>
                  <a:lnTo>
                    <a:pt x="290" y="32"/>
                  </a:lnTo>
                  <a:lnTo>
                    <a:pt x="288" y="25"/>
                  </a:lnTo>
                  <a:lnTo>
                    <a:pt x="142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747" name="Freeform 217"/>
            <p:cNvSpPr>
              <a:spLocks/>
            </p:cNvSpPr>
            <p:nvPr>
              <p:custDataLst>
                <p:tags r:id="rId139"/>
              </p:custDataLst>
            </p:nvPr>
          </p:nvSpPr>
          <p:spPr bwMode="auto">
            <a:xfrm>
              <a:off x="3477585" y="3363909"/>
              <a:ext cx="105986" cy="83881"/>
            </a:xfrm>
            <a:custGeom>
              <a:avLst/>
              <a:gdLst>
                <a:gd name="T0" fmla="*/ 17608 w 207"/>
                <a:gd name="T1" fmla="*/ 69850 h 129"/>
                <a:gd name="T2" fmla="*/ 21473 w 207"/>
                <a:gd name="T3" fmla="*/ 65518 h 129"/>
                <a:gd name="T4" fmla="*/ 25768 w 207"/>
                <a:gd name="T5" fmla="*/ 62269 h 129"/>
                <a:gd name="T6" fmla="*/ 30063 w 207"/>
                <a:gd name="T7" fmla="*/ 59562 h 129"/>
                <a:gd name="T8" fmla="*/ 34787 w 207"/>
                <a:gd name="T9" fmla="*/ 56855 h 129"/>
                <a:gd name="T10" fmla="*/ 45094 w 207"/>
                <a:gd name="T11" fmla="*/ 53606 h 129"/>
                <a:gd name="T12" fmla="*/ 55401 w 207"/>
                <a:gd name="T13" fmla="*/ 49816 h 129"/>
                <a:gd name="T14" fmla="*/ 65279 w 207"/>
                <a:gd name="T15" fmla="*/ 47108 h 129"/>
                <a:gd name="T16" fmla="*/ 74298 w 207"/>
                <a:gd name="T17" fmla="*/ 43859 h 129"/>
                <a:gd name="T18" fmla="*/ 78163 w 207"/>
                <a:gd name="T19" fmla="*/ 41693 h 129"/>
                <a:gd name="T20" fmla="*/ 82029 w 207"/>
                <a:gd name="T21" fmla="*/ 39528 h 129"/>
                <a:gd name="T22" fmla="*/ 85894 w 207"/>
                <a:gd name="T23" fmla="*/ 36279 h 129"/>
                <a:gd name="T24" fmla="*/ 88900 w 207"/>
                <a:gd name="T25" fmla="*/ 33030 h 129"/>
                <a:gd name="T26" fmla="*/ 85035 w 207"/>
                <a:gd name="T27" fmla="*/ 29240 h 129"/>
                <a:gd name="T28" fmla="*/ 80740 w 207"/>
                <a:gd name="T29" fmla="*/ 25449 h 129"/>
                <a:gd name="T30" fmla="*/ 76875 w 207"/>
                <a:gd name="T31" fmla="*/ 22742 h 129"/>
                <a:gd name="T32" fmla="*/ 72580 w 207"/>
                <a:gd name="T33" fmla="*/ 19493 h 129"/>
                <a:gd name="T34" fmla="*/ 64420 w 207"/>
                <a:gd name="T35" fmla="*/ 15703 h 129"/>
                <a:gd name="T36" fmla="*/ 55401 w 207"/>
                <a:gd name="T37" fmla="*/ 12454 h 129"/>
                <a:gd name="T38" fmla="*/ 45953 w 207"/>
                <a:gd name="T39" fmla="*/ 9747 h 129"/>
                <a:gd name="T40" fmla="*/ 36505 w 207"/>
                <a:gd name="T41" fmla="*/ 7039 h 129"/>
                <a:gd name="T42" fmla="*/ 27057 w 207"/>
                <a:gd name="T43" fmla="*/ 3790 h 129"/>
                <a:gd name="T44" fmla="*/ 17608 w 207"/>
                <a:gd name="T45" fmla="*/ 0 h 129"/>
                <a:gd name="T46" fmla="*/ 0 w 207"/>
                <a:gd name="T47" fmla="*/ 0 h 129"/>
                <a:gd name="T48" fmla="*/ 429 w 207"/>
                <a:gd name="T49" fmla="*/ 3249 h 129"/>
                <a:gd name="T50" fmla="*/ 859 w 207"/>
                <a:gd name="T51" fmla="*/ 7039 h 129"/>
                <a:gd name="T52" fmla="*/ 1718 w 207"/>
                <a:gd name="T53" fmla="*/ 10288 h 129"/>
                <a:gd name="T54" fmla="*/ 2577 w 207"/>
                <a:gd name="T55" fmla="*/ 13537 h 129"/>
                <a:gd name="T56" fmla="*/ 4295 w 207"/>
                <a:gd name="T57" fmla="*/ 18952 h 129"/>
                <a:gd name="T58" fmla="*/ 5583 w 207"/>
                <a:gd name="T59" fmla="*/ 24908 h 129"/>
                <a:gd name="T60" fmla="*/ 7301 w 207"/>
                <a:gd name="T61" fmla="*/ 29240 h 129"/>
                <a:gd name="T62" fmla="*/ 7730 w 207"/>
                <a:gd name="T63" fmla="*/ 33571 h 129"/>
                <a:gd name="T64" fmla="*/ 7301 w 207"/>
                <a:gd name="T65" fmla="*/ 35196 h 129"/>
                <a:gd name="T66" fmla="*/ 6013 w 207"/>
                <a:gd name="T67" fmla="*/ 36820 h 129"/>
                <a:gd name="T68" fmla="*/ 4724 w 207"/>
                <a:gd name="T69" fmla="*/ 38445 h 129"/>
                <a:gd name="T70" fmla="*/ 3006 w 207"/>
                <a:gd name="T71" fmla="*/ 39528 h 129"/>
                <a:gd name="T72" fmla="*/ 0 w 207"/>
                <a:gd name="T73" fmla="*/ 56313 h 129"/>
                <a:gd name="T74" fmla="*/ 1718 w 207"/>
                <a:gd name="T75" fmla="*/ 57396 h 129"/>
                <a:gd name="T76" fmla="*/ 5583 w 207"/>
                <a:gd name="T77" fmla="*/ 59562 h 129"/>
                <a:gd name="T78" fmla="*/ 8160 w 207"/>
                <a:gd name="T79" fmla="*/ 61186 h 129"/>
                <a:gd name="T80" fmla="*/ 10737 w 207"/>
                <a:gd name="T81" fmla="*/ 63352 h 129"/>
                <a:gd name="T82" fmla="*/ 14172 w 207"/>
                <a:gd name="T83" fmla="*/ 66060 h 129"/>
                <a:gd name="T84" fmla="*/ 17608 w 207"/>
                <a:gd name="T85" fmla="*/ 69850 h 12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207" h="129">
                  <a:moveTo>
                    <a:pt x="41" y="129"/>
                  </a:moveTo>
                  <a:lnTo>
                    <a:pt x="50" y="121"/>
                  </a:lnTo>
                  <a:lnTo>
                    <a:pt x="60" y="115"/>
                  </a:lnTo>
                  <a:lnTo>
                    <a:pt x="70" y="110"/>
                  </a:lnTo>
                  <a:lnTo>
                    <a:pt x="81" y="105"/>
                  </a:lnTo>
                  <a:lnTo>
                    <a:pt x="105" y="99"/>
                  </a:lnTo>
                  <a:lnTo>
                    <a:pt x="129" y="92"/>
                  </a:lnTo>
                  <a:lnTo>
                    <a:pt x="152" y="87"/>
                  </a:lnTo>
                  <a:lnTo>
                    <a:pt x="173" y="81"/>
                  </a:lnTo>
                  <a:lnTo>
                    <a:pt x="182" y="77"/>
                  </a:lnTo>
                  <a:lnTo>
                    <a:pt x="191" y="73"/>
                  </a:lnTo>
                  <a:lnTo>
                    <a:pt x="200" y="67"/>
                  </a:lnTo>
                  <a:lnTo>
                    <a:pt x="207" y="61"/>
                  </a:lnTo>
                  <a:lnTo>
                    <a:pt x="198" y="54"/>
                  </a:lnTo>
                  <a:lnTo>
                    <a:pt x="188" y="47"/>
                  </a:lnTo>
                  <a:lnTo>
                    <a:pt x="179" y="42"/>
                  </a:lnTo>
                  <a:lnTo>
                    <a:pt x="169" y="36"/>
                  </a:lnTo>
                  <a:lnTo>
                    <a:pt x="150" y="29"/>
                  </a:lnTo>
                  <a:lnTo>
                    <a:pt x="129" y="23"/>
                  </a:lnTo>
                  <a:lnTo>
                    <a:pt x="107" y="18"/>
                  </a:lnTo>
                  <a:lnTo>
                    <a:pt x="85" y="13"/>
                  </a:lnTo>
                  <a:lnTo>
                    <a:pt x="63" y="7"/>
                  </a:lnTo>
                  <a:lnTo>
                    <a:pt x="41" y="0"/>
                  </a:lnTo>
                  <a:lnTo>
                    <a:pt x="0" y="0"/>
                  </a:lnTo>
                  <a:lnTo>
                    <a:pt x="1" y="6"/>
                  </a:lnTo>
                  <a:lnTo>
                    <a:pt x="2" y="13"/>
                  </a:lnTo>
                  <a:lnTo>
                    <a:pt x="4" y="19"/>
                  </a:lnTo>
                  <a:lnTo>
                    <a:pt x="6" y="25"/>
                  </a:lnTo>
                  <a:lnTo>
                    <a:pt x="10" y="35"/>
                  </a:lnTo>
                  <a:lnTo>
                    <a:pt x="13" y="46"/>
                  </a:lnTo>
                  <a:lnTo>
                    <a:pt x="17" y="54"/>
                  </a:lnTo>
                  <a:lnTo>
                    <a:pt x="18" y="62"/>
                  </a:lnTo>
                  <a:lnTo>
                    <a:pt x="17" y="65"/>
                  </a:lnTo>
                  <a:lnTo>
                    <a:pt x="14" y="68"/>
                  </a:lnTo>
                  <a:lnTo>
                    <a:pt x="11" y="71"/>
                  </a:lnTo>
                  <a:lnTo>
                    <a:pt x="7" y="73"/>
                  </a:lnTo>
                  <a:lnTo>
                    <a:pt x="0" y="104"/>
                  </a:lnTo>
                  <a:lnTo>
                    <a:pt x="4" y="106"/>
                  </a:lnTo>
                  <a:lnTo>
                    <a:pt x="13" y="110"/>
                  </a:lnTo>
                  <a:lnTo>
                    <a:pt x="19" y="113"/>
                  </a:lnTo>
                  <a:lnTo>
                    <a:pt x="25" y="117"/>
                  </a:lnTo>
                  <a:lnTo>
                    <a:pt x="33" y="122"/>
                  </a:lnTo>
                  <a:lnTo>
                    <a:pt x="41" y="12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748" name="Freeform 218"/>
            <p:cNvSpPr>
              <a:spLocks/>
            </p:cNvSpPr>
            <p:nvPr>
              <p:custDataLst>
                <p:tags r:id="rId140"/>
              </p:custDataLst>
            </p:nvPr>
          </p:nvSpPr>
          <p:spPr bwMode="auto">
            <a:xfrm>
              <a:off x="2962797" y="3436352"/>
              <a:ext cx="39745" cy="101037"/>
            </a:xfrm>
            <a:custGeom>
              <a:avLst/>
              <a:gdLst>
                <a:gd name="T0" fmla="*/ 33338 w 72"/>
                <a:gd name="T1" fmla="*/ 0 h 154"/>
                <a:gd name="T2" fmla="*/ 31949 w 72"/>
                <a:gd name="T3" fmla="*/ 2185 h 154"/>
                <a:gd name="T4" fmla="*/ 31023 w 72"/>
                <a:gd name="T5" fmla="*/ 4917 h 154"/>
                <a:gd name="T6" fmla="*/ 30560 w 72"/>
                <a:gd name="T7" fmla="*/ 7102 h 154"/>
                <a:gd name="T8" fmla="*/ 30560 w 72"/>
                <a:gd name="T9" fmla="*/ 9834 h 154"/>
                <a:gd name="T10" fmla="*/ 30560 w 72"/>
                <a:gd name="T11" fmla="*/ 14751 h 154"/>
                <a:gd name="T12" fmla="*/ 30560 w 72"/>
                <a:gd name="T13" fmla="*/ 20215 h 154"/>
                <a:gd name="T14" fmla="*/ 31949 w 72"/>
                <a:gd name="T15" fmla="*/ 23493 h 154"/>
                <a:gd name="T16" fmla="*/ 32875 w 72"/>
                <a:gd name="T17" fmla="*/ 27317 h 154"/>
                <a:gd name="T18" fmla="*/ 32875 w 72"/>
                <a:gd name="T19" fmla="*/ 31142 h 154"/>
                <a:gd name="T20" fmla="*/ 32875 w 72"/>
                <a:gd name="T21" fmla="*/ 35512 h 154"/>
                <a:gd name="T22" fmla="*/ 31949 w 72"/>
                <a:gd name="T23" fmla="*/ 39883 h 154"/>
                <a:gd name="T24" fmla="*/ 31023 w 72"/>
                <a:gd name="T25" fmla="*/ 44800 h 154"/>
                <a:gd name="T26" fmla="*/ 30097 w 72"/>
                <a:gd name="T27" fmla="*/ 49717 h 154"/>
                <a:gd name="T28" fmla="*/ 28245 w 72"/>
                <a:gd name="T29" fmla="*/ 54634 h 154"/>
                <a:gd name="T30" fmla="*/ 24540 w 72"/>
                <a:gd name="T31" fmla="*/ 63376 h 154"/>
                <a:gd name="T32" fmla="*/ 20373 w 72"/>
                <a:gd name="T33" fmla="*/ 71571 h 154"/>
                <a:gd name="T34" fmla="*/ 15743 w 72"/>
                <a:gd name="T35" fmla="*/ 78674 h 154"/>
                <a:gd name="T36" fmla="*/ 12039 w 72"/>
                <a:gd name="T37" fmla="*/ 84137 h 154"/>
                <a:gd name="T38" fmla="*/ 12039 w 72"/>
                <a:gd name="T39" fmla="*/ 77035 h 154"/>
                <a:gd name="T40" fmla="*/ 6945 w 72"/>
                <a:gd name="T41" fmla="*/ 78674 h 154"/>
                <a:gd name="T42" fmla="*/ 0 w 72"/>
                <a:gd name="T43" fmla="*/ 80859 h 154"/>
                <a:gd name="T44" fmla="*/ 1389 w 72"/>
                <a:gd name="T45" fmla="*/ 70478 h 154"/>
                <a:gd name="T46" fmla="*/ 3704 w 72"/>
                <a:gd name="T47" fmla="*/ 57366 h 154"/>
                <a:gd name="T48" fmla="*/ 4167 w 72"/>
                <a:gd name="T49" fmla="*/ 50264 h 154"/>
                <a:gd name="T50" fmla="*/ 5556 w 72"/>
                <a:gd name="T51" fmla="*/ 42069 h 154"/>
                <a:gd name="T52" fmla="*/ 6945 w 72"/>
                <a:gd name="T53" fmla="*/ 34420 h 154"/>
                <a:gd name="T54" fmla="*/ 9261 w 72"/>
                <a:gd name="T55" fmla="*/ 26771 h 154"/>
                <a:gd name="T56" fmla="*/ 9261 w 72"/>
                <a:gd name="T57" fmla="*/ 0 h 154"/>
                <a:gd name="T58" fmla="*/ 11576 w 72"/>
                <a:gd name="T59" fmla="*/ 0 h 154"/>
                <a:gd name="T60" fmla="*/ 17595 w 72"/>
                <a:gd name="T61" fmla="*/ 0 h 154"/>
                <a:gd name="T62" fmla="*/ 25930 w 72"/>
                <a:gd name="T63" fmla="*/ 0 h 154"/>
                <a:gd name="T64" fmla="*/ 33338 w 72"/>
                <a:gd name="T65" fmla="*/ 0 h 15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72" h="154">
                  <a:moveTo>
                    <a:pt x="72" y="0"/>
                  </a:moveTo>
                  <a:lnTo>
                    <a:pt x="69" y="4"/>
                  </a:lnTo>
                  <a:lnTo>
                    <a:pt x="67" y="9"/>
                  </a:lnTo>
                  <a:lnTo>
                    <a:pt x="66" y="13"/>
                  </a:lnTo>
                  <a:lnTo>
                    <a:pt x="66" y="18"/>
                  </a:lnTo>
                  <a:lnTo>
                    <a:pt x="66" y="27"/>
                  </a:lnTo>
                  <a:lnTo>
                    <a:pt x="66" y="37"/>
                  </a:lnTo>
                  <a:lnTo>
                    <a:pt x="69" y="43"/>
                  </a:lnTo>
                  <a:lnTo>
                    <a:pt x="71" y="50"/>
                  </a:lnTo>
                  <a:lnTo>
                    <a:pt x="71" y="57"/>
                  </a:lnTo>
                  <a:lnTo>
                    <a:pt x="71" y="65"/>
                  </a:lnTo>
                  <a:lnTo>
                    <a:pt x="69" y="73"/>
                  </a:lnTo>
                  <a:lnTo>
                    <a:pt x="67" y="82"/>
                  </a:lnTo>
                  <a:lnTo>
                    <a:pt x="65" y="91"/>
                  </a:lnTo>
                  <a:lnTo>
                    <a:pt x="61" y="100"/>
                  </a:lnTo>
                  <a:lnTo>
                    <a:pt x="53" y="116"/>
                  </a:lnTo>
                  <a:lnTo>
                    <a:pt x="44" y="131"/>
                  </a:lnTo>
                  <a:lnTo>
                    <a:pt x="34" y="144"/>
                  </a:lnTo>
                  <a:lnTo>
                    <a:pt x="26" y="154"/>
                  </a:lnTo>
                  <a:lnTo>
                    <a:pt x="26" y="141"/>
                  </a:lnTo>
                  <a:lnTo>
                    <a:pt x="15" y="144"/>
                  </a:lnTo>
                  <a:lnTo>
                    <a:pt x="0" y="148"/>
                  </a:lnTo>
                  <a:lnTo>
                    <a:pt x="3" y="129"/>
                  </a:lnTo>
                  <a:lnTo>
                    <a:pt x="8" y="105"/>
                  </a:lnTo>
                  <a:lnTo>
                    <a:pt x="9" y="92"/>
                  </a:lnTo>
                  <a:lnTo>
                    <a:pt x="12" y="77"/>
                  </a:lnTo>
                  <a:lnTo>
                    <a:pt x="15" y="63"/>
                  </a:lnTo>
                  <a:lnTo>
                    <a:pt x="20" y="49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8" y="0"/>
                  </a:lnTo>
                  <a:lnTo>
                    <a:pt x="56" y="0"/>
                  </a:lnTo>
                  <a:lnTo>
                    <a:pt x="72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749" name="Freeform 219"/>
            <p:cNvSpPr>
              <a:spLocks/>
            </p:cNvSpPr>
            <p:nvPr>
              <p:custDataLst>
                <p:tags r:id="rId141"/>
              </p:custDataLst>
            </p:nvPr>
          </p:nvSpPr>
          <p:spPr bwMode="auto">
            <a:xfrm>
              <a:off x="2868168" y="3436351"/>
              <a:ext cx="111664" cy="175387"/>
            </a:xfrm>
            <a:custGeom>
              <a:avLst/>
              <a:gdLst>
                <a:gd name="T0" fmla="*/ 3501 w 214"/>
                <a:gd name="T1" fmla="*/ 111558 h 271"/>
                <a:gd name="T2" fmla="*/ 5252 w 214"/>
                <a:gd name="T3" fmla="*/ 97546 h 271"/>
                <a:gd name="T4" fmla="*/ 10504 w 214"/>
                <a:gd name="T5" fmla="*/ 79762 h 271"/>
                <a:gd name="T6" fmla="*/ 15319 w 214"/>
                <a:gd name="T7" fmla="*/ 63594 h 271"/>
                <a:gd name="T8" fmla="*/ 19258 w 214"/>
                <a:gd name="T9" fmla="*/ 60360 h 271"/>
                <a:gd name="T10" fmla="*/ 28449 w 214"/>
                <a:gd name="T11" fmla="*/ 59821 h 271"/>
                <a:gd name="T12" fmla="*/ 38953 w 214"/>
                <a:gd name="T13" fmla="*/ 59821 h 271"/>
                <a:gd name="T14" fmla="*/ 46394 w 214"/>
                <a:gd name="T15" fmla="*/ 59282 h 271"/>
                <a:gd name="T16" fmla="*/ 52521 w 214"/>
                <a:gd name="T17" fmla="*/ 56588 h 271"/>
                <a:gd name="T18" fmla="*/ 56898 w 214"/>
                <a:gd name="T19" fmla="*/ 50659 h 271"/>
                <a:gd name="T20" fmla="*/ 49458 w 214"/>
                <a:gd name="T21" fmla="*/ 39342 h 271"/>
                <a:gd name="T22" fmla="*/ 37640 w 214"/>
                <a:gd name="T23" fmla="*/ 31258 h 271"/>
                <a:gd name="T24" fmla="*/ 33701 w 214"/>
                <a:gd name="T25" fmla="*/ 26408 h 271"/>
                <a:gd name="T26" fmla="*/ 32388 w 214"/>
                <a:gd name="T27" fmla="*/ 22096 h 271"/>
                <a:gd name="T28" fmla="*/ 32826 w 214"/>
                <a:gd name="T29" fmla="*/ 18324 h 271"/>
                <a:gd name="T30" fmla="*/ 35890 w 214"/>
                <a:gd name="T31" fmla="*/ 15090 h 271"/>
                <a:gd name="T32" fmla="*/ 44205 w 214"/>
                <a:gd name="T33" fmla="*/ 10240 h 271"/>
                <a:gd name="T34" fmla="*/ 65652 w 214"/>
                <a:gd name="T35" fmla="*/ 1617 h 271"/>
                <a:gd name="T36" fmla="*/ 78782 w 214"/>
                <a:gd name="T37" fmla="*/ 0 h 271"/>
                <a:gd name="T38" fmla="*/ 86660 w 214"/>
                <a:gd name="T39" fmla="*/ 0 h 271"/>
                <a:gd name="T40" fmla="*/ 90599 w 214"/>
                <a:gd name="T41" fmla="*/ 26408 h 271"/>
                <a:gd name="T42" fmla="*/ 87098 w 214"/>
                <a:gd name="T43" fmla="*/ 41498 h 271"/>
                <a:gd name="T44" fmla="*/ 85347 w 214"/>
                <a:gd name="T45" fmla="*/ 56588 h 271"/>
                <a:gd name="T46" fmla="*/ 81846 w 214"/>
                <a:gd name="T47" fmla="*/ 79762 h 271"/>
                <a:gd name="T48" fmla="*/ 93225 w 214"/>
                <a:gd name="T49" fmla="*/ 82995 h 271"/>
                <a:gd name="T50" fmla="*/ 93663 w 214"/>
                <a:gd name="T51" fmla="*/ 89462 h 271"/>
                <a:gd name="T52" fmla="*/ 91912 w 214"/>
                <a:gd name="T53" fmla="*/ 93774 h 271"/>
                <a:gd name="T54" fmla="*/ 90599 w 214"/>
                <a:gd name="T55" fmla="*/ 95391 h 271"/>
                <a:gd name="T56" fmla="*/ 87536 w 214"/>
                <a:gd name="T57" fmla="*/ 95930 h 271"/>
                <a:gd name="T58" fmla="*/ 84034 w 214"/>
                <a:gd name="T59" fmla="*/ 105630 h 271"/>
                <a:gd name="T60" fmla="*/ 79220 w 214"/>
                <a:gd name="T61" fmla="*/ 115331 h 271"/>
                <a:gd name="T62" fmla="*/ 67840 w 214"/>
                <a:gd name="T63" fmla="*/ 130960 h 271"/>
                <a:gd name="T64" fmla="*/ 52521 w 214"/>
                <a:gd name="T65" fmla="*/ 146050 h 271"/>
                <a:gd name="T66" fmla="*/ 38078 w 214"/>
                <a:gd name="T67" fmla="*/ 140661 h 271"/>
                <a:gd name="T68" fmla="*/ 24072 w 214"/>
                <a:gd name="T69" fmla="*/ 133655 h 271"/>
                <a:gd name="T70" fmla="*/ 0 w 214"/>
                <a:gd name="T71" fmla="*/ 119104 h 271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14" h="271">
                  <a:moveTo>
                    <a:pt x="7" y="221"/>
                  </a:moveTo>
                  <a:lnTo>
                    <a:pt x="8" y="207"/>
                  </a:lnTo>
                  <a:lnTo>
                    <a:pt x="9" y="192"/>
                  </a:lnTo>
                  <a:lnTo>
                    <a:pt x="12" y="181"/>
                  </a:lnTo>
                  <a:lnTo>
                    <a:pt x="16" y="170"/>
                  </a:lnTo>
                  <a:lnTo>
                    <a:pt x="24" y="148"/>
                  </a:lnTo>
                  <a:lnTo>
                    <a:pt x="34" y="123"/>
                  </a:lnTo>
                  <a:lnTo>
                    <a:pt x="35" y="118"/>
                  </a:lnTo>
                  <a:lnTo>
                    <a:pt x="40" y="114"/>
                  </a:lnTo>
                  <a:lnTo>
                    <a:pt x="44" y="112"/>
                  </a:lnTo>
                  <a:lnTo>
                    <a:pt x="51" y="111"/>
                  </a:lnTo>
                  <a:lnTo>
                    <a:pt x="65" y="111"/>
                  </a:lnTo>
                  <a:lnTo>
                    <a:pt x="82" y="111"/>
                  </a:lnTo>
                  <a:lnTo>
                    <a:pt x="89" y="111"/>
                  </a:lnTo>
                  <a:lnTo>
                    <a:pt x="98" y="111"/>
                  </a:lnTo>
                  <a:lnTo>
                    <a:pt x="106" y="110"/>
                  </a:lnTo>
                  <a:lnTo>
                    <a:pt x="113" y="108"/>
                  </a:lnTo>
                  <a:lnTo>
                    <a:pt x="120" y="105"/>
                  </a:lnTo>
                  <a:lnTo>
                    <a:pt x="125" y="100"/>
                  </a:lnTo>
                  <a:lnTo>
                    <a:pt x="130" y="94"/>
                  </a:lnTo>
                  <a:lnTo>
                    <a:pt x="133" y="85"/>
                  </a:lnTo>
                  <a:lnTo>
                    <a:pt x="113" y="73"/>
                  </a:lnTo>
                  <a:lnTo>
                    <a:pt x="94" y="63"/>
                  </a:lnTo>
                  <a:lnTo>
                    <a:pt x="86" y="58"/>
                  </a:lnTo>
                  <a:lnTo>
                    <a:pt x="79" y="52"/>
                  </a:lnTo>
                  <a:lnTo>
                    <a:pt x="77" y="49"/>
                  </a:lnTo>
                  <a:lnTo>
                    <a:pt x="75" y="45"/>
                  </a:lnTo>
                  <a:lnTo>
                    <a:pt x="74" y="41"/>
                  </a:lnTo>
                  <a:lnTo>
                    <a:pt x="74" y="37"/>
                  </a:lnTo>
                  <a:lnTo>
                    <a:pt x="75" y="34"/>
                  </a:lnTo>
                  <a:lnTo>
                    <a:pt x="77" y="31"/>
                  </a:lnTo>
                  <a:lnTo>
                    <a:pt x="82" y="28"/>
                  </a:lnTo>
                  <a:lnTo>
                    <a:pt x="87" y="25"/>
                  </a:lnTo>
                  <a:lnTo>
                    <a:pt x="101" y="19"/>
                  </a:lnTo>
                  <a:lnTo>
                    <a:pt x="118" y="13"/>
                  </a:lnTo>
                  <a:lnTo>
                    <a:pt x="150" y="3"/>
                  </a:lnTo>
                  <a:lnTo>
                    <a:pt x="167" y="0"/>
                  </a:lnTo>
                  <a:lnTo>
                    <a:pt x="180" y="0"/>
                  </a:lnTo>
                  <a:lnTo>
                    <a:pt x="190" y="0"/>
                  </a:lnTo>
                  <a:lnTo>
                    <a:pt x="198" y="0"/>
                  </a:lnTo>
                  <a:lnTo>
                    <a:pt x="200" y="0"/>
                  </a:lnTo>
                  <a:lnTo>
                    <a:pt x="207" y="49"/>
                  </a:lnTo>
                  <a:lnTo>
                    <a:pt x="202" y="63"/>
                  </a:lnTo>
                  <a:lnTo>
                    <a:pt x="199" y="77"/>
                  </a:lnTo>
                  <a:lnTo>
                    <a:pt x="196" y="92"/>
                  </a:lnTo>
                  <a:lnTo>
                    <a:pt x="195" y="105"/>
                  </a:lnTo>
                  <a:lnTo>
                    <a:pt x="190" y="129"/>
                  </a:lnTo>
                  <a:lnTo>
                    <a:pt x="187" y="148"/>
                  </a:lnTo>
                  <a:lnTo>
                    <a:pt x="202" y="151"/>
                  </a:lnTo>
                  <a:lnTo>
                    <a:pt x="213" y="154"/>
                  </a:lnTo>
                  <a:lnTo>
                    <a:pt x="214" y="158"/>
                  </a:lnTo>
                  <a:lnTo>
                    <a:pt x="214" y="166"/>
                  </a:lnTo>
                  <a:lnTo>
                    <a:pt x="213" y="170"/>
                  </a:lnTo>
                  <a:lnTo>
                    <a:pt x="210" y="174"/>
                  </a:lnTo>
                  <a:lnTo>
                    <a:pt x="209" y="176"/>
                  </a:lnTo>
                  <a:lnTo>
                    <a:pt x="207" y="177"/>
                  </a:lnTo>
                  <a:lnTo>
                    <a:pt x="203" y="178"/>
                  </a:lnTo>
                  <a:lnTo>
                    <a:pt x="200" y="178"/>
                  </a:lnTo>
                  <a:lnTo>
                    <a:pt x="197" y="187"/>
                  </a:lnTo>
                  <a:lnTo>
                    <a:pt x="192" y="196"/>
                  </a:lnTo>
                  <a:lnTo>
                    <a:pt x="188" y="205"/>
                  </a:lnTo>
                  <a:lnTo>
                    <a:pt x="181" y="214"/>
                  </a:lnTo>
                  <a:lnTo>
                    <a:pt x="169" y="229"/>
                  </a:lnTo>
                  <a:lnTo>
                    <a:pt x="155" y="243"/>
                  </a:lnTo>
                  <a:lnTo>
                    <a:pt x="131" y="263"/>
                  </a:lnTo>
                  <a:lnTo>
                    <a:pt x="120" y="271"/>
                  </a:lnTo>
                  <a:lnTo>
                    <a:pt x="103" y="266"/>
                  </a:lnTo>
                  <a:lnTo>
                    <a:pt x="87" y="261"/>
                  </a:lnTo>
                  <a:lnTo>
                    <a:pt x="71" y="254"/>
                  </a:lnTo>
                  <a:lnTo>
                    <a:pt x="55" y="248"/>
                  </a:lnTo>
                  <a:lnTo>
                    <a:pt x="27" y="235"/>
                  </a:lnTo>
                  <a:lnTo>
                    <a:pt x="0" y="221"/>
                  </a:lnTo>
                  <a:lnTo>
                    <a:pt x="7" y="22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750" name="Freeform 220"/>
            <p:cNvSpPr>
              <a:spLocks/>
            </p:cNvSpPr>
            <p:nvPr>
              <p:custDataLst>
                <p:tags r:id="rId142"/>
              </p:custDataLst>
            </p:nvPr>
          </p:nvSpPr>
          <p:spPr bwMode="auto">
            <a:xfrm>
              <a:off x="2924945" y="3569798"/>
              <a:ext cx="85168" cy="68630"/>
            </a:xfrm>
            <a:custGeom>
              <a:avLst/>
              <a:gdLst>
                <a:gd name="T0" fmla="*/ 28015 w 153"/>
                <a:gd name="T1" fmla="*/ 0 h 80"/>
                <a:gd name="T2" fmla="*/ 38754 w 153"/>
                <a:gd name="T3" fmla="*/ 10001 h 80"/>
                <a:gd name="T4" fmla="*/ 48559 w 153"/>
                <a:gd name="T5" fmla="*/ 17145 h 80"/>
                <a:gd name="T6" fmla="*/ 53695 w 153"/>
                <a:gd name="T7" fmla="*/ 20003 h 80"/>
                <a:gd name="T8" fmla="*/ 58831 w 153"/>
                <a:gd name="T9" fmla="*/ 22146 h 80"/>
                <a:gd name="T10" fmla="*/ 62100 w 153"/>
                <a:gd name="T11" fmla="*/ 22860 h 80"/>
                <a:gd name="T12" fmla="*/ 64901 w 153"/>
                <a:gd name="T13" fmla="*/ 22860 h 80"/>
                <a:gd name="T14" fmla="*/ 68170 w 153"/>
                <a:gd name="T15" fmla="*/ 22146 h 80"/>
                <a:gd name="T16" fmla="*/ 71438 w 153"/>
                <a:gd name="T17" fmla="*/ 21431 h 80"/>
                <a:gd name="T18" fmla="*/ 71438 w 153"/>
                <a:gd name="T19" fmla="*/ 40005 h 80"/>
                <a:gd name="T20" fmla="*/ 69570 w 153"/>
                <a:gd name="T21" fmla="*/ 42863 h 80"/>
                <a:gd name="T22" fmla="*/ 67703 w 153"/>
                <a:gd name="T23" fmla="*/ 46434 h 80"/>
                <a:gd name="T24" fmla="*/ 64434 w 153"/>
                <a:gd name="T25" fmla="*/ 49292 h 80"/>
                <a:gd name="T26" fmla="*/ 61633 w 153"/>
                <a:gd name="T27" fmla="*/ 51435 h 80"/>
                <a:gd name="T28" fmla="*/ 58364 w 153"/>
                <a:gd name="T29" fmla="*/ 53578 h 80"/>
                <a:gd name="T30" fmla="*/ 55563 w 153"/>
                <a:gd name="T31" fmla="*/ 55721 h 80"/>
                <a:gd name="T32" fmla="*/ 52294 w 153"/>
                <a:gd name="T33" fmla="*/ 56436 h 80"/>
                <a:gd name="T34" fmla="*/ 49493 w 153"/>
                <a:gd name="T35" fmla="*/ 57150 h 80"/>
                <a:gd name="T36" fmla="*/ 42022 w 153"/>
                <a:gd name="T37" fmla="*/ 52864 h 80"/>
                <a:gd name="T38" fmla="*/ 35486 w 153"/>
                <a:gd name="T39" fmla="*/ 50721 h 80"/>
                <a:gd name="T40" fmla="*/ 29416 w 153"/>
                <a:gd name="T41" fmla="*/ 49292 h 80"/>
                <a:gd name="T42" fmla="*/ 23346 w 153"/>
                <a:gd name="T43" fmla="*/ 49292 h 80"/>
                <a:gd name="T44" fmla="*/ 18210 w 153"/>
                <a:gd name="T45" fmla="*/ 48578 h 80"/>
                <a:gd name="T46" fmla="*/ 12607 w 153"/>
                <a:gd name="T47" fmla="*/ 47863 h 80"/>
                <a:gd name="T48" fmla="*/ 6537 w 153"/>
                <a:gd name="T49" fmla="*/ 46434 h 80"/>
                <a:gd name="T50" fmla="*/ 0 w 153"/>
                <a:gd name="T51" fmla="*/ 44291 h 80"/>
                <a:gd name="T52" fmla="*/ 3268 w 153"/>
                <a:gd name="T53" fmla="*/ 41434 h 80"/>
                <a:gd name="T54" fmla="*/ 10739 w 153"/>
                <a:gd name="T55" fmla="*/ 32147 h 80"/>
                <a:gd name="T56" fmla="*/ 15875 w 153"/>
                <a:gd name="T57" fmla="*/ 26432 h 80"/>
                <a:gd name="T58" fmla="*/ 21011 w 153"/>
                <a:gd name="T59" fmla="*/ 20003 h 80"/>
                <a:gd name="T60" fmla="*/ 26147 w 153"/>
                <a:gd name="T61" fmla="*/ 12144 h 80"/>
                <a:gd name="T62" fmla="*/ 31283 w 153"/>
                <a:gd name="T63" fmla="*/ 4286 h 80"/>
                <a:gd name="T64" fmla="*/ 28015 w 153"/>
                <a:gd name="T65" fmla="*/ 0 h 8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53" h="80">
                  <a:moveTo>
                    <a:pt x="60" y="0"/>
                  </a:moveTo>
                  <a:lnTo>
                    <a:pt x="83" y="14"/>
                  </a:lnTo>
                  <a:lnTo>
                    <a:pt x="104" y="24"/>
                  </a:lnTo>
                  <a:lnTo>
                    <a:pt x="115" y="28"/>
                  </a:lnTo>
                  <a:lnTo>
                    <a:pt x="126" y="31"/>
                  </a:lnTo>
                  <a:lnTo>
                    <a:pt x="133" y="32"/>
                  </a:lnTo>
                  <a:lnTo>
                    <a:pt x="139" y="32"/>
                  </a:lnTo>
                  <a:lnTo>
                    <a:pt x="146" y="31"/>
                  </a:lnTo>
                  <a:lnTo>
                    <a:pt x="153" y="30"/>
                  </a:lnTo>
                  <a:lnTo>
                    <a:pt x="153" y="56"/>
                  </a:lnTo>
                  <a:lnTo>
                    <a:pt x="149" y="60"/>
                  </a:lnTo>
                  <a:lnTo>
                    <a:pt x="145" y="65"/>
                  </a:lnTo>
                  <a:lnTo>
                    <a:pt x="138" y="69"/>
                  </a:lnTo>
                  <a:lnTo>
                    <a:pt x="132" y="72"/>
                  </a:lnTo>
                  <a:lnTo>
                    <a:pt x="125" y="75"/>
                  </a:lnTo>
                  <a:lnTo>
                    <a:pt x="119" y="78"/>
                  </a:lnTo>
                  <a:lnTo>
                    <a:pt x="112" y="79"/>
                  </a:lnTo>
                  <a:lnTo>
                    <a:pt x="106" y="80"/>
                  </a:lnTo>
                  <a:lnTo>
                    <a:pt x="90" y="74"/>
                  </a:lnTo>
                  <a:lnTo>
                    <a:pt x="76" y="71"/>
                  </a:lnTo>
                  <a:lnTo>
                    <a:pt x="63" y="69"/>
                  </a:lnTo>
                  <a:lnTo>
                    <a:pt x="50" y="69"/>
                  </a:lnTo>
                  <a:lnTo>
                    <a:pt x="39" y="68"/>
                  </a:lnTo>
                  <a:lnTo>
                    <a:pt x="27" y="67"/>
                  </a:lnTo>
                  <a:lnTo>
                    <a:pt x="14" y="65"/>
                  </a:lnTo>
                  <a:lnTo>
                    <a:pt x="0" y="62"/>
                  </a:lnTo>
                  <a:lnTo>
                    <a:pt x="7" y="58"/>
                  </a:lnTo>
                  <a:lnTo>
                    <a:pt x="23" y="45"/>
                  </a:lnTo>
                  <a:lnTo>
                    <a:pt x="34" y="37"/>
                  </a:lnTo>
                  <a:lnTo>
                    <a:pt x="45" y="28"/>
                  </a:lnTo>
                  <a:lnTo>
                    <a:pt x="56" y="17"/>
                  </a:lnTo>
                  <a:lnTo>
                    <a:pt x="67" y="6"/>
                  </a:lnTo>
                  <a:lnTo>
                    <a:pt x="6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751" name="Freeform 221"/>
            <p:cNvSpPr>
              <a:spLocks/>
            </p:cNvSpPr>
            <p:nvPr>
              <p:custDataLst>
                <p:tags r:id="rId143"/>
              </p:custDataLst>
            </p:nvPr>
          </p:nvSpPr>
          <p:spPr bwMode="auto">
            <a:xfrm>
              <a:off x="2962798" y="3524045"/>
              <a:ext cx="170334" cy="104850"/>
            </a:xfrm>
            <a:custGeom>
              <a:avLst/>
              <a:gdLst>
                <a:gd name="T0" fmla="*/ 0 w 332"/>
                <a:gd name="T1" fmla="*/ 39781 h 169"/>
                <a:gd name="T2" fmla="*/ 18935 w 332"/>
                <a:gd name="T3" fmla="*/ 52181 h 169"/>
                <a:gd name="T4" fmla="*/ 28403 w 332"/>
                <a:gd name="T5" fmla="*/ 55797 h 169"/>
                <a:gd name="T6" fmla="*/ 33997 w 332"/>
                <a:gd name="T7" fmla="*/ 56314 h 169"/>
                <a:gd name="T8" fmla="*/ 40022 w 332"/>
                <a:gd name="T9" fmla="*/ 55280 h 169"/>
                <a:gd name="T10" fmla="*/ 38731 w 332"/>
                <a:gd name="T11" fmla="*/ 74396 h 169"/>
                <a:gd name="T12" fmla="*/ 40883 w 332"/>
                <a:gd name="T13" fmla="*/ 79562 h 169"/>
                <a:gd name="T14" fmla="*/ 42604 w 332"/>
                <a:gd name="T15" fmla="*/ 84212 h 169"/>
                <a:gd name="T16" fmla="*/ 46047 w 332"/>
                <a:gd name="T17" fmla="*/ 86795 h 169"/>
                <a:gd name="T18" fmla="*/ 50351 w 332"/>
                <a:gd name="T19" fmla="*/ 87312 h 169"/>
                <a:gd name="T20" fmla="*/ 52933 w 332"/>
                <a:gd name="T21" fmla="*/ 85762 h 169"/>
                <a:gd name="T22" fmla="*/ 56806 w 332"/>
                <a:gd name="T23" fmla="*/ 81112 h 169"/>
                <a:gd name="T24" fmla="*/ 62831 w 332"/>
                <a:gd name="T25" fmla="*/ 70263 h 169"/>
                <a:gd name="T26" fmla="*/ 74880 w 332"/>
                <a:gd name="T27" fmla="*/ 59413 h 169"/>
                <a:gd name="T28" fmla="*/ 92094 w 332"/>
                <a:gd name="T29" fmla="*/ 49597 h 169"/>
                <a:gd name="T30" fmla="*/ 110169 w 332"/>
                <a:gd name="T31" fmla="*/ 41331 h 169"/>
                <a:gd name="T32" fmla="*/ 130825 w 332"/>
                <a:gd name="T33" fmla="*/ 33582 h 169"/>
                <a:gd name="T34" fmla="*/ 142875 w 332"/>
                <a:gd name="T35" fmla="*/ 23765 h 169"/>
                <a:gd name="T36" fmla="*/ 142875 w 332"/>
                <a:gd name="T37" fmla="*/ 11366 h 169"/>
                <a:gd name="T38" fmla="*/ 137711 w 332"/>
                <a:gd name="T39" fmla="*/ 1033 h 169"/>
                <a:gd name="T40" fmla="*/ 121788 w 332"/>
                <a:gd name="T41" fmla="*/ 517 h 169"/>
                <a:gd name="T42" fmla="*/ 100701 w 332"/>
                <a:gd name="T43" fmla="*/ 0 h 169"/>
                <a:gd name="T44" fmla="*/ 77462 w 332"/>
                <a:gd name="T45" fmla="*/ 517 h 169"/>
                <a:gd name="T46" fmla="*/ 56375 w 332"/>
                <a:gd name="T47" fmla="*/ 2067 h 169"/>
                <a:gd name="T48" fmla="*/ 38731 w 332"/>
                <a:gd name="T49" fmla="*/ 5166 h 169"/>
                <a:gd name="T50" fmla="*/ 25390 w 332"/>
                <a:gd name="T51" fmla="*/ 9816 h 169"/>
                <a:gd name="T52" fmla="*/ 18075 w 332"/>
                <a:gd name="T53" fmla="*/ 11366 h 169"/>
                <a:gd name="T54" fmla="*/ 15062 w 332"/>
                <a:gd name="T55" fmla="*/ 11883 h 169"/>
                <a:gd name="T56" fmla="*/ 14632 w 332"/>
                <a:gd name="T57" fmla="*/ 13433 h 169"/>
                <a:gd name="T58" fmla="*/ 14201 w 332"/>
                <a:gd name="T59" fmla="*/ 19632 h 169"/>
                <a:gd name="T60" fmla="*/ 12480 w 332"/>
                <a:gd name="T61" fmla="*/ 22732 h 169"/>
                <a:gd name="T62" fmla="*/ 9898 w 332"/>
                <a:gd name="T63" fmla="*/ 23765 h 169"/>
                <a:gd name="T64" fmla="*/ 8177 w 332"/>
                <a:gd name="T65" fmla="*/ 28415 h 169"/>
                <a:gd name="T66" fmla="*/ 4734 w 332"/>
                <a:gd name="T67" fmla="*/ 37198 h 169"/>
                <a:gd name="T68" fmla="*/ 3012 w 332"/>
                <a:gd name="T69" fmla="*/ 42881 h 169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332" h="169">
                  <a:moveTo>
                    <a:pt x="7" y="83"/>
                  </a:moveTo>
                  <a:lnTo>
                    <a:pt x="0" y="77"/>
                  </a:lnTo>
                  <a:lnTo>
                    <a:pt x="23" y="91"/>
                  </a:lnTo>
                  <a:lnTo>
                    <a:pt x="44" y="101"/>
                  </a:lnTo>
                  <a:lnTo>
                    <a:pt x="55" y="105"/>
                  </a:lnTo>
                  <a:lnTo>
                    <a:pt x="66" y="108"/>
                  </a:lnTo>
                  <a:lnTo>
                    <a:pt x="73" y="109"/>
                  </a:lnTo>
                  <a:lnTo>
                    <a:pt x="79" y="109"/>
                  </a:lnTo>
                  <a:lnTo>
                    <a:pt x="86" y="108"/>
                  </a:lnTo>
                  <a:lnTo>
                    <a:pt x="93" y="107"/>
                  </a:lnTo>
                  <a:lnTo>
                    <a:pt x="86" y="139"/>
                  </a:lnTo>
                  <a:lnTo>
                    <a:pt x="90" y="144"/>
                  </a:lnTo>
                  <a:lnTo>
                    <a:pt x="94" y="149"/>
                  </a:lnTo>
                  <a:lnTo>
                    <a:pt x="95" y="154"/>
                  </a:lnTo>
                  <a:lnTo>
                    <a:pt x="97" y="158"/>
                  </a:lnTo>
                  <a:lnTo>
                    <a:pt x="99" y="163"/>
                  </a:lnTo>
                  <a:lnTo>
                    <a:pt x="102" y="166"/>
                  </a:lnTo>
                  <a:lnTo>
                    <a:pt x="107" y="168"/>
                  </a:lnTo>
                  <a:lnTo>
                    <a:pt x="113" y="169"/>
                  </a:lnTo>
                  <a:lnTo>
                    <a:pt x="117" y="169"/>
                  </a:lnTo>
                  <a:lnTo>
                    <a:pt x="120" y="167"/>
                  </a:lnTo>
                  <a:lnTo>
                    <a:pt x="123" y="166"/>
                  </a:lnTo>
                  <a:lnTo>
                    <a:pt x="127" y="163"/>
                  </a:lnTo>
                  <a:lnTo>
                    <a:pt x="132" y="157"/>
                  </a:lnTo>
                  <a:lnTo>
                    <a:pt x="138" y="150"/>
                  </a:lnTo>
                  <a:lnTo>
                    <a:pt x="146" y="136"/>
                  </a:lnTo>
                  <a:lnTo>
                    <a:pt x="153" y="127"/>
                  </a:lnTo>
                  <a:lnTo>
                    <a:pt x="174" y="115"/>
                  </a:lnTo>
                  <a:lnTo>
                    <a:pt x="195" y="105"/>
                  </a:lnTo>
                  <a:lnTo>
                    <a:pt x="214" y="96"/>
                  </a:lnTo>
                  <a:lnTo>
                    <a:pt x="235" y="88"/>
                  </a:lnTo>
                  <a:lnTo>
                    <a:pt x="256" y="80"/>
                  </a:lnTo>
                  <a:lnTo>
                    <a:pt x="279" y="73"/>
                  </a:lnTo>
                  <a:lnTo>
                    <a:pt x="304" y="65"/>
                  </a:lnTo>
                  <a:lnTo>
                    <a:pt x="332" y="58"/>
                  </a:lnTo>
                  <a:lnTo>
                    <a:pt x="332" y="46"/>
                  </a:lnTo>
                  <a:lnTo>
                    <a:pt x="332" y="35"/>
                  </a:lnTo>
                  <a:lnTo>
                    <a:pt x="332" y="22"/>
                  </a:lnTo>
                  <a:lnTo>
                    <a:pt x="332" y="3"/>
                  </a:lnTo>
                  <a:lnTo>
                    <a:pt x="320" y="2"/>
                  </a:lnTo>
                  <a:lnTo>
                    <a:pt x="303" y="2"/>
                  </a:lnTo>
                  <a:lnTo>
                    <a:pt x="283" y="1"/>
                  </a:lnTo>
                  <a:lnTo>
                    <a:pt x="259" y="0"/>
                  </a:lnTo>
                  <a:lnTo>
                    <a:pt x="234" y="0"/>
                  </a:lnTo>
                  <a:lnTo>
                    <a:pt x="208" y="0"/>
                  </a:lnTo>
                  <a:lnTo>
                    <a:pt x="180" y="1"/>
                  </a:lnTo>
                  <a:lnTo>
                    <a:pt x="153" y="3"/>
                  </a:lnTo>
                  <a:lnTo>
                    <a:pt x="131" y="4"/>
                  </a:lnTo>
                  <a:lnTo>
                    <a:pt x="110" y="6"/>
                  </a:lnTo>
                  <a:lnTo>
                    <a:pt x="90" y="10"/>
                  </a:lnTo>
                  <a:lnTo>
                    <a:pt x="73" y="15"/>
                  </a:lnTo>
                  <a:lnTo>
                    <a:pt x="59" y="19"/>
                  </a:lnTo>
                  <a:lnTo>
                    <a:pt x="46" y="22"/>
                  </a:lnTo>
                  <a:lnTo>
                    <a:pt x="42" y="22"/>
                  </a:lnTo>
                  <a:lnTo>
                    <a:pt x="38" y="23"/>
                  </a:lnTo>
                  <a:lnTo>
                    <a:pt x="35" y="23"/>
                  </a:lnTo>
                  <a:lnTo>
                    <a:pt x="33" y="22"/>
                  </a:lnTo>
                  <a:lnTo>
                    <a:pt x="34" y="26"/>
                  </a:lnTo>
                  <a:lnTo>
                    <a:pt x="34" y="34"/>
                  </a:lnTo>
                  <a:lnTo>
                    <a:pt x="33" y="38"/>
                  </a:lnTo>
                  <a:lnTo>
                    <a:pt x="30" y="42"/>
                  </a:lnTo>
                  <a:lnTo>
                    <a:pt x="29" y="44"/>
                  </a:lnTo>
                  <a:lnTo>
                    <a:pt x="27" y="45"/>
                  </a:lnTo>
                  <a:lnTo>
                    <a:pt x="23" y="46"/>
                  </a:lnTo>
                  <a:lnTo>
                    <a:pt x="20" y="46"/>
                  </a:lnTo>
                  <a:lnTo>
                    <a:pt x="19" y="55"/>
                  </a:lnTo>
                  <a:lnTo>
                    <a:pt x="16" y="63"/>
                  </a:lnTo>
                  <a:lnTo>
                    <a:pt x="11" y="72"/>
                  </a:lnTo>
                  <a:lnTo>
                    <a:pt x="7" y="77"/>
                  </a:lnTo>
                  <a:lnTo>
                    <a:pt x="7" y="8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752" name="Freeform 222"/>
            <p:cNvSpPr>
              <a:spLocks/>
            </p:cNvSpPr>
            <p:nvPr>
              <p:custDataLst>
                <p:tags r:id="rId144"/>
              </p:custDataLst>
            </p:nvPr>
          </p:nvSpPr>
          <p:spPr bwMode="auto">
            <a:xfrm>
              <a:off x="2983616" y="3560265"/>
              <a:ext cx="149515" cy="146792"/>
            </a:xfrm>
            <a:custGeom>
              <a:avLst/>
              <a:gdLst>
                <a:gd name="T0" fmla="*/ 19294 w 286"/>
                <a:gd name="T1" fmla="*/ 44734 h 235"/>
                <a:gd name="T2" fmla="*/ 21487 w 286"/>
                <a:gd name="T3" fmla="*/ 49936 h 235"/>
                <a:gd name="T4" fmla="*/ 23241 w 286"/>
                <a:gd name="T5" fmla="*/ 54617 h 235"/>
                <a:gd name="T6" fmla="*/ 26749 w 286"/>
                <a:gd name="T7" fmla="*/ 57218 h 235"/>
                <a:gd name="T8" fmla="*/ 31134 w 286"/>
                <a:gd name="T9" fmla="*/ 57738 h 235"/>
                <a:gd name="T10" fmla="*/ 33765 w 286"/>
                <a:gd name="T11" fmla="*/ 56177 h 235"/>
                <a:gd name="T12" fmla="*/ 37711 w 286"/>
                <a:gd name="T13" fmla="*/ 51496 h 235"/>
                <a:gd name="T14" fmla="*/ 43850 w 286"/>
                <a:gd name="T15" fmla="*/ 40573 h 235"/>
                <a:gd name="T16" fmla="*/ 56128 w 286"/>
                <a:gd name="T17" fmla="*/ 29649 h 235"/>
                <a:gd name="T18" fmla="*/ 73669 w 286"/>
                <a:gd name="T19" fmla="*/ 19766 h 235"/>
                <a:gd name="T20" fmla="*/ 92086 w 286"/>
                <a:gd name="T21" fmla="*/ 11444 h 235"/>
                <a:gd name="T22" fmla="*/ 113134 w 286"/>
                <a:gd name="T23" fmla="*/ 3641 h 235"/>
                <a:gd name="T24" fmla="*/ 125412 w 286"/>
                <a:gd name="T25" fmla="*/ 5722 h 235"/>
                <a:gd name="T26" fmla="*/ 123658 w 286"/>
                <a:gd name="T27" fmla="*/ 16645 h 235"/>
                <a:gd name="T28" fmla="*/ 119273 w 286"/>
                <a:gd name="T29" fmla="*/ 36411 h 235"/>
                <a:gd name="T30" fmla="*/ 111380 w 286"/>
                <a:gd name="T31" fmla="*/ 66581 h 235"/>
                <a:gd name="T32" fmla="*/ 106995 w 286"/>
                <a:gd name="T33" fmla="*/ 90508 h 235"/>
                <a:gd name="T34" fmla="*/ 105241 w 286"/>
                <a:gd name="T35" fmla="*/ 107153 h 235"/>
                <a:gd name="T36" fmla="*/ 64022 w 286"/>
                <a:gd name="T37" fmla="*/ 112355 h 235"/>
                <a:gd name="T38" fmla="*/ 60513 w 286"/>
                <a:gd name="T39" fmla="*/ 113395 h 235"/>
                <a:gd name="T40" fmla="*/ 57882 w 286"/>
                <a:gd name="T41" fmla="*/ 115996 h 235"/>
                <a:gd name="T42" fmla="*/ 55690 w 286"/>
                <a:gd name="T43" fmla="*/ 122238 h 235"/>
                <a:gd name="T44" fmla="*/ 47797 w 286"/>
                <a:gd name="T45" fmla="*/ 112875 h 235"/>
                <a:gd name="T46" fmla="*/ 41219 w 286"/>
                <a:gd name="T47" fmla="*/ 103512 h 235"/>
                <a:gd name="T48" fmla="*/ 30257 w 286"/>
                <a:gd name="T49" fmla="*/ 83226 h 235"/>
                <a:gd name="T50" fmla="*/ 24118 w 286"/>
                <a:gd name="T51" fmla="*/ 73863 h 235"/>
                <a:gd name="T52" fmla="*/ 17979 w 286"/>
                <a:gd name="T53" fmla="*/ 65020 h 235"/>
                <a:gd name="T54" fmla="*/ 9647 w 286"/>
                <a:gd name="T55" fmla="*/ 57218 h 235"/>
                <a:gd name="T56" fmla="*/ 0 w 286"/>
                <a:gd name="T57" fmla="*/ 51496 h 235"/>
                <a:gd name="T58" fmla="*/ 5701 w 286"/>
                <a:gd name="T59" fmla="*/ 50456 h 235"/>
                <a:gd name="T60" fmla="*/ 11401 w 286"/>
                <a:gd name="T61" fmla="*/ 47335 h 235"/>
                <a:gd name="T62" fmla="*/ 17102 w 286"/>
                <a:gd name="T63" fmla="*/ 43694 h 235"/>
                <a:gd name="T64" fmla="*/ 20610 w 286"/>
                <a:gd name="T65" fmla="*/ 39012 h 235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86" h="235">
                  <a:moveTo>
                    <a:pt x="40" y="81"/>
                  </a:moveTo>
                  <a:lnTo>
                    <a:pt x="44" y="86"/>
                  </a:lnTo>
                  <a:lnTo>
                    <a:pt x="48" y="91"/>
                  </a:lnTo>
                  <a:lnTo>
                    <a:pt x="49" y="96"/>
                  </a:lnTo>
                  <a:lnTo>
                    <a:pt x="51" y="100"/>
                  </a:lnTo>
                  <a:lnTo>
                    <a:pt x="53" y="105"/>
                  </a:lnTo>
                  <a:lnTo>
                    <a:pt x="56" y="108"/>
                  </a:lnTo>
                  <a:lnTo>
                    <a:pt x="61" y="110"/>
                  </a:lnTo>
                  <a:lnTo>
                    <a:pt x="67" y="111"/>
                  </a:lnTo>
                  <a:lnTo>
                    <a:pt x="71" y="111"/>
                  </a:lnTo>
                  <a:lnTo>
                    <a:pt x="74" y="109"/>
                  </a:lnTo>
                  <a:lnTo>
                    <a:pt x="77" y="108"/>
                  </a:lnTo>
                  <a:lnTo>
                    <a:pt x="81" y="105"/>
                  </a:lnTo>
                  <a:lnTo>
                    <a:pt x="86" y="99"/>
                  </a:lnTo>
                  <a:lnTo>
                    <a:pt x="92" y="92"/>
                  </a:lnTo>
                  <a:lnTo>
                    <a:pt x="100" y="78"/>
                  </a:lnTo>
                  <a:lnTo>
                    <a:pt x="107" y="69"/>
                  </a:lnTo>
                  <a:lnTo>
                    <a:pt x="128" y="57"/>
                  </a:lnTo>
                  <a:lnTo>
                    <a:pt x="149" y="47"/>
                  </a:lnTo>
                  <a:lnTo>
                    <a:pt x="168" y="38"/>
                  </a:lnTo>
                  <a:lnTo>
                    <a:pt x="189" y="30"/>
                  </a:lnTo>
                  <a:lnTo>
                    <a:pt x="210" y="22"/>
                  </a:lnTo>
                  <a:lnTo>
                    <a:pt x="233" y="15"/>
                  </a:lnTo>
                  <a:lnTo>
                    <a:pt x="258" y="7"/>
                  </a:lnTo>
                  <a:lnTo>
                    <a:pt x="286" y="0"/>
                  </a:lnTo>
                  <a:lnTo>
                    <a:pt x="286" y="11"/>
                  </a:lnTo>
                  <a:lnTo>
                    <a:pt x="284" y="21"/>
                  </a:lnTo>
                  <a:lnTo>
                    <a:pt x="282" y="32"/>
                  </a:lnTo>
                  <a:lnTo>
                    <a:pt x="279" y="44"/>
                  </a:lnTo>
                  <a:lnTo>
                    <a:pt x="272" y="70"/>
                  </a:lnTo>
                  <a:lnTo>
                    <a:pt x="263" y="97"/>
                  </a:lnTo>
                  <a:lnTo>
                    <a:pt x="254" y="128"/>
                  </a:lnTo>
                  <a:lnTo>
                    <a:pt x="246" y="158"/>
                  </a:lnTo>
                  <a:lnTo>
                    <a:pt x="244" y="174"/>
                  </a:lnTo>
                  <a:lnTo>
                    <a:pt x="242" y="190"/>
                  </a:lnTo>
                  <a:lnTo>
                    <a:pt x="240" y="206"/>
                  </a:lnTo>
                  <a:lnTo>
                    <a:pt x="240" y="222"/>
                  </a:lnTo>
                  <a:lnTo>
                    <a:pt x="146" y="216"/>
                  </a:lnTo>
                  <a:lnTo>
                    <a:pt x="142" y="216"/>
                  </a:lnTo>
                  <a:lnTo>
                    <a:pt x="138" y="218"/>
                  </a:lnTo>
                  <a:lnTo>
                    <a:pt x="134" y="220"/>
                  </a:lnTo>
                  <a:lnTo>
                    <a:pt x="132" y="223"/>
                  </a:lnTo>
                  <a:lnTo>
                    <a:pt x="128" y="229"/>
                  </a:lnTo>
                  <a:lnTo>
                    <a:pt x="127" y="235"/>
                  </a:lnTo>
                  <a:lnTo>
                    <a:pt x="117" y="226"/>
                  </a:lnTo>
                  <a:lnTo>
                    <a:pt x="109" y="217"/>
                  </a:lnTo>
                  <a:lnTo>
                    <a:pt x="101" y="208"/>
                  </a:lnTo>
                  <a:lnTo>
                    <a:pt x="94" y="199"/>
                  </a:lnTo>
                  <a:lnTo>
                    <a:pt x="81" y="180"/>
                  </a:lnTo>
                  <a:lnTo>
                    <a:pt x="69" y="160"/>
                  </a:lnTo>
                  <a:lnTo>
                    <a:pt x="62" y="150"/>
                  </a:lnTo>
                  <a:lnTo>
                    <a:pt x="55" y="142"/>
                  </a:lnTo>
                  <a:lnTo>
                    <a:pt x="49" y="133"/>
                  </a:lnTo>
                  <a:lnTo>
                    <a:pt x="41" y="125"/>
                  </a:lnTo>
                  <a:lnTo>
                    <a:pt x="32" y="117"/>
                  </a:lnTo>
                  <a:lnTo>
                    <a:pt x="22" y="110"/>
                  </a:lnTo>
                  <a:lnTo>
                    <a:pt x="13" y="104"/>
                  </a:lnTo>
                  <a:lnTo>
                    <a:pt x="0" y="99"/>
                  </a:lnTo>
                  <a:lnTo>
                    <a:pt x="6" y="98"/>
                  </a:lnTo>
                  <a:lnTo>
                    <a:pt x="13" y="97"/>
                  </a:lnTo>
                  <a:lnTo>
                    <a:pt x="19" y="94"/>
                  </a:lnTo>
                  <a:lnTo>
                    <a:pt x="26" y="91"/>
                  </a:lnTo>
                  <a:lnTo>
                    <a:pt x="32" y="88"/>
                  </a:lnTo>
                  <a:lnTo>
                    <a:pt x="39" y="84"/>
                  </a:lnTo>
                  <a:lnTo>
                    <a:pt x="43" y="79"/>
                  </a:lnTo>
                  <a:lnTo>
                    <a:pt x="47" y="75"/>
                  </a:lnTo>
                  <a:lnTo>
                    <a:pt x="40" y="8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753" name="Freeform 223"/>
            <p:cNvSpPr>
              <a:spLocks/>
            </p:cNvSpPr>
            <p:nvPr>
              <p:custDataLst>
                <p:tags r:id="rId145"/>
              </p:custDataLst>
            </p:nvPr>
          </p:nvSpPr>
          <p:spPr bwMode="auto">
            <a:xfrm>
              <a:off x="3044181" y="3695619"/>
              <a:ext cx="100307" cy="120101"/>
            </a:xfrm>
            <a:custGeom>
              <a:avLst/>
              <a:gdLst>
                <a:gd name="T0" fmla="*/ 77160 w 205"/>
                <a:gd name="T1" fmla="*/ 96870 h 191"/>
                <a:gd name="T2" fmla="*/ 71824 w 205"/>
                <a:gd name="T3" fmla="*/ 96870 h 191"/>
                <a:gd name="T4" fmla="*/ 64847 w 205"/>
                <a:gd name="T5" fmla="*/ 96870 h 191"/>
                <a:gd name="T6" fmla="*/ 59101 w 205"/>
                <a:gd name="T7" fmla="*/ 94252 h 191"/>
                <a:gd name="T8" fmla="*/ 55818 w 205"/>
                <a:gd name="T9" fmla="*/ 90587 h 191"/>
                <a:gd name="T10" fmla="*/ 52945 w 205"/>
                <a:gd name="T11" fmla="*/ 85351 h 191"/>
                <a:gd name="T12" fmla="*/ 49251 w 205"/>
                <a:gd name="T13" fmla="*/ 76973 h 191"/>
                <a:gd name="T14" fmla="*/ 45147 w 205"/>
                <a:gd name="T15" fmla="*/ 68595 h 191"/>
                <a:gd name="T16" fmla="*/ 40632 w 205"/>
                <a:gd name="T17" fmla="*/ 63358 h 191"/>
                <a:gd name="T18" fmla="*/ 38169 w 205"/>
                <a:gd name="T19" fmla="*/ 65977 h 191"/>
                <a:gd name="T20" fmla="*/ 36938 w 205"/>
                <a:gd name="T21" fmla="*/ 70689 h 191"/>
                <a:gd name="T22" fmla="*/ 34476 w 205"/>
                <a:gd name="T23" fmla="*/ 68071 h 191"/>
                <a:gd name="T24" fmla="*/ 29551 w 205"/>
                <a:gd name="T25" fmla="*/ 59169 h 191"/>
                <a:gd name="T26" fmla="*/ 22984 w 205"/>
                <a:gd name="T27" fmla="*/ 45555 h 191"/>
                <a:gd name="T28" fmla="*/ 16827 w 205"/>
                <a:gd name="T29" fmla="*/ 35083 h 191"/>
                <a:gd name="T30" fmla="*/ 12723 w 205"/>
                <a:gd name="T31" fmla="*/ 30370 h 191"/>
                <a:gd name="T32" fmla="*/ 10671 w 205"/>
                <a:gd name="T33" fmla="*/ 31417 h 191"/>
                <a:gd name="T34" fmla="*/ 11902 w 205"/>
                <a:gd name="T35" fmla="*/ 36130 h 191"/>
                <a:gd name="T36" fmla="*/ 13954 w 205"/>
                <a:gd name="T37" fmla="*/ 40843 h 191"/>
                <a:gd name="T38" fmla="*/ 16827 w 205"/>
                <a:gd name="T39" fmla="*/ 43984 h 191"/>
                <a:gd name="T40" fmla="*/ 18880 w 205"/>
                <a:gd name="T41" fmla="*/ 54980 h 191"/>
                <a:gd name="T42" fmla="*/ 5336 w 205"/>
                <a:gd name="T43" fmla="*/ 51315 h 191"/>
                <a:gd name="T44" fmla="*/ 1642 w 205"/>
                <a:gd name="T45" fmla="*/ 43984 h 191"/>
                <a:gd name="T46" fmla="*/ 0 w 205"/>
                <a:gd name="T47" fmla="*/ 31417 h 191"/>
                <a:gd name="T48" fmla="*/ 0 w 205"/>
                <a:gd name="T49" fmla="*/ 19898 h 191"/>
                <a:gd name="T50" fmla="*/ 1231 w 205"/>
                <a:gd name="T51" fmla="*/ 14661 h 191"/>
                <a:gd name="T52" fmla="*/ 3283 w 205"/>
                <a:gd name="T53" fmla="*/ 11520 h 191"/>
                <a:gd name="T54" fmla="*/ 5746 w 205"/>
                <a:gd name="T55" fmla="*/ 6807 h 191"/>
                <a:gd name="T56" fmla="*/ 8208 w 205"/>
                <a:gd name="T57" fmla="*/ 2094 h 191"/>
                <a:gd name="T58" fmla="*/ 11492 w 205"/>
                <a:gd name="T59" fmla="*/ 0 h 191"/>
                <a:gd name="T60" fmla="*/ 51713 w 205"/>
                <a:gd name="T61" fmla="*/ 3142 h 191"/>
                <a:gd name="T62" fmla="*/ 52124 w 205"/>
                <a:gd name="T63" fmla="*/ 10996 h 191"/>
                <a:gd name="T64" fmla="*/ 53355 w 205"/>
                <a:gd name="T65" fmla="*/ 19374 h 191"/>
                <a:gd name="T66" fmla="*/ 58691 w 205"/>
                <a:gd name="T67" fmla="*/ 36654 h 191"/>
                <a:gd name="T68" fmla="*/ 67720 w 205"/>
                <a:gd name="T69" fmla="*/ 53410 h 191"/>
                <a:gd name="T70" fmla="*/ 72645 w 205"/>
                <a:gd name="T71" fmla="*/ 61264 h 191"/>
                <a:gd name="T72" fmla="*/ 78801 w 205"/>
                <a:gd name="T73" fmla="*/ 68071 h 191"/>
                <a:gd name="T74" fmla="*/ 77570 w 205"/>
                <a:gd name="T75" fmla="*/ 74878 h 191"/>
                <a:gd name="T76" fmla="*/ 77570 w 205"/>
                <a:gd name="T77" fmla="*/ 81685 h 191"/>
                <a:gd name="T78" fmla="*/ 78801 w 205"/>
                <a:gd name="T79" fmla="*/ 100012 h 191"/>
                <a:gd name="T80" fmla="*/ 84137 w 205"/>
                <a:gd name="T81" fmla="*/ 96870 h 191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205" h="191">
                  <a:moveTo>
                    <a:pt x="205" y="185"/>
                  </a:moveTo>
                  <a:lnTo>
                    <a:pt x="188" y="185"/>
                  </a:lnTo>
                  <a:lnTo>
                    <a:pt x="181" y="185"/>
                  </a:lnTo>
                  <a:lnTo>
                    <a:pt x="175" y="185"/>
                  </a:lnTo>
                  <a:lnTo>
                    <a:pt x="165" y="185"/>
                  </a:lnTo>
                  <a:lnTo>
                    <a:pt x="158" y="185"/>
                  </a:lnTo>
                  <a:lnTo>
                    <a:pt x="151" y="182"/>
                  </a:lnTo>
                  <a:lnTo>
                    <a:pt x="144" y="180"/>
                  </a:lnTo>
                  <a:lnTo>
                    <a:pt x="140" y="177"/>
                  </a:lnTo>
                  <a:lnTo>
                    <a:pt x="136" y="173"/>
                  </a:lnTo>
                  <a:lnTo>
                    <a:pt x="132" y="168"/>
                  </a:lnTo>
                  <a:lnTo>
                    <a:pt x="129" y="163"/>
                  </a:lnTo>
                  <a:lnTo>
                    <a:pt x="127" y="158"/>
                  </a:lnTo>
                  <a:lnTo>
                    <a:pt x="120" y="147"/>
                  </a:lnTo>
                  <a:lnTo>
                    <a:pt x="114" y="136"/>
                  </a:lnTo>
                  <a:lnTo>
                    <a:pt x="110" y="131"/>
                  </a:lnTo>
                  <a:lnTo>
                    <a:pt x="105" y="125"/>
                  </a:lnTo>
                  <a:lnTo>
                    <a:pt x="99" y="121"/>
                  </a:lnTo>
                  <a:lnTo>
                    <a:pt x="93" y="117"/>
                  </a:lnTo>
                  <a:lnTo>
                    <a:pt x="93" y="126"/>
                  </a:lnTo>
                  <a:lnTo>
                    <a:pt x="93" y="136"/>
                  </a:lnTo>
                  <a:lnTo>
                    <a:pt x="90" y="135"/>
                  </a:lnTo>
                  <a:lnTo>
                    <a:pt x="86" y="133"/>
                  </a:lnTo>
                  <a:lnTo>
                    <a:pt x="84" y="130"/>
                  </a:lnTo>
                  <a:lnTo>
                    <a:pt x="80" y="124"/>
                  </a:lnTo>
                  <a:lnTo>
                    <a:pt x="72" y="113"/>
                  </a:lnTo>
                  <a:lnTo>
                    <a:pt x="64" y="100"/>
                  </a:lnTo>
                  <a:lnTo>
                    <a:pt x="56" y="87"/>
                  </a:lnTo>
                  <a:lnTo>
                    <a:pt x="46" y="74"/>
                  </a:lnTo>
                  <a:lnTo>
                    <a:pt x="41" y="67"/>
                  </a:lnTo>
                  <a:lnTo>
                    <a:pt x="36" y="62"/>
                  </a:lnTo>
                  <a:lnTo>
                    <a:pt x="31" y="58"/>
                  </a:lnTo>
                  <a:lnTo>
                    <a:pt x="26" y="55"/>
                  </a:lnTo>
                  <a:lnTo>
                    <a:pt x="26" y="60"/>
                  </a:lnTo>
                  <a:lnTo>
                    <a:pt x="27" y="64"/>
                  </a:lnTo>
                  <a:lnTo>
                    <a:pt x="29" y="69"/>
                  </a:lnTo>
                  <a:lnTo>
                    <a:pt x="31" y="74"/>
                  </a:lnTo>
                  <a:lnTo>
                    <a:pt x="34" y="78"/>
                  </a:lnTo>
                  <a:lnTo>
                    <a:pt x="37" y="81"/>
                  </a:lnTo>
                  <a:lnTo>
                    <a:pt x="41" y="84"/>
                  </a:lnTo>
                  <a:lnTo>
                    <a:pt x="46" y="87"/>
                  </a:lnTo>
                  <a:lnTo>
                    <a:pt x="46" y="105"/>
                  </a:lnTo>
                  <a:lnTo>
                    <a:pt x="19" y="105"/>
                  </a:lnTo>
                  <a:lnTo>
                    <a:pt x="13" y="98"/>
                  </a:lnTo>
                  <a:lnTo>
                    <a:pt x="8" y="91"/>
                  </a:lnTo>
                  <a:lnTo>
                    <a:pt x="4" y="84"/>
                  </a:lnTo>
                  <a:lnTo>
                    <a:pt x="2" y="77"/>
                  </a:lnTo>
                  <a:lnTo>
                    <a:pt x="0" y="60"/>
                  </a:lnTo>
                  <a:lnTo>
                    <a:pt x="0" y="43"/>
                  </a:lnTo>
                  <a:lnTo>
                    <a:pt x="0" y="38"/>
                  </a:lnTo>
                  <a:lnTo>
                    <a:pt x="1" y="31"/>
                  </a:lnTo>
                  <a:lnTo>
                    <a:pt x="3" y="28"/>
                  </a:lnTo>
                  <a:lnTo>
                    <a:pt x="5" y="25"/>
                  </a:lnTo>
                  <a:lnTo>
                    <a:pt x="8" y="22"/>
                  </a:lnTo>
                  <a:lnTo>
                    <a:pt x="13" y="19"/>
                  </a:lnTo>
                  <a:lnTo>
                    <a:pt x="14" y="13"/>
                  </a:lnTo>
                  <a:lnTo>
                    <a:pt x="18" y="7"/>
                  </a:lnTo>
                  <a:lnTo>
                    <a:pt x="20" y="4"/>
                  </a:lnTo>
                  <a:lnTo>
                    <a:pt x="24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126" y="6"/>
                  </a:lnTo>
                  <a:lnTo>
                    <a:pt x="126" y="13"/>
                  </a:lnTo>
                  <a:lnTo>
                    <a:pt x="127" y="21"/>
                  </a:lnTo>
                  <a:lnTo>
                    <a:pt x="128" y="29"/>
                  </a:lnTo>
                  <a:lnTo>
                    <a:pt x="130" y="37"/>
                  </a:lnTo>
                  <a:lnTo>
                    <a:pt x="136" y="53"/>
                  </a:lnTo>
                  <a:lnTo>
                    <a:pt x="143" y="70"/>
                  </a:lnTo>
                  <a:lnTo>
                    <a:pt x="153" y="87"/>
                  </a:lnTo>
                  <a:lnTo>
                    <a:pt x="165" y="102"/>
                  </a:lnTo>
                  <a:lnTo>
                    <a:pt x="171" y="110"/>
                  </a:lnTo>
                  <a:lnTo>
                    <a:pt x="177" y="117"/>
                  </a:lnTo>
                  <a:lnTo>
                    <a:pt x="185" y="123"/>
                  </a:lnTo>
                  <a:lnTo>
                    <a:pt x="192" y="130"/>
                  </a:lnTo>
                  <a:lnTo>
                    <a:pt x="191" y="137"/>
                  </a:lnTo>
                  <a:lnTo>
                    <a:pt x="189" y="143"/>
                  </a:lnTo>
                  <a:lnTo>
                    <a:pt x="189" y="149"/>
                  </a:lnTo>
                  <a:lnTo>
                    <a:pt x="189" y="156"/>
                  </a:lnTo>
                  <a:lnTo>
                    <a:pt x="192" y="171"/>
                  </a:lnTo>
                  <a:lnTo>
                    <a:pt x="192" y="191"/>
                  </a:lnTo>
                  <a:lnTo>
                    <a:pt x="192" y="185"/>
                  </a:lnTo>
                  <a:lnTo>
                    <a:pt x="205" y="18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754" name="Freeform 224"/>
            <p:cNvSpPr>
              <a:spLocks/>
            </p:cNvSpPr>
            <p:nvPr>
              <p:custDataLst>
                <p:tags r:id="rId146"/>
              </p:custDataLst>
            </p:nvPr>
          </p:nvSpPr>
          <p:spPr bwMode="auto">
            <a:xfrm>
              <a:off x="3140703" y="3760437"/>
              <a:ext cx="170334" cy="95319"/>
            </a:xfrm>
            <a:custGeom>
              <a:avLst/>
              <a:gdLst>
                <a:gd name="T0" fmla="*/ 1303 w 329"/>
                <a:gd name="T1" fmla="*/ 29894 h 154"/>
                <a:gd name="T2" fmla="*/ 0 w 329"/>
                <a:gd name="T3" fmla="*/ 21648 h 154"/>
                <a:gd name="T4" fmla="*/ 869 w 329"/>
                <a:gd name="T5" fmla="*/ 15978 h 154"/>
                <a:gd name="T6" fmla="*/ 7383 w 329"/>
                <a:gd name="T7" fmla="*/ 17009 h 154"/>
                <a:gd name="T8" fmla="*/ 15634 w 329"/>
                <a:gd name="T9" fmla="*/ 21132 h 154"/>
                <a:gd name="T10" fmla="*/ 21279 w 329"/>
                <a:gd name="T11" fmla="*/ 22163 h 154"/>
                <a:gd name="T12" fmla="*/ 29096 w 329"/>
                <a:gd name="T13" fmla="*/ 22163 h 154"/>
                <a:gd name="T14" fmla="*/ 37347 w 329"/>
                <a:gd name="T15" fmla="*/ 20101 h 154"/>
                <a:gd name="T16" fmla="*/ 47770 w 329"/>
                <a:gd name="T17" fmla="*/ 15463 h 154"/>
                <a:gd name="T18" fmla="*/ 60798 w 329"/>
                <a:gd name="T19" fmla="*/ 6700 h 154"/>
                <a:gd name="T20" fmla="*/ 70352 w 329"/>
                <a:gd name="T21" fmla="*/ 2062 h 154"/>
                <a:gd name="T22" fmla="*/ 77734 w 329"/>
                <a:gd name="T23" fmla="*/ 0 h 154"/>
                <a:gd name="T24" fmla="*/ 88157 w 329"/>
                <a:gd name="T25" fmla="*/ 0 h 154"/>
                <a:gd name="T26" fmla="*/ 97277 w 329"/>
                <a:gd name="T27" fmla="*/ 3093 h 154"/>
                <a:gd name="T28" fmla="*/ 105528 w 329"/>
                <a:gd name="T29" fmla="*/ 7731 h 154"/>
                <a:gd name="T30" fmla="*/ 112476 w 329"/>
                <a:gd name="T31" fmla="*/ 14432 h 154"/>
                <a:gd name="T32" fmla="*/ 121596 w 329"/>
                <a:gd name="T33" fmla="*/ 23709 h 154"/>
                <a:gd name="T34" fmla="*/ 131150 w 329"/>
                <a:gd name="T35" fmla="*/ 31441 h 154"/>
                <a:gd name="T36" fmla="*/ 138532 w 329"/>
                <a:gd name="T37" fmla="*/ 34533 h 154"/>
                <a:gd name="T38" fmla="*/ 135927 w 329"/>
                <a:gd name="T39" fmla="*/ 42265 h 154"/>
                <a:gd name="T40" fmla="*/ 127241 w 329"/>
                <a:gd name="T41" fmla="*/ 54635 h 154"/>
                <a:gd name="T42" fmla="*/ 120293 w 329"/>
                <a:gd name="T43" fmla="*/ 71128 h 154"/>
                <a:gd name="T44" fmla="*/ 115082 w 329"/>
                <a:gd name="T45" fmla="*/ 78860 h 154"/>
                <a:gd name="T46" fmla="*/ 109870 w 329"/>
                <a:gd name="T47" fmla="*/ 75252 h 154"/>
                <a:gd name="T48" fmla="*/ 104225 w 329"/>
                <a:gd name="T49" fmla="*/ 70097 h 154"/>
                <a:gd name="T50" fmla="*/ 99882 w 329"/>
                <a:gd name="T51" fmla="*/ 64943 h 154"/>
                <a:gd name="T52" fmla="*/ 99882 w 329"/>
                <a:gd name="T53" fmla="*/ 58758 h 154"/>
                <a:gd name="T54" fmla="*/ 102054 w 329"/>
                <a:gd name="T55" fmla="*/ 51542 h 154"/>
                <a:gd name="T56" fmla="*/ 108133 w 329"/>
                <a:gd name="T57" fmla="*/ 44326 h 154"/>
                <a:gd name="T58" fmla="*/ 101185 w 329"/>
                <a:gd name="T59" fmla="*/ 35049 h 154"/>
                <a:gd name="T60" fmla="*/ 89894 w 329"/>
                <a:gd name="T61" fmla="*/ 28348 h 154"/>
                <a:gd name="T62" fmla="*/ 84683 w 329"/>
                <a:gd name="T63" fmla="*/ 21132 h 154"/>
                <a:gd name="T64" fmla="*/ 77734 w 329"/>
                <a:gd name="T65" fmla="*/ 17524 h 154"/>
                <a:gd name="T66" fmla="*/ 70786 w 329"/>
                <a:gd name="T67" fmla="*/ 21132 h 154"/>
                <a:gd name="T68" fmla="*/ 65141 w 329"/>
                <a:gd name="T69" fmla="*/ 25771 h 154"/>
                <a:gd name="T70" fmla="*/ 60798 w 329"/>
                <a:gd name="T71" fmla="*/ 31441 h 154"/>
                <a:gd name="T72" fmla="*/ 57324 w 329"/>
                <a:gd name="T73" fmla="*/ 38141 h 154"/>
                <a:gd name="T74" fmla="*/ 55587 w 329"/>
                <a:gd name="T75" fmla="*/ 45357 h 154"/>
                <a:gd name="T76" fmla="*/ 53415 w 329"/>
                <a:gd name="T77" fmla="*/ 56181 h 154"/>
                <a:gd name="T78" fmla="*/ 52981 w 329"/>
                <a:gd name="T79" fmla="*/ 64428 h 154"/>
                <a:gd name="T80" fmla="*/ 51244 w 329"/>
                <a:gd name="T81" fmla="*/ 66489 h 154"/>
                <a:gd name="T82" fmla="*/ 46901 w 329"/>
                <a:gd name="T83" fmla="*/ 69582 h 154"/>
                <a:gd name="T84" fmla="*/ 41690 w 329"/>
                <a:gd name="T85" fmla="*/ 69582 h 154"/>
                <a:gd name="T86" fmla="*/ 36044 w 329"/>
                <a:gd name="T87" fmla="*/ 66489 h 154"/>
                <a:gd name="T88" fmla="*/ 28662 w 329"/>
                <a:gd name="T89" fmla="*/ 59789 h 154"/>
                <a:gd name="T90" fmla="*/ 20845 w 329"/>
                <a:gd name="T91" fmla="*/ 48450 h 154"/>
                <a:gd name="T92" fmla="*/ 14331 w 329"/>
                <a:gd name="T93" fmla="*/ 41234 h 154"/>
                <a:gd name="T94" fmla="*/ 9554 w 329"/>
                <a:gd name="T95" fmla="*/ 38141 h 154"/>
                <a:gd name="T96" fmla="*/ 1303 w 329"/>
                <a:gd name="T97" fmla="*/ 37626 h 15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329" h="154">
                  <a:moveTo>
                    <a:pt x="3" y="73"/>
                  </a:moveTo>
                  <a:lnTo>
                    <a:pt x="3" y="58"/>
                  </a:lnTo>
                  <a:lnTo>
                    <a:pt x="0" y="47"/>
                  </a:lnTo>
                  <a:lnTo>
                    <a:pt x="0" y="42"/>
                  </a:lnTo>
                  <a:lnTo>
                    <a:pt x="0" y="37"/>
                  </a:lnTo>
                  <a:lnTo>
                    <a:pt x="2" y="31"/>
                  </a:lnTo>
                  <a:lnTo>
                    <a:pt x="3" y="25"/>
                  </a:lnTo>
                  <a:lnTo>
                    <a:pt x="17" y="33"/>
                  </a:lnTo>
                  <a:lnTo>
                    <a:pt x="30" y="39"/>
                  </a:lnTo>
                  <a:lnTo>
                    <a:pt x="36" y="41"/>
                  </a:lnTo>
                  <a:lnTo>
                    <a:pt x="42" y="42"/>
                  </a:lnTo>
                  <a:lnTo>
                    <a:pt x="49" y="43"/>
                  </a:lnTo>
                  <a:lnTo>
                    <a:pt x="56" y="43"/>
                  </a:lnTo>
                  <a:lnTo>
                    <a:pt x="67" y="43"/>
                  </a:lnTo>
                  <a:lnTo>
                    <a:pt x="77" y="41"/>
                  </a:lnTo>
                  <a:lnTo>
                    <a:pt x="86" y="39"/>
                  </a:lnTo>
                  <a:lnTo>
                    <a:pt x="95" y="36"/>
                  </a:lnTo>
                  <a:lnTo>
                    <a:pt x="110" y="30"/>
                  </a:lnTo>
                  <a:lnTo>
                    <a:pt x="126" y="21"/>
                  </a:lnTo>
                  <a:lnTo>
                    <a:pt x="140" y="13"/>
                  </a:lnTo>
                  <a:lnTo>
                    <a:pt x="154" y="6"/>
                  </a:lnTo>
                  <a:lnTo>
                    <a:pt x="162" y="4"/>
                  </a:lnTo>
                  <a:lnTo>
                    <a:pt x="171" y="2"/>
                  </a:lnTo>
                  <a:lnTo>
                    <a:pt x="179" y="0"/>
                  </a:lnTo>
                  <a:lnTo>
                    <a:pt x="189" y="0"/>
                  </a:lnTo>
                  <a:lnTo>
                    <a:pt x="203" y="0"/>
                  </a:lnTo>
                  <a:lnTo>
                    <a:pt x="214" y="3"/>
                  </a:lnTo>
                  <a:lnTo>
                    <a:pt x="224" y="6"/>
                  </a:lnTo>
                  <a:lnTo>
                    <a:pt x="234" y="10"/>
                  </a:lnTo>
                  <a:lnTo>
                    <a:pt x="243" y="15"/>
                  </a:lnTo>
                  <a:lnTo>
                    <a:pt x="251" y="21"/>
                  </a:lnTo>
                  <a:lnTo>
                    <a:pt x="259" y="28"/>
                  </a:lnTo>
                  <a:lnTo>
                    <a:pt x="266" y="34"/>
                  </a:lnTo>
                  <a:lnTo>
                    <a:pt x="280" y="46"/>
                  </a:lnTo>
                  <a:lnTo>
                    <a:pt x="295" y="57"/>
                  </a:lnTo>
                  <a:lnTo>
                    <a:pt x="302" y="61"/>
                  </a:lnTo>
                  <a:lnTo>
                    <a:pt x="310" y="64"/>
                  </a:lnTo>
                  <a:lnTo>
                    <a:pt x="319" y="67"/>
                  </a:lnTo>
                  <a:lnTo>
                    <a:pt x="329" y="67"/>
                  </a:lnTo>
                  <a:lnTo>
                    <a:pt x="313" y="82"/>
                  </a:lnTo>
                  <a:lnTo>
                    <a:pt x="301" y="94"/>
                  </a:lnTo>
                  <a:lnTo>
                    <a:pt x="293" y="106"/>
                  </a:lnTo>
                  <a:lnTo>
                    <a:pt x="286" y="117"/>
                  </a:lnTo>
                  <a:lnTo>
                    <a:pt x="277" y="138"/>
                  </a:lnTo>
                  <a:lnTo>
                    <a:pt x="268" y="154"/>
                  </a:lnTo>
                  <a:lnTo>
                    <a:pt x="265" y="153"/>
                  </a:lnTo>
                  <a:lnTo>
                    <a:pt x="260" y="150"/>
                  </a:lnTo>
                  <a:lnTo>
                    <a:pt x="253" y="146"/>
                  </a:lnTo>
                  <a:lnTo>
                    <a:pt x="246" y="141"/>
                  </a:lnTo>
                  <a:lnTo>
                    <a:pt x="240" y="136"/>
                  </a:lnTo>
                  <a:lnTo>
                    <a:pt x="234" y="130"/>
                  </a:lnTo>
                  <a:lnTo>
                    <a:pt x="230" y="126"/>
                  </a:lnTo>
                  <a:lnTo>
                    <a:pt x="229" y="123"/>
                  </a:lnTo>
                  <a:lnTo>
                    <a:pt x="230" y="114"/>
                  </a:lnTo>
                  <a:lnTo>
                    <a:pt x="232" y="107"/>
                  </a:lnTo>
                  <a:lnTo>
                    <a:pt x="235" y="100"/>
                  </a:lnTo>
                  <a:lnTo>
                    <a:pt x="240" y="95"/>
                  </a:lnTo>
                  <a:lnTo>
                    <a:pt x="249" y="86"/>
                  </a:lnTo>
                  <a:lnTo>
                    <a:pt x="255" y="80"/>
                  </a:lnTo>
                  <a:lnTo>
                    <a:pt x="233" y="68"/>
                  </a:lnTo>
                  <a:lnTo>
                    <a:pt x="215" y="60"/>
                  </a:lnTo>
                  <a:lnTo>
                    <a:pt x="207" y="55"/>
                  </a:lnTo>
                  <a:lnTo>
                    <a:pt x="200" y="49"/>
                  </a:lnTo>
                  <a:lnTo>
                    <a:pt x="195" y="41"/>
                  </a:lnTo>
                  <a:lnTo>
                    <a:pt x="189" y="31"/>
                  </a:lnTo>
                  <a:lnTo>
                    <a:pt x="179" y="34"/>
                  </a:lnTo>
                  <a:lnTo>
                    <a:pt x="171" y="37"/>
                  </a:lnTo>
                  <a:lnTo>
                    <a:pt x="163" y="41"/>
                  </a:lnTo>
                  <a:lnTo>
                    <a:pt x="156" y="45"/>
                  </a:lnTo>
                  <a:lnTo>
                    <a:pt x="150" y="50"/>
                  </a:lnTo>
                  <a:lnTo>
                    <a:pt x="144" y="55"/>
                  </a:lnTo>
                  <a:lnTo>
                    <a:pt x="140" y="61"/>
                  </a:lnTo>
                  <a:lnTo>
                    <a:pt x="136" y="67"/>
                  </a:lnTo>
                  <a:lnTo>
                    <a:pt x="132" y="74"/>
                  </a:lnTo>
                  <a:lnTo>
                    <a:pt x="130" y="81"/>
                  </a:lnTo>
                  <a:lnTo>
                    <a:pt x="128" y="88"/>
                  </a:lnTo>
                  <a:lnTo>
                    <a:pt x="126" y="95"/>
                  </a:lnTo>
                  <a:lnTo>
                    <a:pt x="123" y="109"/>
                  </a:lnTo>
                  <a:lnTo>
                    <a:pt x="122" y="123"/>
                  </a:lnTo>
                  <a:lnTo>
                    <a:pt x="122" y="125"/>
                  </a:lnTo>
                  <a:lnTo>
                    <a:pt x="120" y="127"/>
                  </a:lnTo>
                  <a:lnTo>
                    <a:pt x="118" y="129"/>
                  </a:lnTo>
                  <a:lnTo>
                    <a:pt x="115" y="131"/>
                  </a:lnTo>
                  <a:lnTo>
                    <a:pt x="108" y="135"/>
                  </a:lnTo>
                  <a:lnTo>
                    <a:pt x="103" y="136"/>
                  </a:lnTo>
                  <a:lnTo>
                    <a:pt x="96" y="135"/>
                  </a:lnTo>
                  <a:lnTo>
                    <a:pt x="89" y="132"/>
                  </a:lnTo>
                  <a:lnTo>
                    <a:pt x="83" y="129"/>
                  </a:lnTo>
                  <a:lnTo>
                    <a:pt x="77" y="125"/>
                  </a:lnTo>
                  <a:lnTo>
                    <a:pt x="66" y="116"/>
                  </a:lnTo>
                  <a:lnTo>
                    <a:pt x="58" y="105"/>
                  </a:lnTo>
                  <a:lnTo>
                    <a:pt x="48" y="94"/>
                  </a:lnTo>
                  <a:lnTo>
                    <a:pt x="38" y="84"/>
                  </a:lnTo>
                  <a:lnTo>
                    <a:pt x="33" y="80"/>
                  </a:lnTo>
                  <a:lnTo>
                    <a:pt x="28" y="76"/>
                  </a:lnTo>
                  <a:lnTo>
                    <a:pt x="22" y="74"/>
                  </a:lnTo>
                  <a:lnTo>
                    <a:pt x="16" y="73"/>
                  </a:lnTo>
                  <a:lnTo>
                    <a:pt x="3" y="7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755" name="Freeform 225"/>
            <p:cNvSpPr>
              <a:spLocks/>
            </p:cNvSpPr>
            <p:nvPr>
              <p:custDataLst>
                <p:tags r:id="rId147"/>
              </p:custDataLst>
            </p:nvPr>
          </p:nvSpPr>
          <p:spPr bwMode="auto">
            <a:xfrm>
              <a:off x="3952628" y="5266475"/>
              <a:ext cx="158978" cy="186825"/>
            </a:xfrm>
            <a:custGeom>
              <a:avLst/>
              <a:gdLst>
                <a:gd name="T0" fmla="*/ 129428 w 306"/>
                <a:gd name="T1" fmla="*/ 96106 h 293"/>
                <a:gd name="T2" fmla="*/ 128992 w 306"/>
                <a:gd name="T3" fmla="*/ 98230 h 293"/>
                <a:gd name="T4" fmla="*/ 126813 w 306"/>
                <a:gd name="T5" fmla="*/ 103009 h 293"/>
                <a:gd name="T6" fmla="*/ 122891 w 306"/>
                <a:gd name="T7" fmla="*/ 105664 h 293"/>
                <a:gd name="T8" fmla="*/ 118533 w 306"/>
                <a:gd name="T9" fmla="*/ 106726 h 293"/>
                <a:gd name="T10" fmla="*/ 114611 w 306"/>
                <a:gd name="T11" fmla="*/ 109911 h 293"/>
                <a:gd name="T12" fmla="*/ 110253 w 306"/>
                <a:gd name="T13" fmla="*/ 121593 h 293"/>
                <a:gd name="T14" fmla="*/ 105460 w 306"/>
                <a:gd name="T15" fmla="*/ 134867 h 293"/>
                <a:gd name="T16" fmla="*/ 100666 w 306"/>
                <a:gd name="T17" fmla="*/ 141770 h 293"/>
                <a:gd name="T18" fmla="*/ 96308 w 306"/>
                <a:gd name="T19" fmla="*/ 144956 h 293"/>
                <a:gd name="T20" fmla="*/ 87157 w 306"/>
                <a:gd name="T21" fmla="*/ 149203 h 293"/>
                <a:gd name="T22" fmla="*/ 71469 w 306"/>
                <a:gd name="T23" fmla="*/ 153982 h 293"/>
                <a:gd name="T24" fmla="*/ 60574 w 306"/>
                <a:gd name="T25" fmla="*/ 155575 h 293"/>
                <a:gd name="T26" fmla="*/ 53601 w 306"/>
                <a:gd name="T27" fmla="*/ 155575 h 293"/>
                <a:gd name="T28" fmla="*/ 46193 w 306"/>
                <a:gd name="T29" fmla="*/ 153982 h 293"/>
                <a:gd name="T30" fmla="*/ 40092 w 306"/>
                <a:gd name="T31" fmla="*/ 151858 h 293"/>
                <a:gd name="T32" fmla="*/ 34863 w 306"/>
                <a:gd name="T33" fmla="*/ 147610 h 293"/>
                <a:gd name="T34" fmla="*/ 30941 w 306"/>
                <a:gd name="T35" fmla="*/ 142301 h 293"/>
                <a:gd name="T36" fmla="*/ 436 w 306"/>
                <a:gd name="T37" fmla="*/ 125310 h 293"/>
                <a:gd name="T38" fmla="*/ 0 w 306"/>
                <a:gd name="T39" fmla="*/ 46726 h 293"/>
                <a:gd name="T40" fmla="*/ 436 w 306"/>
                <a:gd name="T41" fmla="*/ 26018 h 293"/>
                <a:gd name="T42" fmla="*/ 1743 w 306"/>
                <a:gd name="T43" fmla="*/ 18584 h 293"/>
                <a:gd name="T44" fmla="*/ 4794 w 306"/>
                <a:gd name="T45" fmla="*/ 11150 h 293"/>
                <a:gd name="T46" fmla="*/ 8716 w 306"/>
                <a:gd name="T47" fmla="*/ 4248 h 293"/>
                <a:gd name="T48" fmla="*/ 17867 w 306"/>
                <a:gd name="T49" fmla="*/ 1062 h 293"/>
                <a:gd name="T50" fmla="*/ 23097 w 306"/>
                <a:gd name="T51" fmla="*/ 0 h 293"/>
                <a:gd name="T52" fmla="*/ 31376 w 306"/>
                <a:gd name="T53" fmla="*/ 3186 h 293"/>
                <a:gd name="T54" fmla="*/ 34863 w 306"/>
                <a:gd name="T55" fmla="*/ 3717 h 293"/>
                <a:gd name="T56" fmla="*/ 36606 w 306"/>
                <a:gd name="T57" fmla="*/ 2124 h 293"/>
                <a:gd name="T58" fmla="*/ 37913 w 306"/>
                <a:gd name="T59" fmla="*/ 2655 h 293"/>
                <a:gd name="T60" fmla="*/ 39221 w 306"/>
                <a:gd name="T61" fmla="*/ 5841 h 293"/>
                <a:gd name="T62" fmla="*/ 43143 w 306"/>
                <a:gd name="T63" fmla="*/ 10088 h 293"/>
                <a:gd name="T64" fmla="*/ 52730 w 306"/>
                <a:gd name="T65" fmla="*/ 16460 h 293"/>
                <a:gd name="T66" fmla="*/ 64496 w 306"/>
                <a:gd name="T67" fmla="*/ 21770 h 293"/>
                <a:gd name="T68" fmla="*/ 79313 w 306"/>
                <a:gd name="T69" fmla="*/ 31327 h 293"/>
                <a:gd name="T70" fmla="*/ 91515 w 306"/>
                <a:gd name="T71" fmla="*/ 41947 h 293"/>
                <a:gd name="T72" fmla="*/ 105024 w 306"/>
                <a:gd name="T73" fmla="*/ 54159 h 293"/>
                <a:gd name="T74" fmla="*/ 113740 w 306"/>
                <a:gd name="T75" fmla="*/ 62124 h 293"/>
                <a:gd name="T76" fmla="*/ 115919 w 306"/>
                <a:gd name="T77" fmla="*/ 65841 h 293"/>
                <a:gd name="T78" fmla="*/ 122020 w 306"/>
                <a:gd name="T79" fmla="*/ 71681 h 293"/>
                <a:gd name="T80" fmla="*/ 130300 w 306"/>
                <a:gd name="T81" fmla="*/ 80177 h 293"/>
                <a:gd name="T82" fmla="*/ 133350 w 306"/>
                <a:gd name="T83" fmla="*/ 85487 h 293"/>
                <a:gd name="T84" fmla="*/ 132478 w 306"/>
                <a:gd name="T85" fmla="*/ 88141 h 29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306" h="293">
                  <a:moveTo>
                    <a:pt x="300" y="169"/>
                  </a:moveTo>
                  <a:lnTo>
                    <a:pt x="297" y="181"/>
                  </a:lnTo>
                  <a:lnTo>
                    <a:pt x="297" y="185"/>
                  </a:lnTo>
                  <a:lnTo>
                    <a:pt x="296" y="185"/>
                  </a:lnTo>
                  <a:lnTo>
                    <a:pt x="294" y="187"/>
                  </a:lnTo>
                  <a:lnTo>
                    <a:pt x="291" y="194"/>
                  </a:lnTo>
                  <a:lnTo>
                    <a:pt x="286" y="197"/>
                  </a:lnTo>
                  <a:lnTo>
                    <a:pt x="282" y="199"/>
                  </a:lnTo>
                  <a:lnTo>
                    <a:pt x="276" y="200"/>
                  </a:lnTo>
                  <a:lnTo>
                    <a:pt x="272" y="201"/>
                  </a:lnTo>
                  <a:lnTo>
                    <a:pt x="267" y="203"/>
                  </a:lnTo>
                  <a:lnTo>
                    <a:pt x="263" y="207"/>
                  </a:lnTo>
                  <a:lnTo>
                    <a:pt x="260" y="212"/>
                  </a:lnTo>
                  <a:lnTo>
                    <a:pt x="253" y="229"/>
                  </a:lnTo>
                  <a:lnTo>
                    <a:pt x="248" y="242"/>
                  </a:lnTo>
                  <a:lnTo>
                    <a:pt x="242" y="254"/>
                  </a:lnTo>
                  <a:lnTo>
                    <a:pt x="236" y="263"/>
                  </a:lnTo>
                  <a:lnTo>
                    <a:pt x="231" y="267"/>
                  </a:lnTo>
                  <a:lnTo>
                    <a:pt x="227" y="270"/>
                  </a:lnTo>
                  <a:lnTo>
                    <a:pt x="221" y="273"/>
                  </a:lnTo>
                  <a:lnTo>
                    <a:pt x="215" y="276"/>
                  </a:lnTo>
                  <a:lnTo>
                    <a:pt x="200" y="281"/>
                  </a:lnTo>
                  <a:lnTo>
                    <a:pt x="181" y="286"/>
                  </a:lnTo>
                  <a:lnTo>
                    <a:pt x="164" y="290"/>
                  </a:lnTo>
                  <a:lnTo>
                    <a:pt x="148" y="292"/>
                  </a:lnTo>
                  <a:lnTo>
                    <a:pt x="139" y="293"/>
                  </a:lnTo>
                  <a:lnTo>
                    <a:pt x="130" y="293"/>
                  </a:lnTo>
                  <a:lnTo>
                    <a:pt x="123" y="293"/>
                  </a:lnTo>
                  <a:lnTo>
                    <a:pt x="114" y="292"/>
                  </a:lnTo>
                  <a:lnTo>
                    <a:pt x="106" y="290"/>
                  </a:lnTo>
                  <a:lnTo>
                    <a:pt x="98" y="288"/>
                  </a:lnTo>
                  <a:lnTo>
                    <a:pt x="92" y="286"/>
                  </a:lnTo>
                  <a:lnTo>
                    <a:pt x="85" y="282"/>
                  </a:lnTo>
                  <a:lnTo>
                    <a:pt x="80" y="278"/>
                  </a:lnTo>
                  <a:lnTo>
                    <a:pt x="74" y="274"/>
                  </a:lnTo>
                  <a:lnTo>
                    <a:pt x="71" y="268"/>
                  </a:lnTo>
                  <a:lnTo>
                    <a:pt x="68" y="262"/>
                  </a:lnTo>
                  <a:lnTo>
                    <a:pt x="1" y="236"/>
                  </a:lnTo>
                  <a:lnTo>
                    <a:pt x="1" y="119"/>
                  </a:lnTo>
                  <a:lnTo>
                    <a:pt x="0" y="88"/>
                  </a:lnTo>
                  <a:lnTo>
                    <a:pt x="0" y="56"/>
                  </a:lnTo>
                  <a:lnTo>
                    <a:pt x="1" y="49"/>
                  </a:lnTo>
                  <a:lnTo>
                    <a:pt x="2" y="42"/>
                  </a:lnTo>
                  <a:lnTo>
                    <a:pt x="4" y="35"/>
                  </a:lnTo>
                  <a:lnTo>
                    <a:pt x="6" y="28"/>
                  </a:lnTo>
                  <a:lnTo>
                    <a:pt x="11" y="21"/>
                  </a:lnTo>
                  <a:lnTo>
                    <a:pt x="15" y="14"/>
                  </a:lnTo>
                  <a:lnTo>
                    <a:pt x="20" y="8"/>
                  </a:lnTo>
                  <a:lnTo>
                    <a:pt x="28" y="2"/>
                  </a:lnTo>
                  <a:lnTo>
                    <a:pt x="41" y="2"/>
                  </a:lnTo>
                  <a:lnTo>
                    <a:pt x="48" y="0"/>
                  </a:lnTo>
                  <a:lnTo>
                    <a:pt x="53" y="0"/>
                  </a:lnTo>
                  <a:lnTo>
                    <a:pt x="68" y="2"/>
                  </a:lnTo>
                  <a:lnTo>
                    <a:pt x="72" y="6"/>
                  </a:lnTo>
                  <a:lnTo>
                    <a:pt x="76" y="7"/>
                  </a:lnTo>
                  <a:lnTo>
                    <a:pt x="80" y="7"/>
                  </a:lnTo>
                  <a:lnTo>
                    <a:pt x="82" y="6"/>
                  </a:lnTo>
                  <a:lnTo>
                    <a:pt x="84" y="4"/>
                  </a:lnTo>
                  <a:lnTo>
                    <a:pt x="86" y="4"/>
                  </a:lnTo>
                  <a:lnTo>
                    <a:pt x="87" y="5"/>
                  </a:lnTo>
                  <a:lnTo>
                    <a:pt x="87" y="9"/>
                  </a:lnTo>
                  <a:lnTo>
                    <a:pt x="90" y="11"/>
                  </a:lnTo>
                  <a:lnTo>
                    <a:pt x="94" y="15"/>
                  </a:lnTo>
                  <a:lnTo>
                    <a:pt x="99" y="19"/>
                  </a:lnTo>
                  <a:lnTo>
                    <a:pt x="107" y="23"/>
                  </a:lnTo>
                  <a:lnTo>
                    <a:pt x="121" y="31"/>
                  </a:lnTo>
                  <a:lnTo>
                    <a:pt x="127" y="34"/>
                  </a:lnTo>
                  <a:lnTo>
                    <a:pt x="148" y="41"/>
                  </a:lnTo>
                  <a:lnTo>
                    <a:pt x="165" y="49"/>
                  </a:lnTo>
                  <a:lnTo>
                    <a:pt x="182" y="59"/>
                  </a:lnTo>
                  <a:lnTo>
                    <a:pt x="196" y="69"/>
                  </a:lnTo>
                  <a:lnTo>
                    <a:pt x="210" y="79"/>
                  </a:lnTo>
                  <a:lnTo>
                    <a:pt x="226" y="91"/>
                  </a:lnTo>
                  <a:lnTo>
                    <a:pt x="241" y="102"/>
                  </a:lnTo>
                  <a:lnTo>
                    <a:pt x="260" y="113"/>
                  </a:lnTo>
                  <a:lnTo>
                    <a:pt x="261" y="117"/>
                  </a:lnTo>
                  <a:lnTo>
                    <a:pt x="263" y="120"/>
                  </a:lnTo>
                  <a:lnTo>
                    <a:pt x="266" y="124"/>
                  </a:lnTo>
                  <a:lnTo>
                    <a:pt x="270" y="128"/>
                  </a:lnTo>
                  <a:lnTo>
                    <a:pt x="280" y="135"/>
                  </a:lnTo>
                  <a:lnTo>
                    <a:pt x="291" y="144"/>
                  </a:lnTo>
                  <a:lnTo>
                    <a:pt x="299" y="151"/>
                  </a:lnTo>
                  <a:lnTo>
                    <a:pt x="305" y="158"/>
                  </a:lnTo>
                  <a:lnTo>
                    <a:pt x="306" y="161"/>
                  </a:lnTo>
                  <a:lnTo>
                    <a:pt x="306" y="164"/>
                  </a:lnTo>
                  <a:lnTo>
                    <a:pt x="304" y="166"/>
                  </a:lnTo>
                  <a:lnTo>
                    <a:pt x="300" y="16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756" name="Freeform 226"/>
            <p:cNvSpPr>
              <a:spLocks/>
            </p:cNvSpPr>
            <p:nvPr>
              <p:custDataLst>
                <p:tags r:id="rId148"/>
              </p:custDataLst>
            </p:nvPr>
          </p:nvSpPr>
          <p:spPr bwMode="auto">
            <a:xfrm>
              <a:off x="5796023" y="1203983"/>
              <a:ext cx="281997" cy="110570"/>
            </a:xfrm>
            <a:custGeom>
              <a:avLst/>
              <a:gdLst>
                <a:gd name="T0" fmla="*/ 32058 w 546"/>
                <a:gd name="T1" fmla="*/ 10112 h 173"/>
                <a:gd name="T2" fmla="*/ 40722 w 546"/>
                <a:gd name="T3" fmla="*/ 18096 h 173"/>
                <a:gd name="T4" fmla="*/ 47654 w 546"/>
                <a:gd name="T5" fmla="*/ 14370 h 173"/>
                <a:gd name="T6" fmla="*/ 57185 w 546"/>
                <a:gd name="T7" fmla="*/ 14370 h 173"/>
                <a:gd name="T8" fmla="*/ 69748 w 546"/>
                <a:gd name="T9" fmla="*/ 23418 h 173"/>
                <a:gd name="T10" fmla="*/ 90543 w 546"/>
                <a:gd name="T11" fmla="*/ 10112 h 173"/>
                <a:gd name="T12" fmla="*/ 105272 w 546"/>
                <a:gd name="T13" fmla="*/ 10112 h 173"/>
                <a:gd name="T14" fmla="*/ 112637 w 546"/>
                <a:gd name="T15" fmla="*/ 8516 h 173"/>
                <a:gd name="T16" fmla="*/ 116536 w 546"/>
                <a:gd name="T17" fmla="*/ 7451 h 173"/>
                <a:gd name="T18" fmla="*/ 120868 w 546"/>
                <a:gd name="T19" fmla="*/ 5854 h 173"/>
                <a:gd name="T20" fmla="*/ 123900 w 546"/>
                <a:gd name="T21" fmla="*/ 1597 h 173"/>
                <a:gd name="T22" fmla="*/ 139063 w 546"/>
                <a:gd name="T23" fmla="*/ 2661 h 173"/>
                <a:gd name="T24" fmla="*/ 144262 w 546"/>
                <a:gd name="T25" fmla="*/ 6387 h 173"/>
                <a:gd name="T26" fmla="*/ 150760 w 546"/>
                <a:gd name="T27" fmla="*/ 3726 h 173"/>
                <a:gd name="T28" fmla="*/ 152926 w 546"/>
                <a:gd name="T29" fmla="*/ 0 h 173"/>
                <a:gd name="T30" fmla="*/ 158991 w 546"/>
                <a:gd name="T31" fmla="*/ 3726 h 173"/>
                <a:gd name="T32" fmla="*/ 168522 w 546"/>
                <a:gd name="T33" fmla="*/ 3726 h 173"/>
                <a:gd name="T34" fmla="*/ 188883 w 546"/>
                <a:gd name="T35" fmla="*/ 532 h 173"/>
                <a:gd name="T36" fmla="*/ 208811 w 546"/>
                <a:gd name="T37" fmla="*/ 3193 h 173"/>
                <a:gd name="T38" fmla="*/ 228739 w 546"/>
                <a:gd name="T39" fmla="*/ 6387 h 173"/>
                <a:gd name="T40" fmla="*/ 236104 w 546"/>
                <a:gd name="T41" fmla="*/ 26079 h 173"/>
                <a:gd name="T42" fmla="*/ 232638 w 546"/>
                <a:gd name="T43" fmla="*/ 31934 h 173"/>
                <a:gd name="T44" fmla="*/ 222241 w 546"/>
                <a:gd name="T45" fmla="*/ 32998 h 173"/>
                <a:gd name="T46" fmla="*/ 209244 w 546"/>
                <a:gd name="T47" fmla="*/ 28740 h 173"/>
                <a:gd name="T48" fmla="*/ 178919 w 546"/>
                <a:gd name="T49" fmla="*/ 23418 h 173"/>
                <a:gd name="T50" fmla="*/ 189749 w 546"/>
                <a:gd name="T51" fmla="*/ 43110 h 173"/>
                <a:gd name="T52" fmla="*/ 204046 w 546"/>
                <a:gd name="T53" fmla="*/ 54287 h 173"/>
                <a:gd name="T54" fmla="*/ 213576 w 546"/>
                <a:gd name="T55" fmla="*/ 63335 h 173"/>
                <a:gd name="T56" fmla="*/ 205779 w 546"/>
                <a:gd name="T57" fmla="*/ 72383 h 173"/>
                <a:gd name="T58" fmla="*/ 194515 w 546"/>
                <a:gd name="T59" fmla="*/ 75576 h 173"/>
                <a:gd name="T60" fmla="*/ 184551 w 546"/>
                <a:gd name="T61" fmla="*/ 75044 h 173"/>
                <a:gd name="T62" fmla="*/ 178486 w 546"/>
                <a:gd name="T63" fmla="*/ 71318 h 173"/>
                <a:gd name="T64" fmla="*/ 172854 w 546"/>
                <a:gd name="T65" fmla="*/ 69189 h 173"/>
                <a:gd name="T66" fmla="*/ 166789 w 546"/>
                <a:gd name="T67" fmla="*/ 64399 h 173"/>
                <a:gd name="T68" fmla="*/ 162457 w 546"/>
                <a:gd name="T69" fmla="*/ 55351 h 173"/>
                <a:gd name="T70" fmla="*/ 158125 w 546"/>
                <a:gd name="T71" fmla="*/ 48965 h 173"/>
                <a:gd name="T72" fmla="*/ 149027 w 546"/>
                <a:gd name="T73" fmla="*/ 44707 h 173"/>
                <a:gd name="T74" fmla="*/ 140796 w 546"/>
                <a:gd name="T75" fmla="*/ 40449 h 173"/>
                <a:gd name="T76" fmla="*/ 131265 w 546"/>
                <a:gd name="T77" fmla="*/ 46304 h 173"/>
                <a:gd name="T78" fmla="*/ 111770 w 546"/>
                <a:gd name="T79" fmla="*/ 71318 h 173"/>
                <a:gd name="T80" fmla="*/ 102239 w 546"/>
                <a:gd name="T81" fmla="*/ 86753 h 173"/>
                <a:gd name="T82" fmla="*/ 95308 w 546"/>
                <a:gd name="T83" fmla="*/ 91543 h 173"/>
                <a:gd name="T84" fmla="*/ 81445 w 546"/>
                <a:gd name="T85" fmla="*/ 88882 h 173"/>
                <a:gd name="T86" fmla="*/ 71481 w 546"/>
                <a:gd name="T87" fmla="*/ 82495 h 173"/>
                <a:gd name="T88" fmla="*/ 48954 w 546"/>
                <a:gd name="T89" fmla="*/ 55884 h 173"/>
                <a:gd name="T90" fmla="*/ 41156 w 546"/>
                <a:gd name="T91" fmla="*/ 48433 h 173"/>
                <a:gd name="T92" fmla="*/ 25993 w 546"/>
                <a:gd name="T93" fmla="*/ 40449 h 173"/>
                <a:gd name="T94" fmla="*/ 6931 w 546"/>
                <a:gd name="T95" fmla="*/ 30869 h 173"/>
                <a:gd name="T96" fmla="*/ 4765 w 546"/>
                <a:gd name="T97" fmla="*/ 18096 h 173"/>
                <a:gd name="T98" fmla="*/ 12130 w 546"/>
                <a:gd name="T99" fmla="*/ 10112 h 173"/>
                <a:gd name="T100" fmla="*/ 20361 w 546"/>
                <a:gd name="T101" fmla="*/ 6387 h 173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757" name="Freeform 227"/>
            <p:cNvSpPr>
              <a:spLocks/>
            </p:cNvSpPr>
            <p:nvPr>
              <p:custDataLst>
                <p:tags r:id="rId149"/>
              </p:custDataLst>
            </p:nvPr>
          </p:nvSpPr>
          <p:spPr bwMode="auto">
            <a:xfrm>
              <a:off x="5708962" y="1480407"/>
              <a:ext cx="535605" cy="434654"/>
            </a:xfrm>
            <a:custGeom>
              <a:avLst/>
              <a:gdLst>
                <a:gd name="T0" fmla="*/ 103976 w 1037"/>
                <a:gd name="T1" fmla="*/ 326280 h 690"/>
                <a:gd name="T2" fmla="*/ 67151 w 1037"/>
                <a:gd name="T3" fmla="*/ 358278 h 690"/>
                <a:gd name="T4" fmla="*/ 13863 w 1037"/>
                <a:gd name="T5" fmla="*/ 343066 h 690"/>
                <a:gd name="T6" fmla="*/ 29027 w 1037"/>
                <a:gd name="T7" fmla="*/ 332574 h 690"/>
                <a:gd name="T8" fmla="*/ 7798 w 1037"/>
                <a:gd name="T9" fmla="*/ 312641 h 690"/>
                <a:gd name="T10" fmla="*/ 19062 w 1037"/>
                <a:gd name="T11" fmla="*/ 312116 h 690"/>
                <a:gd name="T12" fmla="*/ 29027 w 1037"/>
                <a:gd name="T13" fmla="*/ 297428 h 690"/>
                <a:gd name="T14" fmla="*/ 3466 w 1037"/>
                <a:gd name="T15" fmla="*/ 286413 h 690"/>
                <a:gd name="T16" fmla="*/ 32059 w 1037"/>
                <a:gd name="T17" fmla="*/ 274348 h 690"/>
                <a:gd name="T18" fmla="*/ 0 w 1037"/>
                <a:gd name="T19" fmla="*/ 261758 h 690"/>
                <a:gd name="T20" fmla="*/ 8665 w 1037"/>
                <a:gd name="T21" fmla="*/ 239202 h 690"/>
                <a:gd name="T22" fmla="*/ 16030 w 1037"/>
                <a:gd name="T23" fmla="*/ 241825 h 690"/>
                <a:gd name="T24" fmla="*/ 33359 w 1037"/>
                <a:gd name="T25" fmla="*/ 235530 h 690"/>
                <a:gd name="T26" fmla="*/ 39857 w 1037"/>
                <a:gd name="T27" fmla="*/ 222416 h 690"/>
                <a:gd name="T28" fmla="*/ 56320 w 1037"/>
                <a:gd name="T29" fmla="*/ 214547 h 690"/>
                <a:gd name="T30" fmla="*/ 95311 w 1037"/>
                <a:gd name="T31" fmla="*/ 200384 h 690"/>
                <a:gd name="T32" fmla="*/ 98344 w 1037"/>
                <a:gd name="T33" fmla="*/ 177828 h 690"/>
                <a:gd name="T34" fmla="*/ 122605 w 1037"/>
                <a:gd name="T35" fmla="*/ 170484 h 690"/>
                <a:gd name="T36" fmla="*/ 122172 w 1037"/>
                <a:gd name="T37" fmla="*/ 162615 h 690"/>
                <a:gd name="T38" fmla="*/ 129103 w 1037"/>
                <a:gd name="T39" fmla="*/ 149501 h 690"/>
                <a:gd name="T40" fmla="*/ 145133 w 1037"/>
                <a:gd name="T41" fmla="*/ 127469 h 690"/>
                <a:gd name="T42" fmla="*/ 148599 w 1037"/>
                <a:gd name="T43" fmla="*/ 118552 h 690"/>
                <a:gd name="T44" fmla="*/ 168961 w 1037"/>
                <a:gd name="T45" fmla="*/ 104913 h 690"/>
                <a:gd name="T46" fmla="*/ 167661 w 1037"/>
                <a:gd name="T47" fmla="*/ 82357 h 690"/>
                <a:gd name="T48" fmla="*/ 161596 w 1037"/>
                <a:gd name="T49" fmla="*/ 74488 h 690"/>
                <a:gd name="T50" fmla="*/ 144700 w 1037"/>
                <a:gd name="T51" fmla="*/ 80783 h 690"/>
                <a:gd name="T52" fmla="*/ 168961 w 1037"/>
                <a:gd name="T53" fmla="*/ 54030 h 690"/>
                <a:gd name="T54" fmla="*/ 178059 w 1037"/>
                <a:gd name="T55" fmla="*/ 50358 h 690"/>
                <a:gd name="T56" fmla="*/ 200587 w 1037"/>
                <a:gd name="T57" fmla="*/ 59800 h 690"/>
                <a:gd name="T58" fmla="*/ 201886 w 1037"/>
                <a:gd name="T59" fmla="*/ 47735 h 690"/>
                <a:gd name="T60" fmla="*/ 241744 w 1037"/>
                <a:gd name="T61" fmla="*/ 31998 h 690"/>
                <a:gd name="T62" fmla="*/ 256040 w 1037"/>
                <a:gd name="T63" fmla="*/ 33048 h 690"/>
                <a:gd name="T64" fmla="*/ 279435 w 1037"/>
                <a:gd name="T65" fmla="*/ 28851 h 690"/>
                <a:gd name="T66" fmla="*/ 279435 w 1037"/>
                <a:gd name="T67" fmla="*/ 17311 h 690"/>
                <a:gd name="T68" fmla="*/ 302829 w 1037"/>
                <a:gd name="T69" fmla="*/ 6819 h 690"/>
                <a:gd name="T70" fmla="*/ 305429 w 1037"/>
                <a:gd name="T71" fmla="*/ 15212 h 690"/>
                <a:gd name="T72" fmla="*/ 308461 w 1037"/>
                <a:gd name="T73" fmla="*/ 20983 h 690"/>
                <a:gd name="T74" fmla="*/ 328390 w 1037"/>
                <a:gd name="T75" fmla="*/ 6295 h 690"/>
                <a:gd name="T76" fmla="*/ 353951 w 1037"/>
                <a:gd name="T77" fmla="*/ 3147 h 690"/>
                <a:gd name="T78" fmla="*/ 365648 w 1037"/>
                <a:gd name="T79" fmla="*/ 4197 h 690"/>
                <a:gd name="T80" fmla="*/ 373446 w 1037"/>
                <a:gd name="T81" fmla="*/ 5770 h 690"/>
                <a:gd name="T82" fmla="*/ 400307 w 1037"/>
                <a:gd name="T83" fmla="*/ 3147 h 690"/>
                <a:gd name="T84" fmla="*/ 449262 w 1037"/>
                <a:gd name="T85" fmla="*/ 22556 h 690"/>
                <a:gd name="T86" fmla="*/ 435399 w 1037"/>
                <a:gd name="T87" fmla="*/ 41441 h 690"/>
                <a:gd name="T88" fmla="*/ 402906 w 1037"/>
                <a:gd name="T89" fmla="*/ 28851 h 690"/>
                <a:gd name="T90" fmla="*/ 378212 w 1037"/>
                <a:gd name="T91" fmla="*/ 38818 h 690"/>
                <a:gd name="T92" fmla="*/ 367381 w 1037"/>
                <a:gd name="T93" fmla="*/ 60850 h 690"/>
                <a:gd name="T94" fmla="*/ 351351 w 1037"/>
                <a:gd name="T95" fmla="*/ 58227 h 690"/>
                <a:gd name="T96" fmla="*/ 322758 w 1037"/>
                <a:gd name="T97" fmla="*/ 67144 h 690"/>
                <a:gd name="T98" fmla="*/ 300663 w 1037"/>
                <a:gd name="T99" fmla="*/ 48260 h 690"/>
                <a:gd name="T100" fmla="*/ 268604 w 1037"/>
                <a:gd name="T101" fmla="*/ 58751 h 690"/>
                <a:gd name="T102" fmla="*/ 231346 w 1037"/>
                <a:gd name="T103" fmla="*/ 70292 h 690"/>
                <a:gd name="T104" fmla="*/ 210551 w 1037"/>
                <a:gd name="T105" fmla="*/ 110159 h 690"/>
                <a:gd name="T106" fmla="*/ 186290 w 1037"/>
                <a:gd name="T107" fmla="*/ 146354 h 690"/>
                <a:gd name="T108" fmla="*/ 172860 w 1037"/>
                <a:gd name="T109" fmla="*/ 190942 h 690"/>
                <a:gd name="T110" fmla="*/ 144266 w 1037"/>
                <a:gd name="T111" fmla="*/ 222940 h 690"/>
                <a:gd name="T112" fmla="*/ 153798 w 1037"/>
                <a:gd name="T113" fmla="*/ 260709 h 690"/>
                <a:gd name="T114" fmla="*/ 153364 w 1037"/>
                <a:gd name="T115" fmla="*/ 292707 h 690"/>
                <a:gd name="T116" fmla="*/ 143400 w 1037"/>
                <a:gd name="T117" fmla="*/ 322608 h 690"/>
                <a:gd name="T118" fmla="*/ 127804 w 1037"/>
                <a:gd name="T119" fmla="*/ 338345 h 69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037" h="690">
                  <a:moveTo>
                    <a:pt x="286" y="647"/>
                  </a:moveTo>
                  <a:lnTo>
                    <a:pt x="273" y="631"/>
                  </a:lnTo>
                  <a:lnTo>
                    <a:pt x="262" y="621"/>
                  </a:lnTo>
                  <a:lnTo>
                    <a:pt x="253" y="612"/>
                  </a:lnTo>
                  <a:lnTo>
                    <a:pt x="246" y="604"/>
                  </a:lnTo>
                  <a:lnTo>
                    <a:pt x="243" y="613"/>
                  </a:lnTo>
                  <a:lnTo>
                    <a:pt x="240" y="622"/>
                  </a:lnTo>
                  <a:lnTo>
                    <a:pt x="239" y="627"/>
                  </a:lnTo>
                  <a:lnTo>
                    <a:pt x="235" y="632"/>
                  </a:lnTo>
                  <a:lnTo>
                    <a:pt x="231" y="638"/>
                  </a:lnTo>
                  <a:lnTo>
                    <a:pt x="224" y="644"/>
                  </a:lnTo>
                  <a:lnTo>
                    <a:pt x="208" y="655"/>
                  </a:lnTo>
                  <a:lnTo>
                    <a:pt x="190" y="665"/>
                  </a:lnTo>
                  <a:lnTo>
                    <a:pt x="155" y="683"/>
                  </a:lnTo>
                  <a:lnTo>
                    <a:pt x="140" y="690"/>
                  </a:lnTo>
                  <a:lnTo>
                    <a:pt x="107" y="690"/>
                  </a:lnTo>
                  <a:lnTo>
                    <a:pt x="86" y="683"/>
                  </a:lnTo>
                  <a:lnTo>
                    <a:pt x="60" y="672"/>
                  </a:lnTo>
                  <a:lnTo>
                    <a:pt x="48" y="666"/>
                  </a:lnTo>
                  <a:lnTo>
                    <a:pt x="37" y="658"/>
                  </a:lnTo>
                  <a:lnTo>
                    <a:pt x="32" y="654"/>
                  </a:lnTo>
                  <a:lnTo>
                    <a:pt x="30" y="650"/>
                  </a:lnTo>
                  <a:lnTo>
                    <a:pt x="28" y="646"/>
                  </a:lnTo>
                  <a:lnTo>
                    <a:pt x="27" y="641"/>
                  </a:lnTo>
                  <a:lnTo>
                    <a:pt x="40" y="641"/>
                  </a:lnTo>
                  <a:lnTo>
                    <a:pt x="50" y="640"/>
                  </a:lnTo>
                  <a:lnTo>
                    <a:pt x="58" y="639"/>
                  </a:lnTo>
                  <a:lnTo>
                    <a:pt x="67" y="634"/>
                  </a:lnTo>
                  <a:lnTo>
                    <a:pt x="59" y="627"/>
                  </a:lnTo>
                  <a:lnTo>
                    <a:pt x="49" y="620"/>
                  </a:lnTo>
                  <a:lnTo>
                    <a:pt x="38" y="613"/>
                  </a:lnTo>
                  <a:lnTo>
                    <a:pt x="27" y="606"/>
                  </a:lnTo>
                  <a:lnTo>
                    <a:pt x="8" y="596"/>
                  </a:lnTo>
                  <a:lnTo>
                    <a:pt x="0" y="592"/>
                  </a:lnTo>
                  <a:lnTo>
                    <a:pt x="18" y="596"/>
                  </a:lnTo>
                  <a:lnTo>
                    <a:pt x="32" y="599"/>
                  </a:lnTo>
                  <a:lnTo>
                    <a:pt x="38" y="600"/>
                  </a:lnTo>
                  <a:lnTo>
                    <a:pt x="43" y="600"/>
                  </a:lnTo>
                  <a:lnTo>
                    <a:pt x="49" y="600"/>
                  </a:lnTo>
                  <a:lnTo>
                    <a:pt x="54" y="598"/>
                  </a:lnTo>
                  <a:lnTo>
                    <a:pt x="49" y="597"/>
                  </a:lnTo>
                  <a:lnTo>
                    <a:pt x="44" y="595"/>
                  </a:lnTo>
                  <a:lnTo>
                    <a:pt x="40" y="591"/>
                  </a:lnTo>
                  <a:lnTo>
                    <a:pt x="36" y="587"/>
                  </a:lnTo>
                  <a:lnTo>
                    <a:pt x="32" y="583"/>
                  </a:lnTo>
                  <a:lnTo>
                    <a:pt x="29" y="576"/>
                  </a:lnTo>
                  <a:lnTo>
                    <a:pt x="28" y="571"/>
                  </a:lnTo>
                  <a:lnTo>
                    <a:pt x="27" y="567"/>
                  </a:lnTo>
                  <a:lnTo>
                    <a:pt x="67" y="567"/>
                  </a:lnTo>
                  <a:lnTo>
                    <a:pt x="56" y="566"/>
                  </a:lnTo>
                  <a:lnTo>
                    <a:pt x="45" y="564"/>
                  </a:lnTo>
                  <a:lnTo>
                    <a:pt x="35" y="562"/>
                  </a:lnTo>
                  <a:lnTo>
                    <a:pt x="25" y="558"/>
                  </a:lnTo>
                  <a:lnTo>
                    <a:pt x="16" y="554"/>
                  </a:lnTo>
                  <a:lnTo>
                    <a:pt x="10" y="549"/>
                  </a:lnTo>
                  <a:lnTo>
                    <a:pt x="8" y="546"/>
                  </a:lnTo>
                  <a:lnTo>
                    <a:pt x="7" y="543"/>
                  </a:lnTo>
                  <a:lnTo>
                    <a:pt x="7" y="540"/>
                  </a:lnTo>
                  <a:lnTo>
                    <a:pt x="7" y="536"/>
                  </a:lnTo>
                  <a:lnTo>
                    <a:pt x="0" y="523"/>
                  </a:lnTo>
                  <a:lnTo>
                    <a:pt x="29" y="523"/>
                  </a:lnTo>
                  <a:lnTo>
                    <a:pt x="54" y="523"/>
                  </a:lnTo>
                  <a:lnTo>
                    <a:pt x="74" y="523"/>
                  </a:lnTo>
                  <a:lnTo>
                    <a:pt x="87" y="523"/>
                  </a:lnTo>
                  <a:lnTo>
                    <a:pt x="72" y="519"/>
                  </a:lnTo>
                  <a:lnTo>
                    <a:pt x="39" y="511"/>
                  </a:lnTo>
                  <a:lnTo>
                    <a:pt x="22" y="507"/>
                  </a:lnTo>
                  <a:lnTo>
                    <a:pt x="8" y="503"/>
                  </a:lnTo>
                  <a:lnTo>
                    <a:pt x="0" y="500"/>
                  </a:lnTo>
                  <a:lnTo>
                    <a:pt x="0" y="499"/>
                  </a:lnTo>
                  <a:lnTo>
                    <a:pt x="2" y="485"/>
                  </a:lnTo>
                  <a:lnTo>
                    <a:pt x="3" y="476"/>
                  </a:lnTo>
                  <a:lnTo>
                    <a:pt x="4" y="472"/>
                  </a:lnTo>
                  <a:lnTo>
                    <a:pt x="4" y="467"/>
                  </a:lnTo>
                  <a:lnTo>
                    <a:pt x="3" y="462"/>
                  </a:lnTo>
                  <a:lnTo>
                    <a:pt x="0" y="456"/>
                  </a:lnTo>
                  <a:lnTo>
                    <a:pt x="20" y="456"/>
                  </a:lnTo>
                  <a:lnTo>
                    <a:pt x="21" y="460"/>
                  </a:lnTo>
                  <a:lnTo>
                    <a:pt x="24" y="463"/>
                  </a:lnTo>
                  <a:lnTo>
                    <a:pt x="25" y="464"/>
                  </a:lnTo>
                  <a:lnTo>
                    <a:pt x="26" y="464"/>
                  </a:lnTo>
                  <a:lnTo>
                    <a:pt x="27" y="463"/>
                  </a:lnTo>
                  <a:lnTo>
                    <a:pt x="27" y="462"/>
                  </a:lnTo>
                  <a:lnTo>
                    <a:pt x="37" y="461"/>
                  </a:lnTo>
                  <a:lnTo>
                    <a:pt x="51" y="459"/>
                  </a:lnTo>
                  <a:lnTo>
                    <a:pt x="67" y="457"/>
                  </a:lnTo>
                  <a:lnTo>
                    <a:pt x="81" y="456"/>
                  </a:lnTo>
                  <a:lnTo>
                    <a:pt x="78" y="455"/>
                  </a:lnTo>
                  <a:lnTo>
                    <a:pt x="77" y="454"/>
                  </a:lnTo>
                  <a:lnTo>
                    <a:pt x="77" y="452"/>
                  </a:lnTo>
                  <a:lnTo>
                    <a:pt x="77" y="449"/>
                  </a:lnTo>
                  <a:lnTo>
                    <a:pt x="80" y="443"/>
                  </a:lnTo>
                  <a:lnTo>
                    <a:pt x="81" y="437"/>
                  </a:lnTo>
                  <a:lnTo>
                    <a:pt x="91" y="437"/>
                  </a:lnTo>
                  <a:lnTo>
                    <a:pt x="100" y="437"/>
                  </a:lnTo>
                  <a:lnTo>
                    <a:pt x="99" y="433"/>
                  </a:lnTo>
                  <a:lnTo>
                    <a:pt x="96" y="428"/>
                  </a:lnTo>
                  <a:lnTo>
                    <a:pt x="92" y="424"/>
                  </a:lnTo>
                  <a:lnTo>
                    <a:pt x="87" y="419"/>
                  </a:lnTo>
                  <a:lnTo>
                    <a:pt x="97" y="416"/>
                  </a:lnTo>
                  <a:lnTo>
                    <a:pt x="107" y="413"/>
                  </a:lnTo>
                  <a:lnTo>
                    <a:pt x="117" y="412"/>
                  </a:lnTo>
                  <a:lnTo>
                    <a:pt x="127" y="412"/>
                  </a:lnTo>
                  <a:lnTo>
                    <a:pt x="129" y="412"/>
                  </a:lnTo>
                  <a:lnTo>
                    <a:pt x="130" y="409"/>
                  </a:lnTo>
                  <a:lnTo>
                    <a:pt x="130" y="406"/>
                  </a:lnTo>
                  <a:lnTo>
                    <a:pt x="129" y="402"/>
                  </a:lnTo>
                  <a:lnTo>
                    <a:pt x="128" y="394"/>
                  </a:lnTo>
                  <a:lnTo>
                    <a:pt x="127" y="388"/>
                  </a:lnTo>
                  <a:lnTo>
                    <a:pt x="147" y="388"/>
                  </a:lnTo>
                  <a:lnTo>
                    <a:pt x="133" y="382"/>
                  </a:lnTo>
                  <a:lnTo>
                    <a:pt x="220" y="382"/>
                  </a:lnTo>
                  <a:lnTo>
                    <a:pt x="207" y="376"/>
                  </a:lnTo>
                  <a:lnTo>
                    <a:pt x="213" y="373"/>
                  </a:lnTo>
                  <a:lnTo>
                    <a:pt x="218" y="370"/>
                  </a:lnTo>
                  <a:lnTo>
                    <a:pt x="221" y="367"/>
                  </a:lnTo>
                  <a:lnTo>
                    <a:pt x="224" y="362"/>
                  </a:lnTo>
                  <a:lnTo>
                    <a:pt x="227" y="351"/>
                  </a:lnTo>
                  <a:lnTo>
                    <a:pt x="227" y="339"/>
                  </a:lnTo>
                  <a:lnTo>
                    <a:pt x="243" y="339"/>
                  </a:lnTo>
                  <a:lnTo>
                    <a:pt x="255" y="339"/>
                  </a:lnTo>
                  <a:lnTo>
                    <a:pt x="266" y="339"/>
                  </a:lnTo>
                  <a:lnTo>
                    <a:pt x="279" y="339"/>
                  </a:lnTo>
                  <a:lnTo>
                    <a:pt x="279" y="333"/>
                  </a:lnTo>
                  <a:lnTo>
                    <a:pt x="282" y="327"/>
                  </a:lnTo>
                  <a:lnTo>
                    <a:pt x="283" y="325"/>
                  </a:lnTo>
                  <a:lnTo>
                    <a:pt x="285" y="323"/>
                  </a:lnTo>
                  <a:lnTo>
                    <a:pt x="288" y="321"/>
                  </a:lnTo>
                  <a:lnTo>
                    <a:pt x="293" y="321"/>
                  </a:lnTo>
                  <a:lnTo>
                    <a:pt x="286" y="318"/>
                  </a:lnTo>
                  <a:lnTo>
                    <a:pt x="279" y="314"/>
                  </a:lnTo>
                  <a:lnTo>
                    <a:pt x="280" y="312"/>
                  </a:lnTo>
                  <a:lnTo>
                    <a:pt x="282" y="310"/>
                  </a:lnTo>
                  <a:lnTo>
                    <a:pt x="284" y="308"/>
                  </a:lnTo>
                  <a:lnTo>
                    <a:pt x="287" y="305"/>
                  </a:lnTo>
                  <a:lnTo>
                    <a:pt x="294" y="300"/>
                  </a:lnTo>
                  <a:lnTo>
                    <a:pt x="299" y="295"/>
                  </a:lnTo>
                  <a:lnTo>
                    <a:pt x="298" y="292"/>
                  </a:lnTo>
                  <a:lnTo>
                    <a:pt x="297" y="288"/>
                  </a:lnTo>
                  <a:lnTo>
                    <a:pt x="298" y="285"/>
                  </a:lnTo>
                  <a:lnTo>
                    <a:pt x="299" y="281"/>
                  </a:lnTo>
                  <a:lnTo>
                    <a:pt x="305" y="274"/>
                  </a:lnTo>
                  <a:lnTo>
                    <a:pt x="311" y="267"/>
                  </a:lnTo>
                  <a:lnTo>
                    <a:pt x="325" y="254"/>
                  </a:lnTo>
                  <a:lnTo>
                    <a:pt x="333" y="246"/>
                  </a:lnTo>
                  <a:lnTo>
                    <a:pt x="333" y="244"/>
                  </a:lnTo>
                  <a:lnTo>
                    <a:pt x="335" y="243"/>
                  </a:lnTo>
                  <a:lnTo>
                    <a:pt x="338" y="243"/>
                  </a:lnTo>
                  <a:lnTo>
                    <a:pt x="340" y="244"/>
                  </a:lnTo>
                  <a:lnTo>
                    <a:pt x="344" y="245"/>
                  </a:lnTo>
                  <a:lnTo>
                    <a:pt x="346" y="246"/>
                  </a:lnTo>
                  <a:lnTo>
                    <a:pt x="344" y="239"/>
                  </a:lnTo>
                  <a:lnTo>
                    <a:pt x="343" y="233"/>
                  </a:lnTo>
                  <a:lnTo>
                    <a:pt x="343" y="226"/>
                  </a:lnTo>
                  <a:lnTo>
                    <a:pt x="344" y="220"/>
                  </a:lnTo>
                  <a:lnTo>
                    <a:pt x="345" y="210"/>
                  </a:lnTo>
                  <a:lnTo>
                    <a:pt x="346" y="204"/>
                  </a:lnTo>
                  <a:lnTo>
                    <a:pt x="370" y="204"/>
                  </a:lnTo>
                  <a:lnTo>
                    <a:pt x="385" y="203"/>
                  </a:lnTo>
                  <a:lnTo>
                    <a:pt x="388" y="202"/>
                  </a:lnTo>
                  <a:lnTo>
                    <a:pt x="390" y="200"/>
                  </a:lnTo>
                  <a:lnTo>
                    <a:pt x="392" y="198"/>
                  </a:lnTo>
                  <a:lnTo>
                    <a:pt x="394" y="196"/>
                  </a:lnTo>
                  <a:lnTo>
                    <a:pt x="397" y="188"/>
                  </a:lnTo>
                  <a:lnTo>
                    <a:pt x="399" y="178"/>
                  </a:lnTo>
                  <a:lnTo>
                    <a:pt x="395" y="173"/>
                  </a:lnTo>
                  <a:lnTo>
                    <a:pt x="390" y="166"/>
                  </a:lnTo>
                  <a:lnTo>
                    <a:pt x="387" y="157"/>
                  </a:lnTo>
                  <a:lnTo>
                    <a:pt x="386" y="148"/>
                  </a:lnTo>
                  <a:lnTo>
                    <a:pt x="384" y="148"/>
                  </a:lnTo>
                  <a:lnTo>
                    <a:pt x="379" y="147"/>
                  </a:lnTo>
                  <a:lnTo>
                    <a:pt x="377" y="147"/>
                  </a:lnTo>
                  <a:lnTo>
                    <a:pt x="375" y="146"/>
                  </a:lnTo>
                  <a:lnTo>
                    <a:pt x="373" y="144"/>
                  </a:lnTo>
                  <a:lnTo>
                    <a:pt x="373" y="142"/>
                  </a:lnTo>
                  <a:lnTo>
                    <a:pt x="363" y="150"/>
                  </a:lnTo>
                  <a:lnTo>
                    <a:pt x="353" y="156"/>
                  </a:lnTo>
                  <a:lnTo>
                    <a:pt x="347" y="158"/>
                  </a:lnTo>
                  <a:lnTo>
                    <a:pt x="343" y="159"/>
                  </a:lnTo>
                  <a:lnTo>
                    <a:pt x="338" y="160"/>
                  </a:lnTo>
                  <a:lnTo>
                    <a:pt x="333" y="160"/>
                  </a:lnTo>
                  <a:lnTo>
                    <a:pt x="334" y="154"/>
                  </a:lnTo>
                  <a:lnTo>
                    <a:pt x="338" y="148"/>
                  </a:lnTo>
                  <a:lnTo>
                    <a:pt x="341" y="143"/>
                  </a:lnTo>
                  <a:lnTo>
                    <a:pt x="345" y="138"/>
                  </a:lnTo>
                  <a:lnTo>
                    <a:pt x="355" y="128"/>
                  </a:lnTo>
                  <a:lnTo>
                    <a:pt x="367" y="120"/>
                  </a:lnTo>
                  <a:lnTo>
                    <a:pt x="378" y="112"/>
                  </a:lnTo>
                  <a:lnTo>
                    <a:pt x="390" y="103"/>
                  </a:lnTo>
                  <a:lnTo>
                    <a:pt x="395" y="98"/>
                  </a:lnTo>
                  <a:lnTo>
                    <a:pt x="399" y="93"/>
                  </a:lnTo>
                  <a:lnTo>
                    <a:pt x="403" y="87"/>
                  </a:lnTo>
                  <a:lnTo>
                    <a:pt x="406" y="80"/>
                  </a:lnTo>
                  <a:lnTo>
                    <a:pt x="407" y="83"/>
                  </a:lnTo>
                  <a:lnTo>
                    <a:pt x="409" y="88"/>
                  </a:lnTo>
                  <a:lnTo>
                    <a:pt x="411" y="96"/>
                  </a:lnTo>
                  <a:lnTo>
                    <a:pt x="412" y="105"/>
                  </a:lnTo>
                  <a:lnTo>
                    <a:pt x="414" y="107"/>
                  </a:lnTo>
                  <a:lnTo>
                    <a:pt x="420" y="111"/>
                  </a:lnTo>
                  <a:lnTo>
                    <a:pt x="426" y="115"/>
                  </a:lnTo>
                  <a:lnTo>
                    <a:pt x="432" y="117"/>
                  </a:lnTo>
                  <a:lnTo>
                    <a:pt x="450" y="116"/>
                  </a:lnTo>
                  <a:lnTo>
                    <a:pt x="463" y="114"/>
                  </a:lnTo>
                  <a:lnTo>
                    <a:pt x="473" y="112"/>
                  </a:lnTo>
                  <a:lnTo>
                    <a:pt x="479" y="111"/>
                  </a:lnTo>
                  <a:lnTo>
                    <a:pt x="474" y="106"/>
                  </a:lnTo>
                  <a:lnTo>
                    <a:pt x="469" y="101"/>
                  </a:lnTo>
                  <a:lnTo>
                    <a:pt x="468" y="98"/>
                  </a:lnTo>
                  <a:lnTo>
                    <a:pt x="467" y="95"/>
                  </a:lnTo>
                  <a:lnTo>
                    <a:pt x="466" y="91"/>
                  </a:lnTo>
                  <a:lnTo>
                    <a:pt x="466" y="87"/>
                  </a:lnTo>
                  <a:lnTo>
                    <a:pt x="485" y="83"/>
                  </a:lnTo>
                  <a:lnTo>
                    <a:pt x="510" y="78"/>
                  </a:lnTo>
                  <a:lnTo>
                    <a:pt x="523" y="75"/>
                  </a:lnTo>
                  <a:lnTo>
                    <a:pt x="536" y="72"/>
                  </a:lnTo>
                  <a:lnTo>
                    <a:pt x="548" y="67"/>
                  </a:lnTo>
                  <a:lnTo>
                    <a:pt x="558" y="61"/>
                  </a:lnTo>
                  <a:lnTo>
                    <a:pt x="565" y="57"/>
                  </a:lnTo>
                  <a:lnTo>
                    <a:pt x="573" y="53"/>
                  </a:lnTo>
                  <a:lnTo>
                    <a:pt x="579" y="50"/>
                  </a:lnTo>
                  <a:lnTo>
                    <a:pt x="586" y="49"/>
                  </a:lnTo>
                  <a:lnTo>
                    <a:pt x="587" y="55"/>
                  </a:lnTo>
                  <a:lnTo>
                    <a:pt x="589" y="61"/>
                  </a:lnTo>
                  <a:lnTo>
                    <a:pt x="591" y="63"/>
                  </a:lnTo>
                  <a:lnTo>
                    <a:pt x="593" y="65"/>
                  </a:lnTo>
                  <a:lnTo>
                    <a:pt x="596" y="67"/>
                  </a:lnTo>
                  <a:lnTo>
                    <a:pt x="599" y="67"/>
                  </a:lnTo>
                  <a:lnTo>
                    <a:pt x="609" y="66"/>
                  </a:lnTo>
                  <a:lnTo>
                    <a:pt x="624" y="61"/>
                  </a:lnTo>
                  <a:lnTo>
                    <a:pt x="638" y="57"/>
                  </a:lnTo>
                  <a:lnTo>
                    <a:pt x="645" y="55"/>
                  </a:lnTo>
                  <a:lnTo>
                    <a:pt x="643" y="53"/>
                  </a:lnTo>
                  <a:lnTo>
                    <a:pt x="641" y="51"/>
                  </a:lnTo>
                  <a:lnTo>
                    <a:pt x="638" y="48"/>
                  </a:lnTo>
                  <a:lnTo>
                    <a:pt x="638" y="46"/>
                  </a:lnTo>
                  <a:lnTo>
                    <a:pt x="638" y="42"/>
                  </a:lnTo>
                  <a:lnTo>
                    <a:pt x="641" y="37"/>
                  </a:lnTo>
                  <a:lnTo>
                    <a:pt x="645" y="33"/>
                  </a:lnTo>
                  <a:lnTo>
                    <a:pt x="650" y="28"/>
                  </a:lnTo>
                  <a:lnTo>
                    <a:pt x="657" y="24"/>
                  </a:lnTo>
                  <a:lnTo>
                    <a:pt x="665" y="20"/>
                  </a:lnTo>
                  <a:lnTo>
                    <a:pt x="674" y="17"/>
                  </a:lnTo>
                  <a:lnTo>
                    <a:pt x="682" y="15"/>
                  </a:lnTo>
                  <a:lnTo>
                    <a:pt x="691" y="14"/>
                  </a:lnTo>
                  <a:lnTo>
                    <a:pt x="699" y="13"/>
                  </a:lnTo>
                  <a:lnTo>
                    <a:pt x="708" y="13"/>
                  </a:lnTo>
                  <a:lnTo>
                    <a:pt x="714" y="13"/>
                  </a:lnTo>
                  <a:lnTo>
                    <a:pt x="721" y="15"/>
                  </a:lnTo>
                  <a:lnTo>
                    <a:pt x="725" y="18"/>
                  </a:lnTo>
                  <a:lnTo>
                    <a:pt x="717" y="20"/>
                  </a:lnTo>
                  <a:lnTo>
                    <a:pt x="709" y="26"/>
                  </a:lnTo>
                  <a:lnTo>
                    <a:pt x="705" y="29"/>
                  </a:lnTo>
                  <a:lnTo>
                    <a:pt x="701" y="32"/>
                  </a:lnTo>
                  <a:lnTo>
                    <a:pt x="699" y="35"/>
                  </a:lnTo>
                  <a:lnTo>
                    <a:pt x="699" y="37"/>
                  </a:lnTo>
                  <a:lnTo>
                    <a:pt x="702" y="39"/>
                  </a:lnTo>
                  <a:lnTo>
                    <a:pt x="705" y="40"/>
                  </a:lnTo>
                  <a:lnTo>
                    <a:pt x="709" y="41"/>
                  </a:lnTo>
                  <a:lnTo>
                    <a:pt x="712" y="40"/>
                  </a:lnTo>
                  <a:lnTo>
                    <a:pt x="719" y="39"/>
                  </a:lnTo>
                  <a:lnTo>
                    <a:pt x="725" y="36"/>
                  </a:lnTo>
                  <a:lnTo>
                    <a:pt x="733" y="32"/>
                  </a:lnTo>
                  <a:lnTo>
                    <a:pt x="741" y="29"/>
                  </a:lnTo>
                  <a:lnTo>
                    <a:pt x="748" y="26"/>
                  </a:lnTo>
                  <a:lnTo>
                    <a:pt x="758" y="24"/>
                  </a:lnTo>
                  <a:lnTo>
                    <a:pt x="758" y="12"/>
                  </a:lnTo>
                  <a:lnTo>
                    <a:pt x="758" y="0"/>
                  </a:lnTo>
                  <a:lnTo>
                    <a:pt x="777" y="0"/>
                  </a:lnTo>
                  <a:lnTo>
                    <a:pt x="793" y="1"/>
                  </a:lnTo>
                  <a:lnTo>
                    <a:pt x="800" y="1"/>
                  </a:lnTo>
                  <a:lnTo>
                    <a:pt x="806" y="2"/>
                  </a:lnTo>
                  <a:lnTo>
                    <a:pt x="813" y="4"/>
                  </a:lnTo>
                  <a:lnTo>
                    <a:pt x="817" y="6"/>
                  </a:lnTo>
                  <a:lnTo>
                    <a:pt x="812" y="11"/>
                  </a:lnTo>
                  <a:lnTo>
                    <a:pt x="805" y="18"/>
                  </a:lnTo>
                  <a:lnTo>
                    <a:pt x="800" y="26"/>
                  </a:lnTo>
                  <a:lnTo>
                    <a:pt x="798" y="31"/>
                  </a:lnTo>
                  <a:lnTo>
                    <a:pt x="815" y="22"/>
                  </a:lnTo>
                  <a:lnTo>
                    <a:pt x="828" y="15"/>
                  </a:lnTo>
                  <a:lnTo>
                    <a:pt x="844" y="8"/>
                  </a:lnTo>
                  <a:lnTo>
                    <a:pt x="865" y="0"/>
                  </a:lnTo>
                  <a:lnTo>
                    <a:pt x="865" y="4"/>
                  </a:lnTo>
                  <a:lnTo>
                    <a:pt x="864" y="9"/>
                  </a:lnTo>
                  <a:lnTo>
                    <a:pt x="861" y="14"/>
                  </a:lnTo>
                  <a:lnTo>
                    <a:pt x="858" y="18"/>
                  </a:lnTo>
                  <a:lnTo>
                    <a:pt x="860" y="14"/>
                  </a:lnTo>
                  <a:lnTo>
                    <a:pt x="862" y="11"/>
                  </a:lnTo>
                  <a:lnTo>
                    <a:pt x="866" y="9"/>
                  </a:lnTo>
                  <a:lnTo>
                    <a:pt x="869" y="7"/>
                  </a:lnTo>
                  <a:lnTo>
                    <a:pt x="876" y="6"/>
                  </a:lnTo>
                  <a:lnTo>
                    <a:pt x="884" y="6"/>
                  </a:lnTo>
                  <a:lnTo>
                    <a:pt x="892" y="6"/>
                  </a:lnTo>
                  <a:lnTo>
                    <a:pt x="907" y="6"/>
                  </a:lnTo>
                  <a:lnTo>
                    <a:pt x="924" y="6"/>
                  </a:lnTo>
                  <a:lnTo>
                    <a:pt x="930" y="6"/>
                  </a:lnTo>
                  <a:lnTo>
                    <a:pt x="947" y="12"/>
                  </a:lnTo>
                  <a:lnTo>
                    <a:pt x="979" y="22"/>
                  </a:lnTo>
                  <a:lnTo>
                    <a:pt x="996" y="28"/>
                  </a:lnTo>
                  <a:lnTo>
                    <a:pt x="1013" y="33"/>
                  </a:lnTo>
                  <a:lnTo>
                    <a:pt x="1027" y="38"/>
                  </a:lnTo>
                  <a:lnTo>
                    <a:pt x="1037" y="43"/>
                  </a:lnTo>
                  <a:lnTo>
                    <a:pt x="1031" y="52"/>
                  </a:lnTo>
                  <a:lnTo>
                    <a:pt x="1025" y="61"/>
                  </a:lnTo>
                  <a:lnTo>
                    <a:pt x="1022" y="66"/>
                  </a:lnTo>
                  <a:lnTo>
                    <a:pt x="1019" y="70"/>
                  </a:lnTo>
                  <a:lnTo>
                    <a:pt x="1017" y="75"/>
                  </a:lnTo>
                  <a:lnTo>
                    <a:pt x="1017" y="80"/>
                  </a:lnTo>
                  <a:lnTo>
                    <a:pt x="1005" y="79"/>
                  </a:lnTo>
                  <a:lnTo>
                    <a:pt x="993" y="76"/>
                  </a:lnTo>
                  <a:lnTo>
                    <a:pt x="982" y="72"/>
                  </a:lnTo>
                  <a:lnTo>
                    <a:pt x="971" y="67"/>
                  </a:lnTo>
                  <a:lnTo>
                    <a:pt x="961" y="63"/>
                  </a:lnTo>
                  <a:lnTo>
                    <a:pt x="951" y="59"/>
                  </a:lnTo>
                  <a:lnTo>
                    <a:pt x="940" y="56"/>
                  </a:lnTo>
                  <a:lnTo>
                    <a:pt x="930" y="55"/>
                  </a:lnTo>
                  <a:lnTo>
                    <a:pt x="919" y="55"/>
                  </a:lnTo>
                  <a:lnTo>
                    <a:pt x="906" y="55"/>
                  </a:lnTo>
                  <a:lnTo>
                    <a:pt x="892" y="55"/>
                  </a:lnTo>
                  <a:lnTo>
                    <a:pt x="878" y="55"/>
                  </a:lnTo>
                  <a:lnTo>
                    <a:pt x="877" y="62"/>
                  </a:lnTo>
                  <a:lnTo>
                    <a:pt x="876" y="68"/>
                  </a:lnTo>
                  <a:lnTo>
                    <a:pt x="873" y="74"/>
                  </a:lnTo>
                  <a:lnTo>
                    <a:pt x="871" y="80"/>
                  </a:lnTo>
                  <a:lnTo>
                    <a:pt x="869" y="88"/>
                  </a:lnTo>
                  <a:lnTo>
                    <a:pt x="867" y="95"/>
                  </a:lnTo>
                  <a:lnTo>
                    <a:pt x="865" y="102"/>
                  </a:lnTo>
                  <a:lnTo>
                    <a:pt x="865" y="111"/>
                  </a:lnTo>
                  <a:lnTo>
                    <a:pt x="854" y="114"/>
                  </a:lnTo>
                  <a:lnTo>
                    <a:pt x="848" y="116"/>
                  </a:lnTo>
                  <a:lnTo>
                    <a:pt x="844" y="116"/>
                  </a:lnTo>
                  <a:lnTo>
                    <a:pt x="842" y="115"/>
                  </a:lnTo>
                  <a:lnTo>
                    <a:pt x="838" y="114"/>
                  </a:lnTo>
                  <a:lnTo>
                    <a:pt x="835" y="113"/>
                  </a:lnTo>
                  <a:lnTo>
                    <a:pt x="828" y="111"/>
                  </a:lnTo>
                  <a:lnTo>
                    <a:pt x="817" y="111"/>
                  </a:lnTo>
                  <a:lnTo>
                    <a:pt x="811" y="111"/>
                  </a:lnTo>
                  <a:lnTo>
                    <a:pt x="804" y="112"/>
                  </a:lnTo>
                  <a:lnTo>
                    <a:pt x="798" y="113"/>
                  </a:lnTo>
                  <a:lnTo>
                    <a:pt x="790" y="115"/>
                  </a:lnTo>
                  <a:lnTo>
                    <a:pt x="776" y="121"/>
                  </a:lnTo>
                  <a:lnTo>
                    <a:pt x="758" y="129"/>
                  </a:lnTo>
                  <a:lnTo>
                    <a:pt x="750" y="129"/>
                  </a:lnTo>
                  <a:lnTo>
                    <a:pt x="745" y="128"/>
                  </a:lnTo>
                  <a:lnTo>
                    <a:pt x="738" y="126"/>
                  </a:lnTo>
                  <a:lnTo>
                    <a:pt x="734" y="124"/>
                  </a:lnTo>
                  <a:lnTo>
                    <a:pt x="724" y="119"/>
                  </a:lnTo>
                  <a:lnTo>
                    <a:pt x="716" y="112"/>
                  </a:lnTo>
                  <a:lnTo>
                    <a:pt x="709" y="105"/>
                  </a:lnTo>
                  <a:lnTo>
                    <a:pt x="702" y="98"/>
                  </a:lnTo>
                  <a:lnTo>
                    <a:pt x="694" y="92"/>
                  </a:lnTo>
                  <a:lnTo>
                    <a:pt x="685" y="87"/>
                  </a:lnTo>
                  <a:lnTo>
                    <a:pt x="677" y="92"/>
                  </a:lnTo>
                  <a:lnTo>
                    <a:pt x="669" y="96"/>
                  </a:lnTo>
                  <a:lnTo>
                    <a:pt x="661" y="100"/>
                  </a:lnTo>
                  <a:lnTo>
                    <a:pt x="654" y="103"/>
                  </a:lnTo>
                  <a:lnTo>
                    <a:pt x="637" y="109"/>
                  </a:lnTo>
                  <a:lnTo>
                    <a:pt x="620" y="112"/>
                  </a:lnTo>
                  <a:lnTo>
                    <a:pt x="602" y="116"/>
                  </a:lnTo>
                  <a:lnTo>
                    <a:pt x="584" y="119"/>
                  </a:lnTo>
                  <a:lnTo>
                    <a:pt x="565" y="123"/>
                  </a:lnTo>
                  <a:lnTo>
                    <a:pt x="545" y="129"/>
                  </a:lnTo>
                  <a:lnTo>
                    <a:pt x="542" y="130"/>
                  </a:lnTo>
                  <a:lnTo>
                    <a:pt x="537" y="131"/>
                  </a:lnTo>
                  <a:lnTo>
                    <a:pt x="534" y="134"/>
                  </a:lnTo>
                  <a:lnTo>
                    <a:pt x="530" y="138"/>
                  </a:lnTo>
                  <a:lnTo>
                    <a:pt x="521" y="147"/>
                  </a:lnTo>
                  <a:lnTo>
                    <a:pt x="513" y="158"/>
                  </a:lnTo>
                  <a:lnTo>
                    <a:pt x="506" y="170"/>
                  </a:lnTo>
                  <a:lnTo>
                    <a:pt x="498" y="184"/>
                  </a:lnTo>
                  <a:lnTo>
                    <a:pt x="491" y="198"/>
                  </a:lnTo>
                  <a:lnTo>
                    <a:pt x="486" y="210"/>
                  </a:lnTo>
                  <a:lnTo>
                    <a:pt x="482" y="217"/>
                  </a:lnTo>
                  <a:lnTo>
                    <a:pt x="478" y="225"/>
                  </a:lnTo>
                  <a:lnTo>
                    <a:pt x="473" y="232"/>
                  </a:lnTo>
                  <a:lnTo>
                    <a:pt x="466" y="239"/>
                  </a:lnTo>
                  <a:lnTo>
                    <a:pt x="453" y="255"/>
                  </a:lnTo>
                  <a:lnTo>
                    <a:pt x="437" y="270"/>
                  </a:lnTo>
                  <a:lnTo>
                    <a:pt x="430" y="279"/>
                  </a:lnTo>
                  <a:lnTo>
                    <a:pt x="423" y="288"/>
                  </a:lnTo>
                  <a:lnTo>
                    <a:pt x="417" y="298"/>
                  </a:lnTo>
                  <a:lnTo>
                    <a:pt x="411" y="309"/>
                  </a:lnTo>
                  <a:lnTo>
                    <a:pt x="406" y="321"/>
                  </a:lnTo>
                  <a:lnTo>
                    <a:pt x="402" y="334"/>
                  </a:lnTo>
                  <a:lnTo>
                    <a:pt x="400" y="348"/>
                  </a:lnTo>
                  <a:lnTo>
                    <a:pt x="399" y="364"/>
                  </a:lnTo>
                  <a:lnTo>
                    <a:pt x="396" y="362"/>
                  </a:lnTo>
                  <a:lnTo>
                    <a:pt x="392" y="361"/>
                  </a:lnTo>
                  <a:lnTo>
                    <a:pt x="387" y="361"/>
                  </a:lnTo>
                  <a:lnTo>
                    <a:pt x="381" y="362"/>
                  </a:lnTo>
                  <a:lnTo>
                    <a:pt x="367" y="363"/>
                  </a:lnTo>
                  <a:lnTo>
                    <a:pt x="353" y="364"/>
                  </a:lnTo>
                  <a:lnTo>
                    <a:pt x="333" y="425"/>
                  </a:lnTo>
                  <a:lnTo>
                    <a:pt x="333" y="441"/>
                  </a:lnTo>
                  <a:lnTo>
                    <a:pt x="336" y="464"/>
                  </a:lnTo>
                  <a:lnTo>
                    <a:pt x="340" y="477"/>
                  </a:lnTo>
                  <a:lnTo>
                    <a:pt x="344" y="487"/>
                  </a:lnTo>
                  <a:lnTo>
                    <a:pt x="347" y="491"/>
                  </a:lnTo>
                  <a:lnTo>
                    <a:pt x="351" y="495"/>
                  </a:lnTo>
                  <a:lnTo>
                    <a:pt x="355" y="497"/>
                  </a:lnTo>
                  <a:lnTo>
                    <a:pt x="360" y="499"/>
                  </a:lnTo>
                  <a:lnTo>
                    <a:pt x="358" y="515"/>
                  </a:lnTo>
                  <a:lnTo>
                    <a:pt x="357" y="528"/>
                  </a:lnTo>
                  <a:lnTo>
                    <a:pt x="356" y="537"/>
                  </a:lnTo>
                  <a:lnTo>
                    <a:pt x="354" y="544"/>
                  </a:lnTo>
                  <a:lnTo>
                    <a:pt x="354" y="551"/>
                  </a:lnTo>
                  <a:lnTo>
                    <a:pt x="354" y="558"/>
                  </a:lnTo>
                  <a:lnTo>
                    <a:pt x="355" y="567"/>
                  </a:lnTo>
                  <a:lnTo>
                    <a:pt x="360" y="579"/>
                  </a:lnTo>
                  <a:lnTo>
                    <a:pt x="352" y="585"/>
                  </a:lnTo>
                  <a:lnTo>
                    <a:pt x="346" y="591"/>
                  </a:lnTo>
                  <a:lnTo>
                    <a:pt x="340" y="598"/>
                  </a:lnTo>
                  <a:lnTo>
                    <a:pt x="335" y="606"/>
                  </a:lnTo>
                  <a:lnTo>
                    <a:pt x="331" y="615"/>
                  </a:lnTo>
                  <a:lnTo>
                    <a:pt x="329" y="625"/>
                  </a:lnTo>
                  <a:lnTo>
                    <a:pt x="327" y="635"/>
                  </a:lnTo>
                  <a:lnTo>
                    <a:pt x="327" y="647"/>
                  </a:lnTo>
                  <a:lnTo>
                    <a:pt x="318" y="646"/>
                  </a:lnTo>
                  <a:lnTo>
                    <a:pt x="306" y="645"/>
                  </a:lnTo>
                  <a:lnTo>
                    <a:pt x="300" y="645"/>
                  </a:lnTo>
                  <a:lnTo>
                    <a:pt x="295" y="645"/>
                  </a:lnTo>
                  <a:lnTo>
                    <a:pt x="289" y="646"/>
                  </a:lnTo>
                  <a:lnTo>
                    <a:pt x="286" y="64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758" name="Freeform 228"/>
            <p:cNvSpPr>
              <a:spLocks/>
            </p:cNvSpPr>
            <p:nvPr>
              <p:custDataLst>
                <p:tags r:id="rId150"/>
              </p:custDataLst>
            </p:nvPr>
          </p:nvSpPr>
          <p:spPr bwMode="auto">
            <a:xfrm>
              <a:off x="6113978" y="2490789"/>
              <a:ext cx="58670" cy="108663"/>
            </a:xfrm>
            <a:custGeom>
              <a:avLst/>
              <a:gdLst>
                <a:gd name="T0" fmla="*/ 49212 w 120"/>
                <a:gd name="T1" fmla="*/ 51782 h 173"/>
                <a:gd name="T2" fmla="*/ 37729 w 120"/>
                <a:gd name="T3" fmla="*/ 31383 h 173"/>
                <a:gd name="T4" fmla="*/ 28707 w 120"/>
                <a:gd name="T5" fmla="*/ 14645 h 173"/>
                <a:gd name="T6" fmla="*/ 24606 w 120"/>
                <a:gd name="T7" fmla="*/ 8369 h 173"/>
                <a:gd name="T8" fmla="*/ 21735 w 120"/>
                <a:gd name="T9" fmla="*/ 4184 h 173"/>
                <a:gd name="T10" fmla="*/ 19685 w 120"/>
                <a:gd name="T11" fmla="*/ 2092 h 173"/>
                <a:gd name="T12" fmla="*/ 18455 w 120"/>
                <a:gd name="T13" fmla="*/ 1046 h 173"/>
                <a:gd name="T14" fmla="*/ 17634 w 120"/>
                <a:gd name="T15" fmla="*/ 523 h 173"/>
                <a:gd name="T16" fmla="*/ 15994 w 120"/>
                <a:gd name="T17" fmla="*/ 0 h 173"/>
                <a:gd name="T18" fmla="*/ 13533 w 120"/>
                <a:gd name="T19" fmla="*/ 0 h 173"/>
                <a:gd name="T20" fmla="*/ 11073 w 120"/>
                <a:gd name="T21" fmla="*/ 523 h 173"/>
                <a:gd name="T22" fmla="*/ 9842 w 120"/>
                <a:gd name="T23" fmla="*/ 1569 h 173"/>
                <a:gd name="T24" fmla="*/ 8612 w 120"/>
                <a:gd name="T25" fmla="*/ 2615 h 173"/>
                <a:gd name="T26" fmla="*/ 7792 w 120"/>
                <a:gd name="T27" fmla="*/ 4184 h 173"/>
                <a:gd name="T28" fmla="*/ 6562 w 120"/>
                <a:gd name="T29" fmla="*/ 6277 h 173"/>
                <a:gd name="T30" fmla="*/ 6152 w 120"/>
                <a:gd name="T31" fmla="*/ 7846 h 173"/>
                <a:gd name="T32" fmla="*/ 6152 w 120"/>
                <a:gd name="T33" fmla="*/ 10461 h 173"/>
                <a:gd name="T34" fmla="*/ 5741 w 120"/>
                <a:gd name="T35" fmla="*/ 15691 h 173"/>
                <a:gd name="T36" fmla="*/ 4921 w 120"/>
                <a:gd name="T37" fmla="*/ 21968 h 173"/>
                <a:gd name="T38" fmla="*/ 4101 w 120"/>
                <a:gd name="T39" fmla="*/ 25106 h 173"/>
                <a:gd name="T40" fmla="*/ 3281 w 120"/>
                <a:gd name="T41" fmla="*/ 28244 h 173"/>
                <a:gd name="T42" fmla="*/ 1640 w 120"/>
                <a:gd name="T43" fmla="*/ 31906 h 173"/>
                <a:gd name="T44" fmla="*/ 0 w 120"/>
                <a:gd name="T45" fmla="*/ 35567 h 173"/>
                <a:gd name="T46" fmla="*/ 2051 w 120"/>
                <a:gd name="T47" fmla="*/ 42890 h 173"/>
                <a:gd name="T48" fmla="*/ 4101 w 120"/>
                <a:gd name="T49" fmla="*/ 51782 h 173"/>
                <a:gd name="T50" fmla="*/ 6152 w 120"/>
                <a:gd name="T51" fmla="*/ 60150 h 173"/>
                <a:gd name="T52" fmla="*/ 8202 w 120"/>
                <a:gd name="T53" fmla="*/ 67473 h 173"/>
                <a:gd name="T54" fmla="*/ 9842 w 120"/>
                <a:gd name="T55" fmla="*/ 70088 h 173"/>
                <a:gd name="T56" fmla="*/ 12303 w 120"/>
                <a:gd name="T57" fmla="*/ 72703 h 173"/>
                <a:gd name="T58" fmla="*/ 15174 w 120"/>
                <a:gd name="T59" fmla="*/ 75842 h 173"/>
                <a:gd name="T60" fmla="*/ 18865 w 120"/>
                <a:gd name="T61" fmla="*/ 78980 h 173"/>
                <a:gd name="T62" fmla="*/ 22145 w 120"/>
                <a:gd name="T63" fmla="*/ 82118 h 173"/>
                <a:gd name="T64" fmla="*/ 24606 w 120"/>
                <a:gd name="T65" fmla="*/ 85257 h 173"/>
                <a:gd name="T66" fmla="*/ 25426 w 120"/>
                <a:gd name="T67" fmla="*/ 86303 h 173"/>
                <a:gd name="T68" fmla="*/ 26657 w 120"/>
                <a:gd name="T69" fmla="*/ 87872 h 173"/>
                <a:gd name="T70" fmla="*/ 27067 w 120"/>
                <a:gd name="T71" fmla="*/ 88918 h 173"/>
                <a:gd name="T72" fmla="*/ 27477 w 120"/>
                <a:gd name="T73" fmla="*/ 90487 h 173"/>
                <a:gd name="T74" fmla="*/ 31168 w 120"/>
                <a:gd name="T75" fmla="*/ 87349 h 173"/>
                <a:gd name="T76" fmla="*/ 35269 w 120"/>
                <a:gd name="T77" fmla="*/ 83687 h 173"/>
                <a:gd name="T78" fmla="*/ 38139 w 120"/>
                <a:gd name="T79" fmla="*/ 79503 h 173"/>
                <a:gd name="T80" fmla="*/ 41420 w 120"/>
                <a:gd name="T81" fmla="*/ 74273 h 173"/>
                <a:gd name="T82" fmla="*/ 43471 w 120"/>
                <a:gd name="T83" fmla="*/ 69042 h 173"/>
                <a:gd name="T84" fmla="*/ 45931 w 120"/>
                <a:gd name="T85" fmla="*/ 63289 h 173"/>
                <a:gd name="T86" fmla="*/ 47572 w 120"/>
                <a:gd name="T87" fmla="*/ 57535 h 173"/>
                <a:gd name="T88" fmla="*/ 49212 w 120"/>
                <a:gd name="T89" fmla="*/ 51782 h 173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120" h="173">
                  <a:moveTo>
                    <a:pt x="120" y="99"/>
                  </a:moveTo>
                  <a:lnTo>
                    <a:pt x="92" y="60"/>
                  </a:lnTo>
                  <a:lnTo>
                    <a:pt x="70" y="28"/>
                  </a:lnTo>
                  <a:lnTo>
                    <a:pt x="60" y="16"/>
                  </a:lnTo>
                  <a:lnTo>
                    <a:pt x="53" y="8"/>
                  </a:lnTo>
                  <a:lnTo>
                    <a:pt x="48" y="4"/>
                  </a:lnTo>
                  <a:lnTo>
                    <a:pt x="45" y="2"/>
                  </a:lnTo>
                  <a:lnTo>
                    <a:pt x="43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7" y="1"/>
                  </a:lnTo>
                  <a:lnTo>
                    <a:pt x="24" y="3"/>
                  </a:lnTo>
                  <a:lnTo>
                    <a:pt x="21" y="5"/>
                  </a:lnTo>
                  <a:lnTo>
                    <a:pt x="19" y="8"/>
                  </a:lnTo>
                  <a:lnTo>
                    <a:pt x="16" y="12"/>
                  </a:lnTo>
                  <a:lnTo>
                    <a:pt x="15" y="15"/>
                  </a:lnTo>
                  <a:lnTo>
                    <a:pt x="15" y="20"/>
                  </a:lnTo>
                  <a:lnTo>
                    <a:pt x="14" y="30"/>
                  </a:lnTo>
                  <a:lnTo>
                    <a:pt x="12" y="42"/>
                  </a:lnTo>
                  <a:lnTo>
                    <a:pt x="10" y="48"/>
                  </a:lnTo>
                  <a:lnTo>
                    <a:pt x="8" y="54"/>
                  </a:lnTo>
                  <a:lnTo>
                    <a:pt x="4" y="61"/>
                  </a:lnTo>
                  <a:lnTo>
                    <a:pt x="0" y="68"/>
                  </a:lnTo>
                  <a:lnTo>
                    <a:pt x="5" y="82"/>
                  </a:lnTo>
                  <a:lnTo>
                    <a:pt x="10" y="99"/>
                  </a:lnTo>
                  <a:lnTo>
                    <a:pt x="15" y="115"/>
                  </a:lnTo>
                  <a:lnTo>
                    <a:pt x="20" y="129"/>
                  </a:lnTo>
                  <a:lnTo>
                    <a:pt x="24" y="134"/>
                  </a:lnTo>
                  <a:lnTo>
                    <a:pt x="30" y="139"/>
                  </a:lnTo>
                  <a:lnTo>
                    <a:pt x="37" y="145"/>
                  </a:lnTo>
                  <a:lnTo>
                    <a:pt x="46" y="151"/>
                  </a:lnTo>
                  <a:lnTo>
                    <a:pt x="54" y="157"/>
                  </a:lnTo>
                  <a:lnTo>
                    <a:pt x="60" y="163"/>
                  </a:lnTo>
                  <a:lnTo>
                    <a:pt x="62" y="165"/>
                  </a:lnTo>
                  <a:lnTo>
                    <a:pt x="65" y="168"/>
                  </a:lnTo>
                  <a:lnTo>
                    <a:pt x="66" y="170"/>
                  </a:lnTo>
                  <a:lnTo>
                    <a:pt x="67" y="173"/>
                  </a:lnTo>
                  <a:lnTo>
                    <a:pt x="76" y="167"/>
                  </a:lnTo>
                  <a:lnTo>
                    <a:pt x="86" y="160"/>
                  </a:lnTo>
                  <a:lnTo>
                    <a:pt x="93" y="152"/>
                  </a:lnTo>
                  <a:lnTo>
                    <a:pt x="101" y="142"/>
                  </a:lnTo>
                  <a:lnTo>
                    <a:pt x="106" y="132"/>
                  </a:lnTo>
                  <a:lnTo>
                    <a:pt x="112" y="121"/>
                  </a:lnTo>
                  <a:lnTo>
                    <a:pt x="116" y="110"/>
                  </a:lnTo>
                  <a:lnTo>
                    <a:pt x="120" y="9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759" name="Freeform 229"/>
            <p:cNvSpPr>
              <a:spLocks/>
            </p:cNvSpPr>
            <p:nvPr>
              <p:custDataLst>
                <p:tags r:id="rId151"/>
              </p:custDataLst>
            </p:nvPr>
          </p:nvSpPr>
          <p:spPr bwMode="auto">
            <a:xfrm>
              <a:off x="5765741" y="2298243"/>
              <a:ext cx="100307" cy="70537"/>
            </a:xfrm>
            <a:custGeom>
              <a:avLst/>
              <a:gdLst>
                <a:gd name="T0" fmla="*/ 84137 w 200"/>
                <a:gd name="T1" fmla="*/ 32965 h 98"/>
                <a:gd name="T2" fmla="*/ 82034 w 200"/>
                <a:gd name="T3" fmla="*/ 33565 h 98"/>
                <a:gd name="T4" fmla="*/ 78247 w 200"/>
                <a:gd name="T5" fmla="*/ 35962 h 98"/>
                <a:gd name="T6" fmla="*/ 74461 w 200"/>
                <a:gd name="T7" fmla="*/ 38959 h 98"/>
                <a:gd name="T8" fmla="*/ 69834 w 200"/>
                <a:gd name="T9" fmla="*/ 43754 h 98"/>
                <a:gd name="T10" fmla="*/ 65206 w 200"/>
                <a:gd name="T11" fmla="*/ 47949 h 98"/>
                <a:gd name="T12" fmla="*/ 60999 w 200"/>
                <a:gd name="T13" fmla="*/ 52145 h 98"/>
                <a:gd name="T14" fmla="*/ 57634 w 200"/>
                <a:gd name="T15" fmla="*/ 55741 h 98"/>
                <a:gd name="T16" fmla="*/ 55951 w 200"/>
                <a:gd name="T17" fmla="*/ 58738 h 98"/>
                <a:gd name="T18" fmla="*/ 53427 w 200"/>
                <a:gd name="T19" fmla="*/ 58738 h 98"/>
                <a:gd name="T20" fmla="*/ 51324 w 200"/>
                <a:gd name="T21" fmla="*/ 58738 h 98"/>
                <a:gd name="T22" fmla="*/ 48799 w 200"/>
                <a:gd name="T23" fmla="*/ 58139 h 98"/>
                <a:gd name="T24" fmla="*/ 46696 w 200"/>
                <a:gd name="T25" fmla="*/ 56940 h 98"/>
                <a:gd name="T26" fmla="*/ 44593 w 200"/>
                <a:gd name="T27" fmla="*/ 55741 h 98"/>
                <a:gd name="T28" fmla="*/ 43331 w 200"/>
                <a:gd name="T29" fmla="*/ 52744 h 98"/>
                <a:gd name="T30" fmla="*/ 42489 w 200"/>
                <a:gd name="T31" fmla="*/ 49148 h 98"/>
                <a:gd name="T32" fmla="*/ 42069 w 200"/>
                <a:gd name="T33" fmla="*/ 44353 h 98"/>
                <a:gd name="T34" fmla="*/ 38282 w 200"/>
                <a:gd name="T35" fmla="*/ 47949 h 98"/>
                <a:gd name="T36" fmla="*/ 34496 w 200"/>
                <a:gd name="T37" fmla="*/ 51546 h 98"/>
                <a:gd name="T38" fmla="*/ 32813 w 200"/>
                <a:gd name="T39" fmla="*/ 53943 h 98"/>
                <a:gd name="T40" fmla="*/ 30289 w 200"/>
                <a:gd name="T41" fmla="*/ 55741 h 98"/>
                <a:gd name="T42" fmla="*/ 28186 w 200"/>
                <a:gd name="T43" fmla="*/ 57539 h 98"/>
                <a:gd name="T44" fmla="*/ 25241 w 200"/>
                <a:gd name="T45" fmla="*/ 58738 h 98"/>
                <a:gd name="T46" fmla="*/ 16407 w 200"/>
                <a:gd name="T47" fmla="*/ 58738 h 98"/>
                <a:gd name="T48" fmla="*/ 14303 w 200"/>
                <a:gd name="T49" fmla="*/ 58738 h 98"/>
                <a:gd name="T50" fmla="*/ 11779 w 200"/>
                <a:gd name="T51" fmla="*/ 56940 h 98"/>
                <a:gd name="T52" fmla="*/ 9255 w 200"/>
                <a:gd name="T53" fmla="*/ 55142 h 98"/>
                <a:gd name="T54" fmla="*/ 6310 w 200"/>
                <a:gd name="T55" fmla="*/ 53344 h 98"/>
                <a:gd name="T56" fmla="*/ 3786 w 200"/>
                <a:gd name="T57" fmla="*/ 50946 h 98"/>
                <a:gd name="T58" fmla="*/ 1683 w 200"/>
                <a:gd name="T59" fmla="*/ 48549 h 98"/>
                <a:gd name="T60" fmla="*/ 421 w 200"/>
                <a:gd name="T61" fmla="*/ 46151 h 98"/>
                <a:gd name="T62" fmla="*/ 0 w 200"/>
                <a:gd name="T63" fmla="*/ 44353 h 98"/>
                <a:gd name="T64" fmla="*/ 2103 w 200"/>
                <a:gd name="T65" fmla="*/ 42555 h 98"/>
                <a:gd name="T66" fmla="*/ 4207 w 200"/>
                <a:gd name="T67" fmla="*/ 40158 h 98"/>
                <a:gd name="T68" fmla="*/ 5890 w 200"/>
                <a:gd name="T69" fmla="*/ 35962 h 98"/>
                <a:gd name="T70" fmla="*/ 8414 w 200"/>
                <a:gd name="T71" fmla="*/ 31766 h 98"/>
                <a:gd name="T72" fmla="*/ 9676 w 200"/>
                <a:gd name="T73" fmla="*/ 26972 h 98"/>
                <a:gd name="T74" fmla="*/ 11358 w 200"/>
                <a:gd name="T75" fmla="*/ 22177 h 98"/>
                <a:gd name="T76" fmla="*/ 12621 w 200"/>
                <a:gd name="T77" fmla="*/ 16782 h 98"/>
                <a:gd name="T78" fmla="*/ 13883 w 200"/>
                <a:gd name="T79" fmla="*/ 11388 h 98"/>
                <a:gd name="T80" fmla="*/ 27765 w 200"/>
                <a:gd name="T81" fmla="*/ 8391 h 98"/>
                <a:gd name="T82" fmla="*/ 43331 w 200"/>
                <a:gd name="T83" fmla="*/ 5394 h 98"/>
                <a:gd name="T84" fmla="*/ 60999 w 200"/>
                <a:gd name="T85" fmla="*/ 2397 h 98"/>
                <a:gd name="T86" fmla="*/ 81192 w 200"/>
                <a:gd name="T87" fmla="*/ 0 h 98"/>
                <a:gd name="T88" fmla="*/ 69834 w 200"/>
                <a:gd name="T89" fmla="*/ 18580 h 98"/>
                <a:gd name="T90" fmla="*/ 69834 w 200"/>
                <a:gd name="T91" fmla="*/ 20378 h 98"/>
                <a:gd name="T92" fmla="*/ 68992 w 200"/>
                <a:gd name="T93" fmla="*/ 22177 h 98"/>
                <a:gd name="T94" fmla="*/ 68151 w 200"/>
                <a:gd name="T95" fmla="*/ 23375 h 98"/>
                <a:gd name="T96" fmla="*/ 67730 w 200"/>
                <a:gd name="T97" fmla="*/ 24574 h 98"/>
                <a:gd name="T98" fmla="*/ 66048 w 200"/>
                <a:gd name="T99" fmla="*/ 26972 h 98"/>
                <a:gd name="T100" fmla="*/ 65627 w 200"/>
                <a:gd name="T101" fmla="*/ 28170 h 98"/>
                <a:gd name="T102" fmla="*/ 65627 w 200"/>
                <a:gd name="T103" fmla="*/ 29369 h 98"/>
                <a:gd name="T104" fmla="*/ 66048 w 200"/>
                <a:gd name="T105" fmla="*/ 29968 h 98"/>
                <a:gd name="T106" fmla="*/ 66889 w 200"/>
                <a:gd name="T107" fmla="*/ 29968 h 98"/>
                <a:gd name="T108" fmla="*/ 68572 w 200"/>
                <a:gd name="T109" fmla="*/ 30568 h 98"/>
                <a:gd name="T110" fmla="*/ 74461 w 200"/>
                <a:gd name="T111" fmla="*/ 31766 h 98"/>
                <a:gd name="T112" fmla="*/ 84137 w 200"/>
                <a:gd name="T113" fmla="*/ 32965 h 9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200" h="98">
                  <a:moveTo>
                    <a:pt x="200" y="55"/>
                  </a:moveTo>
                  <a:lnTo>
                    <a:pt x="195" y="56"/>
                  </a:lnTo>
                  <a:lnTo>
                    <a:pt x="186" y="60"/>
                  </a:lnTo>
                  <a:lnTo>
                    <a:pt x="177" y="65"/>
                  </a:lnTo>
                  <a:lnTo>
                    <a:pt x="166" y="73"/>
                  </a:lnTo>
                  <a:lnTo>
                    <a:pt x="155" y="80"/>
                  </a:lnTo>
                  <a:lnTo>
                    <a:pt x="145" y="87"/>
                  </a:lnTo>
                  <a:lnTo>
                    <a:pt x="137" y="93"/>
                  </a:lnTo>
                  <a:lnTo>
                    <a:pt x="133" y="98"/>
                  </a:lnTo>
                  <a:lnTo>
                    <a:pt x="127" y="98"/>
                  </a:lnTo>
                  <a:lnTo>
                    <a:pt x="122" y="98"/>
                  </a:lnTo>
                  <a:lnTo>
                    <a:pt x="116" y="97"/>
                  </a:lnTo>
                  <a:lnTo>
                    <a:pt x="111" y="95"/>
                  </a:lnTo>
                  <a:lnTo>
                    <a:pt x="106" y="93"/>
                  </a:lnTo>
                  <a:lnTo>
                    <a:pt x="103" y="88"/>
                  </a:lnTo>
                  <a:lnTo>
                    <a:pt x="101" y="82"/>
                  </a:lnTo>
                  <a:lnTo>
                    <a:pt x="100" y="74"/>
                  </a:lnTo>
                  <a:lnTo>
                    <a:pt x="91" y="80"/>
                  </a:lnTo>
                  <a:lnTo>
                    <a:pt x="82" y="86"/>
                  </a:lnTo>
                  <a:lnTo>
                    <a:pt x="78" y="90"/>
                  </a:lnTo>
                  <a:lnTo>
                    <a:pt x="72" y="93"/>
                  </a:lnTo>
                  <a:lnTo>
                    <a:pt x="67" y="96"/>
                  </a:lnTo>
                  <a:lnTo>
                    <a:pt x="60" y="98"/>
                  </a:lnTo>
                  <a:lnTo>
                    <a:pt x="39" y="98"/>
                  </a:lnTo>
                  <a:lnTo>
                    <a:pt x="34" y="98"/>
                  </a:lnTo>
                  <a:lnTo>
                    <a:pt x="28" y="95"/>
                  </a:lnTo>
                  <a:lnTo>
                    <a:pt x="22" y="92"/>
                  </a:lnTo>
                  <a:lnTo>
                    <a:pt x="15" y="89"/>
                  </a:lnTo>
                  <a:lnTo>
                    <a:pt x="9" y="85"/>
                  </a:lnTo>
                  <a:lnTo>
                    <a:pt x="4" y="81"/>
                  </a:lnTo>
                  <a:lnTo>
                    <a:pt x="1" y="77"/>
                  </a:lnTo>
                  <a:lnTo>
                    <a:pt x="0" y="74"/>
                  </a:lnTo>
                  <a:lnTo>
                    <a:pt x="5" y="71"/>
                  </a:lnTo>
                  <a:lnTo>
                    <a:pt x="10" y="67"/>
                  </a:lnTo>
                  <a:lnTo>
                    <a:pt x="14" y="60"/>
                  </a:lnTo>
                  <a:lnTo>
                    <a:pt x="20" y="53"/>
                  </a:lnTo>
                  <a:lnTo>
                    <a:pt x="23" y="45"/>
                  </a:lnTo>
                  <a:lnTo>
                    <a:pt x="27" y="37"/>
                  </a:lnTo>
                  <a:lnTo>
                    <a:pt x="30" y="28"/>
                  </a:lnTo>
                  <a:lnTo>
                    <a:pt x="33" y="19"/>
                  </a:lnTo>
                  <a:lnTo>
                    <a:pt x="66" y="14"/>
                  </a:lnTo>
                  <a:lnTo>
                    <a:pt x="103" y="9"/>
                  </a:lnTo>
                  <a:lnTo>
                    <a:pt x="145" y="4"/>
                  </a:lnTo>
                  <a:lnTo>
                    <a:pt x="193" y="0"/>
                  </a:lnTo>
                  <a:lnTo>
                    <a:pt x="166" y="31"/>
                  </a:lnTo>
                  <a:lnTo>
                    <a:pt x="166" y="34"/>
                  </a:lnTo>
                  <a:lnTo>
                    <a:pt x="164" y="37"/>
                  </a:lnTo>
                  <a:lnTo>
                    <a:pt x="162" y="39"/>
                  </a:lnTo>
                  <a:lnTo>
                    <a:pt x="161" y="41"/>
                  </a:lnTo>
                  <a:lnTo>
                    <a:pt x="157" y="45"/>
                  </a:lnTo>
                  <a:lnTo>
                    <a:pt x="156" y="47"/>
                  </a:lnTo>
                  <a:lnTo>
                    <a:pt x="156" y="49"/>
                  </a:lnTo>
                  <a:lnTo>
                    <a:pt x="157" y="50"/>
                  </a:lnTo>
                  <a:lnTo>
                    <a:pt x="159" y="50"/>
                  </a:lnTo>
                  <a:lnTo>
                    <a:pt x="163" y="51"/>
                  </a:lnTo>
                  <a:lnTo>
                    <a:pt x="177" y="53"/>
                  </a:lnTo>
                  <a:lnTo>
                    <a:pt x="200" y="5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760" name="Freeform 230"/>
            <p:cNvSpPr>
              <a:spLocks/>
            </p:cNvSpPr>
            <p:nvPr>
              <p:custDataLst>
                <p:tags r:id="rId152"/>
              </p:custDataLst>
            </p:nvPr>
          </p:nvSpPr>
          <p:spPr bwMode="auto">
            <a:xfrm>
              <a:off x="5691928" y="2080917"/>
              <a:ext cx="100308" cy="87693"/>
            </a:xfrm>
            <a:custGeom>
              <a:avLst/>
              <a:gdLst>
                <a:gd name="T0" fmla="*/ 0 w 186"/>
                <a:gd name="T1" fmla="*/ 57597 h 142"/>
                <a:gd name="T2" fmla="*/ 905 w 186"/>
                <a:gd name="T3" fmla="*/ 59654 h 142"/>
                <a:gd name="T4" fmla="*/ 1357 w 186"/>
                <a:gd name="T5" fmla="*/ 55026 h 142"/>
                <a:gd name="T6" fmla="*/ 1357 w 186"/>
                <a:gd name="T7" fmla="*/ 47826 h 142"/>
                <a:gd name="T8" fmla="*/ 4071 w 186"/>
                <a:gd name="T9" fmla="*/ 42169 h 142"/>
                <a:gd name="T10" fmla="*/ 7690 w 186"/>
                <a:gd name="T11" fmla="*/ 35484 h 142"/>
                <a:gd name="T12" fmla="*/ 9047 w 186"/>
                <a:gd name="T13" fmla="*/ 28799 h 142"/>
                <a:gd name="T14" fmla="*/ 10404 w 186"/>
                <a:gd name="T15" fmla="*/ 23656 h 142"/>
                <a:gd name="T16" fmla="*/ 12666 w 186"/>
                <a:gd name="T17" fmla="*/ 19028 h 142"/>
                <a:gd name="T18" fmla="*/ 15832 w 186"/>
                <a:gd name="T19" fmla="*/ 16456 h 142"/>
                <a:gd name="T20" fmla="*/ 18547 w 186"/>
                <a:gd name="T21" fmla="*/ 19542 h 142"/>
                <a:gd name="T22" fmla="*/ 19451 w 186"/>
                <a:gd name="T23" fmla="*/ 25199 h 142"/>
                <a:gd name="T24" fmla="*/ 21261 w 186"/>
                <a:gd name="T25" fmla="*/ 29827 h 142"/>
                <a:gd name="T26" fmla="*/ 24880 w 186"/>
                <a:gd name="T27" fmla="*/ 33427 h 142"/>
                <a:gd name="T28" fmla="*/ 39355 w 186"/>
                <a:gd name="T29" fmla="*/ 34455 h 142"/>
                <a:gd name="T30" fmla="*/ 35736 w 186"/>
                <a:gd name="T31" fmla="*/ 21085 h 142"/>
                <a:gd name="T32" fmla="*/ 31212 w 186"/>
                <a:gd name="T33" fmla="*/ 18513 h 142"/>
                <a:gd name="T34" fmla="*/ 28498 w 186"/>
                <a:gd name="T35" fmla="*/ 15428 h 142"/>
                <a:gd name="T36" fmla="*/ 27594 w 186"/>
                <a:gd name="T37" fmla="*/ 11828 h 142"/>
                <a:gd name="T38" fmla="*/ 31665 w 186"/>
                <a:gd name="T39" fmla="*/ 8742 h 142"/>
                <a:gd name="T40" fmla="*/ 39355 w 186"/>
                <a:gd name="T41" fmla="*/ 7200 h 142"/>
                <a:gd name="T42" fmla="*/ 44331 w 186"/>
                <a:gd name="T43" fmla="*/ 5143 h 142"/>
                <a:gd name="T44" fmla="*/ 50211 w 186"/>
                <a:gd name="T45" fmla="*/ 3086 h 142"/>
                <a:gd name="T46" fmla="*/ 58806 w 186"/>
                <a:gd name="T47" fmla="*/ 1543 h 142"/>
                <a:gd name="T48" fmla="*/ 66496 w 186"/>
                <a:gd name="T49" fmla="*/ 514 h 142"/>
                <a:gd name="T50" fmla="*/ 71924 w 186"/>
                <a:gd name="T51" fmla="*/ 1029 h 142"/>
                <a:gd name="T52" fmla="*/ 79614 w 186"/>
                <a:gd name="T53" fmla="*/ 514 h 142"/>
                <a:gd name="T54" fmla="*/ 82781 w 186"/>
                <a:gd name="T55" fmla="*/ 5143 h 142"/>
                <a:gd name="T56" fmla="*/ 80519 w 186"/>
                <a:gd name="T57" fmla="*/ 13371 h 142"/>
                <a:gd name="T58" fmla="*/ 76448 w 186"/>
                <a:gd name="T59" fmla="*/ 20570 h 142"/>
                <a:gd name="T60" fmla="*/ 71924 w 186"/>
                <a:gd name="T61" fmla="*/ 26227 h 142"/>
                <a:gd name="T62" fmla="*/ 70115 w 186"/>
                <a:gd name="T63" fmla="*/ 32398 h 142"/>
                <a:gd name="T64" fmla="*/ 69210 w 186"/>
                <a:gd name="T65" fmla="*/ 39084 h 142"/>
                <a:gd name="T66" fmla="*/ 54283 w 186"/>
                <a:gd name="T67" fmla="*/ 73025 h 142"/>
                <a:gd name="T68" fmla="*/ 36188 w 186"/>
                <a:gd name="T69" fmla="*/ 62740 h 142"/>
                <a:gd name="T70" fmla="*/ 15832 w 186"/>
                <a:gd name="T71" fmla="*/ 60168 h 142"/>
                <a:gd name="T72" fmla="*/ 3619 w 186"/>
                <a:gd name="T73" fmla="*/ 58111 h 14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86" h="142">
                  <a:moveTo>
                    <a:pt x="0" y="111"/>
                  </a:moveTo>
                  <a:lnTo>
                    <a:pt x="0" y="112"/>
                  </a:lnTo>
                  <a:lnTo>
                    <a:pt x="1" y="114"/>
                  </a:lnTo>
                  <a:lnTo>
                    <a:pt x="2" y="116"/>
                  </a:lnTo>
                  <a:lnTo>
                    <a:pt x="7" y="117"/>
                  </a:lnTo>
                  <a:lnTo>
                    <a:pt x="3" y="107"/>
                  </a:lnTo>
                  <a:lnTo>
                    <a:pt x="2" y="99"/>
                  </a:lnTo>
                  <a:lnTo>
                    <a:pt x="3" y="93"/>
                  </a:lnTo>
                  <a:lnTo>
                    <a:pt x="6" y="87"/>
                  </a:lnTo>
                  <a:lnTo>
                    <a:pt x="9" y="82"/>
                  </a:lnTo>
                  <a:lnTo>
                    <a:pt x="13" y="76"/>
                  </a:lnTo>
                  <a:lnTo>
                    <a:pt x="17" y="69"/>
                  </a:lnTo>
                  <a:lnTo>
                    <a:pt x="20" y="61"/>
                  </a:lnTo>
                  <a:lnTo>
                    <a:pt x="20" y="56"/>
                  </a:lnTo>
                  <a:lnTo>
                    <a:pt x="21" y="51"/>
                  </a:lnTo>
                  <a:lnTo>
                    <a:pt x="23" y="46"/>
                  </a:lnTo>
                  <a:lnTo>
                    <a:pt x="25" y="42"/>
                  </a:lnTo>
                  <a:lnTo>
                    <a:pt x="28" y="37"/>
                  </a:lnTo>
                  <a:lnTo>
                    <a:pt x="31" y="34"/>
                  </a:lnTo>
                  <a:lnTo>
                    <a:pt x="35" y="32"/>
                  </a:lnTo>
                  <a:lnTo>
                    <a:pt x="40" y="31"/>
                  </a:lnTo>
                  <a:lnTo>
                    <a:pt x="41" y="38"/>
                  </a:lnTo>
                  <a:lnTo>
                    <a:pt x="41" y="43"/>
                  </a:lnTo>
                  <a:lnTo>
                    <a:pt x="43" y="49"/>
                  </a:lnTo>
                  <a:lnTo>
                    <a:pt x="45" y="54"/>
                  </a:lnTo>
                  <a:lnTo>
                    <a:pt x="47" y="58"/>
                  </a:lnTo>
                  <a:lnTo>
                    <a:pt x="51" y="62"/>
                  </a:lnTo>
                  <a:lnTo>
                    <a:pt x="55" y="65"/>
                  </a:lnTo>
                  <a:lnTo>
                    <a:pt x="59" y="67"/>
                  </a:lnTo>
                  <a:lnTo>
                    <a:pt x="87" y="67"/>
                  </a:lnTo>
                  <a:lnTo>
                    <a:pt x="87" y="43"/>
                  </a:lnTo>
                  <a:lnTo>
                    <a:pt x="79" y="41"/>
                  </a:lnTo>
                  <a:lnTo>
                    <a:pt x="74" y="38"/>
                  </a:lnTo>
                  <a:lnTo>
                    <a:pt x="69" y="36"/>
                  </a:lnTo>
                  <a:lnTo>
                    <a:pt x="66" y="33"/>
                  </a:lnTo>
                  <a:lnTo>
                    <a:pt x="63" y="30"/>
                  </a:lnTo>
                  <a:lnTo>
                    <a:pt x="62" y="27"/>
                  </a:lnTo>
                  <a:lnTo>
                    <a:pt x="61" y="23"/>
                  </a:lnTo>
                  <a:lnTo>
                    <a:pt x="59" y="18"/>
                  </a:lnTo>
                  <a:lnTo>
                    <a:pt x="70" y="17"/>
                  </a:lnTo>
                  <a:lnTo>
                    <a:pt x="79" y="16"/>
                  </a:lnTo>
                  <a:lnTo>
                    <a:pt x="87" y="14"/>
                  </a:lnTo>
                  <a:lnTo>
                    <a:pt x="92" y="12"/>
                  </a:lnTo>
                  <a:lnTo>
                    <a:pt x="98" y="10"/>
                  </a:lnTo>
                  <a:lnTo>
                    <a:pt x="103" y="8"/>
                  </a:lnTo>
                  <a:lnTo>
                    <a:pt x="111" y="6"/>
                  </a:lnTo>
                  <a:lnTo>
                    <a:pt x="120" y="6"/>
                  </a:lnTo>
                  <a:lnTo>
                    <a:pt x="130" y="3"/>
                  </a:lnTo>
                  <a:lnTo>
                    <a:pt x="140" y="0"/>
                  </a:lnTo>
                  <a:lnTo>
                    <a:pt x="147" y="1"/>
                  </a:lnTo>
                  <a:lnTo>
                    <a:pt x="154" y="2"/>
                  </a:lnTo>
                  <a:lnTo>
                    <a:pt x="159" y="2"/>
                  </a:lnTo>
                  <a:lnTo>
                    <a:pt x="165" y="2"/>
                  </a:lnTo>
                  <a:lnTo>
                    <a:pt x="176" y="1"/>
                  </a:lnTo>
                  <a:lnTo>
                    <a:pt x="186" y="0"/>
                  </a:lnTo>
                  <a:lnTo>
                    <a:pt x="183" y="10"/>
                  </a:lnTo>
                  <a:lnTo>
                    <a:pt x="181" y="19"/>
                  </a:lnTo>
                  <a:lnTo>
                    <a:pt x="178" y="26"/>
                  </a:lnTo>
                  <a:lnTo>
                    <a:pt x="176" y="32"/>
                  </a:lnTo>
                  <a:lnTo>
                    <a:pt x="169" y="40"/>
                  </a:lnTo>
                  <a:lnTo>
                    <a:pt x="165" y="45"/>
                  </a:lnTo>
                  <a:lnTo>
                    <a:pt x="159" y="51"/>
                  </a:lnTo>
                  <a:lnTo>
                    <a:pt x="156" y="58"/>
                  </a:lnTo>
                  <a:lnTo>
                    <a:pt x="155" y="63"/>
                  </a:lnTo>
                  <a:lnTo>
                    <a:pt x="154" y="69"/>
                  </a:lnTo>
                  <a:lnTo>
                    <a:pt x="153" y="76"/>
                  </a:lnTo>
                  <a:lnTo>
                    <a:pt x="153" y="86"/>
                  </a:lnTo>
                  <a:lnTo>
                    <a:pt x="120" y="142"/>
                  </a:lnTo>
                  <a:lnTo>
                    <a:pt x="93" y="123"/>
                  </a:lnTo>
                  <a:lnTo>
                    <a:pt x="80" y="122"/>
                  </a:lnTo>
                  <a:lnTo>
                    <a:pt x="52" y="119"/>
                  </a:lnTo>
                  <a:lnTo>
                    <a:pt x="35" y="117"/>
                  </a:lnTo>
                  <a:lnTo>
                    <a:pt x="20" y="115"/>
                  </a:lnTo>
                  <a:lnTo>
                    <a:pt x="8" y="113"/>
                  </a:lnTo>
                  <a:lnTo>
                    <a:pt x="0" y="111"/>
                  </a:lnTo>
                </a:path>
              </a:pathLst>
            </a:custGeom>
            <a:solidFill>
              <a:schemeClr val="accent2">
                <a:lumMod val="5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761" name="Freeform 231"/>
            <p:cNvSpPr>
              <a:spLocks/>
            </p:cNvSpPr>
            <p:nvPr>
              <p:custDataLst>
                <p:tags r:id="rId153"/>
              </p:custDataLst>
            </p:nvPr>
          </p:nvSpPr>
          <p:spPr bwMode="auto">
            <a:xfrm>
              <a:off x="5669216" y="2157171"/>
              <a:ext cx="100308" cy="68630"/>
            </a:xfrm>
            <a:custGeom>
              <a:avLst/>
              <a:gdLst>
                <a:gd name="T0" fmla="*/ 84138 w 192"/>
                <a:gd name="T1" fmla="*/ 33201 h 105"/>
                <a:gd name="T2" fmla="*/ 82823 w 192"/>
                <a:gd name="T3" fmla="*/ 33746 h 105"/>
                <a:gd name="T4" fmla="*/ 80632 w 192"/>
                <a:gd name="T5" fmla="*/ 34290 h 105"/>
                <a:gd name="T6" fmla="*/ 78879 w 192"/>
                <a:gd name="T7" fmla="*/ 34834 h 105"/>
                <a:gd name="T8" fmla="*/ 77565 w 192"/>
                <a:gd name="T9" fmla="*/ 36467 h 105"/>
                <a:gd name="T10" fmla="*/ 73621 w 192"/>
                <a:gd name="T11" fmla="*/ 39189 h 105"/>
                <a:gd name="T12" fmla="*/ 70115 w 192"/>
                <a:gd name="T13" fmla="*/ 42999 h 105"/>
                <a:gd name="T14" fmla="*/ 67486 w 192"/>
                <a:gd name="T15" fmla="*/ 46809 h 105"/>
                <a:gd name="T16" fmla="*/ 64418 w 192"/>
                <a:gd name="T17" fmla="*/ 50619 h 105"/>
                <a:gd name="T18" fmla="*/ 62665 w 192"/>
                <a:gd name="T19" fmla="*/ 53884 h 105"/>
                <a:gd name="T20" fmla="*/ 60912 w 192"/>
                <a:gd name="T21" fmla="*/ 57150 h 105"/>
                <a:gd name="T22" fmla="*/ 52586 w 192"/>
                <a:gd name="T23" fmla="*/ 52796 h 105"/>
                <a:gd name="T24" fmla="*/ 44698 w 192"/>
                <a:gd name="T25" fmla="*/ 48441 h 105"/>
                <a:gd name="T26" fmla="*/ 37687 w 192"/>
                <a:gd name="T27" fmla="*/ 43543 h 105"/>
                <a:gd name="T28" fmla="*/ 30237 w 192"/>
                <a:gd name="T29" fmla="*/ 38644 h 105"/>
                <a:gd name="T30" fmla="*/ 23226 w 192"/>
                <a:gd name="T31" fmla="*/ 33201 h 105"/>
                <a:gd name="T32" fmla="*/ 15776 w 192"/>
                <a:gd name="T33" fmla="*/ 28847 h 105"/>
                <a:gd name="T34" fmla="*/ 8326 w 192"/>
                <a:gd name="T35" fmla="*/ 23949 h 105"/>
                <a:gd name="T36" fmla="*/ 0 w 192"/>
                <a:gd name="T37" fmla="*/ 20139 h 105"/>
                <a:gd name="T38" fmla="*/ 0 w 192"/>
                <a:gd name="T39" fmla="*/ 7076 h 105"/>
                <a:gd name="T40" fmla="*/ 3068 w 192"/>
                <a:gd name="T41" fmla="*/ 3810 h 105"/>
                <a:gd name="T42" fmla="*/ 7012 w 192"/>
                <a:gd name="T43" fmla="*/ 2177 h 105"/>
                <a:gd name="T44" fmla="*/ 12708 w 192"/>
                <a:gd name="T45" fmla="*/ 544 h 105"/>
                <a:gd name="T46" fmla="*/ 17529 w 192"/>
                <a:gd name="T47" fmla="*/ 0 h 105"/>
                <a:gd name="T48" fmla="*/ 26293 w 192"/>
                <a:gd name="T49" fmla="*/ 1089 h 105"/>
                <a:gd name="T50" fmla="*/ 40754 w 192"/>
                <a:gd name="T51" fmla="*/ 2721 h 105"/>
                <a:gd name="T52" fmla="*/ 48642 w 192"/>
                <a:gd name="T53" fmla="*/ 3810 h 105"/>
                <a:gd name="T54" fmla="*/ 56092 w 192"/>
                <a:gd name="T55" fmla="*/ 3810 h 105"/>
                <a:gd name="T56" fmla="*/ 62665 w 192"/>
                <a:gd name="T57" fmla="*/ 3810 h 105"/>
                <a:gd name="T58" fmla="*/ 67047 w 192"/>
                <a:gd name="T59" fmla="*/ 3266 h 105"/>
                <a:gd name="T60" fmla="*/ 67924 w 192"/>
                <a:gd name="T61" fmla="*/ 5987 h 105"/>
                <a:gd name="T62" fmla="*/ 69677 w 192"/>
                <a:gd name="T63" fmla="*/ 9253 h 105"/>
                <a:gd name="T64" fmla="*/ 70553 w 192"/>
                <a:gd name="T65" fmla="*/ 10886 h 105"/>
                <a:gd name="T66" fmla="*/ 71868 w 192"/>
                <a:gd name="T67" fmla="*/ 12519 h 105"/>
                <a:gd name="T68" fmla="*/ 72306 w 192"/>
                <a:gd name="T69" fmla="*/ 14696 h 105"/>
                <a:gd name="T70" fmla="*/ 72744 w 192"/>
                <a:gd name="T71" fmla="*/ 16873 h 105"/>
                <a:gd name="T72" fmla="*/ 74497 w 192"/>
                <a:gd name="T73" fmla="*/ 17417 h 105"/>
                <a:gd name="T74" fmla="*/ 77565 w 192"/>
                <a:gd name="T75" fmla="*/ 17961 h 105"/>
                <a:gd name="T76" fmla="*/ 78879 w 192"/>
                <a:gd name="T77" fmla="*/ 18506 h 105"/>
                <a:gd name="T78" fmla="*/ 80194 w 192"/>
                <a:gd name="T79" fmla="*/ 18506 h 105"/>
                <a:gd name="T80" fmla="*/ 82385 w 192"/>
                <a:gd name="T81" fmla="*/ 17961 h 105"/>
                <a:gd name="T82" fmla="*/ 84138 w 192"/>
                <a:gd name="T83" fmla="*/ 16873 h 105"/>
                <a:gd name="T84" fmla="*/ 84138 w 192"/>
                <a:gd name="T85" fmla="*/ 33201 h 10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92" h="105">
                  <a:moveTo>
                    <a:pt x="192" y="61"/>
                  </a:moveTo>
                  <a:lnTo>
                    <a:pt x="189" y="62"/>
                  </a:lnTo>
                  <a:lnTo>
                    <a:pt x="184" y="63"/>
                  </a:lnTo>
                  <a:lnTo>
                    <a:pt x="180" y="64"/>
                  </a:lnTo>
                  <a:lnTo>
                    <a:pt x="177" y="67"/>
                  </a:lnTo>
                  <a:lnTo>
                    <a:pt x="168" y="72"/>
                  </a:lnTo>
                  <a:lnTo>
                    <a:pt x="160" y="79"/>
                  </a:lnTo>
                  <a:lnTo>
                    <a:pt x="154" y="86"/>
                  </a:lnTo>
                  <a:lnTo>
                    <a:pt x="147" y="93"/>
                  </a:lnTo>
                  <a:lnTo>
                    <a:pt x="143" y="99"/>
                  </a:lnTo>
                  <a:lnTo>
                    <a:pt x="139" y="105"/>
                  </a:lnTo>
                  <a:lnTo>
                    <a:pt x="120" y="97"/>
                  </a:lnTo>
                  <a:lnTo>
                    <a:pt x="102" y="89"/>
                  </a:lnTo>
                  <a:lnTo>
                    <a:pt x="86" y="80"/>
                  </a:lnTo>
                  <a:lnTo>
                    <a:pt x="69" y="71"/>
                  </a:lnTo>
                  <a:lnTo>
                    <a:pt x="53" y="61"/>
                  </a:lnTo>
                  <a:lnTo>
                    <a:pt x="36" y="53"/>
                  </a:lnTo>
                  <a:lnTo>
                    <a:pt x="19" y="44"/>
                  </a:lnTo>
                  <a:lnTo>
                    <a:pt x="0" y="37"/>
                  </a:lnTo>
                  <a:lnTo>
                    <a:pt x="0" y="13"/>
                  </a:lnTo>
                  <a:lnTo>
                    <a:pt x="7" y="7"/>
                  </a:lnTo>
                  <a:lnTo>
                    <a:pt x="16" y="4"/>
                  </a:lnTo>
                  <a:lnTo>
                    <a:pt x="29" y="1"/>
                  </a:lnTo>
                  <a:lnTo>
                    <a:pt x="40" y="0"/>
                  </a:lnTo>
                  <a:lnTo>
                    <a:pt x="60" y="2"/>
                  </a:lnTo>
                  <a:lnTo>
                    <a:pt x="93" y="5"/>
                  </a:lnTo>
                  <a:lnTo>
                    <a:pt x="111" y="7"/>
                  </a:lnTo>
                  <a:lnTo>
                    <a:pt x="128" y="7"/>
                  </a:lnTo>
                  <a:lnTo>
                    <a:pt x="143" y="7"/>
                  </a:lnTo>
                  <a:lnTo>
                    <a:pt x="153" y="6"/>
                  </a:lnTo>
                  <a:lnTo>
                    <a:pt x="155" y="11"/>
                  </a:lnTo>
                  <a:lnTo>
                    <a:pt x="159" y="17"/>
                  </a:lnTo>
                  <a:lnTo>
                    <a:pt x="161" y="20"/>
                  </a:lnTo>
                  <a:lnTo>
                    <a:pt x="164" y="23"/>
                  </a:lnTo>
                  <a:lnTo>
                    <a:pt x="165" y="27"/>
                  </a:lnTo>
                  <a:lnTo>
                    <a:pt x="166" y="31"/>
                  </a:lnTo>
                  <a:lnTo>
                    <a:pt x="170" y="32"/>
                  </a:lnTo>
                  <a:lnTo>
                    <a:pt x="177" y="33"/>
                  </a:lnTo>
                  <a:lnTo>
                    <a:pt x="180" y="34"/>
                  </a:lnTo>
                  <a:lnTo>
                    <a:pt x="183" y="34"/>
                  </a:lnTo>
                  <a:lnTo>
                    <a:pt x="188" y="33"/>
                  </a:lnTo>
                  <a:lnTo>
                    <a:pt x="192" y="31"/>
                  </a:lnTo>
                  <a:lnTo>
                    <a:pt x="192" y="6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762" name="Freeform 232"/>
            <p:cNvSpPr>
              <a:spLocks/>
            </p:cNvSpPr>
            <p:nvPr>
              <p:custDataLst>
                <p:tags r:id="rId154"/>
              </p:custDataLst>
            </p:nvPr>
          </p:nvSpPr>
          <p:spPr bwMode="auto">
            <a:xfrm>
              <a:off x="6575774" y="2822497"/>
              <a:ext cx="39744" cy="158229"/>
            </a:xfrm>
            <a:custGeom>
              <a:avLst/>
              <a:gdLst>
                <a:gd name="T0" fmla="*/ 13752 w 80"/>
                <a:gd name="T1" fmla="*/ 0 h 254"/>
                <a:gd name="T2" fmla="*/ 15418 w 80"/>
                <a:gd name="T3" fmla="*/ 1037 h 254"/>
                <a:gd name="T4" fmla="*/ 16669 w 80"/>
                <a:gd name="T5" fmla="*/ 2075 h 254"/>
                <a:gd name="T6" fmla="*/ 17919 w 80"/>
                <a:gd name="T7" fmla="*/ 3631 h 254"/>
                <a:gd name="T8" fmla="*/ 19169 w 80"/>
                <a:gd name="T9" fmla="*/ 5187 h 254"/>
                <a:gd name="T10" fmla="*/ 21669 w 80"/>
                <a:gd name="T11" fmla="*/ 9337 h 254"/>
                <a:gd name="T12" fmla="*/ 23336 w 80"/>
                <a:gd name="T13" fmla="*/ 12969 h 254"/>
                <a:gd name="T14" fmla="*/ 25836 w 80"/>
                <a:gd name="T15" fmla="*/ 16600 h 254"/>
                <a:gd name="T16" fmla="*/ 27920 w 80"/>
                <a:gd name="T17" fmla="*/ 19712 h 254"/>
                <a:gd name="T18" fmla="*/ 29170 w 80"/>
                <a:gd name="T19" fmla="*/ 20750 h 254"/>
                <a:gd name="T20" fmla="*/ 30420 w 80"/>
                <a:gd name="T21" fmla="*/ 21787 h 254"/>
                <a:gd name="T22" fmla="*/ 31670 w 80"/>
                <a:gd name="T23" fmla="*/ 22306 h 254"/>
                <a:gd name="T24" fmla="*/ 33337 w 80"/>
                <a:gd name="T25" fmla="*/ 22825 h 254"/>
                <a:gd name="T26" fmla="*/ 33337 w 80"/>
                <a:gd name="T27" fmla="*/ 27494 h 254"/>
                <a:gd name="T28" fmla="*/ 33337 w 80"/>
                <a:gd name="T29" fmla="*/ 32162 h 254"/>
                <a:gd name="T30" fmla="*/ 22086 w 80"/>
                <a:gd name="T31" fmla="*/ 131762 h 254"/>
                <a:gd name="T32" fmla="*/ 0 w 80"/>
                <a:gd name="T33" fmla="*/ 48244 h 254"/>
                <a:gd name="T34" fmla="*/ 1667 w 80"/>
                <a:gd name="T35" fmla="*/ 45650 h 254"/>
                <a:gd name="T36" fmla="*/ 4584 w 80"/>
                <a:gd name="T37" fmla="*/ 36831 h 254"/>
                <a:gd name="T38" fmla="*/ 7084 w 80"/>
                <a:gd name="T39" fmla="*/ 29569 h 254"/>
                <a:gd name="T40" fmla="*/ 9168 w 80"/>
                <a:gd name="T41" fmla="*/ 21269 h 254"/>
                <a:gd name="T42" fmla="*/ 11668 w 80"/>
                <a:gd name="T43" fmla="*/ 11931 h 254"/>
                <a:gd name="T44" fmla="*/ 13752 w 80"/>
                <a:gd name="T45" fmla="*/ 0 h 25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80" h="254">
                  <a:moveTo>
                    <a:pt x="33" y="0"/>
                  </a:moveTo>
                  <a:lnTo>
                    <a:pt x="37" y="2"/>
                  </a:lnTo>
                  <a:lnTo>
                    <a:pt x="40" y="4"/>
                  </a:lnTo>
                  <a:lnTo>
                    <a:pt x="43" y="7"/>
                  </a:lnTo>
                  <a:lnTo>
                    <a:pt x="46" y="10"/>
                  </a:lnTo>
                  <a:lnTo>
                    <a:pt x="52" y="18"/>
                  </a:lnTo>
                  <a:lnTo>
                    <a:pt x="56" y="25"/>
                  </a:lnTo>
                  <a:lnTo>
                    <a:pt x="62" y="32"/>
                  </a:lnTo>
                  <a:lnTo>
                    <a:pt x="67" y="38"/>
                  </a:lnTo>
                  <a:lnTo>
                    <a:pt x="70" y="40"/>
                  </a:lnTo>
                  <a:lnTo>
                    <a:pt x="73" y="42"/>
                  </a:lnTo>
                  <a:lnTo>
                    <a:pt x="76" y="43"/>
                  </a:lnTo>
                  <a:lnTo>
                    <a:pt x="80" y="44"/>
                  </a:lnTo>
                  <a:lnTo>
                    <a:pt x="80" y="53"/>
                  </a:lnTo>
                  <a:lnTo>
                    <a:pt x="80" y="62"/>
                  </a:lnTo>
                  <a:lnTo>
                    <a:pt x="53" y="254"/>
                  </a:lnTo>
                  <a:lnTo>
                    <a:pt x="0" y="93"/>
                  </a:lnTo>
                  <a:lnTo>
                    <a:pt x="4" y="88"/>
                  </a:lnTo>
                  <a:lnTo>
                    <a:pt x="11" y="71"/>
                  </a:lnTo>
                  <a:lnTo>
                    <a:pt x="17" y="57"/>
                  </a:lnTo>
                  <a:lnTo>
                    <a:pt x="22" y="41"/>
                  </a:lnTo>
                  <a:lnTo>
                    <a:pt x="28" y="23"/>
                  </a:lnTo>
                  <a:lnTo>
                    <a:pt x="3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763" name="Freeform 233"/>
            <p:cNvSpPr>
              <a:spLocks/>
            </p:cNvSpPr>
            <p:nvPr>
              <p:custDataLst>
                <p:tags r:id="rId155"/>
              </p:custDataLst>
            </p:nvPr>
          </p:nvSpPr>
          <p:spPr bwMode="auto">
            <a:xfrm>
              <a:off x="6515210" y="2885409"/>
              <a:ext cx="83274" cy="156323"/>
            </a:xfrm>
            <a:custGeom>
              <a:avLst/>
              <a:gdLst>
                <a:gd name="T0" fmla="*/ 47682 w 167"/>
                <a:gd name="T1" fmla="*/ 0 h 259"/>
                <a:gd name="T2" fmla="*/ 69850 w 167"/>
                <a:gd name="T3" fmla="*/ 77904 h 259"/>
                <a:gd name="T4" fmla="*/ 50610 w 167"/>
                <a:gd name="T5" fmla="*/ 130175 h 259"/>
                <a:gd name="T6" fmla="*/ 47264 w 167"/>
                <a:gd name="T7" fmla="*/ 130175 h 259"/>
                <a:gd name="T8" fmla="*/ 44754 w 167"/>
                <a:gd name="T9" fmla="*/ 129170 h 259"/>
                <a:gd name="T10" fmla="*/ 41826 w 167"/>
                <a:gd name="T11" fmla="*/ 127662 h 259"/>
                <a:gd name="T12" fmla="*/ 39735 w 167"/>
                <a:gd name="T13" fmla="*/ 126154 h 259"/>
                <a:gd name="T14" fmla="*/ 37225 w 167"/>
                <a:gd name="T15" fmla="*/ 123139 h 259"/>
                <a:gd name="T16" fmla="*/ 35552 w 167"/>
                <a:gd name="T17" fmla="*/ 120625 h 259"/>
                <a:gd name="T18" fmla="*/ 33461 w 167"/>
                <a:gd name="T19" fmla="*/ 118112 h 259"/>
                <a:gd name="T20" fmla="*/ 31788 w 167"/>
                <a:gd name="T21" fmla="*/ 115097 h 259"/>
                <a:gd name="T22" fmla="*/ 28860 w 167"/>
                <a:gd name="T23" fmla="*/ 109066 h 259"/>
                <a:gd name="T24" fmla="*/ 27187 w 167"/>
                <a:gd name="T25" fmla="*/ 103034 h 259"/>
                <a:gd name="T26" fmla="*/ 25932 w 167"/>
                <a:gd name="T27" fmla="*/ 97506 h 259"/>
                <a:gd name="T28" fmla="*/ 25932 w 167"/>
                <a:gd name="T29" fmla="*/ 92982 h 259"/>
                <a:gd name="T30" fmla="*/ 23004 w 167"/>
                <a:gd name="T31" fmla="*/ 92480 h 259"/>
                <a:gd name="T32" fmla="*/ 21331 w 167"/>
                <a:gd name="T33" fmla="*/ 91977 h 259"/>
                <a:gd name="T34" fmla="*/ 18822 w 167"/>
                <a:gd name="T35" fmla="*/ 91474 h 259"/>
                <a:gd name="T36" fmla="*/ 17567 w 167"/>
                <a:gd name="T37" fmla="*/ 90469 h 259"/>
                <a:gd name="T38" fmla="*/ 16312 w 167"/>
                <a:gd name="T39" fmla="*/ 88961 h 259"/>
                <a:gd name="T40" fmla="*/ 15057 w 167"/>
                <a:gd name="T41" fmla="*/ 87453 h 259"/>
                <a:gd name="T42" fmla="*/ 14221 w 167"/>
                <a:gd name="T43" fmla="*/ 85443 h 259"/>
                <a:gd name="T44" fmla="*/ 13384 w 167"/>
                <a:gd name="T45" fmla="*/ 83935 h 259"/>
                <a:gd name="T46" fmla="*/ 12548 w 167"/>
                <a:gd name="T47" fmla="*/ 79412 h 259"/>
                <a:gd name="T48" fmla="*/ 12130 w 167"/>
                <a:gd name="T49" fmla="*/ 74888 h 259"/>
                <a:gd name="T50" fmla="*/ 11711 w 167"/>
                <a:gd name="T51" fmla="*/ 70365 h 259"/>
                <a:gd name="T52" fmla="*/ 11711 w 167"/>
                <a:gd name="T53" fmla="*/ 64836 h 259"/>
                <a:gd name="T54" fmla="*/ 8784 w 167"/>
                <a:gd name="T55" fmla="*/ 64836 h 259"/>
                <a:gd name="T56" fmla="*/ 6692 w 167"/>
                <a:gd name="T57" fmla="*/ 63831 h 259"/>
                <a:gd name="T58" fmla="*/ 4601 w 167"/>
                <a:gd name="T59" fmla="*/ 62826 h 259"/>
                <a:gd name="T60" fmla="*/ 2928 w 167"/>
                <a:gd name="T61" fmla="*/ 60815 h 259"/>
                <a:gd name="T62" fmla="*/ 2091 w 167"/>
                <a:gd name="T63" fmla="*/ 58805 h 259"/>
                <a:gd name="T64" fmla="*/ 837 w 167"/>
                <a:gd name="T65" fmla="*/ 56292 h 259"/>
                <a:gd name="T66" fmla="*/ 0 w 167"/>
                <a:gd name="T67" fmla="*/ 53779 h 259"/>
                <a:gd name="T68" fmla="*/ 0 w 167"/>
                <a:gd name="T69" fmla="*/ 50763 h 259"/>
                <a:gd name="T70" fmla="*/ 0 w 167"/>
                <a:gd name="T71" fmla="*/ 37695 h 259"/>
                <a:gd name="T72" fmla="*/ 418 w 167"/>
                <a:gd name="T73" fmla="*/ 25130 h 259"/>
                <a:gd name="T74" fmla="*/ 5019 w 167"/>
                <a:gd name="T75" fmla="*/ 26136 h 259"/>
                <a:gd name="T76" fmla="*/ 9202 w 167"/>
                <a:gd name="T77" fmla="*/ 26638 h 259"/>
                <a:gd name="T78" fmla="*/ 13384 w 167"/>
                <a:gd name="T79" fmla="*/ 26638 h 259"/>
                <a:gd name="T80" fmla="*/ 17567 w 167"/>
                <a:gd name="T81" fmla="*/ 26136 h 259"/>
                <a:gd name="T82" fmla="*/ 20913 w 167"/>
                <a:gd name="T83" fmla="*/ 25633 h 259"/>
                <a:gd name="T84" fmla="*/ 24259 w 167"/>
                <a:gd name="T85" fmla="*/ 24628 h 259"/>
                <a:gd name="T86" fmla="*/ 27605 w 167"/>
                <a:gd name="T87" fmla="*/ 23622 h 259"/>
                <a:gd name="T88" fmla="*/ 30533 w 167"/>
                <a:gd name="T89" fmla="*/ 22115 h 259"/>
                <a:gd name="T90" fmla="*/ 33043 w 167"/>
                <a:gd name="T91" fmla="*/ 20104 h 259"/>
                <a:gd name="T92" fmla="*/ 35971 w 167"/>
                <a:gd name="T93" fmla="*/ 18094 h 259"/>
                <a:gd name="T94" fmla="*/ 38062 w 167"/>
                <a:gd name="T95" fmla="*/ 15581 h 259"/>
                <a:gd name="T96" fmla="*/ 40572 w 167"/>
                <a:gd name="T97" fmla="*/ 13068 h 259"/>
                <a:gd name="T98" fmla="*/ 44754 w 167"/>
                <a:gd name="T99" fmla="*/ 6534 h 259"/>
                <a:gd name="T100" fmla="*/ 47682 w 167"/>
                <a:gd name="T101" fmla="*/ 0 h 25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167" h="259">
                  <a:moveTo>
                    <a:pt x="114" y="0"/>
                  </a:moveTo>
                  <a:lnTo>
                    <a:pt x="167" y="155"/>
                  </a:lnTo>
                  <a:lnTo>
                    <a:pt x="121" y="259"/>
                  </a:lnTo>
                  <a:lnTo>
                    <a:pt x="113" y="259"/>
                  </a:lnTo>
                  <a:lnTo>
                    <a:pt x="107" y="257"/>
                  </a:lnTo>
                  <a:lnTo>
                    <a:pt x="100" y="254"/>
                  </a:lnTo>
                  <a:lnTo>
                    <a:pt x="95" y="251"/>
                  </a:lnTo>
                  <a:lnTo>
                    <a:pt x="89" y="245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6" y="229"/>
                  </a:lnTo>
                  <a:lnTo>
                    <a:pt x="69" y="217"/>
                  </a:lnTo>
                  <a:lnTo>
                    <a:pt x="65" y="205"/>
                  </a:lnTo>
                  <a:lnTo>
                    <a:pt x="62" y="194"/>
                  </a:lnTo>
                  <a:lnTo>
                    <a:pt x="62" y="185"/>
                  </a:lnTo>
                  <a:lnTo>
                    <a:pt x="55" y="184"/>
                  </a:lnTo>
                  <a:lnTo>
                    <a:pt x="51" y="183"/>
                  </a:lnTo>
                  <a:lnTo>
                    <a:pt x="45" y="182"/>
                  </a:lnTo>
                  <a:lnTo>
                    <a:pt x="42" y="180"/>
                  </a:lnTo>
                  <a:lnTo>
                    <a:pt x="39" y="177"/>
                  </a:lnTo>
                  <a:lnTo>
                    <a:pt x="36" y="174"/>
                  </a:lnTo>
                  <a:lnTo>
                    <a:pt x="34" y="170"/>
                  </a:lnTo>
                  <a:lnTo>
                    <a:pt x="32" y="167"/>
                  </a:lnTo>
                  <a:lnTo>
                    <a:pt x="30" y="158"/>
                  </a:lnTo>
                  <a:lnTo>
                    <a:pt x="29" y="149"/>
                  </a:lnTo>
                  <a:lnTo>
                    <a:pt x="28" y="140"/>
                  </a:lnTo>
                  <a:lnTo>
                    <a:pt x="28" y="129"/>
                  </a:lnTo>
                  <a:lnTo>
                    <a:pt x="21" y="129"/>
                  </a:lnTo>
                  <a:lnTo>
                    <a:pt x="16" y="127"/>
                  </a:lnTo>
                  <a:lnTo>
                    <a:pt x="11" y="125"/>
                  </a:lnTo>
                  <a:lnTo>
                    <a:pt x="7" y="121"/>
                  </a:lnTo>
                  <a:lnTo>
                    <a:pt x="5" y="117"/>
                  </a:lnTo>
                  <a:lnTo>
                    <a:pt x="2" y="112"/>
                  </a:lnTo>
                  <a:lnTo>
                    <a:pt x="0" y="107"/>
                  </a:lnTo>
                  <a:lnTo>
                    <a:pt x="0" y="101"/>
                  </a:lnTo>
                  <a:lnTo>
                    <a:pt x="0" y="75"/>
                  </a:lnTo>
                  <a:lnTo>
                    <a:pt x="1" y="50"/>
                  </a:lnTo>
                  <a:lnTo>
                    <a:pt x="12" y="52"/>
                  </a:lnTo>
                  <a:lnTo>
                    <a:pt x="22" y="53"/>
                  </a:lnTo>
                  <a:lnTo>
                    <a:pt x="32" y="53"/>
                  </a:lnTo>
                  <a:lnTo>
                    <a:pt x="42" y="52"/>
                  </a:lnTo>
                  <a:lnTo>
                    <a:pt x="50" y="51"/>
                  </a:lnTo>
                  <a:lnTo>
                    <a:pt x="58" y="49"/>
                  </a:lnTo>
                  <a:lnTo>
                    <a:pt x="66" y="47"/>
                  </a:lnTo>
                  <a:lnTo>
                    <a:pt x="73" y="44"/>
                  </a:lnTo>
                  <a:lnTo>
                    <a:pt x="79" y="40"/>
                  </a:lnTo>
                  <a:lnTo>
                    <a:pt x="86" y="36"/>
                  </a:lnTo>
                  <a:lnTo>
                    <a:pt x="91" y="31"/>
                  </a:lnTo>
                  <a:lnTo>
                    <a:pt x="97" y="26"/>
                  </a:lnTo>
                  <a:lnTo>
                    <a:pt x="107" y="13"/>
                  </a:lnTo>
                  <a:lnTo>
                    <a:pt x="114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764" name="Freeform 234"/>
            <p:cNvSpPr>
              <a:spLocks/>
            </p:cNvSpPr>
            <p:nvPr>
              <p:custDataLst>
                <p:tags r:id="rId156"/>
              </p:custDataLst>
            </p:nvPr>
          </p:nvSpPr>
          <p:spPr bwMode="auto">
            <a:xfrm>
              <a:off x="5324763" y="1989411"/>
              <a:ext cx="115449" cy="173481"/>
            </a:xfrm>
            <a:custGeom>
              <a:avLst/>
              <a:gdLst>
                <a:gd name="T0" fmla="*/ 79622 w 225"/>
                <a:gd name="T1" fmla="*/ 35454 h 273"/>
                <a:gd name="T2" fmla="*/ 74458 w 225"/>
                <a:gd name="T3" fmla="*/ 41275 h 273"/>
                <a:gd name="T4" fmla="*/ 68432 w 225"/>
                <a:gd name="T5" fmla="*/ 43392 h 273"/>
                <a:gd name="T6" fmla="*/ 70154 w 225"/>
                <a:gd name="T7" fmla="*/ 49213 h 273"/>
                <a:gd name="T8" fmla="*/ 74888 w 225"/>
                <a:gd name="T9" fmla="*/ 53446 h 273"/>
                <a:gd name="T10" fmla="*/ 83926 w 225"/>
                <a:gd name="T11" fmla="*/ 55563 h 273"/>
                <a:gd name="T12" fmla="*/ 96838 w 225"/>
                <a:gd name="T13" fmla="*/ 56092 h 273"/>
                <a:gd name="T14" fmla="*/ 96838 w 225"/>
                <a:gd name="T15" fmla="*/ 80434 h 273"/>
                <a:gd name="T16" fmla="*/ 96408 w 225"/>
                <a:gd name="T17" fmla="*/ 93134 h 273"/>
                <a:gd name="T18" fmla="*/ 92534 w 225"/>
                <a:gd name="T19" fmla="*/ 98955 h 273"/>
                <a:gd name="T20" fmla="*/ 84787 w 225"/>
                <a:gd name="T21" fmla="*/ 108480 h 273"/>
                <a:gd name="T22" fmla="*/ 82635 w 225"/>
                <a:gd name="T23" fmla="*/ 113242 h 273"/>
                <a:gd name="T24" fmla="*/ 77040 w 225"/>
                <a:gd name="T25" fmla="*/ 115359 h 273"/>
                <a:gd name="T26" fmla="*/ 70584 w 225"/>
                <a:gd name="T27" fmla="*/ 119063 h 273"/>
                <a:gd name="T28" fmla="*/ 68432 w 225"/>
                <a:gd name="T29" fmla="*/ 124884 h 273"/>
                <a:gd name="T30" fmla="*/ 60255 w 225"/>
                <a:gd name="T31" fmla="*/ 128059 h 273"/>
                <a:gd name="T32" fmla="*/ 55090 w 225"/>
                <a:gd name="T33" fmla="*/ 133350 h 273"/>
                <a:gd name="T34" fmla="*/ 43470 w 225"/>
                <a:gd name="T35" fmla="*/ 134938 h 273"/>
                <a:gd name="T36" fmla="*/ 25823 w 225"/>
                <a:gd name="T37" fmla="*/ 138113 h 273"/>
                <a:gd name="T38" fmla="*/ 8177 w 225"/>
                <a:gd name="T39" fmla="*/ 138113 h 273"/>
                <a:gd name="T40" fmla="*/ 0 w 225"/>
                <a:gd name="T41" fmla="*/ 114830 h 273"/>
                <a:gd name="T42" fmla="*/ 9038 w 225"/>
                <a:gd name="T43" fmla="*/ 112184 h 273"/>
                <a:gd name="T44" fmla="*/ 11190 w 225"/>
                <a:gd name="T45" fmla="*/ 108480 h 273"/>
                <a:gd name="T46" fmla="*/ 25823 w 225"/>
                <a:gd name="T47" fmla="*/ 106892 h 273"/>
                <a:gd name="T48" fmla="*/ 30988 w 225"/>
                <a:gd name="T49" fmla="*/ 102130 h 273"/>
                <a:gd name="T50" fmla="*/ 20659 w 225"/>
                <a:gd name="T51" fmla="*/ 104775 h 273"/>
                <a:gd name="T52" fmla="*/ 17216 w 225"/>
                <a:gd name="T53" fmla="*/ 104246 h 273"/>
                <a:gd name="T54" fmla="*/ 16785 w 225"/>
                <a:gd name="T55" fmla="*/ 99484 h 273"/>
                <a:gd name="T56" fmla="*/ 19798 w 225"/>
                <a:gd name="T57" fmla="*/ 91546 h 273"/>
                <a:gd name="T58" fmla="*/ 16785 w 225"/>
                <a:gd name="T59" fmla="*/ 84667 h 273"/>
                <a:gd name="T60" fmla="*/ 6025 w 225"/>
                <a:gd name="T61" fmla="*/ 79375 h 273"/>
                <a:gd name="T62" fmla="*/ 2582 w 225"/>
                <a:gd name="T63" fmla="*/ 68792 h 273"/>
                <a:gd name="T64" fmla="*/ 9469 w 225"/>
                <a:gd name="T65" fmla="*/ 60854 h 273"/>
                <a:gd name="T66" fmla="*/ 15064 w 225"/>
                <a:gd name="T67" fmla="*/ 53975 h 273"/>
                <a:gd name="T68" fmla="*/ 29267 w 225"/>
                <a:gd name="T69" fmla="*/ 49742 h 273"/>
                <a:gd name="T70" fmla="*/ 38735 w 225"/>
                <a:gd name="T71" fmla="*/ 49742 h 273"/>
                <a:gd name="T72" fmla="*/ 43039 w 225"/>
                <a:gd name="T73" fmla="*/ 46567 h 273"/>
                <a:gd name="T74" fmla="*/ 46482 w 225"/>
                <a:gd name="T75" fmla="*/ 27517 h 273"/>
                <a:gd name="T76" fmla="*/ 51647 w 225"/>
                <a:gd name="T77" fmla="*/ 16404 h 273"/>
                <a:gd name="T78" fmla="*/ 55951 w 225"/>
                <a:gd name="T79" fmla="*/ 10583 h 273"/>
                <a:gd name="T80" fmla="*/ 60685 w 225"/>
                <a:gd name="T81" fmla="*/ 3704 h 273"/>
                <a:gd name="T82" fmla="*/ 66711 w 225"/>
                <a:gd name="T83" fmla="*/ 529 h 273"/>
                <a:gd name="T84" fmla="*/ 77040 w 225"/>
                <a:gd name="T85" fmla="*/ 1588 h 273"/>
                <a:gd name="T86" fmla="*/ 83926 w 225"/>
                <a:gd name="T87" fmla="*/ 20108 h 273"/>
                <a:gd name="T88" fmla="*/ 84357 w 225"/>
                <a:gd name="T89" fmla="*/ 24871 h 273"/>
                <a:gd name="T90" fmla="*/ 81774 w 225"/>
                <a:gd name="T91" fmla="*/ 29633 h 273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225" h="273">
                  <a:moveTo>
                    <a:pt x="192" y="58"/>
                  </a:moveTo>
                  <a:lnTo>
                    <a:pt x="189" y="63"/>
                  </a:lnTo>
                  <a:lnTo>
                    <a:pt x="185" y="67"/>
                  </a:lnTo>
                  <a:lnTo>
                    <a:pt x="182" y="71"/>
                  </a:lnTo>
                  <a:lnTo>
                    <a:pt x="178" y="75"/>
                  </a:lnTo>
                  <a:lnTo>
                    <a:pt x="173" y="78"/>
                  </a:lnTo>
                  <a:lnTo>
                    <a:pt x="169" y="80"/>
                  </a:lnTo>
                  <a:lnTo>
                    <a:pt x="163" y="82"/>
                  </a:lnTo>
                  <a:lnTo>
                    <a:pt x="159" y="82"/>
                  </a:lnTo>
                  <a:lnTo>
                    <a:pt x="159" y="86"/>
                  </a:lnTo>
                  <a:lnTo>
                    <a:pt x="161" y="90"/>
                  </a:lnTo>
                  <a:lnTo>
                    <a:pt x="163" y="93"/>
                  </a:lnTo>
                  <a:lnTo>
                    <a:pt x="167" y="96"/>
                  </a:lnTo>
                  <a:lnTo>
                    <a:pt x="170" y="99"/>
                  </a:lnTo>
                  <a:lnTo>
                    <a:pt x="174" y="101"/>
                  </a:lnTo>
                  <a:lnTo>
                    <a:pt x="179" y="102"/>
                  </a:lnTo>
                  <a:lnTo>
                    <a:pt x="184" y="103"/>
                  </a:lnTo>
                  <a:lnTo>
                    <a:pt x="195" y="105"/>
                  </a:lnTo>
                  <a:lnTo>
                    <a:pt x="206" y="106"/>
                  </a:lnTo>
                  <a:lnTo>
                    <a:pt x="216" y="106"/>
                  </a:lnTo>
                  <a:lnTo>
                    <a:pt x="225" y="106"/>
                  </a:lnTo>
                  <a:lnTo>
                    <a:pt x="225" y="124"/>
                  </a:lnTo>
                  <a:lnTo>
                    <a:pt x="225" y="138"/>
                  </a:lnTo>
                  <a:lnTo>
                    <a:pt x="225" y="152"/>
                  </a:lnTo>
                  <a:lnTo>
                    <a:pt x="225" y="169"/>
                  </a:lnTo>
                  <a:lnTo>
                    <a:pt x="225" y="172"/>
                  </a:lnTo>
                  <a:lnTo>
                    <a:pt x="224" y="176"/>
                  </a:lnTo>
                  <a:lnTo>
                    <a:pt x="222" y="179"/>
                  </a:lnTo>
                  <a:lnTo>
                    <a:pt x="220" y="182"/>
                  </a:lnTo>
                  <a:lnTo>
                    <a:pt x="215" y="187"/>
                  </a:lnTo>
                  <a:lnTo>
                    <a:pt x="208" y="193"/>
                  </a:lnTo>
                  <a:lnTo>
                    <a:pt x="203" y="199"/>
                  </a:lnTo>
                  <a:lnTo>
                    <a:pt x="197" y="205"/>
                  </a:lnTo>
                  <a:lnTo>
                    <a:pt x="195" y="208"/>
                  </a:lnTo>
                  <a:lnTo>
                    <a:pt x="193" y="211"/>
                  </a:lnTo>
                  <a:lnTo>
                    <a:pt x="192" y="214"/>
                  </a:lnTo>
                  <a:lnTo>
                    <a:pt x="192" y="217"/>
                  </a:lnTo>
                  <a:lnTo>
                    <a:pt x="184" y="218"/>
                  </a:lnTo>
                  <a:lnTo>
                    <a:pt x="179" y="218"/>
                  </a:lnTo>
                  <a:lnTo>
                    <a:pt x="172" y="220"/>
                  </a:lnTo>
                  <a:lnTo>
                    <a:pt x="168" y="223"/>
                  </a:lnTo>
                  <a:lnTo>
                    <a:pt x="164" y="225"/>
                  </a:lnTo>
                  <a:lnTo>
                    <a:pt x="161" y="229"/>
                  </a:lnTo>
                  <a:lnTo>
                    <a:pt x="159" y="232"/>
                  </a:lnTo>
                  <a:lnTo>
                    <a:pt x="159" y="236"/>
                  </a:lnTo>
                  <a:lnTo>
                    <a:pt x="151" y="237"/>
                  </a:lnTo>
                  <a:lnTo>
                    <a:pt x="146" y="239"/>
                  </a:lnTo>
                  <a:lnTo>
                    <a:pt x="140" y="242"/>
                  </a:lnTo>
                  <a:lnTo>
                    <a:pt x="136" y="246"/>
                  </a:lnTo>
                  <a:lnTo>
                    <a:pt x="131" y="249"/>
                  </a:lnTo>
                  <a:lnTo>
                    <a:pt x="128" y="252"/>
                  </a:lnTo>
                  <a:lnTo>
                    <a:pt x="124" y="254"/>
                  </a:lnTo>
                  <a:lnTo>
                    <a:pt x="118" y="255"/>
                  </a:lnTo>
                  <a:lnTo>
                    <a:pt x="101" y="255"/>
                  </a:lnTo>
                  <a:lnTo>
                    <a:pt x="85" y="257"/>
                  </a:lnTo>
                  <a:lnTo>
                    <a:pt x="72" y="259"/>
                  </a:lnTo>
                  <a:lnTo>
                    <a:pt x="60" y="261"/>
                  </a:lnTo>
                  <a:lnTo>
                    <a:pt x="38" y="267"/>
                  </a:lnTo>
                  <a:lnTo>
                    <a:pt x="13" y="273"/>
                  </a:lnTo>
                  <a:lnTo>
                    <a:pt x="19" y="261"/>
                  </a:lnTo>
                  <a:lnTo>
                    <a:pt x="10" y="261"/>
                  </a:lnTo>
                  <a:lnTo>
                    <a:pt x="0" y="261"/>
                  </a:lnTo>
                  <a:lnTo>
                    <a:pt x="0" y="217"/>
                  </a:lnTo>
                  <a:lnTo>
                    <a:pt x="8" y="216"/>
                  </a:lnTo>
                  <a:lnTo>
                    <a:pt x="17" y="214"/>
                  </a:lnTo>
                  <a:lnTo>
                    <a:pt x="21" y="212"/>
                  </a:lnTo>
                  <a:lnTo>
                    <a:pt x="24" y="210"/>
                  </a:lnTo>
                  <a:lnTo>
                    <a:pt x="25" y="208"/>
                  </a:lnTo>
                  <a:lnTo>
                    <a:pt x="26" y="205"/>
                  </a:lnTo>
                  <a:lnTo>
                    <a:pt x="40" y="205"/>
                  </a:lnTo>
                  <a:lnTo>
                    <a:pt x="54" y="204"/>
                  </a:lnTo>
                  <a:lnTo>
                    <a:pt x="60" y="202"/>
                  </a:lnTo>
                  <a:lnTo>
                    <a:pt x="64" y="200"/>
                  </a:lnTo>
                  <a:lnTo>
                    <a:pt x="69" y="197"/>
                  </a:lnTo>
                  <a:lnTo>
                    <a:pt x="72" y="193"/>
                  </a:lnTo>
                  <a:lnTo>
                    <a:pt x="64" y="195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4" y="198"/>
                  </a:lnTo>
                  <a:lnTo>
                    <a:pt x="41" y="198"/>
                  </a:lnTo>
                  <a:lnTo>
                    <a:pt x="40" y="197"/>
                  </a:lnTo>
                  <a:lnTo>
                    <a:pt x="39" y="195"/>
                  </a:lnTo>
                  <a:lnTo>
                    <a:pt x="39" y="193"/>
                  </a:lnTo>
                  <a:lnTo>
                    <a:pt x="39" y="188"/>
                  </a:lnTo>
                  <a:lnTo>
                    <a:pt x="41" y="183"/>
                  </a:lnTo>
                  <a:lnTo>
                    <a:pt x="44" y="178"/>
                  </a:lnTo>
                  <a:lnTo>
                    <a:pt x="46" y="173"/>
                  </a:lnTo>
                  <a:lnTo>
                    <a:pt x="50" y="166"/>
                  </a:lnTo>
                  <a:lnTo>
                    <a:pt x="52" y="162"/>
                  </a:lnTo>
                  <a:lnTo>
                    <a:pt x="39" y="160"/>
                  </a:lnTo>
                  <a:lnTo>
                    <a:pt x="28" y="157"/>
                  </a:lnTo>
                  <a:lnTo>
                    <a:pt x="21" y="154"/>
                  </a:lnTo>
                  <a:lnTo>
                    <a:pt x="14" y="150"/>
                  </a:lnTo>
                  <a:lnTo>
                    <a:pt x="10" y="145"/>
                  </a:lnTo>
                  <a:lnTo>
                    <a:pt x="7" y="138"/>
                  </a:lnTo>
                  <a:lnTo>
                    <a:pt x="6" y="130"/>
                  </a:lnTo>
                  <a:lnTo>
                    <a:pt x="6" y="120"/>
                  </a:lnTo>
                  <a:lnTo>
                    <a:pt x="15" y="117"/>
                  </a:lnTo>
                  <a:lnTo>
                    <a:pt x="22" y="115"/>
                  </a:lnTo>
                  <a:lnTo>
                    <a:pt x="26" y="112"/>
                  </a:lnTo>
                  <a:lnTo>
                    <a:pt x="30" y="109"/>
                  </a:lnTo>
                  <a:lnTo>
                    <a:pt x="35" y="102"/>
                  </a:lnTo>
                  <a:lnTo>
                    <a:pt x="39" y="94"/>
                  </a:lnTo>
                  <a:lnTo>
                    <a:pt x="56" y="94"/>
                  </a:lnTo>
                  <a:lnTo>
                    <a:pt x="68" y="94"/>
                  </a:lnTo>
                  <a:lnTo>
                    <a:pt x="77" y="94"/>
                  </a:lnTo>
                  <a:lnTo>
                    <a:pt x="85" y="94"/>
                  </a:lnTo>
                  <a:lnTo>
                    <a:pt x="90" y="94"/>
                  </a:lnTo>
                  <a:lnTo>
                    <a:pt x="94" y="93"/>
                  </a:lnTo>
                  <a:lnTo>
                    <a:pt x="97" y="91"/>
                  </a:lnTo>
                  <a:lnTo>
                    <a:pt x="100" y="88"/>
                  </a:lnTo>
                  <a:lnTo>
                    <a:pt x="104" y="82"/>
                  </a:lnTo>
                  <a:lnTo>
                    <a:pt x="106" y="73"/>
                  </a:lnTo>
                  <a:lnTo>
                    <a:pt x="108" y="52"/>
                  </a:lnTo>
                  <a:lnTo>
                    <a:pt x="112" y="33"/>
                  </a:lnTo>
                  <a:lnTo>
                    <a:pt x="117" y="32"/>
                  </a:lnTo>
                  <a:lnTo>
                    <a:pt x="120" y="31"/>
                  </a:lnTo>
                  <a:lnTo>
                    <a:pt x="124" y="29"/>
                  </a:lnTo>
                  <a:lnTo>
                    <a:pt x="126" y="26"/>
                  </a:lnTo>
                  <a:lnTo>
                    <a:pt x="130" y="20"/>
                  </a:lnTo>
                  <a:lnTo>
                    <a:pt x="136" y="13"/>
                  </a:lnTo>
                  <a:lnTo>
                    <a:pt x="138" y="10"/>
                  </a:lnTo>
                  <a:lnTo>
                    <a:pt x="141" y="7"/>
                  </a:lnTo>
                  <a:lnTo>
                    <a:pt x="145" y="4"/>
                  </a:lnTo>
                  <a:lnTo>
                    <a:pt x="149" y="2"/>
                  </a:lnTo>
                  <a:lnTo>
                    <a:pt x="155" y="1"/>
                  </a:lnTo>
                  <a:lnTo>
                    <a:pt x="161" y="0"/>
                  </a:lnTo>
                  <a:lnTo>
                    <a:pt x="169" y="1"/>
                  </a:lnTo>
                  <a:lnTo>
                    <a:pt x="179" y="3"/>
                  </a:lnTo>
                  <a:lnTo>
                    <a:pt x="186" y="20"/>
                  </a:lnTo>
                  <a:lnTo>
                    <a:pt x="194" y="34"/>
                  </a:lnTo>
                  <a:lnTo>
                    <a:pt x="195" y="38"/>
                  </a:lnTo>
                  <a:lnTo>
                    <a:pt x="196" y="41"/>
                  </a:lnTo>
                  <a:lnTo>
                    <a:pt x="196" y="44"/>
                  </a:lnTo>
                  <a:lnTo>
                    <a:pt x="196" y="47"/>
                  </a:lnTo>
                  <a:lnTo>
                    <a:pt x="195" y="50"/>
                  </a:lnTo>
                  <a:lnTo>
                    <a:pt x="193" y="52"/>
                  </a:lnTo>
                  <a:lnTo>
                    <a:pt x="190" y="56"/>
                  </a:lnTo>
                  <a:lnTo>
                    <a:pt x="185" y="58"/>
                  </a:lnTo>
                  <a:lnTo>
                    <a:pt x="192" y="5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765" name="Freeform 235"/>
            <p:cNvSpPr>
              <a:spLocks/>
            </p:cNvSpPr>
            <p:nvPr>
              <p:custDataLst>
                <p:tags r:id="rId157"/>
              </p:custDataLst>
            </p:nvPr>
          </p:nvSpPr>
          <p:spPr bwMode="auto">
            <a:xfrm>
              <a:off x="5101436" y="3083672"/>
              <a:ext cx="365273" cy="468969"/>
            </a:xfrm>
            <a:custGeom>
              <a:avLst/>
              <a:gdLst>
                <a:gd name="T0" fmla="*/ 124140 w 232"/>
                <a:gd name="T1" fmla="*/ 387376 h 248"/>
                <a:gd name="T2" fmla="*/ 126781 w 232"/>
                <a:gd name="T3" fmla="*/ 382652 h 248"/>
                <a:gd name="T4" fmla="*/ 129423 w 232"/>
                <a:gd name="T5" fmla="*/ 374778 h 248"/>
                <a:gd name="T6" fmla="*/ 132064 w 232"/>
                <a:gd name="T7" fmla="*/ 365330 h 248"/>
                <a:gd name="T8" fmla="*/ 136026 w 232"/>
                <a:gd name="T9" fmla="*/ 363755 h 248"/>
                <a:gd name="T10" fmla="*/ 137346 w 232"/>
                <a:gd name="T11" fmla="*/ 374778 h 248"/>
                <a:gd name="T12" fmla="*/ 139988 w 232"/>
                <a:gd name="T13" fmla="*/ 379502 h 248"/>
                <a:gd name="T14" fmla="*/ 142629 w 232"/>
                <a:gd name="T15" fmla="*/ 381077 h 248"/>
                <a:gd name="T16" fmla="*/ 145270 w 232"/>
                <a:gd name="T17" fmla="*/ 381077 h 248"/>
                <a:gd name="T18" fmla="*/ 149232 w 232"/>
                <a:gd name="T19" fmla="*/ 379502 h 248"/>
                <a:gd name="T20" fmla="*/ 153194 w 232"/>
                <a:gd name="T21" fmla="*/ 374778 h 248"/>
                <a:gd name="T22" fmla="*/ 285258 w 232"/>
                <a:gd name="T23" fmla="*/ 368479 h 248"/>
                <a:gd name="T24" fmla="*/ 281296 w 232"/>
                <a:gd name="T25" fmla="*/ 321238 h 248"/>
                <a:gd name="T26" fmla="*/ 273372 w 232"/>
                <a:gd name="T27" fmla="*/ 217308 h 248"/>
                <a:gd name="T28" fmla="*/ 265448 w 232"/>
                <a:gd name="T29" fmla="*/ 114953 h 248"/>
                <a:gd name="T30" fmla="*/ 261486 w 232"/>
                <a:gd name="T31" fmla="*/ 67712 h 248"/>
                <a:gd name="T32" fmla="*/ 283937 w 232"/>
                <a:gd name="T33" fmla="*/ 69287 h 248"/>
                <a:gd name="T34" fmla="*/ 306388 w 232"/>
                <a:gd name="T35" fmla="*/ 72436 h 248"/>
                <a:gd name="T36" fmla="*/ 212623 w 232"/>
                <a:gd name="T37" fmla="*/ 3149 h 248"/>
                <a:gd name="T38" fmla="*/ 211302 w 232"/>
                <a:gd name="T39" fmla="*/ 12598 h 248"/>
                <a:gd name="T40" fmla="*/ 212623 w 232"/>
                <a:gd name="T41" fmla="*/ 28345 h 248"/>
                <a:gd name="T42" fmla="*/ 129423 w 232"/>
                <a:gd name="T43" fmla="*/ 37793 h 248"/>
                <a:gd name="T44" fmla="*/ 129423 w 232"/>
                <a:gd name="T45" fmla="*/ 116528 h 248"/>
                <a:gd name="T46" fmla="*/ 125461 w 232"/>
                <a:gd name="T47" fmla="*/ 119677 h 248"/>
                <a:gd name="T48" fmla="*/ 114896 w 232"/>
                <a:gd name="T49" fmla="*/ 122826 h 248"/>
                <a:gd name="T50" fmla="*/ 95086 w 232"/>
                <a:gd name="T51" fmla="*/ 129125 h 248"/>
                <a:gd name="T52" fmla="*/ 97727 w 232"/>
                <a:gd name="T53" fmla="*/ 138573 h 248"/>
                <a:gd name="T54" fmla="*/ 103010 w 232"/>
                <a:gd name="T55" fmla="*/ 151171 h 248"/>
                <a:gd name="T56" fmla="*/ 105651 w 232"/>
                <a:gd name="T57" fmla="*/ 165343 h 248"/>
                <a:gd name="T58" fmla="*/ 106972 w 232"/>
                <a:gd name="T59" fmla="*/ 181090 h 248"/>
                <a:gd name="T60" fmla="*/ 11886 w 232"/>
                <a:gd name="T61" fmla="*/ 187389 h 248"/>
                <a:gd name="T62" fmla="*/ 6603 w 232"/>
                <a:gd name="T63" fmla="*/ 204711 h 248"/>
                <a:gd name="T64" fmla="*/ 7924 w 232"/>
                <a:gd name="T65" fmla="*/ 225182 h 248"/>
                <a:gd name="T66" fmla="*/ 10565 w 232"/>
                <a:gd name="T67" fmla="*/ 244078 h 248"/>
                <a:gd name="T68" fmla="*/ 11886 w 232"/>
                <a:gd name="T69" fmla="*/ 264549 h 248"/>
                <a:gd name="T70" fmla="*/ 11886 w 232"/>
                <a:gd name="T71" fmla="*/ 286595 h 248"/>
                <a:gd name="T72" fmla="*/ 10565 w 232"/>
                <a:gd name="T73" fmla="*/ 305491 h 248"/>
                <a:gd name="T74" fmla="*/ 7924 w 232"/>
                <a:gd name="T75" fmla="*/ 324388 h 248"/>
                <a:gd name="T76" fmla="*/ 2641 w 232"/>
                <a:gd name="T77" fmla="*/ 340135 h 248"/>
                <a:gd name="T78" fmla="*/ 2641 w 232"/>
                <a:gd name="T79" fmla="*/ 344859 h 248"/>
                <a:gd name="T80" fmla="*/ 3962 w 232"/>
                <a:gd name="T81" fmla="*/ 346433 h 248"/>
                <a:gd name="T82" fmla="*/ 3962 w 232"/>
                <a:gd name="T83" fmla="*/ 349583 h 248"/>
                <a:gd name="T84" fmla="*/ 9244 w 232"/>
                <a:gd name="T85" fmla="*/ 341709 h 248"/>
                <a:gd name="T86" fmla="*/ 23771 w 232"/>
                <a:gd name="T87" fmla="*/ 335411 h 248"/>
                <a:gd name="T88" fmla="*/ 47543 w 232"/>
                <a:gd name="T89" fmla="*/ 325962 h 248"/>
                <a:gd name="T90" fmla="*/ 59429 w 232"/>
                <a:gd name="T91" fmla="*/ 327537 h 248"/>
                <a:gd name="T92" fmla="*/ 67353 w 232"/>
                <a:gd name="T93" fmla="*/ 333836 h 248"/>
                <a:gd name="T94" fmla="*/ 73956 w 232"/>
                <a:gd name="T95" fmla="*/ 336985 h 248"/>
                <a:gd name="T96" fmla="*/ 81880 w 232"/>
                <a:gd name="T97" fmla="*/ 338560 h 248"/>
                <a:gd name="T98" fmla="*/ 87162 w 232"/>
                <a:gd name="T99" fmla="*/ 344859 h 248"/>
                <a:gd name="T100" fmla="*/ 88483 w 232"/>
                <a:gd name="T101" fmla="*/ 354307 h 248"/>
                <a:gd name="T102" fmla="*/ 92445 w 232"/>
                <a:gd name="T103" fmla="*/ 363755 h 248"/>
                <a:gd name="T104" fmla="*/ 97727 w 232"/>
                <a:gd name="T105" fmla="*/ 370054 h 248"/>
                <a:gd name="T106" fmla="*/ 112254 w 232"/>
                <a:gd name="T107" fmla="*/ 382652 h 248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2" h="248">
                  <a:moveTo>
                    <a:pt x="91" y="248"/>
                  </a:moveTo>
                  <a:lnTo>
                    <a:pt x="94" y="246"/>
                  </a:lnTo>
                  <a:lnTo>
                    <a:pt x="95" y="245"/>
                  </a:lnTo>
                  <a:lnTo>
                    <a:pt x="96" y="243"/>
                  </a:lnTo>
                  <a:lnTo>
                    <a:pt x="97" y="240"/>
                  </a:lnTo>
                  <a:lnTo>
                    <a:pt x="98" y="238"/>
                  </a:lnTo>
                  <a:lnTo>
                    <a:pt x="99" y="235"/>
                  </a:lnTo>
                  <a:lnTo>
                    <a:pt x="100" y="232"/>
                  </a:lnTo>
                  <a:lnTo>
                    <a:pt x="103" y="230"/>
                  </a:lnTo>
                  <a:lnTo>
                    <a:pt x="103" y="231"/>
                  </a:lnTo>
                  <a:lnTo>
                    <a:pt x="103" y="236"/>
                  </a:lnTo>
                  <a:lnTo>
                    <a:pt x="104" y="238"/>
                  </a:lnTo>
                  <a:lnTo>
                    <a:pt x="105" y="240"/>
                  </a:lnTo>
                  <a:lnTo>
                    <a:pt x="106" y="241"/>
                  </a:lnTo>
                  <a:lnTo>
                    <a:pt x="107" y="241"/>
                  </a:lnTo>
                  <a:lnTo>
                    <a:pt x="108" y="242"/>
                  </a:lnTo>
                  <a:lnTo>
                    <a:pt x="109" y="242"/>
                  </a:lnTo>
                  <a:lnTo>
                    <a:pt x="110" y="242"/>
                  </a:lnTo>
                  <a:lnTo>
                    <a:pt x="112" y="241"/>
                  </a:lnTo>
                  <a:lnTo>
                    <a:pt x="113" y="241"/>
                  </a:lnTo>
                  <a:lnTo>
                    <a:pt x="114" y="240"/>
                  </a:lnTo>
                  <a:lnTo>
                    <a:pt x="116" y="238"/>
                  </a:lnTo>
                  <a:lnTo>
                    <a:pt x="118" y="236"/>
                  </a:lnTo>
                  <a:lnTo>
                    <a:pt x="216" y="234"/>
                  </a:lnTo>
                  <a:lnTo>
                    <a:pt x="215" y="225"/>
                  </a:lnTo>
                  <a:lnTo>
                    <a:pt x="213" y="204"/>
                  </a:lnTo>
                  <a:lnTo>
                    <a:pt x="210" y="173"/>
                  </a:lnTo>
                  <a:lnTo>
                    <a:pt x="207" y="138"/>
                  </a:lnTo>
                  <a:lnTo>
                    <a:pt x="204" y="103"/>
                  </a:lnTo>
                  <a:lnTo>
                    <a:pt x="201" y="73"/>
                  </a:lnTo>
                  <a:lnTo>
                    <a:pt x="199" y="51"/>
                  </a:lnTo>
                  <a:lnTo>
                    <a:pt x="198" y="43"/>
                  </a:lnTo>
                  <a:lnTo>
                    <a:pt x="203" y="43"/>
                  </a:lnTo>
                  <a:lnTo>
                    <a:pt x="215" y="44"/>
                  </a:lnTo>
                  <a:lnTo>
                    <a:pt x="226" y="45"/>
                  </a:lnTo>
                  <a:lnTo>
                    <a:pt x="232" y="46"/>
                  </a:lnTo>
                  <a:lnTo>
                    <a:pt x="161" y="0"/>
                  </a:lnTo>
                  <a:lnTo>
                    <a:pt x="161" y="2"/>
                  </a:lnTo>
                  <a:lnTo>
                    <a:pt x="160" y="5"/>
                  </a:lnTo>
                  <a:lnTo>
                    <a:pt x="160" y="8"/>
                  </a:lnTo>
                  <a:lnTo>
                    <a:pt x="161" y="11"/>
                  </a:lnTo>
                  <a:lnTo>
                    <a:pt x="161" y="18"/>
                  </a:lnTo>
                  <a:lnTo>
                    <a:pt x="161" y="24"/>
                  </a:lnTo>
                  <a:lnTo>
                    <a:pt x="98" y="24"/>
                  </a:lnTo>
                  <a:lnTo>
                    <a:pt x="94" y="22"/>
                  </a:lnTo>
                  <a:lnTo>
                    <a:pt x="98" y="74"/>
                  </a:lnTo>
                  <a:lnTo>
                    <a:pt x="97" y="75"/>
                  </a:lnTo>
                  <a:lnTo>
                    <a:pt x="95" y="76"/>
                  </a:lnTo>
                  <a:lnTo>
                    <a:pt x="91" y="77"/>
                  </a:lnTo>
                  <a:lnTo>
                    <a:pt x="87" y="78"/>
                  </a:lnTo>
                  <a:lnTo>
                    <a:pt x="78" y="80"/>
                  </a:lnTo>
                  <a:lnTo>
                    <a:pt x="72" y="82"/>
                  </a:lnTo>
                  <a:lnTo>
                    <a:pt x="73" y="85"/>
                  </a:lnTo>
                  <a:lnTo>
                    <a:pt x="74" y="88"/>
                  </a:lnTo>
                  <a:lnTo>
                    <a:pt x="76" y="92"/>
                  </a:lnTo>
                  <a:lnTo>
                    <a:pt x="78" y="96"/>
                  </a:lnTo>
                  <a:lnTo>
                    <a:pt x="79" y="99"/>
                  </a:lnTo>
                  <a:lnTo>
                    <a:pt x="80" y="105"/>
                  </a:lnTo>
                  <a:lnTo>
                    <a:pt x="80" y="112"/>
                  </a:lnTo>
                  <a:lnTo>
                    <a:pt x="81" y="115"/>
                  </a:lnTo>
                  <a:lnTo>
                    <a:pt x="13" y="115"/>
                  </a:lnTo>
                  <a:lnTo>
                    <a:pt x="9" y="119"/>
                  </a:lnTo>
                  <a:lnTo>
                    <a:pt x="4" y="123"/>
                  </a:lnTo>
                  <a:lnTo>
                    <a:pt x="5" y="130"/>
                  </a:lnTo>
                  <a:lnTo>
                    <a:pt x="5" y="137"/>
                  </a:lnTo>
                  <a:lnTo>
                    <a:pt x="6" y="143"/>
                  </a:lnTo>
                  <a:lnTo>
                    <a:pt x="7" y="149"/>
                  </a:lnTo>
                  <a:lnTo>
                    <a:pt x="8" y="155"/>
                  </a:lnTo>
                  <a:lnTo>
                    <a:pt x="8" y="161"/>
                  </a:lnTo>
                  <a:lnTo>
                    <a:pt x="9" y="168"/>
                  </a:lnTo>
                  <a:lnTo>
                    <a:pt x="9" y="176"/>
                  </a:lnTo>
                  <a:lnTo>
                    <a:pt x="9" y="182"/>
                  </a:lnTo>
                  <a:lnTo>
                    <a:pt x="8" y="188"/>
                  </a:lnTo>
                  <a:lnTo>
                    <a:pt x="8" y="194"/>
                  </a:lnTo>
                  <a:lnTo>
                    <a:pt x="7" y="200"/>
                  </a:lnTo>
                  <a:lnTo>
                    <a:pt x="6" y="206"/>
                  </a:lnTo>
                  <a:lnTo>
                    <a:pt x="4" y="211"/>
                  </a:lnTo>
                  <a:lnTo>
                    <a:pt x="2" y="216"/>
                  </a:lnTo>
                  <a:lnTo>
                    <a:pt x="0" y="221"/>
                  </a:lnTo>
                  <a:lnTo>
                    <a:pt x="2" y="219"/>
                  </a:lnTo>
                  <a:lnTo>
                    <a:pt x="3" y="219"/>
                  </a:lnTo>
                  <a:lnTo>
                    <a:pt x="3" y="220"/>
                  </a:lnTo>
                  <a:lnTo>
                    <a:pt x="3" y="221"/>
                  </a:lnTo>
                  <a:lnTo>
                    <a:pt x="3" y="222"/>
                  </a:lnTo>
                  <a:lnTo>
                    <a:pt x="4" y="217"/>
                  </a:lnTo>
                  <a:lnTo>
                    <a:pt x="7" y="217"/>
                  </a:lnTo>
                  <a:lnTo>
                    <a:pt x="12" y="215"/>
                  </a:lnTo>
                  <a:lnTo>
                    <a:pt x="18" y="213"/>
                  </a:lnTo>
                  <a:lnTo>
                    <a:pt x="25" y="211"/>
                  </a:lnTo>
                  <a:lnTo>
                    <a:pt x="36" y="207"/>
                  </a:lnTo>
                  <a:lnTo>
                    <a:pt x="41" y="205"/>
                  </a:lnTo>
                  <a:lnTo>
                    <a:pt x="45" y="208"/>
                  </a:lnTo>
                  <a:lnTo>
                    <a:pt x="48" y="210"/>
                  </a:lnTo>
                  <a:lnTo>
                    <a:pt x="51" y="212"/>
                  </a:lnTo>
                  <a:lnTo>
                    <a:pt x="53" y="213"/>
                  </a:lnTo>
                  <a:lnTo>
                    <a:pt x="56" y="214"/>
                  </a:lnTo>
                  <a:lnTo>
                    <a:pt x="59" y="215"/>
                  </a:lnTo>
                  <a:lnTo>
                    <a:pt x="62" y="215"/>
                  </a:lnTo>
                  <a:lnTo>
                    <a:pt x="66" y="215"/>
                  </a:lnTo>
                  <a:lnTo>
                    <a:pt x="66" y="219"/>
                  </a:lnTo>
                  <a:lnTo>
                    <a:pt x="66" y="222"/>
                  </a:lnTo>
                  <a:lnTo>
                    <a:pt x="67" y="225"/>
                  </a:lnTo>
                  <a:lnTo>
                    <a:pt x="69" y="228"/>
                  </a:lnTo>
                  <a:lnTo>
                    <a:pt x="70" y="231"/>
                  </a:lnTo>
                  <a:lnTo>
                    <a:pt x="72" y="233"/>
                  </a:lnTo>
                  <a:lnTo>
                    <a:pt x="74" y="235"/>
                  </a:lnTo>
                  <a:lnTo>
                    <a:pt x="76" y="237"/>
                  </a:lnTo>
                  <a:lnTo>
                    <a:pt x="85" y="243"/>
                  </a:lnTo>
                  <a:lnTo>
                    <a:pt x="91" y="24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766" name="Freeform 236"/>
            <p:cNvSpPr>
              <a:spLocks/>
            </p:cNvSpPr>
            <p:nvPr>
              <p:custDataLst>
                <p:tags r:id="rId158"/>
              </p:custDataLst>
            </p:nvPr>
          </p:nvSpPr>
          <p:spPr bwMode="auto">
            <a:xfrm>
              <a:off x="5239598" y="3156114"/>
              <a:ext cx="493968" cy="562382"/>
            </a:xfrm>
            <a:custGeom>
              <a:avLst/>
              <a:gdLst>
                <a:gd name="T0" fmla="*/ 39336 w 948"/>
                <a:gd name="T1" fmla="*/ 413248 h 893"/>
                <a:gd name="T2" fmla="*/ 52885 w 948"/>
                <a:gd name="T3" fmla="*/ 413248 h 893"/>
                <a:gd name="T4" fmla="*/ 63811 w 948"/>
                <a:gd name="T5" fmla="*/ 410626 h 893"/>
                <a:gd name="T6" fmla="*/ 81294 w 948"/>
                <a:gd name="T7" fmla="*/ 406955 h 893"/>
                <a:gd name="T8" fmla="*/ 86102 w 948"/>
                <a:gd name="T9" fmla="*/ 426359 h 893"/>
                <a:gd name="T10" fmla="*/ 92658 w 948"/>
                <a:gd name="T11" fmla="*/ 437896 h 893"/>
                <a:gd name="T12" fmla="*/ 98777 w 948"/>
                <a:gd name="T13" fmla="*/ 443665 h 893"/>
                <a:gd name="T14" fmla="*/ 107518 w 948"/>
                <a:gd name="T15" fmla="*/ 445763 h 893"/>
                <a:gd name="T16" fmla="*/ 107518 w 948"/>
                <a:gd name="T17" fmla="*/ 462020 h 893"/>
                <a:gd name="T18" fmla="*/ 142483 w 948"/>
                <a:gd name="T19" fmla="*/ 466215 h 893"/>
                <a:gd name="T20" fmla="*/ 145979 w 948"/>
                <a:gd name="T21" fmla="*/ 459398 h 893"/>
                <a:gd name="T22" fmla="*/ 151661 w 948"/>
                <a:gd name="T23" fmla="*/ 456776 h 893"/>
                <a:gd name="T24" fmla="*/ 152098 w 948"/>
                <a:gd name="T25" fmla="*/ 465691 h 893"/>
                <a:gd name="T26" fmla="*/ 156469 w 948"/>
                <a:gd name="T27" fmla="*/ 468313 h 893"/>
                <a:gd name="T28" fmla="*/ 168270 w 948"/>
                <a:gd name="T29" fmla="*/ 468313 h 893"/>
                <a:gd name="T30" fmla="*/ 175263 w 948"/>
                <a:gd name="T31" fmla="*/ 447860 h 893"/>
                <a:gd name="T32" fmla="*/ 180071 w 948"/>
                <a:gd name="T33" fmla="*/ 413248 h 893"/>
                <a:gd name="T34" fmla="*/ 185315 w 948"/>
                <a:gd name="T35" fmla="*/ 404333 h 893"/>
                <a:gd name="T36" fmla="*/ 197553 w 948"/>
                <a:gd name="T37" fmla="*/ 395418 h 893"/>
                <a:gd name="T38" fmla="*/ 211976 w 948"/>
                <a:gd name="T39" fmla="*/ 389649 h 893"/>
                <a:gd name="T40" fmla="*/ 218969 w 948"/>
                <a:gd name="T41" fmla="*/ 382307 h 893"/>
                <a:gd name="T42" fmla="*/ 225088 w 948"/>
                <a:gd name="T43" fmla="*/ 368148 h 893"/>
                <a:gd name="T44" fmla="*/ 233829 w 948"/>
                <a:gd name="T45" fmla="*/ 350317 h 893"/>
                <a:gd name="T46" fmla="*/ 239074 w 948"/>
                <a:gd name="T47" fmla="*/ 346122 h 893"/>
                <a:gd name="T48" fmla="*/ 250001 w 948"/>
                <a:gd name="T49" fmla="*/ 345597 h 893"/>
                <a:gd name="T50" fmla="*/ 264424 w 948"/>
                <a:gd name="T51" fmla="*/ 337731 h 893"/>
                <a:gd name="T52" fmla="*/ 279284 w 948"/>
                <a:gd name="T53" fmla="*/ 327242 h 893"/>
                <a:gd name="T54" fmla="*/ 294581 w 948"/>
                <a:gd name="T55" fmla="*/ 321474 h 893"/>
                <a:gd name="T56" fmla="*/ 316435 w 948"/>
                <a:gd name="T57" fmla="*/ 319900 h 893"/>
                <a:gd name="T58" fmla="*/ 344407 w 948"/>
                <a:gd name="T59" fmla="*/ 315705 h 893"/>
                <a:gd name="T60" fmla="*/ 356207 w 948"/>
                <a:gd name="T61" fmla="*/ 311509 h 893"/>
                <a:gd name="T62" fmla="*/ 377187 w 948"/>
                <a:gd name="T63" fmla="*/ 309412 h 893"/>
                <a:gd name="T64" fmla="*/ 393795 w 948"/>
                <a:gd name="T65" fmla="*/ 305741 h 893"/>
                <a:gd name="T66" fmla="*/ 399040 w 948"/>
                <a:gd name="T67" fmla="*/ 301021 h 893"/>
                <a:gd name="T68" fmla="*/ 406907 w 948"/>
                <a:gd name="T69" fmla="*/ 285288 h 893"/>
                <a:gd name="T70" fmla="*/ 412152 w 948"/>
                <a:gd name="T71" fmla="*/ 264311 h 893"/>
                <a:gd name="T72" fmla="*/ 414337 w 948"/>
                <a:gd name="T73" fmla="*/ 241761 h 893"/>
                <a:gd name="T74" fmla="*/ 413900 w 948"/>
                <a:gd name="T75" fmla="*/ 220784 h 893"/>
                <a:gd name="T76" fmla="*/ 412152 w 948"/>
                <a:gd name="T77" fmla="*/ 190367 h 893"/>
                <a:gd name="T78" fmla="*/ 402973 w 948"/>
                <a:gd name="T79" fmla="*/ 186696 h 893"/>
                <a:gd name="T80" fmla="*/ 376749 w 948"/>
                <a:gd name="T81" fmla="*/ 168865 h 893"/>
                <a:gd name="T82" fmla="*/ 347029 w 948"/>
                <a:gd name="T83" fmla="*/ 145791 h 893"/>
                <a:gd name="T84" fmla="*/ 322553 w 948"/>
                <a:gd name="T85" fmla="*/ 113276 h 893"/>
                <a:gd name="T86" fmla="*/ 180071 w 948"/>
                <a:gd name="T87" fmla="*/ 6293 h 893"/>
                <a:gd name="T88" fmla="*/ 152098 w 948"/>
                <a:gd name="T89" fmla="*/ 53492 h 893"/>
                <a:gd name="T90" fmla="*/ 165647 w 948"/>
                <a:gd name="T91" fmla="*/ 212393 h 893"/>
                <a:gd name="T92" fmla="*/ 171329 w 948"/>
                <a:gd name="T93" fmla="*/ 296301 h 893"/>
                <a:gd name="T94" fmla="*/ 40647 w 948"/>
                <a:gd name="T95" fmla="*/ 309936 h 893"/>
                <a:gd name="T96" fmla="*/ 34528 w 948"/>
                <a:gd name="T97" fmla="*/ 317803 h 893"/>
                <a:gd name="T98" fmla="*/ 29283 w 948"/>
                <a:gd name="T99" fmla="*/ 319900 h 893"/>
                <a:gd name="T100" fmla="*/ 24913 w 948"/>
                <a:gd name="T101" fmla="*/ 318327 h 893"/>
                <a:gd name="T102" fmla="*/ 21416 w 948"/>
                <a:gd name="T103" fmla="*/ 309936 h 893"/>
                <a:gd name="T104" fmla="*/ 17483 w 948"/>
                <a:gd name="T105" fmla="*/ 304692 h 893"/>
                <a:gd name="T106" fmla="*/ 12675 w 948"/>
                <a:gd name="T107" fmla="*/ 317278 h 893"/>
                <a:gd name="T108" fmla="*/ 6556 w 948"/>
                <a:gd name="T109" fmla="*/ 326718 h 893"/>
                <a:gd name="T110" fmla="*/ 29283 w 948"/>
                <a:gd name="T111" fmla="*/ 384405 h 893"/>
                <a:gd name="T112" fmla="*/ 26661 w 948"/>
                <a:gd name="T113" fmla="*/ 392271 h 893"/>
                <a:gd name="T114" fmla="*/ 27098 w 948"/>
                <a:gd name="T115" fmla="*/ 398564 h 893"/>
                <a:gd name="T116" fmla="*/ 23601 w 948"/>
                <a:gd name="T117" fmla="*/ 413248 h 893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948" h="893">
                  <a:moveTo>
                    <a:pt x="54" y="788"/>
                  </a:moveTo>
                  <a:lnTo>
                    <a:pt x="74" y="788"/>
                  </a:lnTo>
                  <a:lnTo>
                    <a:pt x="90" y="788"/>
                  </a:lnTo>
                  <a:lnTo>
                    <a:pt x="100" y="788"/>
                  </a:lnTo>
                  <a:lnTo>
                    <a:pt x="106" y="788"/>
                  </a:lnTo>
                  <a:lnTo>
                    <a:pt x="121" y="788"/>
                  </a:lnTo>
                  <a:lnTo>
                    <a:pt x="135" y="787"/>
                  </a:lnTo>
                  <a:lnTo>
                    <a:pt x="140" y="785"/>
                  </a:lnTo>
                  <a:lnTo>
                    <a:pt x="146" y="783"/>
                  </a:lnTo>
                  <a:lnTo>
                    <a:pt x="150" y="780"/>
                  </a:lnTo>
                  <a:lnTo>
                    <a:pt x="152" y="776"/>
                  </a:lnTo>
                  <a:lnTo>
                    <a:pt x="186" y="776"/>
                  </a:lnTo>
                  <a:lnTo>
                    <a:pt x="189" y="788"/>
                  </a:lnTo>
                  <a:lnTo>
                    <a:pt x="193" y="800"/>
                  </a:lnTo>
                  <a:lnTo>
                    <a:pt x="197" y="813"/>
                  </a:lnTo>
                  <a:lnTo>
                    <a:pt x="204" y="825"/>
                  </a:lnTo>
                  <a:lnTo>
                    <a:pt x="207" y="830"/>
                  </a:lnTo>
                  <a:lnTo>
                    <a:pt x="212" y="835"/>
                  </a:lnTo>
                  <a:lnTo>
                    <a:pt x="216" y="839"/>
                  </a:lnTo>
                  <a:lnTo>
                    <a:pt x="221" y="843"/>
                  </a:lnTo>
                  <a:lnTo>
                    <a:pt x="226" y="846"/>
                  </a:lnTo>
                  <a:lnTo>
                    <a:pt x="233" y="848"/>
                  </a:lnTo>
                  <a:lnTo>
                    <a:pt x="239" y="849"/>
                  </a:lnTo>
                  <a:lnTo>
                    <a:pt x="246" y="850"/>
                  </a:lnTo>
                  <a:lnTo>
                    <a:pt x="246" y="862"/>
                  </a:lnTo>
                  <a:lnTo>
                    <a:pt x="246" y="871"/>
                  </a:lnTo>
                  <a:lnTo>
                    <a:pt x="246" y="881"/>
                  </a:lnTo>
                  <a:lnTo>
                    <a:pt x="246" y="893"/>
                  </a:lnTo>
                  <a:lnTo>
                    <a:pt x="326" y="893"/>
                  </a:lnTo>
                  <a:lnTo>
                    <a:pt x="326" y="889"/>
                  </a:lnTo>
                  <a:lnTo>
                    <a:pt x="328" y="884"/>
                  </a:lnTo>
                  <a:lnTo>
                    <a:pt x="330" y="880"/>
                  </a:lnTo>
                  <a:lnTo>
                    <a:pt x="334" y="876"/>
                  </a:lnTo>
                  <a:lnTo>
                    <a:pt x="339" y="868"/>
                  </a:lnTo>
                  <a:lnTo>
                    <a:pt x="346" y="862"/>
                  </a:lnTo>
                  <a:lnTo>
                    <a:pt x="347" y="871"/>
                  </a:lnTo>
                  <a:lnTo>
                    <a:pt x="348" y="880"/>
                  </a:lnTo>
                  <a:lnTo>
                    <a:pt x="349" y="884"/>
                  </a:lnTo>
                  <a:lnTo>
                    <a:pt x="348" y="888"/>
                  </a:lnTo>
                  <a:lnTo>
                    <a:pt x="348" y="891"/>
                  </a:lnTo>
                  <a:lnTo>
                    <a:pt x="346" y="893"/>
                  </a:lnTo>
                  <a:lnTo>
                    <a:pt x="358" y="893"/>
                  </a:lnTo>
                  <a:lnTo>
                    <a:pt x="371" y="893"/>
                  </a:lnTo>
                  <a:lnTo>
                    <a:pt x="381" y="893"/>
                  </a:lnTo>
                  <a:lnTo>
                    <a:pt x="385" y="893"/>
                  </a:lnTo>
                  <a:lnTo>
                    <a:pt x="392" y="881"/>
                  </a:lnTo>
                  <a:lnTo>
                    <a:pt x="397" y="868"/>
                  </a:lnTo>
                  <a:lnTo>
                    <a:pt x="401" y="854"/>
                  </a:lnTo>
                  <a:lnTo>
                    <a:pt x="404" y="841"/>
                  </a:lnTo>
                  <a:lnTo>
                    <a:pt x="408" y="813"/>
                  </a:lnTo>
                  <a:lnTo>
                    <a:pt x="412" y="788"/>
                  </a:lnTo>
                  <a:lnTo>
                    <a:pt x="415" y="782"/>
                  </a:lnTo>
                  <a:lnTo>
                    <a:pt x="418" y="776"/>
                  </a:lnTo>
                  <a:lnTo>
                    <a:pt x="424" y="771"/>
                  </a:lnTo>
                  <a:lnTo>
                    <a:pt x="428" y="767"/>
                  </a:lnTo>
                  <a:lnTo>
                    <a:pt x="440" y="759"/>
                  </a:lnTo>
                  <a:lnTo>
                    <a:pt x="452" y="754"/>
                  </a:lnTo>
                  <a:lnTo>
                    <a:pt x="464" y="750"/>
                  </a:lnTo>
                  <a:lnTo>
                    <a:pt x="475" y="746"/>
                  </a:lnTo>
                  <a:lnTo>
                    <a:pt x="485" y="743"/>
                  </a:lnTo>
                  <a:lnTo>
                    <a:pt x="492" y="739"/>
                  </a:lnTo>
                  <a:lnTo>
                    <a:pt x="496" y="734"/>
                  </a:lnTo>
                  <a:lnTo>
                    <a:pt x="501" y="729"/>
                  </a:lnTo>
                  <a:lnTo>
                    <a:pt x="505" y="723"/>
                  </a:lnTo>
                  <a:lnTo>
                    <a:pt x="508" y="716"/>
                  </a:lnTo>
                  <a:lnTo>
                    <a:pt x="515" y="702"/>
                  </a:lnTo>
                  <a:lnTo>
                    <a:pt x="521" y="690"/>
                  </a:lnTo>
                  <a:lnTo>
                    <a:pt x="528" y="678"/>
                  </a:lnTo>
                  <a:lnTo>
                    <a:pt x="535" y="668"/>
                  </a:lnTo>
                  <a:lnTo>
                    <a:pt x="539" y="664"/>
                  </a:lnTo>
                  <a:lnTo>
                    <a:pt x="542" y="662"/>
                  </a:lnTo>
                  <a:lnTo>
                    <a:pt x="547" y="660"/>
                  </a:lnTo>
                  <a:lnTo>
                    <a:pt x="551" y="659"/>
                  </a:lnTo>
                  <a:lnTo>
                    <a:pt x="562" y="660"/>
                  </a:lnTo>
                  <a:lnTo>
                    <a:pt x="572" y="659"/>
                  </a:lnTo>
                  <a:lnTo>
                    <a:pt x="581" y="657"/>
                  </a:lnTo>
                  <a:lnTo>
                    <a:pt x="588" y="653"/>
                  </a:lnTo>
                  <a:lnTo>
                    <a:pt x="605" y="644"/>
                  </a:lnTo>
                  <a:lnTo>
                    <a:pt x="620" y="634"/>
                  </a:lnTo>
                  <a:lnTo>
                    <a:pt x="629" y="629"/>
                  </a:lnTo>
                  <a:lnTo>
                    <a:pt x="639" y="624"/>
                  </a:lnTo>
                  <a:lnTo>
                    <a:pt x="649" y="620"/>
                  </a:lnTo>
                  <a:lnTo>
                    <a:pt x="661" y="616"/>
                  </a:lnTo>
                  <a:lnTo>
                    <a:pt x="674" y="613"/>
                  </a:lnTo>
                  <a:lnTo>
                    <a:pt x="688" y="610"/>
                  </a:lnTo>
                  <a:lnTo>
                    <a:pt x="706" y="609"/>
                  </a:lnTo>
                  <a:lnTo>
                    <a:pt x="724" y="610"/>
                  </a:lnTo>
                  <a:lnTo>
                    <a:pt x="777" y="610"/>
                  </a:lnTo>
                  <a:lnTo>
                    <a:pt x="783" y="606"/>
                  </a:lnTo>
                  <a:lnTo>
                    <a:pt x="788" y="602"/>
                  </a:lnTo>
                  <a:lnTo>
                    <a:pt x="795" y="600"/>
                  </a:lnTo>
                  <a:lnTo>
                    <a:pt x="800" y="598"/>
                  </a:lnTo>
                  <a:lnTo>
                    <a:pt x="815" y="594"/>
                  </a:lnTo>
                  <a:lnTo>
                    <a:pt x="830" y="592"/>
                  </a:lnTo>
                  <a:lnTo>
                    <a:pt x="845" y="591"/>
                  </a:lnTo>
                  <a:lnTo>
                    <a:pt x="863" y="590"/>
                  </a:lnTo>
                  <a:lnTo>
                    <a:pt x="879" y="588"/>
                  </a:lnTo>
                  <a:lnTo>
                    <a:pt x="897" y="585"/>
                  </a:lnTo>
                  <a:lnTo>
                    <a:pt x="901" y="583"/>
                  </a:lnTo>
                  <a:lnTo>
                    <a:pt x="906" y="580"/>
                  </a:lnTo>
                  <a:lnTo>
                    <a:pt x="909" y="577"/>
                  </a:lnTo>
                  <a:lnTo>
                    <a:pt x="913" y="574"/>
                  </a:lnTo>
                  <a:lnTo>
                    <a:pt x="920" y="565"/>
                  </a:lnTo>
                  <a:lnTo>
                    <a:pt x="925" y="555"/>
                  </a:lnTo>
                  <a:lnTo>
                    <a:pt x="931" y="544"/>
                  </a:lnTo>
                  <a:lnTo>
                    <a:pt x="935" y="531"/>
                  </a:lnTo>
                  <a:lnTo>
                    <a:pt x="940" y="518"/>
                  </a:lnTo>
                  <a:lnTo>
                    <a:pt x="943" y="504"/>
                  </a:lnTo>
                  <a:lnTo>
                    <a:pt x="945" y="490"/>
                  </a:lnTo>
                  <a:lnTo>
                    <a:pt x="947" y="475"/>
                  </a:lnTo>
                  <a:lnTo>
                    <a:pt x="948" y="461"/>
                  </a:lnTo>
                  <a:lnTo>
                    <a:pt x="948" y="447"/>
                  </a:lnTo>
                  <a:lnTo>
                    <a:pt x="948" y="434"/>
                  </a:lnTo>
                  <a:lnTo>
                    <a:pt x="947" y="421"/>
                  </a:lnTo>
                  <a:lnTo>
                    <a:pt x="945" y="410"/>
                  </a:lnTo>
                  <a:lnTo>
                    <a:pt x="943" y="400"/>
                  </a:lnTo>
                  <a:lnTo>
                    <a:pt x="943" y="363"/>
                  </a:lnTo>
                  <a:lnTo>
                    <a:pt x="939" y="362"/>
                  </a:lnTo>
                  <a:lnTo>
                    <a:pt x="931" y="359"/>
                  </a:lnTo>
                  <a:lnTo>
                    <a:pt x="922" y="356"/>
                  </a:lnTo>
                  <a:lnTo>
                    <a:pt x="912" y="350"/>
                  </a:lnTo>
                  <a:lnTo>
                    <a:pt x="888" y="337"/>
                  </a:lnTo>
                  <a:lnTo>
                    <a:pt x="862" y="322"/>
                  </a:lnTo>
                  <a:lnTo>
                    <a:pt x="835" y="305"/>
                  </a:lnTo>
                  <a:lnTo>
                    <a:pt x="811" y="290"/>
                  </a:lnTo>
                  <a:lnTo>
                    <a:pt x="794" y="278"/>
                  </a:lnTo>
                  <a:lnTo>
                    <a:pt x="784" y="271"/>
                  </a:lnTo>
                  <a:lnTo>
                    <a:pt x="764" y="240"/>
                  </a:lnTo>
                  <a:lnTo>
                    <a:pt x="738" y="216"/>
                  </a:lnTo>
                  <a:lnTo>
                    <a:pt x="405" y="0"/>
                  </a:lnTo>
                  <a:lnTo>
                    <a:pt x="408" y="6"/>
                  </a:lnTo>
                  <a:lnTo>
                    <a:pt x="412" y="12"/>
                  </a:lnTo>
                  <a:lnTo>
                    <a:pt x="339" y="12"/>
                  </a:lnTo>
                  <a:lnTo>
                    <a:pt x="341" y="36"/>
                  </a:lnTo>
                  <a:lnTo>
                    <a:pt x="348" y="102"/>
                  </a:lnTo>
                  <a:lnTo>
                    <a:pt x="358" y="193"/>
                  </a:lnTo>
                  <a:lnTo>
                    <a:pt x="368" y="299"/>
                  </a:lnTo>
                  <a:lnTo>
                    <a:pt x="379" y="405"/>
                  </a:lnTo>
                  <a:lnTo>
                    <a:pt x="386" y="498"/>
                  </a:lnTo>
                  <a:lnTo>
                    <a:pt x="390" y="535"/>
                  </a:lnTo>
                  <a:lnTo>
                    <a:pt x="392" y="565"/>
                  </a:lnTo>
                  <a:lnTo>
                    <a:pt x="393" y="583"/>
                  </a:lnTo>
                  <a:lnTo>
                    <a:pt x="392" y="591"/>
                  </a:lnTo>
                  <a:lnTo>
                    <a:pt x="93" y="591"/>
                  </a:lnTo>
                  <a:lnTo>
                    <a:pt x="88" y="597"/>
                  </a:lnTo>
                  <a:lnTo>
                    <a:pt x="82" y="603"/>
                  </a:lnTo>
                  <a:lnTo>
                    <a:pt x="79" y="606"/>
                  </a:lnTo>
                  <a:lnTo>
                    <a:pt x="76" y="608"/>
                  </a:lnTo>
                  <a:lnTo>
                    <a:pt x="71" y="609"/>
                  </a:lnTo>
                  <a:lnTo>
                    <a:pt x="67" y="610"/>
                  </a:lnTo>
                  <a:lnTo>
                    <a:pt x="64" y="609"/>
                  </a:lnTo>
                  <a:lnTo>
                    <a:pt x="60" y="608"/>
                  </a:lnTo>
                  <a:lnTo>
                    <a:pt x="57" y="607"/>
                  </a:lnTo>
                  <a:lnTo>
                    <a:pt x="55" y="604"/>
                  </a:lnTo>
                  <a:lnTo>
                    <a:pt x="51" y="598"/>
                  </a:lnTo>
                  <a:lnTo>
                    <a:pt x="49" y="591"/>
                  </a:lnTo>
                  <a:lnTo>
                    <a:pt x="47" y="578"/>
                  </a:lnTo>
                  <a:lnTo>
                    <a:pt x="47" y="573"/>
                  </a:lnTo>
                  <a:lnTo>
                    <a:pt x="40" y="581"/>
                  </a:lnTo>
                  <a:lnTo>
                    <a:pt x="36" y="590"/>
                  </a:lnTo>
                  <a:lnTo>
                    <a:pt x="33" y="598"/>
                  </a:lnTo>
                  <a:lnTo>
                    <a:pt x="29" y="605"/>
                  </a:lnTo>
                  <a:lnTo>
                    <a:pt x="26" y="612"/>
                  </a:lnTo>
                  <a:lnTo>
                    <a:pt x="22" y="618"/>
                  </a:lnTo>
                  <a:lnTo>
                    <a:pt x="15" y="623"/>
                  </a:lnTo>
                  <a:lnTo>
                    <a:pt x="6" y="628"/>
                  </a:lnTo>
                  <a:lnTo>
                    <a:pt x="0" y="709"/>
                  </a:lnTo>
                  <a:lnTo>
                    <a:pt x="67" y="733"/>
                  </a:lnTo>
                  <a:lnTo>
                    <a:pt x="65" y="738"/>
                  </a:lnTo>
                  <a:lnTo>
                    <a:pt x="62" y="743"/>
                  </a:lnTo>
                  <a:lnTo>
                    <a:pt x="61" y="748"/>
                  </a:lnTo>
                  <a:lnTo>
                    <a:pt x="61" y="753"/>
                  </a:lnTo>
                  <a:lnTo>
                    <a:pt x="61" y="757"/>
                  </a:lnTo>
                  <a:lnTo>
                    <a:pt x="62" y="760"/>
                  </a:lnTo>
                  <a:lnTo>
                    <a:pt x="65" y="763"/>
                  </a:lnTo>
                  <a:lnTo>
                    <a:pt x="67" y="764"/>
                  </a:lnTo>
                  <a:lnTo>
                    <a:pt x="54" y="78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767" name="Freeform 237"/>
            <p:cNvSpPr>
              <a:spLocks/>
            </p:cNvSpPr>
            <p:nvPr>
              <p:custDataLst>
                <p:tags r:id="rId159"/>
              </p:custDataLst>
            </p:nvPr>
          </p:nvSpPr>
          <p:spPr bwMode="auto">
            <a:xfrm>
              <a:off x="5356938" y="2683331"/>
              <a:ext cx="588598" cy="709172"/>
            </a:xfrm>
            <a:custGeom>
              <a:avLst/>
              <a:gdLst>
                <a:gd name="T0" fmla="*/ 315023 w 373"/>
                <a:gd name="T1" fmla="*/ 574740 h 370"/>
                <a:gd name="T2" fmla="*/ 322964 w 373"/>
                <a:gd name="T3" fmla="*/ 571608 h 370"/>
                <a:gd name="T4" fmla="*/ 337524 w 373"/>
                <a:gd name="T5" fmla="*/ 576306 h 370"/>
                <a:gd name="T6" fmla="*/ 492388 w 373"/>
                <a:gd name="T7" fmla="*/ 433795 h 370"/>
                <a:gd name="T8" fmla="*/ 488418 w 373"/>
                <a:gd name="T9" fmla="*/ 422833 h 370"/>
                <a:gd name="T10" fmla="*/ 477829 w 373"/>
                <a:gd name="T11" fmla="*/ 413437 h 370"/>
                <a:gd name="T12" fmla="*/ 459298 w 373"/>
                <a:gd name="T13" fmla="*/ 405607 h 370"/>
                <a:gd name="T14" fmla="*/ 448709 w 373"/>
                <a:gd name="T15" fmla="*/ 397776 h 370"/>
                <a:gd name="T16" fmla="*/ 444738 w 373"/>
                <a:gd name="T17" fmla="*/ 386814 h 370"/>
                <a:gd name="T18" fmla="*/ 446062 w 373"/>
                <a:gd name="T19" fmla="*/ 357059 h 370"/>
                <a:gd name="T20" fmla="*/ 446062 w 373"/>
                <a:gd name="T21" fmla="*/ 306946 h 370"/>
                <a:gd name="T22" fmla="*/ 442091 w 373"/>
                <a:gd name="T23" fmla="*/ 263096 h 370"/>
                <a:gd name="T24" fmla="*/ 435473 w 373"/>
                <a:gd name="T25" fmla="*/ 242738 h 370"/>
                <a:gd name="T26" fmla="*/ 427531 w 373"/>
                <a:gd name="T27" fmla="*/ 222379 h 370"/>
                <a:gd name="T28" fmla="*/ 416942 w 373"/>
                <a:gd name="T29" fmla="*/ 170699 h 370"/>
                <a:gd name="T30" fmla="*/ 405029 w 373"/>
                <a:gd name="T31" fmla="*/ 140944 h 370"/>
                <a:gd name="T32" fmla="*/ 393117 w 373"/>
                <a:gd name="T33" fmla="*/ 122152 h 370"/>
                <a:gd name="T34" fmla="*/ 397087 w 373"/>
                <a:gd name="T35" fmla="*/ 98661 h 370"/>
                <a:gd name="T36" fmla="*/ 398411 w 373"/>
                <a:gd name="T37" fmla="*/ 67340 h 370"/>
                <a:gd name="T38" fmla="*/ 399735 w 373"/>
                <a:gd name="T39" fmla="*/ 36019 h 370"/>
                <a:gd name="T40" fmla="*/ 410324 w 373"/>
                <a:gd name="T41" fmla="*/ 10962 h 370"/>
                <a:gd name="T42" fmla="*/ 399735 w 373"/>
                <a:gd name="T43" fmla="*/ 9396 h 370"/>
                <a:gd name="T44" fmla="*/ 367968 w 373"/>
                <a:gd name="T45" fmla="*/ 18793 h 370"/>
                <a:gd name="T46" fmla="*/ 324288 w 373"/>
                <a:gd name="T47" fmla="*/ 18793 h 370"/>
                <a:gd name="T48" fmla="*/ 272667 w 373"/>
                <a:gd name="T49" fmla="*/ 21925 h 370"/>
                <a:gd name="T50" fmla="*/ 222369 w 373"/>
                <a:gd name="T51" fmla="*/ 37585 h 370"/>
                <a:gd name="T52" fmla="*/ 191926 w 373"/>
                <a:gd name="T53" fmla="*/ 50114 h 370"/>
                <a:gd name="T54" fmla="*/ 164129 w 373"/>
                <a:gd name="T55" fmla="*/ 68906 h 370"/>
                <a:gd name="T56" fmla="*/ 162806 w 373"/>
                <a:gd name="T57" fmla="*/ 81435 h 370"/>
                <a:gd name="T58" fmla="*/ 173395 w 373"/>
                <a:gd name="T59" fmla="*/ 139378 h 370"/>
                <a:gd name="T60" fmla="*/ 177366 w 373"/>
                <a:gd name="T61" fmla="*/ 145643 h 370"/>
                <a:gd name="T62" fmla="*/ 186631 w 373"/>
                <a:gd name="T63" fmla="*/ 153473 h 370"/>
                <a:gd name="T64" fmla="*/ 187955 w 373"/>
                <a:gd name="T65" fmla="*/ 159737 h 370"/>
                <a:gd name="T66" fmla="*/ 183984 w 373"/>
                <a:gd name="T67" fmla="*/ 167567 h 370"/>
                <a:gd name="T68" fmla="*/ 169424 w 373"/>
                <a:gd name="T69" fmla="*/ 167567 h 370"/>
                <a:gd name="T70" fmla="*/ 140304 w 373"/>
                <a:gd name="T71" fmla="*/ 176963 h 370"/>
                <a:gd name="T72" fmla="*/ 125744 w 373"/>
                <a:gd name="T73" fmla="*/ 191058 h 370"/>
                <a:gd name="T74" fmla="*/ 119126 w 373"/>
                <a:gd name="T75" fmla="*/ 205152 h 370"/>
                <a:gd name="T76" fmla="*/ 108537 w 373"/>
                <a:gd name="T77" fmla="*/ 214549 h 370"/>
                <a:gd name="T78" fmla="*/ 87359 w 373"/>
                <a:gd name="T79" fmla="*/ 234907 h 370"/>
                <a:gd name="T80" fmla="*/ 67505 w 373"/>
                <a:gd name="T81" fmla="*/ 247436 h 370"/>
                <a:gd name="T82" fmla="*/ 41032 w 373"/>
                <a:gd name="T83" fmla="*/ 250568 h 370"/>
                <a:gd name="T84" fmla="*/ 26472 w 373"/>
                <a:gd name="T85" fmla="*/ 256832 h 370"/>
                <a:gd name="T86" fmla="*/ 10589 w 373"/>
                <a:gd name="T87" fmla="*/ 272492 h 370"/>
                <a:gd name="T88" fmla="*/ 0 w 373"/>
                <a:gd name="T89" fmla="*/ 313210 h 370"/>
                <a:gd name="T90" fmla="*/ 236929 w 373"/>
                <a:gd name="T91" fmla="*/ 518362 h 370"/>
                <a:gd name="T92" fmla="*/ 266049 w 373"/>
                <a:gd name="T93" fmla="*/ 551249 h 370"/>
                <a:gd name="T94" fmla="*/ 303110 w 373"/>
                <a:gd name="T95" fmla="*/ 576306 h 3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73" h="370">
                  <a:moveTo>
                    <a:pt x="235" y="370"/>
                  </a:moveTo>
                  <a:lnTo>
                    <a:pt x="237" y="369"/>
                  </a:lnTo>
                  <a:lnTo>
                    <a:pt x="238" y="367"/>
                  </a:lnTo>
                  <a:lnTo>
                    <a:pt x="240" y="366"/>
                  </a:lnTo>
                  <a:lnTo>
                    <a:pt x="241" y="366"/>
                  </a:lnTo>
                  <a:lnTo>
                    <a:pt x="242" y="365"/>
                  </a:lnTo>
                  <a:lnTo>
                    <a:pt x="244" y="365"/>
                  </a:lnTo>
                  <a:lnTo>
                    <a:pt x="245" y="365"/>
                  </a:lnTo>
                  <a:lnTo>
                    <a:pt x="249" y="366"/>
                  </a:lnTo>
                  <a:lnTo>
                    <a:pt x="252" y="367"/>
                  </a:lnTo>
                  <a:lnTo>
                    <a:pt x="255" y="368"/>
                  </a:lnTo>
                  <a:lnTo>
                    <a:pt x="257" y="370"/>
                  </a:lnTo>
                  <a:lnTo>
                    <a:pt x="373" y="282"/>
                  </a:lnTo>
                  <a:lnTo>
                    <a:pt x="373" y="279"/>
                  </a:lnTo>
                  <a:lnTo>
                    <a:pt x="372" y="277"/>
                  </a:lnTo>
                  <a:lnTo>
                    <a:pt x="372" y="275"/>
                  </a:lnTo>
                  <a:lnTo>
                    <a:pt x="371" y="273"/>
                  </a:lnTo>
                  <a:lnTo>
                    <a:pt x="370" y="271"/>
                  </a:lnTo>
                  <a:lnTo>
                    <a:pt x="369" y="270"/>
                  </a:lnTo>
                  <a:lnTo>
                    <a:pt x="368" y="268"/>
                  </a:lnTo>
                  <a:lnTo>
                    <a:pt x="367" y="267"/>
                  </a:lnTo>
                  <a:lnTo>
                    <a:pt x="364" y="265"/>
                  </a:lnTo>
                  <a:lnTo>
                    <a:pt x="361" y="264"/>
                  </a:lnTo>
                  <a:lnTo>
                    <a:pt x="358" y="262"/>
                  </a:lnTo>
                  <a:lnTo>
                    <a:pt x="354" y="261"/>
                  </a:lnTo>
                  <a:lnTo>
                    <a:pt x="351" y="260"/>
                  </a:lnTo>
                  <a:lnTo>
                    <a:pt x="347" y="259"/>
                  </a:lnTo>
                  <a:lnTo>
                    <a:pt x="344" y="258"/>
                  </a:lnTo>
                  <a:lnTo>
                    <a:pt x="342" y="256"/>
                  </a:lnTo>
                  <a:lnTo>
                    <a:pt x="340" y="255"/>
                  </a:lnTo>
                  <a:lnTo>
                    <a:pt x="339" y="254"/>
                  </a:lnTo>
                  <a:lnTo>
                    <a:pt x="338" y="252"/>
                  </a:lnTo>
                  <a:lnTo>
                    <a:pt x="337" y="251"/>
                  </a:lnTo>
                  <a:lnTo>
                    <a:pt x="337" y="249"/>
                  </a:lnTo>
                  <a:lnTo>
                    <a:pt x="336" y="247"/>
                  </a:lnTo>
                  <a:lnTo>
                    <a:pt x="336" y="245"/>
                  </a:lnTo>
                  <a:lnTo>
                    <a:pt x="336" y="243"/>
                  </a:lnTo>
                  <a:lnTo>
                    <a:pt x="336" y="235"/>
                  </a:lnTo>
                  <a:lnTo>
                    <a:pt x="337" y="228"/>
                  </a:lnTo>
                  <a:lnTo>
                    <a:pt x="338" y="220"/>
                  </a:lnTo>
                  <a:lnTo>
                    <a:pt x="338" y="214"/>
                  </a:lnTo>
                  <a:lnTo>
                    <a:pt x="338" y="205"/>
                  </a:lnTo>
                  <a:lnTo>
                    <a:pt x="337" y="196"/>
                  </a:lnTo>
                  <a:lnTo>
                    <a:pt x="337" y="186"/>
                  </a:lnTo>
                  <a:lnTo>
                    <a:pt x="336" y="177"/>
                  </a:lnTo>
                  <a:lnTo>
                    <a:pt x="335" y="172"/>
                  </a:lnTo>
                  <a:lnTo>
                    <a:pt x="334" y="168"/>
                  </a:lnTo>
                  <a:lnTo>
                    <a:pt x="333" y="164"/>
                  </a:lnTo>
                  <a:lnTo>
                    <a:pt x="332" y="160"/>
                  </a:lnTo>
                  <a:lnTo>
                    <a:pt x="330" y="157"/>
                  </a:lnTo>
                  <a:lnTo>
                    <a:pt x="329" y="155"/>
                  </a:lnTo>
                  <a:lnTo>
                    <a:pt x="327" y="153"/>
                  </a:lnTo>
                  <a:lnTo>
                    <a:pt x="325" y="152"/>
                  </a:lnTo>
                  <a:lnTo>
                    <a:pt x="324" y="147"/>
                  </a:lnTo>
                  <a:lnTo>
                    <a:pt x="323" y="142"/>
                  </a:lnTo>
                  <a:lnTo>
                    <a:pt x="322" y="136"/>
                  </a:lnTo>
                  <a:lnTo>
                    <a:pt x="321" y="130"/>
                  </a:lnTo>
                  <a:lnTo>
                    <a:pt x="319" y="120"/>
                  </a:lnTo>
                  <a:lnTo>
                    <a:pt x="315" y="109"/>
                  </a:lnTo>
                  <a:lnTo>
                    <a:pt x="313" y="104"/>
                  </a:lnTo>
                  <a:lnTo>
                    <a:pt x="311" y="99"/>
                  </a:lnTo>
                  <a:lnTo>
                    <a:pt x="308" y="94"/>
                  </a:lnTo>
                  <a:lnTo>
                    <a:pt x="306" y="90"/>
                  </a:lnTo>
                  <a:lnTo>
                    <a:pt x="304" y="86"/>
                  </a:lnTo>
                  <a:lnTo>
                    <a:pt x="301" y="83"/>
                  </a:lnTo>
                  <a:lnTo>
                    <a:pt x="299" y="80"/>
                  </a:lnTo>
                  <a:lnTo>
                    <a:pt x="297" y="78"/>
                  </a:lnTo>
                  <a:lnTo>
                    <a:pt x="298" y="74"/>
                  </a:lnTo>
                  <a:lnTo>
                    <a:pt x="299" y="69"/>
                  </a:lnTo>
                  <a:lnTo>
                    <a:pt x="300" y="66"/>
                  </a:lnTo>
                  <a:lnTo>
                    <a:pt x="300" y="63"/>
                  </a:lnTo>
                  <a:lnTo>
                    <a:pt x="301" y="60"/>
                  </a:lnTo>
                  <a:lnTo>
                    <a:pt x="303" y="57"/>
                  </a:lnTo>
                  <a:lnTo>
                    <a:pt x="302" y="50"/>
                  </a:lnTo>
                  <a:lnTo>
                    <a:pt x="301" y="43"/>
                  </a:lnTo>
                  <a:lnTo>
                    <a:pt x="301" y="37"/>
                  </a:lnTo>
                  <a:lnTo>
                    <a:pt x="301" y="32"/>
                  </a:lnTo>
                  <a:lnTo>
                    <a:pt x="301" y="27"/>
                  </a:lnTo>
                  <a:lnTo>
                    <a:pt x="302" y="23"/>
                  </a:lnTo>
                  <a:lnTo>
                    <a:pt x="303" y="19"/>
                  </a:lnTo>
                  <a:lnTo>
                    <a:pt x="304" y="16"/>
                  </a:lnTo>
                  <a:lnTo>
                    <a:pt x="307" y="11"/>
                  </a:lnTo>
                  <a:lnTo>
                    <a:pt x="310" y="7"/>
                  </a:lnTo>
                  <a:lnTo>
                    <a:pt x="312" y="3"/>
                  </a:lnTo>
                  <a:lnTo>
                    <a:pt x="314" y="0"/>
                  </a:lnTo>
                  <a:lnTo>
                    <a:pt x="308" y="3"/>
                  </a:lnTo>
                  <a:lnTo>
                    <a:pt x="302" y="6"/>
                  </a:lnTo>
                  <a:lnTo>
                    <a:pt x="297" y="8"/>
                  </a:lnTo>
                  <a:lnTo>
                    <a:pt x="290" y="9"/>
                  </a:lnTo>
                  <a:lnTo>
                    <a:pt x="284" y="11"/>
                  </a:lnTo>
                  <a:lnTo>
                    <a:pt x="278" y="12"/>
                  </a:lnTo>
                  <a:lnTo>
                    <a:pt x="271" y="12"/>
                  </a:lnTo>
                  <a:lnTo>
                    <a:pt x="264" y="12"/>
                  </a:lnTo>
                  <a:lnTo>
                    <a:pt x="256" y="12"/>
                  </a:lnTo>
                  <a:lnTo>
                    <a:pt x="245" y="12"/>
                  </a:lnTo>
                  <a:lnTo>
                    <a:pt x="233" y="12"/>
                  </a:lnTo>
                  <a:lnTo>
                    <a:pt x="222" y="12"/>
                  </a:lnTo>
                  <a:lnTo>
                    <a:pt x="215" y="13"/>
                  </a:lnTo>
                  <a:lnTo>
                    <a:pt x="206" y="14"/>
                  </a:lnTo>
                  <a:lnTo>
                    <a:pt x="197" y="16"/>
                  </a:lnTo>
                  <a:lnTo>
                    <a:pt x="187" y="18"/>
                  </a:lnTo>
                  <a:lnTo>
                    <a:pt x="177" y="21"/>
                  </a:lnTo>
                  <a:lnTo>
                    <a:pt x="168" y="24"/>
                  </a:lnTo>
                  <a:lnTo>
                    <a:pt x="159" y="26"/>
                  </a:lnTo>
                  <a:lnTo>
                    <a:pt x="153" y="29"/>
                  </a:lnTo>
                  <a:lnTo>
                    <a:pt x="150" y="30"/>
                  </a:lnTo>
                  <a:lnTo>
                    <a:pt x="145" y="32"/>
                  </a:lnTo>
                  <a:lnTo>
                    <a:pt x="140" y="34"/>
                  </a:lnTo>
                  <a:lnTo>
                    <a:pt x="135" y="37"/>
                  </a:lnTo>
                  <a:lnTo>
                    <a:pt x="130" y="40"/>
                  </a:lnTo>
                  <a:lnTo>
                    <a:pt x="124" y="44"/>
                  </a:lnTo>
                  <a:lnTo>
                    <a:pt x="119" y="48"/>
                  </a:lnTo>
                  <a:lnTo>
                    <a:pt x="116" y="51"/>
                  </a:lnTo>
                  <a:lnTo>
                    <a:pt x="118" y="52"/>
                  </a:lnTo>
                  <a:lnTo>
                    <a:pt x="123" y="52"/>
                  </a:lnTo>
                  <a:lnTo>
                    <a:pt x="128" y="53"/>
                  </a:lnTo>
                  <a:lnTo>
                    <a:pt x="131" y="53"/>
                  </a:lnTo>
                  <a:lnTo>
                    <a:pt x="131" y="88"/>
                  </a:lnTo>
                  <a:lnTo>
                    <a:pt x="131" y="89"/>
                  </a:lnTo>
                  <a:lnTo>
                    <a:pt x="131" y="90"/>
                  </a:lnTo>
                  <a:lnTo>
                    <a:pt x="132" y="91"/>
                  </a:lnTo>
                  <a:lnTo>
                    <a:pt x="133" y="92"/>
                  </a:lnTo>
                  <a:lnTo>
                    <a:pt x="134" y="93"/>
                  </a:lnTo>
                  <a:lnTo>
                    <a:pt x="136" y="94"/>
                  </a:lnTo>
                  <a:lnTo>
                    <a:pt x="138" y="95"/>
                  </a:lnTo>
                  <a:lnTo>
                    <a:pt x="140" y="97"/>
                  </a:lnTo>
                  <a:lnTo>
                    <a:pt x="141" y="98"/>
                  </a:lnTo>
                  <a:lnTo>
                    <a:pt x="141" y="99"/>
                  </a:lnTo>
                  <a:lnTo>
                    <a:pt x="142" y="100"/>
                  </a:lnTo>
                  <a:lnTo>
                    <a:pt x="142" y="101"/>
                  </a:lnTo>
                  <a:lnTo>
                    <a:pt x="142" y="102"/>
                  </a:lnTo>
                  <a:lnTo>
                    <a:pt x="141" y="104"/>
                  </a:lnTo>
                  <a:lnTo>
                    <a:pt x="141" y="105"/>
                  </a:lnTo>
                  <a:lnTo>
                    <a:pt x="140" y="106"/>
                  </a:lnTo>
                  <a:lnTo>
                    <a:pt x="139" y="107"/>
                  </a:lnTo>
                  <a:lnTo>
                    <a:pt x="138" y="107"/>
                  </a:lnTo>
                  <a:lnTo>
                    <a:pt x="136" y="107"/>
                  </a:lnTo>
                  <a:lnTo>
                    <a:pt x="135" y="108"/>
                  </a:lnTo>
                  <a:lnTo>
                    <a:pt x="128" y="107"/>
                  </a:lnTo>
                  <a:lnTo>
                    <a:pt x="120" y="107"/>
                  </a:lnTo>
                  <a:lnTo>
                    <a:pt x="116" y="108"/>
                  </a:lnTo>
                  <a:lnTo>
                    <a:pt x="112" y="111"/>
                  </a:lnTo>
                  <a:lnTo>
                    <a:pt x="106" y="113"/>
                  </a:lnTo>
                  <a:lnTo>
                    <a:pt x="101" y="116"/>
                  </a:lnTo>
                  <a:lnTo>
                    <a:pt x="99" y="118"/>
                  </a:lnTo>
                  <a:lnTo>
                    <a:pt x="97" y="120"/>
                  </a:lnTo>
                  <a:lnTo>
                    <a:pt x="95" y="122"/>
                  </a:lnTo>
                  <a:lnTo>
                    <a:pt x="93" y="124"/>
                  </a:lnTo>
                  <a:lnTo>
                    <a:pt x="92" y="126"/>
                  </a:lnTo>
                  <a:lnTo>
                    <a:pt x="91" y="128"/>
                  </a:lnTo>
                  <a:lnTo>
                    <a:pt x="90" y="131"/>
                  </a:lnTo>
                  <a:lnTo>
                    <a:pt x="90" y="133"/>
                  </a:lnTo>
                  <a:lnTo>
                    <a:pt x="87" y="134"/>
                  </a:lnTo>
                  <a:lnTo>
                    <a:pt x="84" y="135"/>
                  </a:lnTo>
                  <a:lnTo>
                    <a:pt x="82" y="137"/>
                  </a:lnTo>
                  <a:lnTo>
                    <a:pt x="79" y="139"/>
                  </a:lnTo>
                  <a:lnTo>
                    <a:pt x="74" y="143"/>
                  </a:lnTo>
                  <a:lnTo>
                    <a:pt x="69" y="148"/>
                  </a:lnTo>
                  <a:lnTo>
                    <a:pt x="66" y="150"/>
                  </a:lnTo>
                  <a:lnTo>
                    <a:pt x="62" y="152"/>
                  </a:lnTo>
                  <a:lnTo>
                    <a:pt x="59" y="155"/>
                  </a:lnTo>
                  <a:lnTo>
                    <a:pt x="55" y="156"/>
                  </a:lnTo>
                  <a:lnTo>
                    <a:pt x="51" y="158"/>
                  </a:lnTo>
                  <a:lnTo>
                    <a:pt x="46" y="159"/>
                  </a:lnTo>
                  <a:lnTo>
                    <a:pt x="41" y="160"/>
                  </a:lnTo>
                  <a:lnTo>
                    <a:pt x="35" y="160"/>
                  </a:lnTo>
                  <a:lnTo>
                    <a:pt x="31" y="160"/>
                  </a:lnTo>
                  <a:lnTo>
                    <a:pt x="29" y="161"/>
                  </a:lnTo>
                  <a:lnTo>
                    <a:pt x="26" y="161"/>
                  </a:lnTo>
                  <a:lnTo>
                    <a:pt x="24" y="162"/>
                  </a:lnTo>
                  <a:lnTo>
                    <a:pt x="20" y="164"/>
                  </a:lnTo>
                  <a:lnTo>
                    <a:pt x="17" y="167"/>
                  </a:lnTo>
                  <a:lnTo>
                    <a:pt x="13" y="169"/>
                  </a:lnTo>
                  <a:lnTo>
                    <a:pt x="10" y="172"/>
                  </a:lnTo>
                  <a:lnTo>
                    <a:pt x="8" y="174"/>
                  </a:lnTo>
                  <a:lnTo>
                    <a:pt x="6" y="175"/>
                  </a:lnTo>
                  <a:lnTo>
                    <a:pt x="3" y="176"/>
                  </a:lnTo>
                  <a:lnTo>
                    <a:pt x="0" y="177"/>
                  </a:lnTo>
                  <a:lnTo>
                    <a:pt x="0" y="200"/>
                  </a:lnTo>
                  <a:lnTo>
                    <a:pt x="0" y="208"/>
                  </a:lnTo>
                  <a:lnTo>
                    <a:pt x="69" y="253"/>
                  </a:lnTo>
                  <a:lnTo>
                    <a:pt x="170" y="323"/>
                  </a:lnTo>
                  <a:lnTo>
                    <a:pt x="179" y="331"/>
                  </a:lnTo>
                  <a:lnTo>
                    <a:pt x="185" y="341"/>
                  </a:lnTo>
                  <a:lnTo>
                    <a:pt x="189" y="344"/>
                  </a:lnTo>
                  <a:lnTo>
                    <a:pt x="194" y="347"/>
                  </a:lnTo>
                  <a:lnTo>
                    <a:pt x="201" y="352"/>
                  </a:lnTo>
                  <a:lnTo>
                    <a:pt x="210" y="357"/>
                  </a:lnTo>
                  <a:lnTo>
                    <a:pt x="218" y="362"/>
                  </a:lnTo>
                  <a:lnTo>
                    <a:pt x="226" y="366"/>
                  </a:lnTo>
                  <a:lnTo>
                    <a:pt x="229" y="368"/>
                  </a:lnTo>
                  <a:lnTo>
                    <a:pt x="232" y="369"/>
                  </a:lnTo>
                  <a:lnTo>
                    <a:pt x="234" y="370"/>
                  </a:lnTo>
                  <a:lnTo>
                    <a:pt x="235" y="37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768" name="Freeform 238"/>
            <p:cNvSpPr>
              <a:spLocks/>
            </p:cNvSpPr>
            <p:nvPr>
              <p:custDataLst>
                <p:tags r:id="rId160"/>
              </p:custDataLst>
            </p:nvPr>
          </p:nvSpPr>
          <p:spPr bwMode="auto">
            <a:xfrm>
              <a:off x="5877404" y="2845374"/>
              <a:ext cx="458009" cy="524253"/>
            </a:xfrm>
            <a:custGeom>
              <a:avLst/>
              <a:gdLst>
                <a:gd name="T0" fmla="*/ 15770 w 877"/>
                <a:gd name="T1" fmla="*/ 74522 h 826"/>
                <a:gd name="T2" fmla="*/ 20151 w 877"/>
                <a:gd name="T3" fmla="*/ 57609 h 826"/>
                <a:gd name="T4" fmla="*/ 20151 w 877"/>
                <a:gd name="T5" fmla="*/ 36997 h 826"/>
                <a:gd name="T6" fmla="*/ 26721 w 877"/>
                <a:gd name="T7" fmla="*/ 33826 h 826"/>
                <a:gd name="T8" fmla="*/ 38987 w 877"/>
                <a:gd name="T9" fmla="*/ 29069 h 826"/>
                <a:gd name="T10" fmla="*/ 43368 w 877"/>
                <a:gd name="T11" fmla="*/ 10571 h 826"/>
                <a:gd name="T12" fmla="*/ 73593 w 877"/>
                <a:gd name="T13" fmla="*/ 3171 h 826"/>
                <a:gd name="T14" fmla="*/ 106010 w 877"/>
                <a:gd name="T15" fmla="*/ 12685 h 826"/>
                <a:gd name="T16" fmla="*/ 119589 w 877"/>
                <a:gd name="T17" fmla="*/ 22727 h 826"/>
                <a:gd name="T18" fmla="*/ 124846 w 877"/>
                <a:gd name="T19" fmla="*/ 41225 h 826"/>
                <a:gd name="T20" fmla="*/ 129226 w 877"/>
                <a:gd name="T21" fmla="*/ 53381 h 826"/>
                <a:gd name="T22" fmla="*/ 142368 w 877"/>
                <a:gd name="T23" fmla="*/ 58138 h 826"/>
                <a:gd name="T24" fmla="*/ 159014 w 877"/>
                <a:gd name="T25" fmla="*/ 57609 h 826"/>
                <a:gd name="T26" fmla="*/ 184422 w 877"/>
                <a:gd name="T27" fmla="*/ 70294 h 826"/>
                <a:gd name="T28" fmla="*/ 209391 w 877"/>
                <a:gd name="T29" fmla="*/ 85621 h 826"/>
                <a:gd name="T30" fmla="*/ 224723 w 877"/>
                <a:gd name="T31" fmla="*/ 87735 h 826"/>
                <a:gd name="T32" fmla="*/ 235674 w 877"/>
                <a:gd name="T33" fmla="*/ 83507 h 826"/>
                <a:gd name="T34" fmla="*/ 240493 w 877"/>
                <a:gd name="T35" fmla="*/ 66594 h 826"/>
                <a:gd name="T36" fmla="*/ 238302 w 877"/>
                <a:gd name="T37" fmla="*/ 54438 h 826"/>
                <a:gd name="T38" fmla="*/ 232608 w 877"/>
                <a:gd name="T39" fmla="*/ 42811 h 826"/>
                <a:gd name="T40" fmla="*/ 236112 w 877"/>
                <a:gd name="T41" fmla="*/ 25898 h 826"/>
                <a:gd name="T42" fmla="*/ 251444 w 877"/>
                <a:gd name="T43" fmla="*/ 17970 h 826"/>
                <a:gd name="T44" fmla="*/ 270280 w 877"/>
                <a:gd name="T45" fmla="*/ 2114 h 826"/>
                <a:gd name="T46" fmla="*/ 284736 w 877"/>
                <a:gd name="T47" fmla="*/ 0 h 826"/>
                <a:gd name="T48" fmla="*/ 298316 w 877"/>
                <a:gd name="T49" fmla="*/ 3171 h 826"/>
                <a:gd name="T50" fmla="*/ 304449 w 877"/>
                <a:gd name="T51" fmla="*/ 12685 h 826"/>
                <a:gd name="T52" fmla="*/ 309267 w 877"/>
                <a:gd name="T53" fmla="*/ 26426 h 826"/>
                <a:gd name="T54" fmla="*/ 318905 w 877"/>
                <a:gd name="T55" fmla="*/ 33297 h 826"/>
                <a:gd name="T56" fmla="*/ 349569 w 877"/>
                <a:gd name="T57" fmla="*/ 37525 h 826"/>
                <a:gd name="T58" fmla="*/ 363586 w 877"/>
                <a:gd name="T59" fmla="*/ 51267 h 826"/>
                <a:gd name="T60" fmla="*/ 365339 w 877"/>
                <a:gd name="T61" fmla="*/ 61837 h 826"/>
                <a:gd name="T62" fmla="*/ 369281 w 877"/>
                <a:gd name="T63" fmla="*/ 73994 h 826"/>
                <a:gd name="T64" fmla="*/ 366215 w 877"/>
                <a:gd name="T65" fmla="*/ 84036 h 826"/>
                <a:gd name="T66" fmla="*/ 360958 w 877"/>
                <a:gd name="T67" fmla="*/ 89849 h 826"/>
                <a:gd name="T68" fmla="*/ 363148 w 877"/>
                <a:gd name="T69" fmla="*/ 109405 h 826"/>
                <a:gd name="T70" fmla="*/ 375852 w 877"/>
                <a:gd name="T71" fmla="*/ 129489 h 826"/>
                <a:gd name="T72" fmla="*/ 383737 w 877"/>
                <a:gd name="T73" fmla="*/ 363097 h 826"/>
                <a:gd name="T74" fmla="*/ 384175 w 877"/>
                <a:gd name="T75" fmla="*/ 391637 h 826"/>
                <a:gd name="T76" fmla="*/ 381109 w 877"/>
                <a:gd name="T77" fmla="*/ 409607 h 826"/>
                <a:gd name="T78" fmla="*/ 371471 w 877"/>
                <a:gd name="T79" fmla="*/ 413835 h 826"/>
                <a:gd name="T80" fmla="*/ 363586 w 877"/>
                <a:gd name="T81" fmla="*/ 424934 h 826"/>
                <a:gd name="T82" fmla="*/ 160328 w 877"/>
                <a:gd name="T83" fmla="*/ 313416 h 826"/>
                <a:gd name="T84" fmla="*/ 144996 w 877"/>
                <a:gd name="T85" fmla="*/ 320815 h 826"/>
                <a:gd name="T86" fmla="*/ 127912 w 877"/>
                <a:gd name="T87" fmla="*/ 330857 h 826"/>
                <a:gd name="T88" fmla="*/ 115209 w 877"/>
                <a:gd name="T89" fmla="*/ 331385 h 826"/>
                <a:gd name="T90" fmla="*/ 100753 w 877"/>
                <a:gd name="T91" fmla="*/ 321872 h 826"/>
                <a:gd name="T92" fmla="*/ 84545 w 877"/>
                <a:gd name="T93" fmla="*/ 309716 h 826"/>
                <a:gd name="T94" fmla="*/ 66584 w 877"/>
                <a:gd name="T95" fmla="*/ 305488 h 826"/>
                <a:gd name="T96" fmla="*/ 60452 w 877"/>
                <a:gd name="T97" fmla="*/ 304959 h 826"/>
                <a:gd name="T98" fmla="*/ 56947 w 877"/>
                <a:gd name="T99" fmla="*/ 292275 h 826"/>
                <a:gd name="T100" fmla="*/ 47748 w 877"/>
                <a:gd name="T101" fmla="*/ 282761 h 826"/>
                <a:gd name="T102" fmla="*/ 27598 w 877"/>
                <a:gd name="T103" fmla="*/ 273248 h 826"/>
                <a:gd name="T104" fmla="*/ 12266 w 877"/>
                <a:gd name="T105" fmla="*/ 263734 h 826"/>
                <a:gd name="T106" fmla="*/ 7009 w 877"/>
                <a:gd name="T107" fmla="*/ 254749 h 826"/>
                <a:gd name="T108" fmla="*/ 6133 w 877"/>
                <a:gd name="T109" fmla="*/ 232023 h 826"/>
                <a:gd name="T110" fmla="*/ 8323 w 877"/>
                <a:gd name="T111" fmla="*/ 186041 h 826"/>
                <a:gd name="T112" fmla="*/ 7447 w 877"/>
                <a:gd name="T113" fmla="*/ 136360 h 826"/>
                <a:gd name="T114" fmla="*/ 1752 w 877"/>
                <a:gd name="T115" fmla="*/ 106762 h 8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877" h="826">
                  <a:moveTo>
                    <a:pt x="0" y="190"/>
                  </a:moveTo>
                  <a:lnTo>
                    <a:pt x="16" y="167"/>
                  </a:lnTo>
                  <a:lnTo>
                    <a:pt x="33" y="147"/>
                  </a:lnTo>
                  <a:lnTo>
                    <a:pt x="36" y="141"/>
                  </a:lnTo>
                  <a:lnTo>
                    <a:pt x="39" y="133"/>
                  </a:lnTo>
                  <a:lnTo>
                    <a:pt x="41" y="126"/>
                  </a:lnTo>
                  <a:lnTo>
                    <a:pt x="43" y="118"/>
                  </a:lnTo>
                  <a:lnTo>
                    <a:pt x="46" y="109"/>
                  </a:lnTo>
                  <a:lnTo>
                    <a:pt x="47" y="99"/>
                  </a:lnTo>
                  <a:lnTo>
                    <a:pt x="47" y="87"/>
                  </a:lnTo>
                  <a:lnTo>
                    <a:pt x="46" y="73"/>
                  </a:lnTo>
                  <a:lnTo>
                    <a:pt x="46" y="70"/>
                  </a:lnTo>
                  <a:lnTo>
                    <a:pt x="47" y="67"/>
                  </a:lnTo>
                  <a:lnTo>
                    <a:pt x="49" y="66"/>
                  </a:lnTo>
                  <a:lnTo>
                    <a:pt x="52" y="65"/>
                  </a:lnTo>
                  <a:lnTo>
                    <a:pt x="61" y="64"/>
                  </a:lnTo>
                  <a:lnTo>
                    <a:pt x="72" y="63"/>
                  </a:lnTo>
                  <a:lnTo>
                    <a:pt x="78" y="61"/>
                  </a:lnTo>
                  <a:lnTo>
                    <a:pt x="83" y="59"/>
                  </a:lnTo>
                  <a:lnTo>
                    <a:pt x="89" y="55"/>
                  </a:lnTo>
                  <a:lnTo>
                    <a:pt x="93" y="50"/>
                  </a:lnTo>
                  <a:lnTo>
                    <a:pt x="96" y="42"/>
                  </a:lnTo>
                  <a:lnTo>
                    <a:pt x="98" y="33"/>
                  </a:lnTo>
                  <a:lnTo>
                    <a:pt x="99" y="20"/>
                  </a:lnTo>
                  <a:lnTo>
                    <a:pt x="98" y="6"/>
                  </a:lnTo>
                  <a:lnTo>
                    <a:pt x="124" y="4"/>
                  </a:lnTo>
                  <a:lnTo>
                    <a:pt x="147" y="5"/>
                  </a:lnTo>
                  <a:lnTo>
                    <a:pt x="168" y="6"/>
                  </a:lnTo>
                  <a:lnTo>
                    <a:pt x="188" y="9"/>
                  </a:lnTo>
                  <a:lnTo>
                    <a:pt x="208" y="13"/>
                  </a:lnTo>
                  <a:lnTo>
                    <a:pt x="226" y="18"/>
                  </a:lnTo>
                  <a:lnTo>
                    <a:pt x="242" y="24"/>
                  </a:lnTo>
                  <a:lnTo>
                    <a:pt x="259" y="31"/>
                  </a:lnTo>
                  <a:lnTo>
                    <a:pt x="264" y="35"/>
                  </a:lnTo>
                  <a:lnTo>
                    <a:pt x="269" y="39"/>
                  </a:lnTo>
                  <a:lnTo>
                    <a:pt x="273" y="43"/>
                  </a:lnTo>
                  <a:lnTo>
                    <a:pt x="276" y="47"/>
                  </a:lnTo>
                  <a:lnTo>
                    <a:pt x="281" y="57"/>
                  </a:lnTo>
                  <a:lnTo>
                    <a:pt x="283" y="67"/>
                  </a:lnTo>
                  <a:lnTo>
                    <a:pt x="285" y="78"/>
                  </a:lnTo>
                  <a:lnTo>
                    <a:pt x="288" y="88"/>
                  </a:lnTo>
                  <a:lnTo>
                    <a:pt x="289" y="93"/>
                  </a:lnTo>
                  <a:lnTo>
                    <a:pt x="292" y="97"/>
                  </a:lnTo>
                  <a:lnTo>
                    <a:pt x="295" y="101"/>
                  </a:lnTo>
                  <a:lnTo>
                    <a:pt x="298" y="105"/>
                  </a:lnTo>
                  <a:lnTo>
                    <a:pt x="306" y="108"/>
                  </a:lnTo>
                  <a:lnTo>
                    <a:pt x="315" y="110"/>
                  </a:lnTo>
                  <a:lnTo>
                    <a:pt x="325" y="110"/>
                  </a:lnTo>
                  <a:lnTo>
                    <a:pt x="334" y="110"/>
                  </a:lnTo>
                  <a:lnTo>
                    <a:pt x="344" y="109"/>
                  </a:lnTo>
                  <a:lnTo>
                    <a:pt x="354" y="109"/>
                  </a:lnTo>
                  <a:lnTo>
                    <a:pt x="363" y="109"/>
                  </a:lnTo>
                  <a:lnTo>
                    <a:pt x="372" y="111"/>
                  </a:lnTo>
                  <a:lnTo>
                    <a:pt x="388" y="117"/>
                  </a:lnTo>
                  <a:lnTo>
                    <a:pt x="405" y="124"/>
                  </a:lnTo>
                  <a:lnTo>
                    <a:pt x="421" y="133"/>
                  </a:lnTo>
                  <a:lnTo>
                    <a:pt x="438" y="143"/>
                  </a:lnTo>
                  <a:lnTo>
                    <a:pt x="454" y="152"/>
                  </a:lnTo>
                  <a:lnTo>
                    <a:pt x="471" y="159"/>
                  </a:lnTo>
                  <a:lnTo>
                    <a:pt x="478" y="162"/>
                  </a:lnTo>
                  <a:lnTo>
                    <a:pt x="487" y="164"/>
                  </a:lnTo>
                  <a:lnTo>
                    <a:pt x="496" y="166"/>
                  </a:lnTo>
                  <a:lnTo>
                    <a:pt x="505" y="166"/>
                  </a:lnTo>
                  <a:lnTo>
                    <a:pt x="513" y="166"/>
                  </a:lnTo>
                  <a:lnTo>
                    <a:pt x="521" y="166"/>
                  </a:lnTo>
                  <a:lnTo>
                    <a:pt x="529" y="166"/>
                  </a:lnTo>
                  <a:lnTo>
                    <a:pt x="538" y="166"/>
                  </a:lnTo>
                  <a:lnTo>
                    <a:pt x="538" y="158"/>
                  </a:lnTo>
                  <a:lnTo>
                    <a:pt x="540" y="150"/>
                  </a:lnTo>
                  <a:lnTo>
                    <a:pt x="542" y="143"/>
                  </a:lnTo>
                  <a:lnTo>
                    <a:pt x="544" y="137"/>
                  </a:lnTo>
                  <a:lnTo>
                    <a:pt x="549" y="126"/>
                  </a:lnTo>
                  <a:lnTo>
                    <a:pt x="551" y="117"/>
                  </a:lnTo>
                  <a:lnTo>
                    <a:pt x="550" y="112"/>
                  </a:lnTo>
                  <a:lnTo>
                    <a:pt x="547" y="108"/>
                  </a:lnTo>
                  <a:lnTo>
                    <a:pt x="544" y="103"/>
                  </a:lnTo>
                  <a:lnTo>
                    <a:pt x="541" y="98"/>
                  </a:lnTo>
                  <a:lnTo>
                    <a:pt x="537" y="93"/>
                  </a:lnTo>
                  <a:lnTo>
                    <a:pt x="534" y="87"/>
                  </a:lnTo>
                  <a:lnTo>
                    <a:pt x="531" y="81"/>
                  </a:lnTo>
                  <a:lnTo>
                    <a:pt x="531" y="73"/>
                  </a:lnTo>
                  <a:lnTo>
                    <a:pt x="531" y="61"/>
                  </a:lnTo>
                  <a:lnTo>
                    <a:pt x="531" y="49"/>
                  </a:lnTo>
                  <a:lnTo>
                    <a:pt x="539" y="49"/>
                  </a:lnTo>
                  <a:lnTo>
                    <a:pt x="547" y="47"/>
                  </a:lnTo>
                  <a:lnTo>
                    <a:pt x="554" y="45"/>
                  </a:lnTo>
                  <a:lnTo>
                    <a:pt x="562" y="42"/>
                  </a:lnTo>
                  <a:lnTo>
                    <a:pt x="574" y="34"/>
                  </a:lnTo>
                  <a:lnTo>
                    <a:pt x="586" y="24"/>
                  </a:lnTo>
                  <a:lnTo>
                    <a:pt x="598" y="15"/>
                  </a:lnTo>
                  <a:lnTo>
                    <a:pt x="610" y="7"/>
                  </a:lnTo>
                  <a:lnTo>
                    <a:pt x="617" y="4"/>
                  </a:lnTo>
                  <a:lnTo>
                    <a:pt x="623" y="2"/>
                  </a:lnTo>
                  <a:lnTo>
                    <a:pt x="630" y="0"/>
                  </a:lnTo>
                  <a:lnTo>
                    <a:pt x="638" y="0"/>
                  </a:lnTo>
                  <a:lnTo>
                    <a:pt x="650" y="0"/>
                  </a:lnTo>
                  <a:lnTo>
                    <a:pt x="659" y="1"/>
                  </a:lnTo>
                  <a:lnTo>
                    <a:pt x="668" y="2"/>
                  </a:lnTo>
                  <a:lnTo>
                    <a:pt x="676" y="4"/>
                  </a:lnTo>
                  <a:lnTo>
                    <a:pt x="681" y="6"/>
                  </a:lnTo>
                  <a:lnTo>
                    <a:pt x="685" y="9"/>
                  </a:lnTo>
                  <a:lnTo>
                    <a:pt x="688" y="12"/>
                  </a:lnTo>
                  <a:lnTo>
                    <a:pt x="691" y="16"/>
                  </a:lnTo>
                  <a:lnTo>
                    <a:pt x="695" y="24"/>
                  </a:lnTo>
                  <a:lnTo>
                    <a:pt x="698" y="34"/>
                  </a:lnTo>
                  <a:lnTo>
                    <a:pt x="700" y="39"/>
                  </a:lnTo>
                  <a:lnTo>
                    <a:pt x="702" y="44"/>
                  </a:lnTo>
                  <a:lnTo>
                    <a:pt x="706" y="50"/>
                  </a:lnTo>
                  <a:lnTo>
                    <a:pt x="710" y="55"/>
                  </a:lnTo>
                  <a:lnTo>
                    <a:pt x="715" y="58"/>
                  </a:lnTo>
                  <a:lnTo>
                    <a:pt x="721" y="61"/>
                  </a:lnTo>
                  <a:lnTo>
                    <a:pt x="728" y="63"/>
                  </a:lnTo>
                  <a:lnTo>
                    <a:pt x="734" y="65"/>
                  </a:lnTo>
                  <a:lnTo>
                    <a:pt x="750" y="67"/>
                  </a:lnTo>
                  <a:lnTo>
                    <a:pt x="765" y="69"/>
                  </a:lnTo>
                  <a:lnTo>
                    <a:pt x="798" y="71"/>
                  </a:lnTo>
                  <a:lnTo>
                    <a:pt x="830" y="73"/>
                  </a:lnTo>
                  <a:lnTo>
                    <a:pt x="830" y="83"/>
                  </a:lnTo>
                  <a:lnTo>
                    <a:pt x="830" y="90"/>
                  </a:lnTo>
                  <a:lnTo>
                    <a:pt x="830" y="97"/>
                  </a:lnTo>
                  <a:lnTo>
                    <a:pt x="830" y="105"/>
                  </a:lnTo>
                  <a:lnTo>
                    <a:pt x="830" y="109"/>
                  </a:lnTo>
                  <a:lnTo>
                    <a:pt x="832" y="113"/>
                  </a:lnTo>
                  <a:lnTo>
                    <a:pt x="834" y="117"/>
                  </a:lnTo>
                  <a:lnTo>
                    <a:pt x="836" y="121"/>
                  </a:lnTo>
                  <a:lnTo>
                    <a:pt x="838" y="126"/>
                  </a:lnTo>
                  <a:lnTo>
                    <a:pt x="841" y="132"/>
                  </a:lnTo>
                  <a:lnTo>
                    <a:pt x="843" y="140"/>
                  </a:lnTo>
                  <a:lnTo>
                    <a:pt x="843" y="148"/>
                  </a:lnTo>
                  <a:lnTo>
                    <a:pt x="842" y="152"/>
                  </a:lnTo>
                  <a:lnTo>
                    <a:pt x="840" y="156"/>
                  </a:lnTo>
                  <a:lnTo>
                    <a:pt x="836" y="159"/>
                  </a:lnTo>
                  <a:lnTo>
                    <a:pt x="833" y="162"/>
                  </a:lnTo>
                  <a:lnTo>
                    <a:pt x="830" y="165"/>
                  </a:lnTo>
                  <a:lnTo>
                    <a:pt x="826" y="168"/>
                  </a:lnTo>
                  <a:lnTo>
                    <a:pt x="824" y="170"/>
                  </a:lnTo>
                  <a:lnTo>
                    <a:pt x="823" y="172"/>
                  </a:lnTo>
                  <a:lnTo>
                    <a:pt x="824" y="184"/>
                  </a:lnTo>
                  <a:lnTo>
                    <a:pt x="825" y="196"/>
                  </a:lnTo>
                  <a:lnTo>
                    <a:pt x="829" y="207"/>
                  </a:lnTo>
                  <a:lnTo>
                    <a:pt x="834" y="217"/>
                  </a:lnTo>
                  <a:lnTo>
                    <a:pt x="841" y="227"/>
                  </a:lnTo>
                  <a:lnTo>
                    <a:pt x="848" y="236"/>
                  </a:lnTo>
                  <a:lnTo>
                    <a:pt x="858" y="245"/>
                  </a:lnTo>
                  <a:lnTo>
                    <a:pt x="869" y="253"/>
                  </a:lnTo>
                  <a:lnTo>
                    <a:pt x="876" y="671"/>
                  </a:lnTo>
                  <a:lnTo>
                    <a:pt x="876" y="680"/>
                  </a:lnTo>
                  <a:lnTo>
                    <a:pt x="876" y="687"/>
                  </a:lnTo>
                  <a:lnTo>
                    <a:pt x="876" y="697"/>
                  </a:lnTo>
                  <a:lnTo>
                    <a:pt x="876" y="709"/>
                  </a:lnTo>
                  <a:lnTo>
                    <a:pt x="877" y="726"/>
                  </a:lnTo>
                  <a:lnTo>
                    <a:pt x="877" y="741"/>
                  </a:lnTo>
                  <a:lnTo>
                    <a:pt x="877" y="756"/>
                  </a:lnTo>
                  <a:lnTo>
                    <a:pt x="876" y="766"/>
                  </a:lnTo>
                  <a:lnTo>
                    <a:pt x="874" y="771"/>
                  </a:lnTo>
                  <a:lnTo>
                    <a:pt x="870" y="775"/>
                  </a:lnTo>
                  <a:lnTo>
                    <a:pt x="867" y="778"/>
                  </a:lnTo>
                  <a:lnTo>
                    <a:pt x="863" y="780"/>
                  </a:lnTo>
                  <a:lnTo>
                    <a:pt x="856" y="782"/>
                  </a:lnTo>
                  <a:lnTo>
                    <a:pt x="848" y="783"/>
                  </a:lnTo>
                  <a:lnTo>
                    <a:pt x="840" y="783"/>
                  </a:lnTo>
                  <a:lnTo>
                    <a:pt x="830" y="782"/>
                  </a:lnTo>
                  <a:lnTo>
                    <a:pt x="830" y="792"/>
                  </a:lnTo>
                  <a:lnTo>
                    <a:pt x="830" y="804"/>
                  </a:lnTo>
                  <a:lnTo>
                    <a:pt x="830" y="816"/>
                  </a:lnTo>
                  <a:lnTo>
                    <a:pt x="830" y="826"/>
                  </a:lnTo>
                  <a:lnTo>
                    <a:pt x="378" y="592"/>
                  </a:lnTo>
                  <a:lnTo>
                    <a:pt x="366" y="593"/>
                  </a:lnTo>
                  <a:lnTo>
                    <a:pt x="359" y="595"/>
                  </a:lnTo>
                  <a:lnTo>
                    <a:pt x="353" y="597"/>
                  </a:lnTo>
                  <a:lnTo>
                    <a:pt x="344" y="598"/>
                  </a:lnTo>
                  <a:lnTo>
                    <a:pt x="331" y="607"/>
                  </a:lnTo>
                  <a:lnTo>
                    <a:pt x="318" y="616"/>
                  </a:lnTo>
                  <a:lnTo>
                    <a:pt x="308" y="620"/>
                  </a:lnTo>
                  <a:lnTo>
                    <a:pt x="297" y="624"/>
                  </a:lnTo>
                  <a:lnTo>
                    <a:pt x="292" y="626"/>
                  </a:lnTo>
                  <a:lnTo>
                    <a:pt x="285" y="627"/>
                  </a:lnTo>
                  <a:lnTo>
                    <a:pt x="278" y="628"/>
                  </a:lnTo>
                  <a:lnTo>
                    <a:pt x="272" y="628"/>
                  </a:lnTo>
                  <a:lnTo>
                    <a:pt x="263" y="627"/>
                  </a:lnTo>
                  <a:lnTo>
                    <a:pt x="254" y="624"/>
                  </a:lnTo>
                  <a:lnTo>
                    <a:pt x="246" y="620"/>
                  </a:lnTo>
                  <a:lnTo>
                    <a:pt x="238" y="614"/>
                  </a:lnTo>
                  <a:lnTo>
                    <a:pt x="230" y="609"/>
                  </a:lnTo>
                  <a:lnTo>
                    <a:pt x="224" y="602"/>
                  </a:lnTo>
                  <a:lnTo>
                    <a:pt x="220" y="597"/>
                  </a:lnTo>
                  <a:lnTo>
                    <a:pt x="218" y="592"/>
                  </a:lnTo>
                  <a:lnTo>
                    <a:pt x="193" y="586"/>
                  </a:lnTo>
                  <a:lnTo>
                    <a:pt x="173" y="579"/>
                  </a:lnTo>
                  <a:lnTo>
                    <a:pt x="165" y="577"/>
                  </a:lnTo>
                  <a:lnTo>
                    <a:pt x="157" y="577"/>
                  </a:lnTo>
                  <a:lnTo>
                    <a:pt x="152" y="578"/>
                  </a:lnTo>
                  <a:lnTo>
                    <a:pt x="148" y="579"/>
                  </a:lnTo>
                  <a:lnTo>
                    <a:pt x="143" y="583"/>
                  </a:lnTo>
                  <a:lnTo>
                    <a:pt x="139" y="586"/>
                  </a:lnTo>
                  <a:lnTo>
                    <a:pt x="138" y="577"/>
                  </a:lnTo>
                  <a:lnTo>
                    <a:pt x="137" y="570"/>
                  </a:lnTo>
                  <a:lnTo>
                    <a:pt x="136" y="564"/>
                  </a:lnTo>
                  <a:lnTo>
                    <a:pt x="134" y="558"/>
                  </a:lnTo>
                  <a:lnTo>
                    <a:pt x="130" y="553"/>
                  </a:lnTo>
                  <a:lnTo>
                    <a:pt x="127" y="549"/>
                  </a:lnTo>
                  <a:lnTo>
                    <a:pt x="124" y="545"/>
                  </a:lnTo>
                  <a:lnTo>
                    <a:pt x="119" y="541"/>
                  </a:lnTo>
                  <a:lnTo>
                    <a:pt x="109" y="535"/>
                  </a:lnTo>
                  <a:lnTo>
                    <a:pt x="98" y="530"/>
                  </a:lnTo>
                  <a:lnTo>
                    <a:pt x="87" y="526"/>
                  </a:lnTo>
                  <a:lnTo>
                    <a:pt x="75" y="521"/>
                  </a:lnTo>
                  <a:lnTo>
                    <a:pt x="63" y="517"/>
                  </a:lnTo>
                  <a:lnTo>
                    <a:pt x="52" y="513"/>
                  </a:lnTo>
                  <a:lnTo>
                    <a:pt x="41" y="509"/>
                  </a:lnTo>
                  <a:lnTo>
                    <a:pt x="33" y="503"/>
                  </a:lnTo>
                  <a:lnTo>
                    <a:pt x="28" y="499"/>
                  </a:lnTo>
                  <a:lnTo>
                    <a:pt x="24" y="496"/>
                  </a:lnTo>
                  <a:lnTo>
                    <a:pt x="20" y="492"/>
                  </a:lnTo>
                  <a:lnTo>
                    <a:pt x="18" y="487"/>
                  </a:lnTo>
                  <a:lnTo>
                    <a:pt x="16" y="482"/>
                  </a:lnTo>
                  <a:lnTo>
                    <a:pt x="14" y="476"/>
                  </a:lnTo>
                  <a:lnTo>
                    <a:pt x="13" y="469"/>
                  </a:lnTo>
                  <a:lnTo>
                    <a:pt x="13" y="462"/>
                  </a:lnTo>
                  <a:lnTo>
                    <a:pt x="14" y="439"/>
                  </a:lnTo>
                  <a:lnTo>
                    <a:pt x="16" y="417"/>
                  </a:lnTo>
                  <a:lnTo>
                    <a:pt x="18" y="395"/>
                  </a:lnTo>
                  <a:lnTo>
                    <a:pt x="19" y="376"/>
                  </a:lnTo>
                  <a:lnTo>
                    <a:pt x="19" y="352"/>
                  </a:lnTo>
                  <a:lnTo>
                    <a:pt x="19" y="329"/>
                  </a:lnTo>
                  <a:lnTo>
                    <a:pt x="19" y="305"/>
                  </a:lnTo>
                  <a:lnTo>
                    <a:pt x="19" y="281"/>
                  </a:lnTo>
                  <a:lnTo>
                    <a:pt x="17" y="258"/>
                  </a:lnTo>
                  <a:lnTo>
                    <a:pt x="14" y="234"/>
                  </a:lnTo>
                  <a:lnTo>
                    <a:pt x="11" y="223"/>
                  </a:lnTo>
                  <a:lnTo>
                    <a:pt x="7" y="212"/>
                  </a:lnTo>
                  <a:lnTo>
                    <a:pt x="4" y="202"/>
                  </a:lnTo>
                  <a:lnTo>
                    <a:pt x="0" y="19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769" name="Freeform 239"/>
            <p:cNvSpPr>
              <a:spLocks/>
            </p:cNvSpPr>
            <p:nvPr>
              <p:custDataLst>
                <p:tags r:id="rId161"/>
              </p:custDataLst>
            </p:nvPr>
          </p:nvSpPr>
          <p:spPr bwMode="auto">
            <a:xfrm>
              <a:off x="5820626" y="2683331"/>
              <a:ext cx="111664" cy="284051"/>
            </a:xfrm>
            <a:custGeom>
              <a:avLst/>
              <a:gdLst>
                <a:gd name="T0" fmla="*/ 46832 w 206"/>
                <a:gd name="T1" fmla="*/ 229260 h 455"/>
                <a:gd name="T2" fmla="*/ 56834 w 206"/>
                <a:gd name="T3" fmla="*/ 218343 h 455"/>
                <a:gd name="T4" fmla="*/ 63654 w 206"/>
                <a:gd name="T5" fmla="*/ 210025 h 455"/>
                <a:gd name="T6" fmla="*/ 66837 w 206"/>
                <a:gd name="T7" fmla="*/ 202747 h 455"/>
                <a:gd name="T8" fmla="*/ 69111 w 206"/>
                <a:gd name="T9" fmla="*/ 193909 h 455"/>
                <a:gd name="T10" fmla="*/ 70020 w 206"/>
                <a:gd name="T11" fmla="*/ 182992 h 455"/>
                <a:gd name="T12" fmla="*/ 69565 w 206"/>
                <a:gd name="T13" fmla="*/ 174154 h 455"/>
                <a:gd name="T14" fmla="*/ 70929 w 206"/>
                <a:gd name="T15" fmla="*/ 172075 h 455"/>
                <a:gd name="T16" fmla="*/ 76385 w 206"/>
                <a:gd name="T17" fmla="*/ 171035 h 455"/>
                <a:gd name="T18" fmla="*/ 84115 w 206"/>
                <a:gd name="T19" fmla="*/ 168956 h 455"/>
                <a:gd name="T20" fmla="*/ 89116 w 206"/>
                <a:gd name="T21" fmla="*/ 165317 h 455"/>
                <a:gd name="T22" fmla="*/ 92299 w 206"/>
                <a:gd name="T23" fmla="*/ 158039 h 455"/>
                <a:gd name="T24" fmla="*/ 93663 w 206"/>
                <a:gd name="T25" fmla="*/ 145562 h 455"/>
                <a:gd name="T26" fmla="*/ 91844 w 206"/>
                <a:gd name="T27" fmla="*/ 137764 h 455"/>
                <a:gd name="T28" fmla="*/ 87752 w 206"/>
                <a:gd name="T29" fmla="*/ 137244 h 455"/>
                <a:gd name="T30" fmla="*/ 80477 w 206"/>
                <a:gd name="T31" fmla="*/ 133085 h 455"/>
                <a:gd name="T32" fmla="*/ 70475 w 206"/>
                <a:gd name="T33" fmla="*/ 125807 h 455"/>
                <a:gd name="T34" fmla="*/ 63654 w 206"/>
                <a:gd name="T35" fmla="*/ 120089 h 455"/>
                <a:gd name="T36" fmla="*/ 59108 w 206"/>
                <a:gd name="T37" fmla="*/ 118529 h 455"/>
                <a:gd name="T38" fmla="*/ 54106 w 206"/>
                <a:gd name="T39" fmla="*/ 115410 h 455"/>
                <a:gd name="T40" fmla="*/ 45922 w 206"/>
                <a:gd name="T41" fmla="*/ 110211 h 455"/>
                <a:gd name="T42" fmla="*/ 43194 w 206"/>
                <a:gd name="T43" fmla="*/ 107092 h 455"/>
                <a:gd name="T44" fmla="*/ 43194 w 206"/>
                <a:gd name="T45" fmla="*/ 103453 h 455"/>
                <a:gd name="T46" fmla="*/ 47286 w 206"/>
                <a:gd name="T47" fmla="*/ 94095 h 455"/>
                <a:gd name="T48" fmla="*/ 54106 w 206"/>
                <a:gd name="T49" fmla="*/ 82138 h 455"/>
                <a:gd name="T50" fmla="*/ 60926 w 206"/>
                <a:gd name="T51" fmla="*/ 72781 h 455"/>
                <a:gd name="T52" fmla="*/ 61836 w 206"/>
                <a:gd name="T53" fmla="*/ 67062 h 455"/>
                <a:gd name="T54" fmla="*/ 57289 w 206"/>
                <a:gd name="T55" fmla="*/ 60304 h 455"/>
                <a:gd name="T56" fmla="*/ 52288 w 206"/>
                <a:gd name="T57" fmla="*/ 54586 h 455"/>
                <a:gd name="T58" fmla="*/ 49105 w 206"/>
                <a:gd name="T59" fmla="*/ 48347 h 455"/>
                <a:gd name="T60" fmla="*/ 48650 w 206"/>
                <a:gd name="T61" fmla="*/ 43669 h 455"/>
                <a:gd name="T62" fmla="*/ 50469 w 206"/>
                <a:gd name="T63" fmla="*/ 40549 h 455"/>
                <a:gd name="T64" fmla="*/ 52742 w 206"/>
                <a:gd name="T65" fmla="*/ 37430 h 455"/>
                <a:gd name="T66" fmla="*/ 55925 w 206"/>
                <a:gd name="T67" fmla="*/ 35871 h 455"/>
                <a:gd name="T68" fmla="*/ 57289 w 206"/>
                <a:gd name="T69" fmla="*/ 19235 h 455"/>
                <a:gd name="T70" fmla="*/ 50014 w 206"/>
                <a:gd name="T71" fmla="*/ 16636 h 455"/>
                <a:gd name="T72" fmla="*/ 39557 w 206"/>
                <a:gd name="T73" fmla="*/ 10917 h 455"/>
                <a:gd name="T74" fmla="*/ 24098 w 206"/>
                <a:gd name="T75" fmla="*/ 0 h 455"/>
                <a:gd name="T76" fmla="*/ 21370 w 206"/>
                <a:gd name="T77" fmla="*/ 5719 h 455"/>
                <a:gd name="T78" fmla="*/ 15459 w 206"/>
                <a:gd name="T79" fmla="*/ 22874 h 455"/>
                <a:gd name="T80" fmla="*/ 12731 w 206"/>
                <a:gd name="T81" fmla="*/ 36390 h 455"/>
                <a:gd name="T82" fmla="*/ 10003 w 206"/>
                <a:gd name="T83" fmla="*/ 51467 h 455"/>
                <a:gd name="T84" fmla="*/ 9093 w 206"/>
                <a:gd name="T85" fmla="*/ 69142 h 455"/>
                <a:gd name="T86" fmla="*/ 9093 w 206"/>
                <a:gd name="T87" fmla="*/ 89417 h 455"/>
                <a:gd name="T88" fmla="*/ 5456 w 206"/>
                <a:gd name="T89" fmla="*/ 97734 h 455"/>
                <a:gd name="T90" fmla="*/ 3637 w 206"/>
                <a:gd name="T91" fmla="*/ 107092 h 455"/>
                <a:gd name="T92" fmla="*/ 0 w 206"/>
                <a:gd name="T93" fmla="*/ 122168 h 455"/>
                <a:gd name="T94" fmla="*/ 10003 w 206"/>
                <a:gd name="T95" fmla="*/ 134645 h 455"/>
                <a:gd name="T96" fmla="*/ 18642 w 206"/>
                <a:gd name="T97" fmla="*/ 146082 h 455"/>
                <a:gd name="T98" fmla="*/ 25007 w 206"/>
                <a:gd name="T99" fmla="*/ 158558 h 455"/>
                <a:gd name="T100" fmla="*/ 30009 w 206"/>
                <a:gd name="T101" fmla="*/ 171035 h 455"/>
                <a:gd name="T102" fmla="*/ 34101 w 206"/>
                <a:gd name="T103" fmla="*/ 184552 h 455"/>
                <a:gd name="T104" fmla="*/ 37283 w 206"/>
                <a:gd name="T105" fmla="*/ 199628 h 455"/>
                <a:gd name="T106" fmla="*/ 42285 w 206"/>
                <a:gd name="T107" fmla="*/ 236538 h 455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06" h="455">
                  <a:moveTo>
                    <a:pt x="93" y="455"/>
                  </a:moveTo>
                  <a:lnTo>
                    <a:pt x="103" y="441"/>
                  </a:lnTo>
                  <a:lnTo>
                    <a:pt x="114" y="430"/>
                  </a:lnTo>
                  <a:lnTo>
                    <a:pt x="125" y="420"/>
                  </a:lnTo>
                  <a:lnTo>
                    <a:pt x="135" y="409"/>
                  </a:lnTo>
                  <a:lnTo>
                    <a:pt x="140" y="404"/>
                  </a:lnTo>
                  <a:lnTo>
                    <a:pt x="144" y="397"/>
                  </a:lnTo>
                  <a:lnTo>
                    <a:pt x="147" y="390"/>
                  </a:lnTo>
                  <a:lnTo>
                    <a:pt x="149" y="382"/>
                  </a:lnTo>
                  <a:lnTo>
                    <a:pt x="152" y="373"/>
                  </a:lnTo>
                  <a:lnTo>
                    <a:pt x="153" y="363"/>
                  </a:lnTo>
                  <a:lnTo>
                    <a:pt x="154" y="352"/>
                  </a:lnTo>
                  <a:lnTo>
                    <a:pt x="153" y="338"/>
                  </a:lnTo>
                  <a:lnTo>
                    <a:pt x="153" y="335"/>
                  </a:lnTo>
                  <a:lnTo>
                    <a:pt x="154" y="332"/>
                  </a:lnTo>
                  <a:lnTo>
                    <a:pt x="156" y="331"/>
                  </a:lnTo>
                  <a:lnTo>
                    <a:pt x="159" y="330"/>
                  </a:lnTo>
                  <a:lnTo>
                    <a:pt x="168" y="329"/>
                  </a:lnTo>
                  <a:lnTo>
                    <a:pt x="179" y="327"/>
                  </a:lnTo>
                  <a:lnTo>
                    <a:pt x="185" y="325"/>
                  </a:lnTo>
                  <a:lnTo>
                    <a:pt x="190" y="322"/>
                  </a:lnTo>
                  <a:lnTo>
                    <a:pt x="196" y="318"/>
                  </a:lnTo>
                  <a:lnTo>
                    <a:pt x="200" y="312"/>
                  </a:lnTo>
                  <a:lnTo>
                    <a:pt x="203" y="304"/>
                  </a:lnTo>
                  <a:lnTo>
                    <a:pt x="205" y="294"/>
                  </a:lnTo>
                  <a:lnTo>
                    <a:pt x="206" y="280"/>
                  </a:lnTo>
                  <a:lnTo>
                    <a:pt x="205" y="265"/>
                  </a:lnTo>
                  <a:lnTo>
                    <a:pt x="202" y="265"/>
                  </a:lnTo>
                  <a:lnTo>
                    <a:pt x="198" y="265"/>
                  </a:lnTo>
                  <a:lnTo>
                    <a:pt x="193" y="264"/>
                  </a:lnTo>
                  <a:lnTo>
                    <a:pt x="188" y="262"/>
                  </a:lnTo>
                  <a:lnTo>
                    <a:pt x="177" y="256"/>
                  </a:lnTo>
                  <a:lnTo>
                    <a:pt x="166" y="249"/>
                  </a:lnTo>
                  <a:lnTo>
                    <a:pt x="155" y="242"/>
                  </a:lnTo>
                  <a:lnTo>
                    <a:pt x="144" y="235"/>
                  </a:lnTo>
                  <a:lnTo>
                    <a:pt x="140" y="231"/>
                  </a:lnTo>
                  <a:lnTo>
                    <a:pt x="134" y="229"/>
                  </a:lnTo>
                  <a:lnTo>
                    <a:pt x="130" y="228"/>
                  </a:lnTo>
                  <a:lnTo>
                    <a:pt x="126" y="227"/>
                  </a:lnTo>
                  <a:lnTo>
                    <a:pt x="119" y="222"/>
                  </a:lnTo>
                  <a:lnTo>
                    <a:pt x="107" y="215"/>
                  </a:lnTo>
                  <a:lnTo>
                    <a:pt x="101" y="212"/>
                  </a:lnTo>
                  <a:lnTo>
                    <a:pt x="97" y="209"/>
                  </a:lnTo>
                  <a:lnTo>
                    <a:pt x="95" y="206"/>
                  </a:lnTo>
                  <a:lnTo>
                    <a:pt x="93" y="203"/>
                  </a:lnTo>
                  <a:lnTo>
                    <a:pt x="95" y="199"/>
                  </a:lnTo>
                  <a:lnTo>
                    <a:pt x="98" y="191"/>
                  </a:lnTo>
                  <a:lnTo>
                    <a:pt x="104" y="181"/>
                  </a:lnTo>
                  <a:lnTo>
                    <a:pt x="111" y="169"/>
                  </a:lnTo>
                  <a:lnTo>
                    <a:pt x="119" y="158"/>
                  </a:lnTo>
                  <a:lnTo>
                    <a:pt x="126" y="148"/>
                  </a:lnTo>
                  <a:lnTo>
                    <a:pt x="134" y="140"/>
                  </a:lnTo>
                  <a:lnTo>
                    <a:pt x="140" y="136"/>
                  </a:lnTo>
                  <a:lnTo>
                    <a:pt x="136" y="129"/>
                  </a:lnTo>
                  <a:lnTo>
                    <a:pt x="132" y="122"/>
                  </a:lnTo>
                  <a:lnTo>
                    <a:pt x="126" y="116"/>
                  </a:lnTo>
                  <a:lnTo>
                    <a:pt x="121" y="111"/>
                  </a:lnTo>
                  <a:lnTo>
                    <a:pt x="115" y="105"/>
                  </a:lnTo>
                  <a:lnTo>
                    <a:pt x="111" y="99"/>
                  </a:lnTo>
                  <a:lnTo>
                    <a:pt x="108" y="93"/>
                  </a:lnTo>
                  <a:lnTo>
                    <a:pt x="107" y="86"/>
                  </a:lnTo>
                  <a:lnTo>
                    <a:pt x="107" y="84"/>
                  </a:lnTo>
                  <a:lnTo>
                    <a:pt x="109" y="81"/>
                  </a:lnTo>
                  <a:lnTo>
                    <a:pt x="111" y="78"/>
                  </a:lnTo>
                  <a:lnTo>
                    <a:pt x="113" y="75"/>
                  </a:lnTo>
                  <a:lnTo>
                    <a:pt x="116" y="72"/>
                  </a:lnTo>
                  <a:lnTo>
                    <a:pt x="120" y="70"/>
                  </a:lnTo>
                  <a:lnTo>
                    <a:pt x="123" y="69"/>
                  </a:lnTo>
                  <a:lnTo>
                    <a:pt x="126" y="68"/>
                  </a:lnTo>
                  <a:lnTo>
                    <a:pt x="126" y="37"/>
                  </a:lnTo>
                  <a:lnTo>
                    <a:pt x="120" y="36"/>
                  </a:lnTo>
                  <a:lnTo>
                    <a:pt x="110" y="32"/>
                  </a:lnTo>
                  <a:lnTo>
                    <a:pt x="99" y="27"/>
                  </a:lnTo>
                  <a:lnTo>
                    <a:pt x="87" y="21"/>
                  </a:lnTo>
                  <a:lnTo>
                    <a:pt x="65" y="8"/>
                  </a:lnTo>
                  <a:lnTo>
                    <a:pt x="53" y="0"/>
                  </a:lnTo>
                  <a:lnTo>
                    <a:pt x="52" y="2"/>
                  </a:lnTo>
                  <a:lnTo>
                    <a:pt x="47" y="11"/>
                  </a:lnTo>
                  <a:lnTo>
                    <a:pt x="41" y="26"/>
                  </a:lnTo>
                  <a:lnTo>
                    <a:pt x="34" y="44"/>
                  </a:lnTo>
                  <a:lnTo>
                    <a:pt x="31" y="56"/>
                  </a:lnTo>
                  <a:lnTo>
                    <a:pt x="28" y="70"/>
                  </a:lnTo>
                  <a:lnTo>
                    <a:pt x="24" y="83"/>
                  </a:lnTo>
                  <a:lnTo>
                    <a:pt x="22" y="99"/>
                  </a:lnTo>
                  <a:lnTo>
                    <a:pt x="20" y="115"/>
                  </a:lnTo>
                  <a:lnTo>
                    <a:pt x="20" y="133"/>
                  </a:lnTo>
                  <a:lnTo>
                    <a:pt x="19" y="152"/>
                  </a:lnTo>
                  <a:lnTo>
                    <a:pt x="20" y="172"/>
                  </a:lnTo>
                  <a:lnTo>
                    <a:pt x="15" y="180"/>
                  </a:lnTo>
                  <a:lnTo>
                    <a:pt x="12" y="188"/>
                  </a:lnTo>
                  <a:lnTo>
                    <a:pt x="9" y="197"/>
                  </a:lnTo>
                  <a:lnTo>
                    <a:pt x="8" y="206"/>
                  </a:lnTo>
                  <a:lnTo>
                    <a:pt x="3" y="222"/>
                  </a:lnTo>
                  <a:lnTo>
                    <a:pt x="0" y="235"/>
                  </a:lnTo>
                  <a:lnTo>
                    <a:pt x="12" y="247"/>
                  </a:lnTo>
                  <a:lnTo>
                    <a:pt x="22" y="259"/>
                  </a:lnTo>
                  <a:lnTo>
                    <a:pt x="32" y="270"/>
                  </a:lnTo>
                  <a:lnTo>
                    <a:pt x="41" y="281"/>
                  </a:lnTo>
                  <a:lnTo>
                    <a:pt x="48" y="294"/>
                  </a:lnTo>
                  <a:lnTo>
                    <a:pt x="55" y="305"/>
                  </a:lnTo>
                  <a:lnTo>
                    <a:pt x="60" y="317"/>
                  </a:lnTo>
                  <a:lnTo>
                    <a:pt x="66" y="329"/>
                  </a:lnTo>
                  <a:lnTo>
                    <a:pt x="71" y="341"/>
                  </a:lnTo>
                  <a:lnTo>
                    <a:pt x="75" y="355"/>
                  </a:lnTo>
                  <a:lnTo>
                    <a:pt x="79" y="369"/>
                  </a:lnTo>
                  <a:lnTo>
                    <a:pt x="82" y="384"/>
                  </a:lnTo>
                  <a:lnTo>
                    <a:pt x="88" y="417"/>
                  </a:lnTo>
                  <a:lnTo>
                    <a:pt x="93" y="45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770" name="Freeform 240"/>
            <p:cNvSpPr>
              <a:spLocks/>
            </p:cNvSpPr>
            <p:nvPr>
              <p:custDataLst>
                <p:tags r:id="rId162"/>
              </p:custDataLst>
            </p:nvPr>
          </p:nvSpPr>
          <p:spPr bwMode="auto">
            <a:xfrm>
              <a:off x="5084405" y="3056981"/>
              <a:ext cx="276320" cy="259267"/>
            </a:xfrm>
            <a:custGeom>
              <a:avLst/>
              <a:gdLst>
                <a:gd name="T0" fmla="*/ 145866 w 518"/>
                <a:gd name="T1" fmla="*/ 58495 h 406"/>
                <a:gd name="T2" fmla="*/ 145866 w 518"/>
                <a:gd name="T3" fmla="*/ 137729 h 406"/>
                <a:gd name="T4" fmla="*/ 140944 w 518"/>
                <a:gd name="T5" fmla="*/ 140388 h 406"/>
                <a:gd name="T6" fmla="*/ 130206 w 518"/>
                <a:gd name="T7" fmla="*/ 144111 h 406"/>
                <a:gd name="T8" fmla="*/ 110071 w 518"/>
                <a:gd name="T9" fmla="*/ 150492 h 406"/>
                <a:gd name="T10" fmla="*/ 113203 w 518"/>
                <a:gd name="T11" fmla="*/ 160596 h 406"/>
                <a:gd name="T12" fmla="*/ 118572 w 518"/>
                <a:gd name="T13" fmla="*/ 173358 h 406"/>
                <a:gd name="T14" fmla="*/ 120362 w 518"/>
                <a:gd name="T15" fmla="*/ 187716 h 406"/>
                <a:gd name="T16" fmla="*/ 121704 w 518"/>
                <a:gd name="T17" fmla="*/ 203137 h 406"/>
                <a:gd name="T18" fmla="*/ 23267 w 518"/>
                <a:gd name="T19" fmla="*/ 209519 h 406"/>
                <a:gd name="T20" fmla="*/ 9844 w 518"/>
                <a:gd name="T21" fmla="*/ 215900 h 406"/>
                <a:gd name="T22" fmla="*/ 2237 w 518"/>
                <a:gd name="T23" fmla="*/ 214305 h 406"/>
                <a:gd name="T24" fmla="*/ 447 w 518"/>
                <a:gd name="T25" fmla="*/ 211646 h 406"/>
                <a:gd name="T26" fmla="*/ 447 w 518"/>
                <a:gd name="T27" fmla="*/ 204733 h 406"/>
                <a:gd name="T28" fmla="*/ 1790 w 518"/>
                <a:gd name="T29" fmla="*/ 197288 h 406"/>
                <a:gd name="T30" fmla="*/ 4922 w 518"/>
                <a:gd name="T31" fmla="*/ 188248 h 406"/>
                <a:gd name="T32" fmla="*/ 8949 w 518"/>
                <a:gd name="T33" fmla="*/ 181335 h 406"/>
                <a:gd name="T34" fmla="*/ 13423 w 518"/>
                <a:gd name="T35" fmla="*/ 177612 h 406"/>
                <a:gd name="T36" fmla="*/ 17003 w 518"/>
                <a:gd name="T37" fmla="*/ 173358 h 406"/>
                <a:gd name="T38" fmla="*/ 19687 w 518"/>
                <a:gd name="T39" fmla="*/ 168572 h 406"/>
                <a:gd name="T40" fmla="*/ 21925 w 518"/>
                <a:gd name="T41" fmla="*/ 155278 h 406"/>
                <a:gd name="T42" fmla="*/ 25057 w 518"/>
                <a:gd name="T43" fmla="*/ 140920 h 406"/>
                <a:gd name="T44" fmla="*/ 27741 w 518"/>
                <a:gd name="T45" fmla="*/ 136666 h 406"/>
                <a:gd name="T46" fmla="*/ 33111 w 518"/>
                <a:gd name="T47" fmla="*/ 130816 h 406"/>
                <a:gd name="T48" fmla="*/ 41165 w 518"/>
                <a:gd name="T49" fmla="*/ 126562 h 406"/>
                <a:gd name="T50" fmla="*/ 47876 w 518"/>
                <a:gd name="T51" fmla="*/ 122840 h 406"/>
                <a:gd name="T52" fmla="*/ 54588 w 518"/>
                <a:gd name="T53" fmla="*/ 115927 h 406"/>
                <a:gd name="T54" fmla="*/ 60852 w 518"/>
                <a:gd name="T55" fmla="*/ 103696 h 406"/>
                <a:gd name="T56" fmla="*/ 67116 w 518"/>
                <a:gd name="T57" fmla="*/ 82957 h 406"/>
                <a:gd name="T58" fmla="*/ 72486 w 518"/>
                <a:gd name="T59" fmla="*/ 62217 h 406"/>
                <a:gd name="T60" fmla="*/ 76960 w 518"/>
                <a:gd name="T61" fmla="*/ 49987 h 406"/>
                <a:gd name="T62" fmla="*/ 83224 w 518"/>
                <a:gd name="T63" fmla="*/ 38819 h 406"/>
                <a:gd name="T64" fmla="*/ 89936 w 518"/>
                <a:gd name="T65" fmla="*/ 32970 h 406"/>
                <a:gd name="T66" fmla="*/ 95305 w 518"/>
                <a:gd name="T67" fmla="*/ 30311 h 406"/>
                <a:gd name="T68" fmla="*/ 97990 w 518"/>
                <a:gd name="T69" fmla="*/ 23398 h 406"/>
                <a:gd name="T70" fmla="*/ 99780 w 518"/>
                <a:gd name="T71" fmla="*/ 14890 h 406"/>
                <a:gd name="T72" fmla="*/ 102017 w 518"/>
                <a:gd name="T73" fmla="*/ 8508 h 406"/>
                <a:gd name="T74" fmla="*/ 106939 w 518"/>
                <a:gd name="T75" fmla="*/ 4254 h 406"/>
                <a:gd name="T76" fmla="*/ 228643 w 518"/>
                <a:gd name="T77" fmla="*/ 0 h 406"/>
                <a:gd name="T78" fmla="*/ 230433 w 518"/>
                <a:gd name="T79" fmla="*/ 24462 h 406"/>
                <a:gd name="T80" fmla="*/ 231775 w 518"/>
                <a:gd name="T81" fmla="*/ 58495 h 40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518" h="406">
                  <a:moveTo>
                    <a:pt x="518" y="110"/>
                  </a:moveTo>
                  <a:lnTo>
                    <a:pt x="326" y="110"/>
                  </a:lnTo>
                  <a:lnTo>
                    <a:pt x="312" y="104"/>
                  </a:lnTo>
                  <a:lnTo>
                    <a:pt x="326" y="259"/>
                  </a:lnTo>
                  <a:lnTo>
                    <a:pt x="323" y="261"/>
                  </a:lnTo>
                  <a:lnTo>
                    <a:pt x="315" y="264"/>
                  </a:lnTo>
                  <a:lnTo>
                    <a:pt x="304" y="267"/>
                  </a:lnTo>
                  <a:lnTo>
                    <a:pt x="291" y="271"/>
                  </a:lnTo>
                  <a:lnTo>
                    <a:pt x="263" y="277"/>
                  </a:lnTo>
                  <a:lnTo>
                    <a:pt x="246" y="283"/>
                  </a:lnTo>
                  <a:lnTo>
                    <a:pt x="250" y="292"/>
                  </a:lnTo>
                  <a:lnTo>
                    <a:pt x="253" y="302"/>
                  </a:lnTo>
                  <a:lnTo>
                    <a:pt x="258" y="314"/>
                  </a:lnTo>
                  <a:lnTo>
                    <a:pt x="265" y="326"/>
                  </a:lnTo>
                  <a:lnTo>
                    <a:pt x="267" y="335"/>
                  </a:lnTo>
                  <a:lnTo>
                    <a:pt x="269" y="353"/>
                  </a:lnTo>
                  <a:lnTo>
                    <a:pt x="271" y="373"/>
                  </a:lnTo>
                  <a:lnTo>
                    <a:pt x="272" y="382"/>
                  </a:lnTo>
                  <a:lnTo>
                    <a:pt x="67" y="382"/>
                  </a:lnTo>
                  <a:lnTo>
                    <a:pt x="52" y="394"/>
                  </a:lnTo>
                  <a:lnTo>
                    <a:pt x="39" y="406"/>
                  </a:lnTo>
                  <a:lnTo>
                    <a:pt x="22" y="406"/>
                  </a:lnTo>
                  <a:lnTo>
                    <a:pt x="10" y="404"/>
                  </a:lnTo>
                  <a:lnTo>
                    <a:pt x="5" y="403"/>
                  </a:lnTo>
                  <a:lnTo>
                    <a:pt x="2" y="401"/>
                  </a:lnTo>
                  <a:lnTo>
                    <a:pt x="1" y="398"/>
                  </a:lnTo>
                  <a:lnTo>
                    <a:pt x="0" y="394"/>
                  </a:lnTo>
                  <a:lnTo>
                    <a:pt x="1" y="385"/>
                  </a:lnTo>
                  <a:lnTo>
                    <a:pt x="2" y="378"/>
                  </a:lnTo>
                  <a:lnTo>
                    <a:pt x="4" y="371"/>
                  </a:lnTo>
                  <a:lnTo>
                    <a:pt x="6" y="365"/>
                  </a:lnTo>
                  <a:lnTo>
                    <a:pt x="11" y="354"/>
                  </a:lnTo>
                  <a:lnTo>
                    <a:pt x="13" y="344"/>
                  </a:lnTo>
                  <a:lnTo>
                    <a:pt x="20" y="341"/>
                  </a:lnTo>
                  <a:lnTo>
                    <a:pt x="26" y="337"/>
                  </a:lnTo>
                  <a:lnTo>
                    <a:pt x="30" y="334"/>
                  </a:lnTo>
                  <a:lnTo>
                    <a:pt x="35" y="330"/>
                  </a:lnTo>
                  <a:lnTo>
                    <a:pt x="38" y="326"/>
                  </a:lnTo>
                  <a:lnTo>
                    <a:pt x="41" y="321"/>
                  </a:lnTo>
                  <a:lnTo>
                    <a:pt x="44" y="317"/>
                  </a:lnTo>
                  <a:lnTo>
                    <a:pt x="46" y="313"/>
                  </a:lnTo>
                  <a:lnTo>
                    <a:pt x="49" y="292"/>
                  </a:lnTo>
                  <a:lnTo>
                    <a:pt x="52" y="271"/>
                  </a:lnTo>
                  <a:lnTo>
                    <a:pt x="56" y="265"/>
                  </a:lnTo>
                  <a:lnTo>
                    <a:pt x="59" y="261"/>
                  </a:lnTo>
                  <a:lnTo>
                    <a:pt x="62" y="257"/>
                  </a:lnTo>
                  <a:lnTo>
                    <a:pt x="66" y="253"/>
                  </a:lnTo>
                  <a:lnTo>
                    <a:pt x="74" y="246"/>
                  </a:lnTo>
                  <a:lnTo>
                    <a:pt x="83" y="242"/>
                  </a:lnTo>
                  <a:lnTo>
                    <a:pt x="92" y="238"/>
                  </a:lnTo>
                  <a:lnTo>
                    <a:pt x="100" y="235"/>
                  </a:lnTo>
                  <a:lnTo>
                    <a:pt x="107" y="231"/>
                  </a:lnTo>
                  <a:lnTo>
                    <a:pt x="113" y="227"/>
                  </a:lnTo>
                  <a:lnTo>
                    <a:pt x="122" y="218"/>
                  </a:lnTo>
                  <a:lnTo>
                    <a:pt x="129" y="207"/>
                  </a:lnTo>
                  <a:lnTo>
                    <a:pt x="136" y="195"/>
                  </a:lnTo>
                  <a:lnTo>
                    <a:pt x="141" y="182"/>
                  </a:lnTo>
                  <a:lnTo>
                    <a:pt x="150" y="156"/>
                  </a:lnTo>
                  <a:lnTo>
                    <a:pt x="158" y="129"/>
                  </a:lnTo>
                  <a:lnTo>
                    <a:pt x="162" y="117"/>
                  </a:lnTo>
                  <a:lnTo>
                    <a:pt x="168" y="105"/>
                  </a:lnTo>
                  <a:lnTo>
                    <a:pt x="172" y="94"/>
                  </a:lnTo>
                  <a:lnTo>
                    <a:pt x="179" y="83"/>
                  </a:lnTo>
                  <a:lnTo>
                    <a:pt x="186" y="73"/>
                  </a:lnTo>
                  <a:lnTo>
                    <a:pt x="195" y="66"/>
                  </a:lnTo>
                  <a:lnTo>
                    <a:pt x="201" y="62"/>
                  </a:lnTo>
                  <a:lnTo>
                    <a:pt x="206" y="59"/>
                  </a:lnTo>
                  <a:lnTo>
                    <a:pt x="213" y="57"/>
                  </a:lnTo>
                  <a:lnTo>
                    <a:pt x="219" y="55"/>
                  </a:lnTo>
                  <a:lnTo>
                    <a:pt x="219" y="44"/>
                  </a:lnTo>
                  <a:lnTo>
                    <a:pt x="220" y="36"/>
                  </a:lnTo>
                  <a:lnTo>
                    <a:pt x="223" y="28"/>
                  </a:lnTo>
                  <a:lnTo>
                    <a:pt x="225" y="21"/>
                  </a:lnTo>
                  <a:lnTo>
                    <a:pt x="228" y="16"/>
                  </a:lnTo>
                  <a:lnTo>
                    <a:pt x="233" y="11"/>
                  </a:lnTo>
                  <a:lnTo>
                    <a:pt x="239" y="8"/>
                  </a:lnTo>
                  <a:lnTo>
                    <a:pt x="246" y="6"/>
                  </a:lnTo>
                  <a:lnTo>
                    <a:pt x="511" y="0"/>
                  </a:lnTo>
                  <a:lnTo>
                    <a:pt x="513" y="13"/>
                  </a:lnTo>
                  <a:lnTo>
                    <a:pt x="515" y="46"/>
                  </a:lnTo>
                  <a:lnTo>
                    <a:pt x="517" y="83"/>
                  </a:lnTo>
                  <a:lnTo>
                    <a:pt x="518" y="11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771" name="Freeform 241"/>
            <p:cNvSpPr>
              <a:spLocks/>
            </p:cNvSpPr>
            <p:nvPr>
              <p:custDataLst>
                <p:tags r:id="rId163"/>
              </p:custDataLst>
            </p:nvPr>
          </p:nvSpPr>
          <p:spPr bwMode="auto">
            <a:xfrm>
              <a:off x="5046551" y="1625292"/>
              <a:ext cx="227112" cy="112476"/>
            </a:xfrm>
            <a:custGeom>
              <a:avLst/>
              <a:gdLst>
                <a:gd name="T0" fmla="*/ 14522 w 446"/>
                <a:gd name="T1" fmla="*/ 32098 h 178"/>
                <a:gd name="T2" fmla="*/ 17512 w 446"/>
                <a:gd name="T3" fmla="*/ 22100 h 178"/>
                <a:gd name="T4" fmla="*/ 29045 w 446"/>
                <a:gd name="T5" fmla="*/ 19469 h 178"/>
                <a:gd name="T6" fmla="*/ 34170 w 446"/>
                <a:gd name="T7" fmla="*/ 9471 h 178"/>
                <a:gd name="T8" fmla="*/ 30753 w 446"/>
                <a:gd name="T9" fmla="*/ 7367 h 178"/>
                <a:gd name="T10" fmla="*/ 25628 w 446"/>
                <a:gd name="T11" fmla="*/ 0 h 178"/>
                <a:gd name="T12" fmla="*/ 36306 w 446"/>
                <a:gd name="T13" fmla="*/ 5262 h 178"/>
                <a:gd name="T14" fmla="*/ 46130 w 446"/>
                <a:gd name="T15" fmla="*/ 20521 h 178"/>
                <a:gd name="T16" fmla="*/ 53391 w 446"/>
                <a:gd name="T17" fmla="*/ 32624 h 178"/>
                <a:gd name="T18" fmla="*/ 59371 w 446"/>
                <a:gd name="T19" fmla="*/ 35255 h 178"/>
                <a:gd name="T20" fmla="*/ 67059 w 446"/>
                <a:gd name="T21" fmla="*/ 33150 h 178"/>
                <a:gd name="T22" fmla="*/ 77311 w 446"/>
                <a:gd name="T23" fmla="*/ 23679 h 178"/>
                <a:gd name="T24" fmla="*/ 87562 w 446"/>
                <a:gd name="T25" fmla="*/ 12102 h 178"/>
                <a:gd name="T26" fmla="*/ 93969 w 446"/>
                <a:gd name="T27" fmla="*/ 16312 h 178"/>
                <a:gd name="T28" fmla="*/ 153340 w 446"/>
                <a:gd name="T29" fmla="*/ 5788 h 178"/>
                <a:gd name="T30" fmla="*/ 160601 w 446"/>
                <a:gd name="T31" fmla="*/ 12102 h 178"/>
                <a:gd name="T32" fmla="*/ 169143 w 446"/>
                <a:gd name="T33" fmla="*/ 11576 h 178"/>
                <a:gd name="T34" fmla="*/ 176405 w 446"/>
                <a:gd name="T35" fmla="*/ 19469 h 178"/>
                <a:gd name="T36" fmla="*/ 177259 w 446"/>
                <a:gd name="T37" fmla="*/ 22626 h 178"/>
                <a:gd name="T38" fmla="*/ 183239 w 446"/>
                <a:gd name="T39" fmla="*/ 28414 h 178"/>
                <a:gd name="T40" fmla="*/ 189219 w 446"/>
                <a:gd name="T41" fmla="*/ 35781 h 178"/>
                <a:gd name="T42" fmla="*/ 190500 w 446"/>
                <a:gd name="T43" fmla="*/ 42095 h 178"/>
                <a:gd name="T44" fmla="*/ 187083 w 446"/>
                <a:gd name="T45" fmla="*/ 50514 h 178"/>
                <a:gd name="T46" fmla="*/ 176405 w 446"/>
                <a:gd name="T47" fmla="*/ 58407 h 178"/>
                <a:gd name="T48" fmla="*/ 169571 w 446"/>
                <a:gd name="T49" fmla="*/ 63143 h 178"/>
                <a:gd name="T50" fmla="*/ 156330 w 446"/>
                <a:gd name="T51" fmla="*/ 64721 h 178"/>
                <a:gd name="T52" fmla="*/ 128139 w 446"/>
                <a:gd name="T53" fmla="*/ 76824 h 178"/>
                <a:gd name="T54" fmla="*/ 99948 w 446"/>
                <a:gd name="T55" fmla="*/ 89979 h 178"/>
                <a:gd name="T56" fmla="*/ 84999 w 446"/>
                <a:gd name="T57" fmla="*/ 93662 h 178"/>
                <a:gd name="T58" fmla="*/ 75602 w 446"/>
                <a:gd name="T59" fmla="*/ 91557 h 178"/>
                <a:gd name="T60" fmla="*/ 73466 w 446"/>
                <a:gd name="T61" fmla="*/ 86295 h 178"/>
                <a:gd name="T62" fmla="*/ 72612 w 446"/>
                <a:gd name="T63" fmla="*/ 84717 h 178"/>
                <a:gd name="T64" fmla="*/ 66632 w 446"/>
                <a:gd name="T65" fmla="*/ 84717 h 178"/>
                <a:gd name="T66" fmla="*/ 59371 w 446"/>
                <a:gd name="T67" fmla="*/ 84191 h 178"/>
                <a:gd name="T68" fmla="*/ 42713 w 446"/>
                <a:gd name="T69" fmla="*/ 77350 h 178"/>
                <a:gd name="T70" fmla="*/ 36306 w 446"/>
                <a:gd name="T71" fmla="*/ 72088 h 178"/>
                <a:gd name="T72" fmla="*/ 34598 w 446"/>
                <a:gd name="T73" fmla="*/ 65774 h 178"/>
                <a:gd name="T74" fmla="*/ 37160 w 446"/>
                <a:gd name="T75" fmla="*/ 58407 h 178"/>
                <a:gd name="T76" fmla="*/ 11533 w 446"/>
                <a:gd name="T77" fmla="*/ 54198 h 178"/>
                <a:gd name="T78" fmla="*/ 3844 w 446"/>
                <a:gd name="T79" fmla="*/ 55250 h 178"/>
                <a:gd name="T80" fmla="*/ 0 w 446"/>
                <a:gd name="T81" fmla="*/ 42095 h 178"/>
                <a:gd name="T82" fmla="*/ 25628 w 446"/>
                <a:gd name="T83" fmla="*/ 45252 h 178"/>
                <a:gd name="T84" fmla="*/ 37160 w 446"/>
                <a:gd name="T85" fmla="*/ 42095 h 178"/>
                <a:gd name="T86" fmla="*/ 9824 w 446"/>
                <a:gd name="T87" fmla="*/ 35781 h 178"/>
                <a:gd name="T88" fmla="*/ 6834 w 446"/>
                <a:gd name="T89" fmla="*/ 28941 h 17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446" h="178">
                  <a:moveTo>
                    <a:pt x="27" y="43"/>
                  </a:moveTo>
                  <a:lnTo>
                    <a:pt x="31" y="52"/>
                  </a:lnTo>
                  <a:lnTo>
                    <a:pt x="34" y="61"/>
                  </a:lnTo>
                  <a:lnTo>
                    <a:pt x="37" y="53"/>
                  </a:lnTo>
                  <a:lnTo>
                    <a:pt x="40" y="47"/>
                  </a:lnTo>
                  <a:lnTo>
                    <a:pt x="41" y="42"/>
                  </a:lnTo>
                  <a:lnTo>
                    <a:pt x="41" y="37"/>
                  </a:lnTo>
                  <a:lnTo>
                    <a:pt x="55" y="37"/>
                  </a:lnTo>
                  <a:lnTo>
                    <a:pt x="68" y="37"/>
                  </a:lnTo>
                  <a:lnTo>
                    <a:pt x="77" y="37"/>
                  </a:lnTo>
                  <a:lnTo>
                    <a:pt x="80" y="37"/>
                  </a:lnTo>
                  <a:lnTo>
                    <a:pt x="80" y="18"/>
                  </a:lnTo>
                  <a:lnTo>
                    <a:pt x="78" y="17"/>
                  </a:lnTo>
                  <a:lnTo>
                    <a:pt x="75" y="16"/>
                  </a:lnTo>
                  <a:lnTo>
                    <a:pt x="72" y="14"/>
                  </a:lnTo>
                  <a:lnTo>
                    <a:pt x="70" y="11"/>
                  </a:lnTo>
                  <a:lnTo>
                    <a:pt x="65" y="5"/>
                  </a:lnTo>
                  <a:lnTo>
                    <a:pt x="60" y="0"/>
                  </a:lnTo>
                  <a:lnTo>
                    <a:pt x="69" y="3"/>
                  </a:lnTo>
                  <a:lnTo>
                    <a:pt x="78" y="6"/>
                  </a:lnTo>
                  <a:lnTo>
                    <a:pt x="85" y="10"/>
                  </a:lnTo>
                  <a:lnTo>
                    <a:pt x="90" y="15"/>
                  </a:lnTo>
                  <a:lnTo>
                    <a:pt x="100" y="27"/>
                  </a:lnTo>
                  <a:lnTo>
                    <a:pt x="108" y="39"/>
                  </a:lnTo>
                  <a:lnTo>
                    <a:pt x="114" y="49"/>
                  </a:lnTo>
                  <a:lnTo>
                    <a:pt x="121" y="59"/>
                  </a:lnTo>
                  <a:lnTo>
                    <a:pt x="125" y="62"/>
                  </a:lnTo>
                  <a:lnTo>
                    <a:pt x="130" y="65"/>
                  </a:lnTo>
                  <a:lnTo>
                    <a:pt x="134" y="67"/>
                  </a:lnTo>
                  <a:lnTo>
                    <a:pt x="139" y="67"/>
                  </a:lnTo>
                  <a:lnTo>
                    <a:pt x="146" y="67"/>
                  </a:lnTo>
                  <a:lnTo>
                    <a:pt x="152" y="66"/>
                  </a:lnTo>
                  <a:lnTo>
                    <a:pt x="157" y="63"/>
                  </a:lnTo>
                  <a:lnTo>
                    <a:pt x="163" y="61"/>
                  </a:lnTo>
                  <a:lnTo>
                    <a:pt x="172" y="54"/>
                  </a:lnTo>
                  <a:lnTo>
                    <a:pt x="181" y="45"/>
                  </a:lnTo>
                  <a:lnTo>
                    <a:pt x="190" y="37"/>
                  </a:lnTo>
                  <a:lnTo>
                    <a:pt x="198" y="29"/>
                  </a:lnTo>
                  <a:lnTo>
                    <a:pt x="205" y="23"/>
                  </a:lnTo>
                  <a:lnTo>
                    <a:pt x="213" y="18"/>
                  </a:lnTo>
                  <a:lnTo>
                    <a:pt x="216" y="25"/>
                  </a:lnTo>
                  <a:lnTo>
                    <a:pt x="220" y="31"/>
                  </a:lnTo>
                  <a:lnTo>
                    <a:pt x="293" y="31"/>
                  </a:lnTo>
                  <a:lnTo>
                    <a:pt x="352" y="6"/>
                  </a:lnTo>
                  <a:lnTo>
                    <a:pt x="359" y="11"/>
                  </a:lnTo>
                  <a:lnTo>
                    <a:pt x="367" y="17"/>
                  </a:lnTo>
                  <a:lnTo>
                    <a:pt x="371" y="21"/>
                  </a:lnTo>
                  <a:lnTo>
                    <a:pt x="376" y="23"/>
                  </a:lnTo>
                  <a:lnTo>
                    <a:pt x="381" y="24"/>
                  </a:lnTo>
                  <a:lnTo>
                    <a:pt x="385" y="25"/>
                  </a:lnTo>
                  <a:lnTo>
                    <a:pt x="396" y="22"/>
                  </a:lnTo>
                  <a:lnTo>
                    <a:pt x="413" y="18"/>
                  </a:lnTo>
                  <a:lnTo>
                    <a:pt x="413" y="28"/>
                  </a:lnTo>
                  <a:lnTo>
                    <a:pt x="413" y="37"/>
                  </a:lnTo>
                  <a:lnTo>
                    <a:pt x="413" y="39"/>
                  </a:lnTo>
                  <a:lnTo>
                    <a:pt x="414" y="41"/>
                  </a:lnTo>
                  <a:lnTo>
                    <a:pt x="415" y="43"/>
                  </a:lnTo>
                  <a:lnTo>
                    <a:pt x="417" y="45"/>
                  </a:lnTo>
                  <a:lnTo>
                    <a:pt x="423" y="49"/>
                  </a:lnTo>
                  <a:lnTo>
                    <a:pt x="429" y="54"/>
                  </a:lnTo>
                  <a:lnTo>
                    <a:pt x="435" y="59"/>
                  </a:lnTo>
                  <a:lnTo>
                    <a:pt x="440" y="64"/>
                  </a:lnTo>
                  <a:lnTo>
                    <a:pt x="443" y="68"/>
                  </a:lnTo>
                  <a:lnTo>
                    <a:pt x="444" y="71"/>
                  </a:lnTo>
                  <a:lnTo>
                    <a:pt x="445" y="76"/>
                  </a:lnTo>
                  <a:lnTo>
                    <a:pt x="446" y="80"/>
                  </a:lnTo>
                  <a:lnTo>
                    <a:pt x="445" y="87"/>
                  </a:lnTo>
                  <a:lnTo>
                    <a:pt x="443" y="92"/>
                  </a:lnTo>
                  <a:lnTo>
                    <a:pt x="438" y="96"/>
                  </a:lnTo>
                  <a:lnTo>
                    <a:pt x="434" y="100"/>
                  </a:lnTo>
                  <a:lnTo>
                    <a:pt x="423" y="106"/>
                  </a:lnTo>
                  <a:lnTo>
                    <a:pt x="413" y="111"/>
                  </a:lnTo>
                  <a:lnTo>
                    <a:pt x="407" y="115"/>
                  </a:lnTo>
                  <a:lnTo>
                    <a:pt x="402" y="118"/>
                  </a:lnTo>
                  <a:lnTo>
                    <a:pt x="397" y="120"/>
                  </a:lnTo>
                  <a:lnTo>
                    <a:pt x="392" y="121"/>
                  </a:lnTo>
                  <a:lnTo>
                    <a:pt x="380" y="123"/>
                  </a:lnTo>
                  <a:lnTo>
                    <a:pt x="366" y="123"/>
                  </a:lnTo>
                  <a:lnTo>
                    <a:pt x="344" y="129"/>
                  </a:lnTo>
                  <a:lnTo>
                    <a:pt x="322" y="137"/>
                  </a:lnTo>
                  <a:lnTo>
                    <a:pt x="300" y="146"/>
                  </a:lnTo>
                  <a:lnTo>
                    <a:pt x="279" y="156"/>
                  </a:lnTo>
                  <a:lnTo>
                    <a:pt x="257" y="164"/>
                  </a:lnTo>
                  <a:lnTo>
                    <a:pt x="234" y="171"/>
                  </a:lnTo>
                  <a:lnTo>
                    <a:pt x="223" y="174"/>
                  </a:lnTo>
                  <a:lnTo>
                    <a:pt x="211" y="176"/>
                  </a:lnTo>
                  <a:lnTo>
                    <a:pt x="199" y="178"/>
                  </a:lnTo>
                  <a:lnTo>
                    <a:pt x="187" y="178"/>
                  </a:lnTo>
                  <a:lnTo>
                    <a:pt x="181" y="177"/>
                  </a:lnTo>
                  <a:lnTo>
                    <a:pt x="177" y="174"/>
                  </a:lnTo>
                  <a:lnTo>
                    <a:pt x="175" y="171"/>
                  </a:lnTo>
                  <a:lnTo>
                    <a:pt x="173" y="166"/>
                  </a:lnTo>
                  <a:lnTo>
                    <a:pt x="172" y="164"/>
                  </a:lnTo>
                  <a:lnTo>
                    <a:pt x="172" y="163"/>
                  </a:lnTo>
                  <a:lnTo>
                    <a:pt x="171" y="162"/>
                  </a:lnTo>
                  <a:lnTo>
                    <a:pt x="170" y="161"/>
                  </a:lnTo>
                  <a:lnTo>
                    <a:pt x="166" y="161"/>
                  </a:lnTo>
                  <a:lnTo>
                    <a:pt x="161" y="161"/>
                  </a:lnTo>
                  <a:lnTo>
                    <a:pt x="156" y="161"/>
                  </a:lnTo>
                  <a:lnTo>
                    <a:pt x="150" y="162"/>
                  </a:lnTo>
                  <a:lnTo>
                    <a:pt x="145" y="162"/>
                  </a:lnTo>
                  <a:lnTo>
                    <a:pt x="139" y="160"/>
                  </a:lnTo>
                  <a:lnTo>
                    <a:pt x="125" y="156"/>
                  </a:lnTo>
                  <a:lnTo>
                    <a:pt x="112" y="152"/>
                  </a:lnTo>
                  <a:lnTo>
                    <a:pt x="100" y="147"/>
                  </a:lnTo>
                  <a:lnTo>
                    <a:pt x="91" y="143"/>
                  </a:lnTo>
                  <a:lnTo>
                    <a:pt x="87" y="140"/>
                  </a:lnTo>
                  <a:lnTo>
                    <a:pt x="85" y="137"/>
                  </a:lnTo>
                  <a:lnTo>
                    <a:pt x="82" y="134"/>
                  </a:lnTo>
                  <a:lnTo>
                    <a:pt x="81" y="129"/>
                  </a:lnTo>
                  <a:lnTo>
                    <a:pt x="81" y="125"/>
                  </a:lnTo>
                  <a:lnTo>
                    <a:pt x="81" y="121"/>
                  </a:lnTo>
                  <a:lnTo>
                    <a:pt x="83" y="116"/>
                  </a:lnTo>
                  <a:lnTo>
                    <a:pt x="87" y="111"/>
                  </a:lnTo>
                  <a:lnTo>
                    <a:pt x="63" y="108"/>
                  </a:lnTo>
                  <a:lnTo>
                    <a:pt x="38" y="104"/>
                  </a:lnTo>
                  <a:lnTo>
                    <a:pt x="27" y="103"/>
                  </a:lnTo>
                  <a:lnTo>
                    <a:pt x="18" y="103"/>
                  </a:lnTo>
                  <a:lnTo>
                    <a:pt x="13" y="104"/>
                  </a:lnTo>
                  <a:lnTo>
                    <a:pt x="9" y="105"/>
                  </a:lnTo>
                  <a:lnTo>
                    <a:pt x="4" y="108"/>
                  </a:lnTo>
                  <a:lnTo>
                    <a:pt x="0" y="111"/>
                  </a:lnTo>
                  <a:lnTo>
                    <a:pt x="0" y="80"/>
                  </a:lnTo>
                  <a:lnTo>
                    <a:pt x="30" y="82"/>
                  </a:lnTo>
                  <a:lnTo>
                    <a:pt x="51" y="85"/>
                  </a:lnTo>
                  <a:lnTo>
                    <a:pt x="60" y="86"/>
                  </a:lnTo>
                  <a:lnTo>
                    <a:pt x="68" y="86"/>
                  </a:lnTo>
                  <a:lnTo>
                    <a:pt x="77" y="84"/>
                  </a:lnTo>
                  <a:lnTo>
                    <a:pt x="87" y="80"/>
                  </a:lnTo>
                  <a:lnTo>
                    <a:pt x="64" y="76"/>
                  </a:lnTo>
                  <a:lnTo>
                    <a:pt x="44" y="71"/>
                  </a:lnTo>
                  <a:lnTo>
                    <a:pt x="23" y="68"/>
                  </a:lnTo>
                  <a:lnTo>
                    <a:pt x="0" y="67"/>
                  </a:lnTo>
                  <a:lnTo>
                    <a:pt x="9" y="62"/>
                  </a:lnTo>
                  <a:lnTo>
                    <a:pt x="16" y="55"/>
                  </a:lnTo>
                  <a:lnTo>
                    <a:pt x="22" y="49"/>
                  </a:lnTo>
                  <a:lnTo>
                    <a:pt x="27" y="4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772" name="Freeform 242"/>
            <p:cNvSpPr>
              <a:spLocks/>
            </p:cNvSpPr>
            <p:nvPr>
              <p:custDataLst>
                <p:tags r:id="rId164"/>
              </p:custDataLst>
            </p:nvPr>
          </p:nvSpPr>
          <p:spPr bwMode="auto">
            <a:xfrm>
              <a:off x="5990959" y="1941751"/>
              <a:ext cx="17034" cy="68630"/>
            </a:xfrm>
            <a:custGeom>
              <a:avLst/>
              <a:gdLst>
                <a:gd name="T0" fmla="*/ 0 w 28"/>
                <a:gd name="T1" fmla="*/ 57150 h 73"/>
                <a:gd name="T2" fmla="*/ 1021 w 28"/>
                <a:gd name="T3" fmla="*/ 36795 h 73"/>
                <a:gd name="T4" fmla="*/ 3062 w 28"/>
                <a:gd name="T5" fmla="*/ 21921 h 73"/>
                <a:gd name="T6" fmla="*/ 3572 w 28"/>
                <a:gd name="T7" fmla="*/ 15658 h 73"/>
                <a:gd name="T8" fmla="*/ 3062 w 28"/>
                <a:gd name="T9" fmla="*/ 10177 h 73"/>
                <a:gd name="T10" fmla="*/ 2041 w 28"/>
                <a:gd name="T11" fmla="*/ 5480 h 73"/>
                <a:gd name="T12" fmla="*/ 0 w 28"/>
                <a:gd name="T13" fmla="*/ 0 h 73"/>
                <a:gd name="T14" fmla="*/ 14288 w 28"/>
                <a:gd name="T15" fmla="*/ 0 h 73"/>
                <a:gd name="T16" fmla="*/ 11226 w 28"/>
                <a:gd name="T17" fmla="*/ 12526 h 73"/>
                <a:gd name="T18" fmla="*/ 8675 w 28"/>
                <a:gd name="T19" fmla="*/ 23486 h 73"/>
                <a:gd name="T20" fmla="*/ 6123 w 28"/>
                <a:gd name="T21" fmla="*/ 33664 h 73"/>
                <a:gd name="T22" fmla="*/ 3572 w 28"/>
                <a:gd name="T23" fmla="*/ 43058 h 73"/>
                <a:gd name="T24" fmla="*/ 0 w 28"/>
                <a:gd name="T25" fmla="*/ 57150 h 7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8" h="73">
                  <a:moveTo>
                    <a:pt x="0" y="73"/>
                  </a:moveTo>
                  <a:lnTo>
                    <a:pt x="2" y="47"/>
                  </a:lnTo>
                  <a:lnTo>
                    <a:pt x="6" y="28"/>
                  </a:lnTo>
                  <a:lnTo>
                    <a:pt x="7" y="20"/>
                  </a:lnTo>
                  <a:lnTo>
                    <a:pt x="6" y="13"/>
                  </a:lnTo>
                  <a:lnTo>
                    <a:pt x="4" y="7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2" y="16"/>
                  </a:lnTo>
                  <a:lnTo>
                    <a:pt x="17" y="30"/>
                  </a:lnTo>
                  <a:lnTo>
                    <a:pt x="12" y="43"/>
                  </a:lnTo>
                  <a:lnTo>
                    <a:pt x="7" y="55"/>
                  </a:lnTo>
                  <a:lnTo>
                    <a:pt x="0" y="7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773" name="Freeform 243"/>
            <p:cNvSpPr>
              <a:spLocks/>
            </p:cNvSpPr>
            <p:nvPr>
              <p:custDataLst>
                <p:tags r:id="rId165"/>
              </p:custDataLst>
            </p:nvPr>
          </p:nvSpPr>
          <p:spPr bwMode="auto">
            <a:xfrm>
              <a:off x="5856585" y="1537600"/>
              <a:ext cx="280105" cy="474688"/>
            </a:xfrm>
            <a:custGeom>
              <a:avLst/>
              <a:gdLst>
                <a:gd name="T0" fmla="*/ 185394 w 531"/>
                <a:gd name="T1" fmla="*/ 106002 h 757"/>
                <a:gd name="T2" fmla="*/ 179642 w 531"/>
                <a:gd name="T3" fmla="*/ 115401 h 757"/>
                <a:gd name="T4" fmla="*/ 178757 w 531"/>
                <a:gd name="T5" fmla="*/ 123756 h 757"/>
                <a:gd name="T6" fmla="*/ 169022 w 531"/>
                <a:gd name="T7" fmla="*/ 143598 h 757"/>
                <a:gd name="T8" fmla="*/ 143802 w 531"/>
                <a:gd name="T9" fmla="*/ 159786 h 757"/>
                <a:gd name="T10" fmla="*/ 111502 w 531"/>
                <a:gd name="T11" fmla="*/ 184850 h 757"/>
                <a:gd name="T12" fmla="*/ 104865 w 531"/>
                <a:gd name="T13" fmla="*/ 192683 h 757"/>
                <a:gd name="T14" fmla="*/ 108404 w 531"/>
                <a:gd name="T15" fmla="*/ 198949 h 757"/>
                <a:gd name="T16" fmla="*/ 106192 w 531"/>
                <a:gd name="T17" fmla="*/ 221402 h 757"/>
                <a:gd name="T18" fmla="*/ 105750 w 531"/>
                <a:gd name="T19" fmla="*/ 234457 h 757"/>
                <a:gd name="T20" fmla="*/ 115926 w 531"/>
                <a:gd name="T21" fmla="*/ 244378 h 757"/>
                <a:gd name="T22" fmla="*/ 141589 w 531"/>
                <a:gd name="T23" fmla="*/ 253255 h 757"/>
                <a:gd name="T24" fmla="*/ 146899 w 531"/>
                <a:gd name="T25" fmla="*/ 263699 h 757"/>
                <a:gd name="T26" fmla="*/ 137165 w 531"/>
                <a:gd name="T27" fmla="*/ 277275 h 757"/>
                <a:gd name="T28" fmla="*/ 120351 w 531"/>
                <a:gd name="T29" fmla="*/ 285630 h 757"/>
                <a:gd name="T30" fmla="*/ 117254 w 531"/>
                <a:gd name="T31" fmla="*/ 292418 h 757"/>
                <a:gd name="T32" fmla="*/ 111502 w 531"/>
                <a:gd name="T33" fmla="*/ 329493 h 757"/>
                <a:gd name="T34" fmla="*/ 105750 w 531"/>
                <a:gd name="T35" fmla="*/ 376489 h 757"/>
                <a:gd name="T36" fmla="*/ 76547 w 531"/>
                <a:gd name="T37" fmla="*/ 379622 h 757"/>
                <a:gd name="T38" fmla="*/ 67255 w 531"/>
                <a:gd name="T39" fmla="*/ 385366 h 757"/>
                <a:gd name="T40" fmla="*/ 67697 w 531"/>
                <a:gd name="T41" fmla="*/ 395287 h 757"/>
                <a:gd name="T42" fmla="*/ 46902 w 531"/>
                <a:gd name="T43" fmla="*/ 395287 h 757"/>
                <a:gd name="T44" fmla="*/ 42034 w 531"/>
                <a:gd name="T45" fmla="*/ 392676 h 757"/>
                <a:gd name="T46" fmla="*/ 31415 w 531"/>
                <a:gd name="T47" fmla="*/ 374922 h 757"/>
                <a:gd name="T48" fmla="*/ 18141 w 531"/>
                <a:gd name="T49" fmla="*/ 334192 h 757"/>
                <a:gd name="T50" fmla="*/ 15044 w 531"/>
                <a:gd name="T51" fmla="*/ 311739 h 757"/>
                <a:gd name="T52" fmla="*/ 6195 w 531"/>
                <a:gd name="T53" fmla="*/ 305995 h 757"/>
                <a:gd name="T54" fmla="*/ 8407 w 531"/>
                <a:gd name="T55" fmla="*/ 292941 h 757"/>
                <a:gd name="T56" fmla="*/ 15929 w 531"/>
                <a:gd name="T57" fmla="*/ 280931 h 757"/>
                <a:gd name="T58" fmla="*/ 23451 w 531"/>
                <a:gd name="T59" fmla="*/ 263177 h 757"/>
                <a:gd name="T60" fmla="*/ 26990 w 531"/>
                <a:gd name="T61" fmla="*/ 245945 h 757"/>
                <a:gd name="T62" fmla="*/ 28318 w 531"/>
                <a:gd name="T63" fmla="*/ 230279 h 757"/>
                <a:gd name="T64" fmla="*/ 25663 w 531"/>
                <a:gd name="T65" fmla="*/ 213048 h 757"/>
                <a:gd name="T66" fmla="*/ 19026 w 531"/>
                <a:gd name="T67" fmla="*/ 196860 h 757"/>
                <a:gd name="T68" fmla="*/ 32743 w 531"/>
                <a:gd name="T69" fmla="*/ 144120 h 757"/>
                <a:gd name="T70" fmla="*/ 45574 w 531"/>
                <a:gd name="T71" fmla="*/ 143598 h 757"/>
                <a:gd name="T72" fmla="*/ 49999 w 531"/>
                <a:gd name="T73" fmla="*/ 122189 h 757"/>
                <a:gd name="T74" fmla="*/ 60618 w 531"/>
                <a:gd name="T75" fmla="*/ 100258 h 757"/>
                <a:gd name="T76" fmla="*/ 79644 w 531"/>
                <a:gd name="T77" fmla="*/ 75715 h 757"/>
                <a:gd name="T78" fmla="*/ 87608 w 531"/>
                <a:gd name="T79" fmla="*/ 57962 h 757"/>
                <a:gd name="T80" fmla="*/ 100882 w 531"/>
                <a:gd name="T81" fmla="*/ 31331 h 757"/>
                <a:gd name="T82" fmla="*/ 110174 w 531"/>
                <a:gd name="T83" fmla="*/ 22454 h 757"/>
                <a:gd name="T84" fmla="*/ 136722 w 531"/>
                <a:gd name="T85" fmla="*/ 15143 h 757"/>
                <a:gd name="T86" fmla="*/ 162828 w 531"/>
                <a:gd name="T87" fmla="*/ 6788 h 757"/>
                <a:gd name="T88" fmla="*/ 177429 w 531"/>
                <a:gd name="T89" fmla="*/ 2611 h 757"/>
                <a:gd name="T90" fmla="*/ 190703 w 531"/>
                <a:gd name="T91" fmla="*/ 16710 h 757"/>
                <a:gd name="T92" fmla="*/ 202207 w 531"/>
                <a:gd name="T93" fmla="*/ 21931 h 757"/>
                <a:gd name="T94" fmla="*/ 226986 w 531"/>
                <a:gd name="T95" fmla="*/ 57962 h 757"/>
                <a:gd name="T96" fmla="*/ 233623 w 531"/>
                <a:gd name="T97" fmla="*/ 78326 h 757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531" h="757">
                  <a:moveTo>
                    <a:pt x="531" y="190"/>
                  </a:moveTo>
                  <a:lnTo>
                    <a:pt x="432" y="190"/>
                  </a:lnTo>
                  <a:lnTo>
                    <a:pt x="428" y="194"/>
                  </a:lnTo>
                  <a:lnTo>
                    <a:pt x="419" y="203"/>
                  </a:lnTo>
                  <a:lnTo>
                    <a:pt x="413" y="208"/>
                  </a:lnTo>
                  <a:lnTo>
                    <a:pt x="409" y="213"/>
                  </a:lnTo>
                  <a:lnTo>
                    <a:pt x="407" y="218"/>
                  </a:lnTo>
                  <a:lnTo>
                    <a:pt x="406" y="221"/>
                  </a:lnTo>
                  <a:lnTo>
                    <a:pt x="404" y="226"/>
                  </a:lnTo>
                  <a:lnTo>
                    <a:pt x="403" y="230"/>
                  </a:lnTo>
                  <a:lnTo>
                    <a:pt x="403" y="233"/>
                  </a:lnTo>
                  <a:lnTo>
                    <a:pt x="404" y="237"/>
                  </a:lnTo>
                  <a:lnTo>
                    <a:pt x="407" y="244"/>
                  </a:lnTo>
                  <a:lnTo>
                    <a:pt x="412" y="252"/>
                  </a:lnTo>
                  <a:lnTo>
                    <a:pt x="397" y="264"/>
                  </a:lnTo>
                  <a:lnTo>
                    <a:pt x="382" y="275"/>
                  </a:lnTo>
                  <a:lnTo>
                    <a:pt x="367" y="284"/>
                  </a:lnTo>
                  <a:lnTo>
                    <a:pt x="353" y="291"/>
                  </a:lnTo>
                  <a:lnTo>
                    <a:pt x="339" y="299"/>
                  </a:lnTo>
                  <a:lnTo>
                    <a:pt x="325" y="306"/>
                  </a:lnTo>
                  <a:lnTo>
                    <a:pt x="311" y="315"/>
                  </a:lnTo>
                  <a:lnTo>
                    <a:pt x="299" y="325"/>
                  </a:lnTo>
                  <a:lnTo>
                    <a:pt x="277" y="338"/>
                  </a:lnTo>
                  <a:lnTo>
                    <a:pt x="252" y="354"/>
                  </a:lnTo>
                  <a:lnTo>
                    <a:pt x="248" y="358"/>
                  </a:lnTo>
                  <a:lnTo>
                    <a:pt x="242" y="361"/>
                  </a:lnTo>
                  <a:lnTo>
                    <a:pt x="239" y="365"/>
                  </a:lnTo>
                  <a:lnTo>
                    <a:pt x="237" y="369"/>
                  </a:lnTo>
                  <a:lnTo>
                    <a:pt x="237" y="372"/>
                  </a:lnTo>
                  <a:lnTo>
                    <a:pt x="238" y="375"/>
                  </a:lnTo>
                  <a:lnTo>
                    <a:pt x="241" y="378"/>
                  </a:lnTo>
                  <a:lnTo>
                    <a:pt x="245" y="381"/>
                  </a:lnTo>
                  <a:lnTo>
                    <a:pt x="245" y="391"/>
                  </a:lnTo>
                  <a:lnTo>
                    <a:pt x="245" y="400"/>
                  </a:lnTo>
                  <a:lnTo>
                    <a:pt x="243" y="413"/>
                  </a:lnTo>
                  <a:lnTo>
                    <a:pt x="240" y="424"/>
                  </a:lnTo>
                  <a:lnTo>
                    <a:pt x="238" y="430"/>
                  </a:lnTo>
                  <a:lnTo>
                    <a:pt x="238" y="436"/>
                  </a:lnTo>
                  <a:lnTo>
                    <a:pt x="238" y="443"/>
                  </a:lnTo>
                  <a:lnTo>
                    <a:pt x="239" y="449"/>
                  </a:lnTo>
                  <a:lnTo>
                    <a:pt x="243" y="456"/>
                  </a:lnTo>
                  <a:lnTo>
                    <a:pt x="249" y="461"/>
                  </a:lnTo>
                  <a:lnTo>
                    <a:pt x="255" y="465"/>
                  </a:lnTo>
                  <a:lnTo>
                    <a:pt x="262" y="468"/>
                  </a:lnTo>
                  <a:lnTo>
                    <a:pt x="277" y="473"/>
                  </a:lnTo>
                  <a:lnTo>
                    <a:pt x="293" y="477"/>
                  </a:lnTo>
                  <a:lnTo>
                    <a:pt x="308" y="480"/>
                  </a:lnTo>
                  <a:lnTo>
                    <a:pt x="320" y="485"/>
                  </a:lnTo>
                  <a:lnTo>
                    <a:pt x="326" y="488"/>
                  </a:lnTo>
                  <a:lnTo>
                    <a:pt x="329" y="492"/>
                  </a:lnTo>
                  <a:lnTo>
                    <a:pt x="331" y="499"/>
                  </a:lnTo>
                  <a:lnTo>
                    <a:pt x="332" y="505"/>
                  </a:lnTo>
                  <a:lnTo>
                    <a:pt x="332" y="517"/>
                  </a:lnTo>
                  <a:lnTo>
                    <a:pt x="332" y="529"/>
                  </a:lnTo>
                  <a:lnTo>
                    <a:pt x="321" y="530"/>
                  </a:lnTo>
                  <a:lnTo>
                    <a:pt x="310" y="531"/>
                  </a:lnTo>
                  <a:lnTo>
                    <a:pt x="299" y="534"/>
                  </a:lnTo>
                  <a:lnTo>
                    <a:pt x="289" y="537"/>
                  </a:lnTo>
                  <a:lnTo>
                    <a:pt x="280" y="542"/>
                  </a:lnTo>
                  <a:lnTo>
                    <a:pt x="272" y="547"/>
                  </a:lnTo>
                  <a:lnTo>
                    <a:pt x="270" y="551"/>
                  </a:lnTo>
                  <a:lnTo>
                    <a:pt x="267" y="554"/>
                  </a:lnTo>
                  <a:lnTo>
                    <a:pt x="266" y="557"/>
                  </a:lnTo>
                  <a:lnTo>
                    <a:pt x="265" y="560"/>
                  </a:lnTo>
                  <a:lnTo>
                    <a:pt x="264" y="576"/>
                  </a:lnTo>
                  <a:lnTo>
                    <a:pt x="262" y="593"/>
                  </a:lnTo>
                  <a:lnTo>
                    <a:pt x="258" y="612"/>
                  </a:lnTo>
                  <a:lnTo>
                    <a:pt x="252" y="631"/>
                  </a:lnTo>
                  <a:lnTo>
                    <a:pt x="248" y="651"/>
                  </a:lnTo>
                  <a:lnTo>
                    <a:pt x="243" y="673"/>
                  </a:lnTo>
                  <a:lnTo>
                    <a:pt x="240" y="695"/>
                  </a:lnTo>
                  <a:lnTo>
                    <a:pt x="239" y="721"/>
                  </a:lnTo>
                  <a:lnTo>
                    <a:pt x="224" y="721"/>
                  </a:lnTo>
                  <a:lnTo>
                    <a:pt x="206" y="722"/>
                  </a:lnTo>
                  <a:lnTo>
                    <a:pt x="189" y="724"/>
                  </a:lnTo>
                  <a:lnTo>
                    <a:pt x="173" y="727"/>
                  </a:lnTo>
                  <a:lnTo>
                    <a:pt x="166" y="730"/>
                  </a:lnTo>
                  <a:lnTo>
                    <a:pt x="161" y="732"/>
                  </a:lnTo>
                  <a:lnTo>
                    <a:pt x="155" y="735"/>
                  </a:lnTo>
                  <a:lnTo>
                    <a:pt x="152" y="738"/>
                  </a:lnTo>
                  <a:lnTo>
                    <a:pt x="150" y="742"/>
                  </a:lnTo>
                  <a:lnTo>
                    <a:pt x="149" y="747"/>
                  </a:lnTo>
                  <a:lnTo>
                    <a:pt x="150" y="751"/>
                  </a:lnTo>
                  <a:lnTo>
                    <a:pt x="153" y="757"/>
                  </a:lnTo>
                  <a:lnTo>
                    <a:pt x="142" y="757"/>
                  </a:lnTo>
                  <a:lnTo>
                    <a:pt x="127" y="757"/>
                  </a:lnTo>
                  <a:lnTo>
                    <a:pt x="113" y="757"/>
                  </a:lnTo>
                  <a:lnTo>
                    <a:pt x="106" y="757"/>
                  </a:lnTo>
                  <a:lnTo>
                    <a:pt x="104" y="757"/>
                  </a:lnTo>
                  <a:lnTo>
                    <a:pt x="101" y="756"/>
                  </a:lnTo>
                  <a:lnTo>
                    <a:pt x="98" y="754"/>
                  </a:lnTo>
                  <a:lnTo>
                    <a:pt x="95" y="752"/>
                  </a:lnTo>
                  <a:lnTo>
                    <a:pt x="90" y="746"/>
                  </a:lnTo>
                  <a:lnTo>
                    <a:pt x="84" y="738"/>
                  </a:lnTo>
                  <a:lnTo>
                    <a:pt x="77" y="729"/>
                  </a:lnTo>
                  <a:lnTo>
                    <a:pt x="71" y="718"/>
                  </a:lnTo>
                  <a:lnTo>
                    <a:pt x="65" y="706"/>
                  </a:lnTo>
                  <a:lnTo>
                    <a:pt x="60" y="693"/>
                  </a:lnTo>
                  <a:lnTo>
                    <a:pt x="49" y="667"/>
                  </a:lnTo>
                  <a:lnTo>
                    <a:pt x="41" y="640"/>
                  </a:lnTo>
                  <a:lnTo>
                    <a:pt x="38" y="628"/>
                  </a:lnTo>
                  <a:lnTo>
                    <a:pt x="35" y="616"/>
                  </a:lnTo>
                  <a:lnTo>
                    <a:pt x="34" y="606"/>
                  </a:lnTo>
                  <a:lnTo>
                    <a:pt x="34" y="597"/>
                  </a:lnTo>
                  <a:lnTo>
                    <a:pt x="27" y="596"/>
                  </a:lnTo>
                  <a:lnTo>
                    <a:pt x="22" y="594"/>
                  </a:lnTo>
                  <a:lnTo>
                    <a:pt x="17" y="590"/>
                  </a:lnTo>
                  <a:lnTo>
                    <a:pt x="14" y="586"/>
                  </a:lnTo>
                  <a:lnTo>
                    <a:pt x="8" y="576"/>
                  </a:lnTo>
                  <a:lnTo>
                    <a:pt x="0" y="566"/>
                  </a:lnTo>
                  <a:lnTo>
                    <a:pt x="9" y="563"/>
                  </a:lnTo>
                  <a:lnTo>
                    <a:pt x="19" y="561"/>
                  </a:lnTo>
                  <a:lnTo>
                    <a:pt x="27" y="560"/>
                  </a:lnTo>
                  <a:lnTo>
                    <a:pt x="34" y="560"/>
                  </a:lnTo>
                  <a:lnTo>
                    <a:pt x="34" y="548"/>
                  </a:lnTo>
                  <a:lnTo>
                    <a:pt x="36" y="538"/>
                  </a:lnTo>
                  <a:lnTo>
                    <a:pt x="38" y="528"/>
                  </a:lnTo>
                  <a:lnTo>
                    <a:pt x="42" y="519"/>
                  </a:lnTo>
                  <a:lnTo>
                    <a:pt x="47" y="511"/>
                  </a:lnTo>
                  <a:lnTo>
                    <a:pt x="53" y="504"/>
                  </a:lnTo>
                  <a:lnTo>
                    <a:pt x="59" y="498"/>
                  </a:lnTo>
                  <a:lnTo>
                    <a:pt x="67" y="492"/>
                  </a:lnTo>
                  <a:lnTo>
                    <a:pt x="62" y="480"/>
                  </a:lnTo>
                  <a:lnTo>
                    <a:pt x="61" y="471"/>
                  </a:lnTo>
                  <a:lnTo>
                    <a:pt x="61" y="464"/>
                  </a:lnTo>
                  <a:lnTo>
                    <a:pt x="61" y="457"/>
                  </a:lnTo>
                  <a:lnTo>
                    <a:pt x="63" y="450"/>
                  </a:lnTo>
                  <a:lnTo>
                    <a:pt x="64" y="441"/>
                  </a:lnTo>
                  <a:lnTo>
                    <a:pt x="65" y="428"/>
                  </a:lnTo>
                  <a:lnTo>
                    <a:pt x="67" y="412"/>
                  </a:lnTo>
                  <a:lnTo>
                    <a:pt x="62" y="410"/>
                  </a:lnTo>
                  <a:lnTo>
                    <a:pt x="58" y="408"/>
                  </a:lnTo>
                  <a:lnTo>
                    <a:pt x="54" y="404"/>
                  </a:lnTo>
                  <a:lnTo>
                    <a:pt x="51" y="400"/>
                  </a:lnTo>
                  <a:lnTo>
                    <a:pt x="47" y="390"/>
                  </a:lnTo>
                  <a:lnTo>
                    <a:pt x="43" y="377"/>
                  </a:lnTo>
                  <a:lnTo>
                    <a:pt x="40" y="354"/>
                  </a:lnTo>
                  <a:lnTo>
                    <a:pt x="40" y="338"/>
                  </a:lnTo>
                  <a:lnTo>
                    <a:pt x="60" y="277"/>
                  </a:lnTo>
                  <a:lnTo>
                    <a:pt x="74" y="276"/>
                  </a:lnTo>
                  <a:lnTo>
                    <a:pt x="88" y="275"/>
                  </a:lnTo>
                  <a:lnTo>
                    <a:pt x="94" y="274"/>
                  </a:lnTo>
                  <a:lnTo>
                    <a:pt x="99" y="274"/>
                  </a:lnTo>
                  <a:lnTo>
                    <a:pt x="103" y="275"/>
                  </a:lnTo>
                  <a:lnTo>
                    <a:pt x="106" y="277"/>
                  </a:lnTo>
                  <a:lnTo>
                    <a:pt x="107" y="261"/>
                  </a:lnTo>
                  <a:lnTo>
                    <a:pt x="109" y="247"/>
                  </a:lnTo>
                  <a:lnTo>
                    <a:pt x="113" y="234"/>
                  </a:lnTo>
                  <a:lnTo>
                    <a:pt x="118" y="222"/>
                  </a:lnTo>
                  <a:lnTo>
                    <a:pt x="124" y="211"/>
                  </a:lnTo>
                  <a:lnTo>
                    <a:pt x="130" y="201"/>
                  </a:lnTo>
                  <a:lnTo>
                    <a:pt x="137" y="192"/>
                  </a:lnTo>
                  <a:lnTo>
                    <a:pt x="144" y="183"/>
                  </a:lnTo>
                  <a:lnTo>
                    <a:pt x="160" y="168"/>
                  </a:lnTo>
                  <a:lnTo>
                    <a:pt x="173" y="152"/>
                  </a:lnTo>
                  <a:lnTo>
                    <a:pt x="180" y="145"/>
                  </a:lnTo>
                  <a:lnTo>
                    <a:pt x="185" y="138"/>
                  </a:lnTo>
                  <a:lnTo>
                    <a:pt x="189" y="130"/>
                  </a:lnTo>
                  <a:lnTo>
                    <a:pt x="193" y="123"/>
                  </a:lnTo>
                  <a:lnTo>
                    <a:pt x="198" y="111"/>
                  </a:lnTo>
                  <a:lnTo>
                    <a:pt x="205" y="97"/>
                  </a:lnTo>
                  <a:lnTo>
                    <a:pt x="213" y="83"/>
                  </a:lnTo>
                  <a:lnTo>
                    <a:pt x="220" y="71"/>
                  </a:lnTo>
                  <a:lnTo>
                    <a:pt x="228" y="60"/>
                  </a:lnTo>
                  <a:lnTo>
                    <a:pt x="237" y="51"/>
                  </a:lnTo>
                  <a:lnTo>
                    <a:pt x="241" y="47"/>
                  </a:lnTo>
                  <a:lnTo>
                    <a:pt x="244" y="44"/>
                  </a:lnTo>
                  <a:lnTo>
                    <a:pt x="249" y="43"/>
                  </a:lnTo>
                  <a:lnTo>
                    <a:pt x="252" y="42"/>
                  </a:lnTo>
                  <a:lnTo>
                    <a:pt x="272" y="36"/>
                  </a:lnTo>
                  <a:lnTo>
                    <a:pt x="291" y="32"/>
                  </a:lnTo>
                  <a:lnTo>
                    <a:pt x="309" y="29"/>
                  </a:lnTo>
                  <a:lnTo>
                    <a:pt x="327" y="25"/>
                  </a:lnTo>
                  <a:lnTo>
                    <a:pt x="344" y="22"/>
                  </a:lnTo>
                  <a:lnTo>
                    <a:pt x="361" y="16"/>
                  </a:lnTo>
                  <a:lnTo>
                    <a:pt x="368" y="13"/>
                  </a:lnTo>
                  <a:lnTo>
                    <a:pt x="376" y="9"/>
                  </a:lnTo>
                  <a:lnTo>
                    <a:pt x="384" y="5"/>
                  </a:lnTo>
                  <a:lnTo>
                    <a:pt x="392" y="0"/>
                  </a:lnTo>
                  <a:lnTo>
                    <a:pt x="401" y="5"/>
                  </a:lnTo>
                  <a:lnTo>
                    <a:pt x="409" y="11"/>
                  </a:lnTo>
                  <a:lnTo>
                    <a:pt x="416" y="18"/>
                  </a:lnTo>
                  <a:lnTo>
                    <a:pt x="423" y="25"/>
                  </a:lnTo>
                  <a:lnTo>
                    <a:pt x="431" y="32"/>
                  </a:lnTo>
                  <a:lnTo>
                    <a:pt x="441" y="37"/>
                  </a:lnTo>
                  <a:lnTo>
                    <a:pt x="445" y="39"/>
                  </a:lnTo>
                  <a:lnTo>
                    <a:pt x="452" y="41"/>
                  </a:lnTo>
                  <a:lnTo>
                    <a:pt x="457" y="42"/>
                  </a:lnTo>
                  <a:lnTo>
                    <a:pt x="465" y="42"/>
                  </a:lnTo>
                  <a:lnTo>
                    <a:pt x="487" y="72"/>
                  </a:lnTo>
                  <a:lnTo>
                    <a:pt x="508" y="102"/>
                  </a:lnTo>
                  <a:lnTo>
                    <a:pt x="513" y="111"/>
                  </a:lnTo>
                  <a:lnTo>
                    <a:pt x="518" y="120"/>
                  </a:lnTo>
                  <a:lnTo>
                    <a:pt x="521" y="129"/>
                  </a:lnTo>
                  <a:lnTo>
                    <a:pt x="524" y="139"/>
                  </a:lnTo>
                  <a:lnTo>
                    <a:pt x="528" y="150"/>
                  </a:lnTo>
                  <a:lnTo>
                    <a:pt x="530" y="163"/>
                  </a:lnTo>
                  <a:lnTo>
                    <a:pt x="531" y="176"/>
                  </a:lnTo>
                  <a:lnTo>
                    <a:pt x="531" y="19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774" name="Freeform 244"/>
            <p:cNvSpPr>
              <a:spLocks/>
            </p:cNvSpPr>
            <p:nvPr>
              <p:custDataLst>
                <p:tags r:id="rId166"/>
              </p:custDataLst>
            </p:nvPr>
          </p:nvSpPr>
          <p:spPr bwMode="auto">
            <a:xfrm>
              <a:off x="6021240" y="1915062"/>
              <a:ext cx="32175" cy="68630"/>
            </a:xfrm>
            <a:custGeom>
              <a:avLst/>
              <a:gdLst>
                <a:gd name="T0" fmla="*/ 0 w 60"/>
                <a:gd name="T1" fmla="*/ 41462 h 51"/>
                <a:gd name="T2" fmla="*/ 2699 w 60"/>
                <a:gd name="T3" fmla="*/ 33618 h 51"/>
                <a:gd name="T4" fmla="*/ 6747 w 60"/>
                <a:gd name="T5" fmla="*/ 21291 h 51"/>
                <a:gd name="T6" fmla="*/ 8996 w 60"/>
                <a:gd name="T7" fmla="*/ 14568 h 51"/>
                <a:gd name="T8" fmla="*/ 12145 w 60"/>
                <a:gd name="T9" fmla="*/ 8965 h 51"/>
                <a:gd name="T10" fmla="*/ 14843 w 60"/>
                <a:gd name="T11" fmla="*/ 4482 h 51"/>
                <a:gd name="T12" fmla="*/ 17992 w 60"/>
                <a:gd name="T13" fmla="*/ 0 h 51"/>
                <a:gd name="T14" fmla="*/ 22490 w 60"/>
                <a:gd name="T15" fmla="*/ 7844 h 51"/>
                <a:gd name="T16" fmla="*/ 26988 w 60"/>
                <a:gd name="T17" fmla="*/ 14568 h 51"/>
                <a:gd name="T18" fmla="*/ 26538 w 60"/>
                <a:gd name="T19" fmla="*/ 22412 h 51"/>
                <a:gd name="T20" fmla="*/ 25189 w 60"/>
                <a:gd name="T21" fmla="*/ 32497 h 51"/>
                <a:gd name="T22" fmla="*/ 24289 w 60"/>
                <a:gd name="T23" fmla="*/ 38100 h 51"/>
                <a:gd name="T24" fmla="*/ 23390 w 60"/>
                <a:gd name="T25" fmla="*/ 42582 h 51"/>
                <a:gd name="T26" fmla="*/ 22040 w 60"/>
                <a:gd name="T27" fmla="*/ 47065 h 51"/>
                <a:gd name="T28" fmla="*/ 20241 w 60"/>
                <a:gd name="T29" fmla="*/ 50426 h 51"/>
                <a:gd name="T30" fmla="*/ 18442 w 60"/>
                <a:gd name="T31" fmla="*/ 53788 h 51"/>
                <a:gd name="T32" fmla="*/ 16643 w 60"/>
                <a:gd name="T33" fmla="*/ 56029 h 51"/>
                <a:gd name="T34" fmla="*/ 13944 w 60"/>
                <a:gd name="T35" fmla="*/ 57150 h 51"/>
                <a:gd name="T36" fmla="*/ 12145 w 60"/>
                <a:gd name="T37" fmla="*/ 57150 h 51"/>
                <a:gd name="T38" fmla="*/ 8996 w 60"/>
                <a:gd name="T39" fmla="*/ 56029 h 51"/>
                <a:gd name="T40" fmla="*/ 6747 w 60"/>
                <a:gd name="T41" fmla="*/ 52668 h 51"/>
                <a:gd name="T42" fmla="*/ 3149 w 60"/>
                <a:gd name="T43" fmla="*/ 48185 h 51"/>
                <a:gd name="T44" fmla="*/ 0 w 60"/>
                <a:gd name="T45" fmla="*/ 41462 h 51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0" h="51">
                  <a:moveTo>
                    <a:pt x="0" y="37"/>
                  </a:moveTo>
                  <a:lnTo>
                    <a:pt x="6" y="30"/>
                  </a:lnTo>
                  <a:lnTo>
                    <a:pt x="15" y="19"/>
                  </a:lnTo>
                  <a:lnTo>
                    <a:pt x="20" y="13"/>
                  </a:lnTo>
                  <a:lnTo>
                    <a:pt x="27" y="8"/>
                  </a:lnTo>
                  <a:lnTo>
                    <a:pt x="33" y="4"/>
                  </a:lnTo>
                  <a:lnTo>
                    <a:pt x="40" y="0"/>
                  </a:lnTo>
                  <a:lnTo>
                    <a:pt x="50" y="7"/>
                  </a:lnTo>
                  <a:lnTo>
                    <a:pt x="60" y="13"/>
                  </a:lnTo>
                  <a:lnTo>
                    <a:pt x="59" y="20"/>
                  </a:lnTo>
                  <a:lnTo>
                    <a:pt x="56" y="29"/>
                  </a:lnTo>
                  <a:lnTo>
                    <a:pt x="54" y="34"/>
                  </a:lnTo>
                  <a:lnTo>
                    <a:pt x="52" y="38"/>
                  </a:lnTo>
                  <a:lnTo>
                    <a:pt x="49" y="42"/>
                  </a:lnTo>
                  <a:lnTo>
                    <a:pt x="45" y="45"/>
                  </a:lnTo>
                  <a:lnTo>
                    <a:pt x="41" y="48"/>
                  </a:lnTo>
                  <a:lnTo>
                    <a:pt x="37" y="50"/>
                  </a:lnTo>
                  <a:lnTo>
                    <a:pt x="31" y="51"/>
                  </a:lnTo>
                  <a:lnTo>
                    <a:pt x="27" y="51"/>
                  </a:lnTo>
                  <a:lnTo>
                    <a:pt x="20" y="50"/>
                  </a:lnTo>
                  <a:lnTo>
                    <a:pt x="15" y="47"/>
                  </a:lnTo>
                  <a:lnTo>
                    <a:pt x="7" y="43"/>
                  </a:lnTo>
                  <a:lnTo>
                    <a:pt x="0" y="3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775" name="Freeform 245"/>
            <p:cNvSpPr>
              <a:spLocks/>
            </p:cNvSpPr>
            <p:nvPr>
              <p:custDataLst>
                <p:tags r:id="rId167"/>
              </p:custDataLst>
            </p:nvPr>
          </p:nvSpPr>
          <p:spPr bwMode="auto">
            <a:xfrm>
              <a:off x="5358831" y="2109512"/>
              <a:ext cx="34067" cy="68630"/>
            </a:xfrm>
            <a:custGeom>
              <a:avLst/>
              <a:gdLst>
                <a:gd name="T0" fmla="*/ 25544 w 66"/>
                <a:gd name="T1" fmla="*/ 53788 h 51"/>
                <a:gd name="T2" fmla="*/ 18184 w 66"/>
                <a:gd name="T3" fmla="*/ 56029 h 51"/>
                <a:gd name="T4" fmla="*/ 9525 w 66"/>
                <a:gd name="T5" fmla="*/ 57150 h 51"/>
                <a:gd name="T6" fmla="*/ 7360 w 66"/>
                <a:gd name="T7" fmla="*/ 56029 h 51"/>
                <a:gd name="T8" fmla="*/ 5628 w 66"/>
                <a:gd name="T9" fmla="*/ 54909 h 51"/>
                <a:gd name="T10" fmla="*/ 4330 w 66"/>
                <a:gd name="T11" fmla="*/ 53788 h 51"/>
                <a:gd name="T12" fmla="*/ 3031 w 66"/>
                <a:gd name="T13" fmla="*/ 51547 h 51"/>
                <a:gd name="T14" fmla="*/ 1299 w 66"/>
                <a:gd name="T15" fmla="*/ 48185 h 51"/>
                <a:gd name="T16" fmla="*/ 433 w 66"/>
                <a:gd name="T17" fmla="*/ 44824 h 51"/>
                <a:gd name="T18" fmla="*/ 0 w 66"/>
                <a:gd name="T19" fmla="*/ 39221 h 51"/>
                <a:gd name="T20" fmla="*/ 0 w 66"/>
                <a:gd name="T21" fmla="*/ 33618 h 51"/>
                <a:gd name="T22" fmla="*/ 1732 w 66"/>
                <a:gd name="T23" fmla="*/ 32497 h 51"/>
                <a:gd name="T24" fmla="*/ 4330 w 66"/>
                <a:gd name="T25" fmla="*/ 30256 h 51"/>
                <a:gd name="T26" fmla="*/ 6061 w 66"/>
                <a:gd name="T27" fmla="*/ 26894 h 51"/>
                <a:gd name="T28" fmla="*/ 8226 w 66"/>
                <a:gd name="T29" fmla="*/ 22412 h 51"/>
                <a:gd name="T30" fmla="*/ 11257 w 66"/>
                <a:gd name="T31" fmla="*/ 11206 h 51"/>
                <a:gd name="T32" fmla="*/ 14288 w 66"/>
                <a:gd name="T33" fmla="*/ 0 h 51"/>
                <a:gd name="T34" fmla="*/ 19916 w 66"/>
                <a:gd name="T35" fmla="*/ 1121 h 51"/>
                <a:gd name="T36" fmla="*/ 22514 w 66"/>
                <a:gd name="T37" fmla="*/ 2241 h 51"/>
                <a:gd name="T38" fmla="*/ 24245 w 66"/>
                <a:gd name="T39" fmla="*/ 3362 h 51"/>
                <a:gd name="T40" fmla="*/ 28575 w 66"/>
                <a:gd name="T41" fmla="*/ 0 h 51"/>
                <a:gd name="T42" fmla="*/ 28142 w 66"/>
                <a:gd name="T43" fmla="*/ 14568 h 51"/>
                <a:gd name="T44" fmla="*/ 27276 w 66"/>
                <a:gd name="T45" fmla="*/ 26894 h 51"/>
                <a:gd name="T46" fmla="*/ 25977 w 66"/>
                <a:gd name="T47" fmla="*/ 40341 h 51"/>
                <a:gd name="T48" fmla="*/ 25544 w 66"/>
                <a:gd name="T49" fmla="*/ 53788 h 5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6" h="51">
                  <a:moveTo>
                    <a:pt x="59" y="48"/>
                  </a:moveTo>
                  <a:lnTo>
                    <a:pt x="42" y="50"/>
                  </a:lnTo>
                  <a:lnTo>
                    <a:pt x="22" y="51"/>
                  </a:lnTo>
                  <a:lnTo>
                    <a:pt x="17" y="50"/>
                  </a:lnTo>
                  <a:lnTo>
                    <a:pt x="13" y="49"/>
                  </a:lnTo>
                  <a:lnTo>
                    <a:pt x="10" y="48"/>
                  </a:lnTo>
                  <a:lnTo>
                    <a:pt x="7" y="46"/>
                  </a:lnTo>
                  <a:lnTo>
                    <a:pt x="3" y="43"/>
                  </a:lnTo>
                  <a:lnTo>
                    <a:pt x="1" y="40"/>
                  </a:lnTo>
                  <a:lnTo>
                    <a:pt x="0" y="35"/>
                  </a:lnTo>
                  <a:lnTo>
                    <a:pt x="0" y="30"/>
                  </a:lnTo>
                  <a:lnTo>
                    <a:pt x="4" y="29"/>
                  </a:lnTo>
                  <a:lnTo>
                    <a:pt x="10" y="27"/>
                  </a:lnTo>
                  <a:lnTo>
                    <a:pt x="14" y="24"/>
                  </a:lnTo>
                  <a:lnTo>
                    <a:pt x="19" y="20"/>
                  </a:lnTo>
                  <a:lnTo>
                    <a:pt x="26" y="10"/>
                  </a:lnTo>
                  <a:lnTo>
                    <a:pt x="33" y="0"/>
                  </a:lnTo>
                  <a:lnTo>
                    <a:pt x="46" y="1"/>
                  </a:lnTo>
                  <a:lnTo>
                    <a:pt x="52" y="2"/>
                  </a:lnTo>
                  <a:lnTo>
                    <a:pt x="56" y="3"/>
                  </a:lnTo>
                  <a:lnTo>
                    <a:pt x="66" y="0"/>
                  </a:lnTo>
                  <a:lnTo>
                    <a:pt x="65" y="13"/>
                  </a:lnTo>
                  <a:lnTo>
                    <a:pt x="63" y="24"/>
                  </a:lnTo>
                  <a:lnTo>
                    <a:pt x="60" y="36"/>
                  </a:lnTo>
                  <a:lnTo>
                    <a:pt x="59" y="4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776" name="Freeform 246"/>
            <p:cNvSpPr>
              <a:spLocks/>
            </p:cNvSpPr>
            <p:nvPr>
              <p:custDataLst>
                <p:tags r:id="rId168"/>
              </p:custDataLst>
            </p:nvPr>
          </p:nvSpPr>
          <p:spPr bwMode="auto">
            <a:xfrm>
              <a:off x="6494390" y="2744335"/>
              <a:ext cx="60563" cy="68630"/>
            </a:xfrm>
            <a:custGeom>
              <a:avLst/>
              <a:gdLst>
                <a:gd name="T0" fmla="*/ 0 w 113"/>
                <a:gd name="T1" fmla="*/ 33981 h 74"/>
                <a:gd name="T2" fmla="*/ 8991 w 113"/>
                <a:gd name="T3" fmla="*/ 57150 h 74"/>
                <a:gd name="T4" fmla="*/ 16634 w 113"/>
                <a:gd name="T5" fmla="*/ 53289 h 74"/>
                <a:gd name="T6" fmla="*/ 22927 w 113"/>
                <a:gd name="T7" fmla="*/ 50199 h 74"/>
                <a:gd name="T8" fmla="*/ 28772 w 113"/>
                <a:gd name="T9" fmla="*/ 45566 h 74"/>
                <a:gd name="T10" fmla="*/ 33267 w 113"/>
                <a:gd name="T11" fmla="*/ 40932 h 74"/>
                <a:gd name="T12" fmla="*/ 35065 w 113"/>
                <a:gd name="T13" fmla="*/ 37843 h 74"/>
                <a:gd name="T14" fmla="*/ 37313 w 113"/>
                <a:gd name="T15" fmla="*/ 34753 h 74"/>
                <a:gd name="T16" fmla="*/ 38662 w 113"/>
                <a:gd name="T17" fmla="*/ 31664 h 74"/>
                <a:gd name="T18" fmla="*/ 39561 w 113"/>
                <a:gd name="T19" fmla="*/ 28575 h 74"/>
                <a:gd name="T20" fmla="*/ 40460 w 113"/>
                <a:gd name="T21" fmla="*/ 24714 h 74"/>
                <a:gd name="T22" fmla="*/ 40910 w 113"/>
                <a:gd name="T23" fmla="*/ 20080 h 74"/>
                <a:gd name="T24" fmla="*/ 41809 w 113"/>
                <a:gd name="T25" fmla="*/ 14674 h 74"/>
                <a:gd name="T26" fmla="*/ 42258 w 113"/>
                <a:gd name="T27" fmla="*/ 10040 h 74"/>
                <a:gd name="T28" fmla="*/ 44506 w 113"/>
                <a:gd name="T29" fmla="*/ 9268 h 74"/>
                <a:gd name="T30" fmla="*/ 47653 w 113"/>
                <a:gd name="T31" fmla="*/ 6951 h 74"/>
                <a:gd name="T32" fmla="*/ 48552 w 113"/>
                <a:gd name="T33" fmla="*/ 5406 h 74"/>
                <a:gd name="T34" fmla="*/ 49901 w 113"/>
                <a:gd name="T35" fmla="*/ 3861 h 74"/>
                <a:gd name="T36" fmla="*/ 50350 w 113"/>
                <a:gd name="T37" fmla="*/ 2317 h 74"/>
                <a:gd name="T38" fmla="*/ 50800 w 113"/>
                <a:gd name="T39" fmla="*/ 0 h 74"/>
                <a:gd name="T40" fmla="*/ 44057 w 113"/>
                <a:gd name="T41" fmla="*/ 3089 h 74"/>
                <a:gd name="T42" fmla="*/ 36864 w 113"/>
                <a:gd name="T43" fmla="*/ 6178 h 74"/>
                <a:gd name="T44" fmla="*/ 29221 w 113"/>
                <a:gd name="T45" fmla="*/ 10040 h 74"/>
                <a:gd name="T46" fmla="*/ 22028 w 113"/>
                <a:gd name="T47" fmla="*/ 14674 h 74"/>
                <a:gd name="T48" fmla="*/ 8991 w 113"/>
                <a:gd name="T49" fmla="*/ 25486 h 74"/>
                <a:gd name="T50" fmla="*/ 0 w 113"/>
                <a:gd name="T51" fmla="*/ 33981 h 74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13" h="74">
                  <a:moveTo>
                    <a:pt x="0" y="44"/>
                  </a:moveTo>
                  <a:lnTo>
                    <a:pt x="20" y="74"/>
                  </a:lnTo>
                  <a:lnTo>
                    <a:pt x="37" y="69"/>
                  </a:lnTo>
                  <a:lnTo>
                    <a:pt x="51" y="65"/>
                  </a:lnTo>
                  <a:lnTo>
                    <a:pt x="64" y="59"/>
                  </a:lnTo>
                  <a:lnTo>
                    <a:pt x="74" y="53"/>
                  </a:lnTo>
                  <a:lnTo>
                    <a:pt x="78" y="49"/>
                  </a:lnTo>
                  <a:lnTo>
                    <a:pt x="83" y="45"/>
                  </a:lnTo>
                  <a:lnTo>
                    <a:pt x="86" y="41"/>
                  </a:lnTo>
                  <a:lnTo>
                    <a:pt x="88" y="37"/>
                  </a:lnTo>
                  <a:lnTo>
                    <a:pt x="90" y="32"/>
                  </a:lnTo>
                  <a:lnTo>
                    <a:pt x="91" y="26"/>
                  </a:lnTo>
                  <a:lnTo>
                    <a:pt x="93" y="19"/>
                  </a:lnTo>
                  <a:lnTo>
                    <a:pt x="94" y="13"/>
                  </a:lnTo>
                  <a:lnTo>
                    <a:pt x="99" y="12"/>
                  </a:lnTo>
                  <a:lnTo>
                    <a:pt x="106" y="9"/>
                  </a:lnTo>
                  <a:lnTo>
                    <a:pt x="108" y="7"/>
                  </a:lnTo>
                  <a:lnTo>
                    <a:pt x="111" y="5"/>
                  </a:lnTo>
                  <a:lnTo>
                    <a:pt x="112" y="3"/>
                  </a:lnTo>
                  <a:lnTo>
                    <a:pt x="113" y="0"/>
                  </a:lnTo>
                  <a:lnTo>
                    <a:pt x="98" y="4"/>
                  </a:lnTo>
                  <a:lnTo>
                    <a:pt x="82" y="8"/>
                  </a:lnTo>
                  <a:lnTo>
                    <a:pt x="65" y="13"/>
                  </a:lnTo>
                  <a:lnTo>
                    <a:pt x="49" y="19"/>
                  </a:lnTo>
                  <a:lnTo>
                    <a:pt x="20" y="33"/>
                  </a:lnTo>
                  <a:lnTo>
                    <a:pt x="0" y="44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777" name="Freeform 247"/>
            <p:cNvSpPr>
              <a:spLocks/>
            </p:cNvSpPr>
            <p:nvPr>
              <p:custDataLst>
                <p:tags r:id="rId169"/>
              </p:custDataLst>
            </p:nvPr>
          </p:nvSpPr>
          <p:spPr bwMode="auto">
            <a:xfrm>
              <a:off x="6026920" y="3695620"/>
              <a:ext cx="387983" cy="293582"/>
            </a:xfrm>
            <a:custGeom>
              <a:avLst/>
              <a:gdLst>
                <a:gd name="T0" fmla="*/ 42752 w 746"/>
                <a:gd name="T1" fmla="*/ 235613 h 469"/>
                <a:gd name="T2" fmla="*/ 23557 w 746"/>
                <a:gd name="T3" fmla="*/ 229358 h 469"/>
                <a:gd name="T4" fmla="*/ 9161 w 746"/>
                <a:gd name="T5" fmla="*/ 223624 h 469"/>
                <a:gd name="T6" fmla="*/ 2181 w 746"/>
                <a:gd name="T7" fmla="*/ 215284 h 469"/>
                <a:gd name="T8" fmla="*/ 0 w 746"/>
                <a:gd name="T9" fmla="*/ 189221 h 469"/>
                <a:gd name="T10" fmla="*/ 2181 w 746"/>
                <a:gd name="T11" fmla="*/ 161072 h 469"/>
                <a:gd name="T12" fmla="*/ 10034 w 746"/>
                <a:gd name="T13" fmla="*/ 142306 h 469"/>
                <a:gd name="T14" fmla="*/ 24430 w 746"/>
                <a:gd name="T15" fmla="*/ 118849 h 469"/>
                <a:gd name="T16" fmla="*/ 52785 w 746"/>
                <a:gd name="T17" fmla="*/ 106339 h 469"/>
                <a:gd name="T18" fmla="*/ 72416 w 746"/>
                <a:gd name="T19" fmla="*/ 97999 h 469"/>
                <a:gd name="T20" fmla="*/ 102517 w 746"/>
                <a:gd name="T21" fmla="*/ 90179 h 469"/>
                <a:gd name="T22" fmla="*/ 114296 w 746"/>
                <a:gd name="T23" fmla="*/ 79754 h 469"/>
                <a:gd name="T24" fmla="*/ 116477 w 746"/>
                <a:gd name="T25" fmla="*/ 70893 h 469"/>
                <a:gd name="T26" fmla="*/ 127383 w 746"/>
                <a:gd name="T27" fmla="*/ 62552 h 469"/>
                <a:gd name="T28" fmla="*/ 144833 w 746"/>
                <a:gd name="T29" fmla="*/ 59946 h 469"/>
                <a:gd name="T30" fmla="*/ 156611 w 746"/>
                <a:gd name="T31" fmla="*/ 52648 h 469"/>
                <a:gd name="T32" fmla="*/ 169698 w 746"/>
                <a:gd name="T33" fmla="*/ 34925 h 469"/>
                <a:gd name="T34" fmla="*/ 185403 w 746"/>
                <a:gd name="T35" fmla="*/ 11468 h 469"/>
                <a:gd name="T36" fmla="*/ 196309 w 746"/>
                <a:gd name="T37" fmla="*/ 3128 h 469"/>
                <a:gd name="T38" fmla="*/ 212014 w 746"/>
                <a:gd name="T39" fmla="*/ 0 h 469"/>
                <a:gd name="T40" fmla="*/ 221175 w 746"/>
                <a:gd name="T41" fmla="*/ 15117 h 469"/>
                <a:gd name="T42" fmla="*/ 232081 w 746"/>
                <a:gd name="T43" fmla="*/ 27627 h 469"/>
                <a:gd name="T44" fmla="*/ 241242 w 746"/>
                <a:gd name="T45" fmla="*/ 55776 h 469"/>
                <a:gd name="T46" fmla="*/ 252584 w 746"/>
                <a:gd name="T47" fmla="*/ 82882 h 469"/>
                <a:gd name="T48" fmla="*/ 267417 w 746"/>
                <a:gd name="T49" fmla="*/ 89658 h 469"/>
                <a:gd name="T50" fmla="*/ 273960 w 746"/>
                <a:gd name="T51" fmla="*/ 100605 h 469"/>
                <a:gd name="T52" fmla="*/ 283558 w 746"/>
                <a:gd name="T53" fmla="*/ 121456 h 469"/>
                <a:gd name="T54" fmla="*/ 306242 w 746"/>
                <a:gd name="T55" fmla="*/ 145434 h 469"/>
                <a:gd name="T56" fmla="*/ 323256 w 746"/>
                <a:gd name="T57" fmla="*/ 164200 h 469"/>
                <a:gd name="T58" fmla="*/ 310169 w 746"/>
                <a:gd name="T59" fmla="*/ 179838 h 469"/>
                <a:gd name="T60" fmla="*/ 301444 w 746"/>
                <a:gd name="T61" fmla="*/ 178274 h 469"/>
                <a:gd name="T62" fmla="*/ 296209 w 746"/>
                <a:gd name="T63" fmla="*/ 167327 h 469"/>
                <a:gd name="T64" fmla="*/ 283994 w 746"/>
                <a:gd name="T65" fmla="*/ 172019 h 469"/>
                <a:gd name="T66" fmla="*/ 278759 w 746"/>
                <a:gd name="T67" fmla="*/ 183487 h 469"/>
                <a:gd name="T68" fmla="*/ 263491 w 746"/>
                <a:gd name="T69" fmla="*/ 185572 h 469"/>
                <a:gd name="T70" fmla="*/ 241242 w 746"/>
                <a:gd name="T71" fmla="*/ 185572 h 469"/>
                <a:gd name="T72" fmla="*/ 227719 w 746"/>
                <a:gd name="T73" fmla="*/ 190263 h 469"/>
                <a:gd name="T74" fmla="*/ 216376 w 746"/>
                <a:gd name="T75" fmla="*/ 201731 h 469"/>
                <a:gd name="T76" fmla="*/ 212014 w 746"/>
                <a:gd name="T77" fmla="*/ 205380 h 469"/>
                <a:gd name="T78" fmla="*/ 185839 w 746"/>
                <a:gd name="T79" fmla="*/ 208507 h 469"/>
                <a:gd name="T80" fmla="*/ 172752 w 746"/>
                <a:gd name="T81" fmla="*/ 204337 h 469"/>
                <a:gd name="T82" fmla="*/ 152249 w 746"/>
                <a:gd name="T83" fmla="*/ 184529 h 469"/>
                <a:gd name="T84" fmla="*/ 139161 w 746"/>
                <a:gd name="T85" fmla="*/ 179838 h 469"/>
                <a:gd name="T86" fmla="*/ 126947 w 746"/>
                <a:gd name="T87" fmla="*/ 185050 h 469"/>
                <a:gd name="T88" fmla="*/ 116041 w 746"/>
                <a:gd name="T89" fmla="*/ 196518 h 469"/>
                <a:gd name="T90" fmla="*/ 99027 w 746"/>
                <a:gd name="T91" fmla="*/ 227794 h 469"/>
                <a:gd name="T92" fmla="*/ 65436 w 746"/>
                <a:gd name="T93" fmla="*/ 228837 h 469"/>
                <a:gd name="T94" fmla="*/ 58893 w 746"/>
                <a:gd name="T95" fmla="*/ 233528 h 469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746" h="469">
                  <a:moveTo>
                    <a:pt x="114" y="469"/>
                  </a:moveTo>
                  <a:lnTo>
                    <a:pt x="109" y="463"/>
                  </a:lnTo>
                  <a:lnTo>
                    <a:pt x="103" y="456"/>
                  </a:lnTo>
                  <a:lnTo>
                    <a:pt x="98" y="452"/>
                  </a:lnTo>
                  <a:lnTo>
                    <a:pt x="92" y="449"/>
                  </a:lnTo>
                  <a:lnTo>
                    <a:pt x="79" y="445"/>
                  </a:lnTo>
                  <a:lnTo>
                    <a:pt x="67" y="442"/>
                  </a:lnTo>
                  <a:lnTo>
                    <a:pt x="54" y="440"/>
                  </a:lnTo>
                  <a:lnTo>
                    <a:pt x="39" y="437"/>
                  </a:lnTo>
                  <a:lnTo>
                    <a:pt x="33" y="435"/>
                  </a:lnTo>
                  <a:lnTo>
                    <a:pt x="26" y="433"/>
                  </a:lnTo>
                  <a:lnTo>
                    <a:pt x="21" y="429"/>
                  </a:lnTo>
                  <a:lnTo>
                    <a:pt x="14" y="425"/>
                  </a:lnTo>
                  <a:lnTo>
                    <a:pt x="11" y="422"/>
                  </a:lnTo>
                  <a:lnTo>
                    <a:pt x="8" y="418"/>
                  </a:lnTo>
                  <a:lnTo>
                    <a:pt x="5" y="413"/>
                  </a:lnTo>
                  <a:lnTo>
                    <a:pt x="3" y="408"/>
                  </a:lnTo>
                  <a:lnTo>
                    <a:pt x="1" y="396"/>
                  </a:lnTo>
                  <a:lnTo>
                    <a:pt x="0" y="385"/>
                  </a:lnTo>
                  <a:lnTo>
                    <a:pt x="0" y="363"/>
                  </a:lnTo>
                  <a:lnTo>
                    <a:pt x="1" y="345"/>
                  </a:lnTo>
                  <a:lnTo>
                    <a:pt x="1" y="332"/>
                  </a:lnTo>
                  <a:lnTo>
                    <a:pt x="3" y="320"/>
                  </a:lnTo>
                  <a:lnTo>
                    <a:pt x="5" y="309"/>
                  </a:lnTo>
                  <a:lnTo>
                    <a:pt x="10" y="299"/>
                  </a:lnTo>
                  <a:lnTo>
                    <a:pt x="13" y="289"/>
                  </a:lnTo>
                  <a:lnTo>
                    <a:pt x="19" y="281"/>
                  </a:lnTo>
                  <a:lnTo>
                    <a:pt x="23" y="273"/>
                  </a:lnTo>
                  <a:lnTo>
                    <a:pt x="30" y="265"/>
                  </a:lnTo>
                  <a:lnTo>
                    <a:pt x="41" y="251"/>
                  </a:lnTo>
                  <a:lnTo>
                    <a:pt x="52" y="236"/>
                  </a:lnTo>
                  <a:lnTo>
                    <a:pt x="56" y="228"/>
                  </a:lnTo>
                  <a:lnTo>
                    <a:pt x="60" y="220"/>
                  </a:lnTo>
                  <a:lnTo>
                    <a:pt x="65" y="212"/>
                  </a:lnTo>
                  <a:lnTo>
                    <a:pt x="67" y="204"/>
                  </a:lnTo>
                  <a:lnTo>
                    <a:pt x="121" y="204"/>
                  </a:lnTo>
                  <a:lnTo>
                    <a:pt x="131" y="198"/>
                  </a:lnTo>
                  <a:lnTo>
                    <a:pt x="142" y="194"/>
                  </a:lnTo>
                  <a:lnTo>
                    <a:pt x="154" y="191"/>
                  </a:lnTo>
                  <a:lnTo>
                    <a:pt x="166" y="188"/>
                  </a:lnTo>
                  <a:lnTo>
                    <a:pt x="190" y="184"/>
                  </a:lnTo>
                  <a:lnTo>
                    <a:pt x="213" y="178"/>
                  </a:lnTo>
                  <a:lnTo>
                    <a:pt x="224" y="176"/>
                  </a:lnTo>
                  <a:lnTo>
                    <a:pt x="235" y="173"/>
                  </a:lnTo>
                  <a:lnTo>
                    <a:pt x="244" y="170"/>
                  </a:lnTo>
                  <a:lnTo>
                    <a:pt x="251" y="165"/>
                  </a:lnTo>
                  <a:lnTo>
                    <a:pt x="258" y="160"/>
                  </a:lnTo>
                  <a:lnTo>
                    <a:pt x="262" y="153"/>
                  </a:lnTo>
                  <a:lnTo>
                    <a:pt x="265" y="150"/>
                  </a:lnTo>
                  <a:lnTo>
                    <a:pt x="266" y="145"/>
                  </a:lnTo>
                  <a:lnTo>
                    <a:pt x="267" y="141"/>
                  </a:lnTo>
                  <a:lnTo>
                    <a:pt x="267" y="136"/>
                  </a:lnTo>
                  <a:lnTo>
                    <a:pt x="267" y="126"/>
                  </a:lnTo>
                  <a:lnTo>
                    <a:pt x="267" y="117"/>
                  </a:lnTo>
                  <a:lnTo>
                    <a:pt x="280" y="119"/>
                  </a:lnTo>
                  <a:lnTo>
                    <a:pt x="292" y="120"/>
                  </a:lnTo>
                  <a:lnTo>
                    <a:pt x="303" y="120"/>
                  </a:lnTo>
                  <a:lnTo>
                    <a:pt x="313" y="119"/>
                  </a:lnTo>
                  <a:lnTo>
                    <a:pt x="323" y="117"/>
                  </a:lnTo>
                  <a:lnTo>
                    <a:pt x="332" y="115"/>
                  </a:lnTo>
                  <a:lnTo>
                    <a:pt x="339" y="112"/>
                  </a:lnTo>
                  <a:lnTo>
                    <a:pt x="347" y="109"/>
                  </a:lnTo>
                  <a:lnTo>
                    <a:pt x="354" y="105"/>
                  </a:lnTo>
                  <a:lnTo>
                    <a:pt x="359" y="101"/>
                  </a:lnTo>
                  <a:lnTo>
                    <a:pt x="366" y="96"/>
                  </a:lnTo>
                  <a:lnTo>
                    <a:pt x="370" y="91"/>
                  </a:lnTo>
                  <a:lnTo>
                    <a:pt x="380" y="80"/>
                  </a:lnTo>
                  <a:lnTo>
                    <a:pt x="389" y="67"/>
                  </a:lnTo>
                  <a:lnTo>
                    <a:pt x="397" y="56"/>
                  </a:lnTo>
                  <a:lnTo>
                    <a:pt x="405" y="44"/>
                  </a:lnTo>
                  <a:lnTo>
                    <a:pt x="414" y="32"/>
                  </a:lnTo>
                  <a:lnTo>
                    <a:pt x="425" y="22"/>
                  </a:lnTo>
                  <a:lnTo>
                    <a:pt x="430" y="18"/>
                  </a:lnTo>
                  <a:lnTo>
                    <a:pt x="436" y="13"/>
                  </a:lnTo>
                  <a:lnTo>
                    <a:pt x="442" y="9"/>
                  </a:lnTo>
                  <a:lnTo>
                    <a:pt x="450" y="6"/>
                  </a:lnTo>
                  <a:lnTo>
                    <a:pt x="458" y="3"/>
                  </a:lnTo>
                  <a:lnTo>
                    <a:pt x="467" y="1"/>
                  </a:lnTo>
                  <a:lnTo>
                    <a:pt x="475" y="0"/>
                  </a:lnTo>
                  <a:lnTo>
                    <a:pt x="486" y="0"/>
                  </a:lnTo>
                  <a:lnTo>
                    <a:pt x="486" y="6"/>
                  </a:lnTo>
                  <a:lnTo>
                    <a:pt x="492" y="14"/>
                  </a:lnTo>
                  <a:lnTo>
                    <a:pt x="498" y="22"/>
                  </a:lnTo>
                  <a:lnTo>
                    <a:pt x="507" y="29"/>
                  </a:lnTo>
                  <a:lnTo>
                    <a:pt x="515" y="35"/>
                  </a:lnTo>
                  <a:lnTo>
                    <a:pt x="523" y="41"/>
                  </a:lnTo>
                  <a:lnTo>
                    <a:pt x="530" y="49"/>
                  </a:lnTo>
                  <a:lnTo>
                    <a:pt x="532" y="53"/>
                  </a:lnTo>
                  <a:lnTo>
                    <a:pt x="536" y="57"/>
                  </a:lnTo>
                  <a:lnTo>
                    <a:pt x="538" y="62"/>
                  </a:lnTo>
                  <a:lnTo>
                    <a:pt x="539" y="67"/>
                  </a:lnTo>
                  <a:lnTo>
                    <a:pt x="553" y="107"/>
                  </a:lnTo>
                  <a:lnTo>
                    <a:pt x="564" y="141"/>
                  </a:lnTo>
                  <a:lnTo>
                    <a:pt x="569" y="148"/>
                  </a:lnTo>
                  <a:lnTo>
                    <a:pt x="573" y="154"/>
                  </a:lnTo>
                  <a:lnTo>
                    <a:pt x="579" y="159"/>
                  </a:lnTo>
                  <a:lnTo>
                    <a:pt x="585" y="164"/>
                  </a:lnTo>
                  <a:lnTo>
                    <a:pt x="593" y="168"/>
                  </a:lnTo>
                  <a:lnTo>
                    <a:pt x="602" y="170"/>
                  </a:lnTo>
                  <a:lnTo>
                    <a:pt x="613" y="172"/>
                  </a:lnTo>
                  <a:lnTo>
                    <a:pt x="626" y="172"/>
                  </a:lnTo>
                  <a:lnTo>
                    <a:pt x="626" y="179"/>
                  </a:lnTo>
                  <a:lnTo>
                    <a:pt x="627" y="187"/>
                  </a:lnTo>
                  <a:lnTo>
                    <a:pt x="628" y="193"/>
                  </a:lnTo>
                  <a:lnTo>
                    <a:pt x="630" y="199"/>
                  </a:lnTo>
                  <a:lnTo>
                    <a:pt x="636" y="211"/>
                  </a:lnTo>
                  <a:lnTo>
                    <a:pt x="642" y="222"/>
                  </a:lnTo>
                  <a:lnTo>
                    <a:pt x="650" y="233"/>
                  </a:lnTo>
                  <a:lnTo>
                    <a:pt x="660" y="244"/>
                  </a:lnTo>
                  <a:lnTo>
                    <a:pt x="670" y="254"/>
                  </a:lnTo>
                  <a:lnTo>
                    <a:pt x="681" y="263"/>
                  </a:lnTo>
                  <a:lnTo>
                    <a:pt x="702" y="279"/>
                  </a:lnTo>
                  <a:lnTo>
                    <a:pt x="720" y="294"/>
                  </a:lnTo>
                  <a:lnTo>
                    <a:pt x="729" y="302"/>
                  </a:lnTo>
                  <a:lnTo>
                    <a:pt x="736" y="309"/>
                  </a:lnTo>
                  <a:lnTo>
                    <a:pt x="741" y="315"/>
                  </a:lnTo>
                  <a:lnTo>
                    <a:pt x="746" y="321"/>
                  </a:lnTo>
                  <a:lnTo>
                    <a:pt x="738" y="345"/>
                  </a:lnTo>
                  <a:lnTo>
                    <a:pt x="728" y="345"/>
                  </a:lnTo>
                  <a:lnTo>
                    <a:pt x="711" y="345"/>
                  </a:lnTo>
                  <a:lnTo>
                    <a:pt x="706" y="345"/>
                  </a:lnTo>
                  <a:lnTo>
                    <a:pt x="700" y="344"/>
                  </a:lnTo>
                  <a:lnTo>
                    <a:pt x="695" y="343"/>
                  </a:lnTo>
                  <a:lnTo>
                    <a:pt x="691" y="342"/>
                  </a:lnTo>
                  <a:lnTo>
                    <a:pt x="685" y="339"/>
                  </a:lnTo>
                  <a:lnTo>
                    <a:pt x="682" y="335"/>
                  </a:lnTo>
                  <a:lnTo>
                    <a:pt x="680" y="329"/>
                  </a:lnTo>
                  <a:lnTo>
                    <a:pt x="679" y="321"/>
                  </a:lnTo>
                  <a:lnTo>
                    <a:pt x="666" y="321"/>
                  </a:lnTo>
                  <a:lnTo>
                    <a:pt x="659" y="321"/>
                  </a:lnTo>
                  <a:lnTo>
                    <a:pt x="654" y="325"/>
                  </a:lnTo>
                  <a:lnTo>
                    <a:pt x="651" y="330"/>
                  </a:lnTo>
                  <a:lnTo>
                    <a:pt x="648" y="334"/>
                  </a:lnTo>
                  <a:lnTo>
                    <a:pt x="647" y="338"/>
                  </a:lnTo>
                  <a:lnTo>
                    <a:pt x="642" y="345"/>
                  </a:lnTo>
                  <a:lnTo>
                    <a:pt x="639" y="352"/>
                  </a:lnTo>
                  <a:lnTo>
                    <a:pt x="630" y="354"/>
                  </a:lnTo>
                  <a:lnTo>
                    <a:pt x="621" y="355"/>
                  </a:lnTo>
                  <a:lnTo>
                    <a:pt x="613" y="355"/>
                  </a:lnTo>
                  <a:lnTo>
                    <a:pt x="604" y="356"/>
                  </a:lnTo>
                  <a:lnTo>
                    <a:pt x="586" y="355"/>
                  </a:lnTo>
                  <a:lnTo>
                    <a:pt x="570" y="355"/>
                  </a:lnTo>
                  <a:lnTo>
                    <a:pt x="561" y="355"/>
                  </a:lnTo>
                  <a:lnTo>
                    <a:pt x="553" y="356"/>
                  </a:lnTo>
                  <a:lnTo>
                    <a:pt x="545" y="357"/>
                  </a:lnTo>
                  <a:lnTo>
                    <a:pt x="537" y="359"/>
                  </a:lnTo>
                  <a:lnTo>
                    <a:pt x="529" y="361"/>
                  </a:lnTo>
                  <a:lnTo>
                    <a:pt x="522" y="365"/>
                  </a:lnTo>
                  <a:lnTo>
                    <a:pt x="514" y="370"/>
                  </a:lnTo>
                  <a:lnTo>
                    <a:pt x="506" y="376"/>
                  </a:lnTo>
                  <a:lnTo>
                    <a:pt x="501" y="381"/>
                  </a:lnTo>
                  <a:lnTo>
                    <a:pt x="496" y="387"/>
                  </a:lnTo>
                  <a:lnTo>
                    <a:pt x="493" y="390"/>
                  </a:lnTo>
                  <a:lnTo>
                    <a:pt x="491" y="392"/>
                  </a:lnTo>
                  <a:lnTo>
                    <a:pt x="489" y="394"/>
                  </a:lnTo>
                  <a:lnTo>
                    <a:pt x="486" y="394"/>
                  </a:lnTo>
                  <a:lnTo>
                    <a:pt x="466" y="395"/>
                  </a:lnTo>
                  <a:lnTo>
                    <a:pt x="451" y="397"/>
                  </a:lnTo>
                  <a:lnTo>
                    <a:pt x="439" y="399"/>
                  </a:lnTo>
                  <a:lnTo>
                    <a:pt x="426" y="400"/>
                  </a:lnTo>
                  <a:lnTo>
                    <a:pt x="417" y="400"/>
                  </a:lnTo>
                  <a:lnTo>
                    <a:pt x="410" y="398"/>
                  </a:lnTo>
                  <a:lnTo>
                    <a:pt x="403" y="395"/>
                  </a:lnTo>
                  <a:lnTo>
                    <a:pt x="396" y="392"/>
                  </a:lnTo>
                  <a:lnTo>
                    <a:pt x="384" y="383"/>
                  </a:lnTo>
                  <a:lnTo>
                    <a:pt x="373" y="373"/>
                  </a:lnTo>
                  <a:lnTo>
                    <a:pt x="361" y="363"/>
                  </a:lnTo>
                  <a:lnTo>
                    <a:pt x="349" y="354"/>
                  </a:lnTo>
                  <a:lnTo>
                    <a:pt x="343" y="351"/>
                  </a:lnTo>
                  <a:lnTo>
                    <a:pt x="336" y="347"/>
                  </a:lnTo>
                  <a:lnTo>
                    <a:pt x="328" y="345"/>
                  </a:lnTo>
                  <a:lnTo>
                    <a:pt x="319" y="345"/>
                  </a:lnTo>
                  <a:lnTo>
                    <a:pt x="313" y="345"/>
                  </a:lnTo>
                  <a:lnTo>
                    <a:pt x="305" y="347"/>
                  </a:lnTo>
                  <a:lnTo>
                    <a:pt x="299" y="351"/>
                  </a:lnTo>
                  <a:lnTo>
                    <a:pt x="291" y="355"/>
                  </a:lnTo>
                  <a:lnTo>
                    <a:pt x="284" y="360"/>
                  </a:lnTo>
                  <a:lnTo>
                    <a:pt x="278" y="365"/>
                  </a:lnTo>
                  <a:lnTo>
                    <a:pt x="272" y="371"/>
                  </a:lnTo>
                  <a:lnTo>
                    <a:pt x="266" y="377"/>
                  </a:lnTo>
                  <a:lnTo>
                    <a:pt x="255" y="392"/>
                  </a:lnTo>
                  <a:lnTo>
                    <a:pt x="244" y="408"/>
                  </a:lnTo>
                  <a:lnTo>
                    <a:pt x="235" y="423"/>
                  </a:lnTo>
                  <a:lnTo>
                    <a:pt x="227" y="437"/>
                  </a:lnTo>
                  <a:lnTo>
                    <a:pt x="197" y="437"/>
                  </a:lnTo>
                  <a:lnTo>
                    <a:pt x="176" y="437"/>
                  </a:lnTo>
                  <a:lnTo>
                    <a:pt x="160" y="437"/>
                  </a:lnTo>
                  <a:lnTo>
                    <a:pt x="150" y="439"/>
                  </a:lnTo>
                  <a:lnTo>
                    <a:pt x="146" y="440"/>
                  </a:lnTo>
                  <a:lnTo>
                    <a:pt x="143" y="442"/>
                  </a:lnTo>
                  <a:lnTo>
                    <a:pt x="139" y="445"/>
                  </a:lnTo>
                  <a:lnTo>
                    <a:pt x="135" y="448"/>
                  </a:lnTo>
                  <a:lnTo>
                    <a:pt x="126" y="456"/>
                  </a:lnTo>
                  <a:lnTo>
                    <a:pt x="114" y="46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778" name="Freeform 248"/>
            <p:cNvSpPr>
              <a:spLocks/>
            </p:cNvSpPr>
            <p:nvPr>
              <p:custDataLst>
                <p:tags r:id="rId170"/>
              </p:custDataLst>
            </p:nvPr>
          </p:nvSpPr>
          <p:spPr bwMode="auto">
            <a:xfrm>
              <a:off x="5951215" y="3897695"/>
              <a:ext cx="596169" cy="663420"/>
            </a:xfrm>
            <a:custGeom>
              <a:avLst/>
              <a:gdLst>
                <a:gd name="T0" fmla="*/ 393935 w 1145"/>
                <a:gd name="T1" fmla="*/ 29905 h 1053"/>
                <a:gd name="T2" fmla="*/ 433678 w 1145"/>
                <a:gd name="T3" fmla="*/ 34626 h 1053"/>
                <a:gd name="T4" fmla="*/ 471674 w 1145"/>
                <a:gd name="T5" fmla="*/ 42496 h 1053"/>
                <a:gd name="T6" fmla="*/ 491764 w 1145"/>
                <a:gd name="T7" fmla="*/ 91813 h 1053"/>
                <a:gd name="T8" fmla="*/ 494821 w 1145"/>
                <a:gd name="T9" fmla="*/ 110700 h 1053"/>
                <a:gd name="T10" fmla="*/ 462066 w 1145"/>
                <a:gd name="T11" fmla="*/ 142703 h 1053"/>
                <a:gd name="T12" fmla="*/ 456388 w 1145"/>
                <a:gd name="T13" fmla="*/ 188872 h 1053"/>
                <a:gd name="T14" fmla="*/ 438046 w 1145"/>
                <a:gd name="T15" fmla="*/ 230843 h 1053"/>
                <a:gd name="T16" fmla="*/ 432368 w 1145"/>
                <a:gd name="T17" fmla="*/ 249730 h 1053"/>
                <a:gd name="T18" fmla="*/ 445033 w 1145"/>
                <a:gd name="T19" fmla="*/ 302195 h 1053"/>
                <a:gd name="T20" fmla="*/ 448090 w 1145"/>
                <a:gd name="T21" fmla="*/ 348364 h 1053"/>
                <a:gd name="T22" fmla="*/ 457262 w 1145"/>
                <a:gd name="T23" fmla="*/ 383515 h 1053"/>
                <a:gd name="T24" fmla="*/ 471237 w 1145"/>
                <a:gd name="T25" fmla="*/ 401353 h 1053"/>
                <a:gd name="T26" fmla="*/ 476915 w 1145"/>
                <a:gd name="T27" fmla="*/ 432831 h 1053"/>
                <a:gd name="T28" fmla="*/ 454205 w 1145"/>
                <a:gd name="T29" fmla="*/ 442799 h 1053"/>
                <a:gd name="T30" fmla="*/ 435425 w 1145"/>
                <a:gd name="T31" fmla="*/ 449095 h 1053"/>
                <a:gd name="T32" fmla="*/ 419266 w 1145"/>
                <a:gd name="T33" fmla="*/ 520447 h 1053"/>
                <a:gd name="T34" fmla="*/ 406164 w 1145"/>
                <a:gd name="T35" fmla="*/ 538285 h 1053"/>
                <a:gd name="T36" fmla="*/ 393935 w 1145"/>
                <a:gd name="T37" fmla="*/ 540908 h 1053"/>
                <a:gd name="T38" fmla="*/ 366858 w 1145"/>
                <a:gd name="T39" fmla="*/ 552450 h 1053"/>
                <a:gd name="T40" fmla="*/ 341527 w 1145"/>
                <a:gd name="T41" fmla="*/ 544056 h 1053"/>
                <a:gd name="T42" fmla="*/ 324494 w 1145"/>
                <a:gd name="T43" fmla="*/ 531989 h 1053"/>
                <a:gd name="T44" fmla="*/ 308772 w 1145"/>
                <a:gd name="T45" fmla="*/ 523070 h 1053"/>
                <a:gd name="T46" fmla="*/ 294360 w 1145"/>
                <a:gd name="T47" fmla="*/ 517299 h 1053"/>
                <a:gd name="T48" fmla="*/ 265535 w 1145"/>
                <a:gd name="T49" fmla="*/ 517824 h 1053"/>
                <a:gd name="T50" fmla="*/ 259421 w 1145"/>
                <a:gd name="T51" fmla="*/ 494215 h 1053"/>
                <a:gd name="T52" fmla="*/ 251123 w 1145"/>
                <a:gd name="T53" fmla="*/ 463785 h 1053"/>
                <a:gd name="T54" fmla="*/ 257674 w 1145"/>
                <a:gd name="T55" fmla="*/ 443849 h 1053"/>
                <a:gd name="T56" fmla="*/ 257674 w 1145"/>
                <a:gd name="T57" fmla="*/ 408698 h 1053"/>
                <a:gd name="T58" fmla="*/ 198278 w 1145"/>
                <a:gd name="T59" fmla="*/ 396106 h 1053"/>
                <a:gd name="T60" fmla="*/ 193474 w 1145"/>
                <a:gd name="T61" fmla="*/ 411845 h 1053"/>
                <a:gd name="T62" fmla="*/ 172947 w 1145"/>
                <a:gd name="T63" fmla="*/ 428634 h 1053"/>
                <a:gd name="T64" fmla="*/ 147180 w 1145"/>
                <a:gd name="T65" fmla="*/ 418141 h 1053"/>
                <a:gd name="T66" fmla="*/ 129710 w 1145"/>
                <a:gd name="T67" fmla="*/ 371448 h 1053"/>
                <a:gd name="T68" fmla="*/ 1310 w 1145"/>
                <a:gd name="T69" fmla="*/ 352036 h 1053"/>
                <a:gd name="T70" fmla="*/ 19653 w 1145"/>
                <a:gd name="T71" fmla="*/ 349937 h 1053"/>
                <a:gd name="T72" fmla="*/ 11355 w 1145"/>
                <a:gd name="T73" fmla="*/ 331050 h 1053"/>
                <a:gd name="T74" fmla="*/ 32755 w 1145"/>
                <a:gd name="T75" fmla="*/ 322656 h 1053"/>
                <a:gd name="T76" fmla="*/ 63327 w 1145"/>
                <a:gd name="T77" fmla="*/ 322131 h 1053"/>
                <a:gd name="T78" fmla="*/ 79923 w 1145"/>
                <a:gd name="T79" fmla="*/ 325279 h 1053"/>
                <a:gd name="T80" fmla="*/ 96082 w 1145"/>
                <a:gd name="T81" fmla="*/ 301146 h 1053"/>
                <a:gd name="T82" fmla="*/ 113551 w 1145"/>
                <a:gd name="T83" fmla="*/ 291177 h 1053"/>
                <a:gd name="T84" fmla="*/ 122723 w 1145"/>
                <a:gd name="T85" fmla="*/ 230843 h 1053"/>
                <a:gd name="T86" fmla="*/ 151110 w 1145"/>
                <a:gd name="T87" fmla="*/ 194118 h 1053"/>
                <a:gd name="T88" fmla="*/ 161592 w 1145"/>
                <a:gd name="T89" fmla="*/ 144802 h 1053"/>
                <a:gd name="T90" fmla="*/ 162466 w 1145"/>
                <a:gd name="T91" fmla="*/ 94436 h 1053"/>
                <a:gd name="T92" fmla="*/ 167270 w 1145"/>
                <a:gd name="T93" fmla="*/ 64007 h 1053"/>
                <a:gd name="T94" fmla="*/ 192164 w 1145"/>
                <a:gd name="T95" fmla="*/ 18363 h 1053"/>
                <a:gd name="T96" fmla="*/ 214437 w 1145"/>
                <a:gd name="T97" fmla="*/ 15739 h 1053"/>
                <a:gd name="T98" fmla="*/ 243698 w 1145"/>
                <a:gd name="T99" fmla="*/ 40398 h 1053"/>
                <a:gd name="T100" fmla="*/ 278200 w 1145"/>
                <a:gd name="T101" fmla="*/ 38299 h 1053"/>
                <a:gd name="T102" fmla="*/ 292613 w 1145"/>
                <a:gd name="T103" fmla="*/ 23084 h 1053"/>
                <a:gd name="T104" fmla="*/ 320564 w 1145"/>
                <a:gd name="T105" fmla="*/ 17838 h 1053"/>
                <a:gd name="T106" fmla="*/ 347205 w 1145"/>
                <a:gd name="T107" fmla="*/ 8919 h 1053"/>
                <a:gd name="T108" fmla="*/ 361617 w 1145"/>
                <a:gd name="T109" fmla="*/ 4197 h 1053"/>
                <a:gd name="T110" fmla="*/ 375156 w 1145"/>
                <a:gd name="T111" fmla="*/ 12591 h 105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1145" h="1053">
                  <a:moveTo>
                    <a:pt x="894" y="24"/>
                  </a:moveTo>
                  <a:lnTo>
                    <a:pt x="894" y="32"/>
                  </a:lnTo>
                  <a:lnTo>
                    <a:pt x="895" y="38"/>
                  </a:lnTo>
                  <a:lnTo>
                    <a:pt x="896" y="44"/>
                  </a:lnTo>
                  <a:lnTo>
                    <a:pt x="897" y="49"/>
                  </a:lnTo>
                  <a:lnTo>
                    <a:pt x="900" y="53"/>
                  </a:lnTo>
                  <a:lnTo>
                    <a:pt x="902" y="57"/>
                  </a:lnTo>
                  <a:lnTo>
                    <a:pt x="906" y="61"/>
                  </a:lnTo>
                  <a:lnTo>
                    <a:pt x="909" y="64"/>
                  </a:lnTo>
                  <a:lnTo>
                    <a:pt x="918" y="68"/>
                  </a:lnTo>
                  <a:lnTo>
                    <a:pt x="926" y="71"/>
                  </a:lnTo>
                  <a:lnTo>
                    <a:pt x="936" y="72"/>
                  </a:lnTo>
                  <a:lnTo>
                    <a:pt x="947" y="72"/>
                  </a:lnTo>
                  <a:lnTo>
                    <a:pt x="993" y="66"/>
                  </a:lnTo>
                  <a:lnTo>
                    <a:pt x="1033" y="61"/>
                  </a:lnTo>
                  <a:lnTo>
                    <a:pt x="1038" y="61"/>
                  </a:lnTo>
                  <a:lnTo>
                    <a:pt x="1045" y="63"/>
                  </a:lnTo>
                  <a:lnTo>
                    <a:pt x="1051" y="64"/>
                  </a:lnTo>
                  <a:lnTo>
                    <a:pt x="1057" y="67"/>
                  </a:lnTo>
                  <a:lnTo>
                    <a:pt x="1069" y="73"/>
                  </a:lnTo>
                  <a:lnTo>
                    <a:pt x="1080" y="81"/>
                  </a:lnTo>
                  <a:lnTo>
                    <a:pt x="1099" y="98"/>
                  </a:lnTo>
                  <a:lnTo>
                    <a:pt x="1112" y="110"/>
                  </a:lnTo>
                  <a:lnTo>
                    <a:pt x="1113" y="124"/>
                  </a:lnTo>
                  <a:lnTo>
                    <a:pt x="1114" y="138"/>
                  </a:lnTo>
                  <a:lnTo>
                    <a:pt x="1117" y="152"/>
                  </a:lnTo>
                  <a:lnTo>
                    <a:pt x="1122" y="164"/>
                  </a:lnTo>
                  <a:lnTo>
                    <a:pt x="1126" y="175"/>
                  </a:lnTo>
                  <a:lnTo>
                    <a:pt x="1132" y="183"/>
                  </a:lnTo>
                  <a:lnTo>
                    <a:pt x="1135" y="186"/>
                  </a:lnTo>
                  <a:lnTo>
                    <a:pt x="1138" y="188"/>
                  </a:lnTo>
                  <a:lnTo>
                    <a:pt x="1142" y="190"/>
                  </a:lnTo>
                  <a:lnTo>
                    <a:pt x="1145" y="190"/>
                  </a:lnTo>
                  <a:lnTo>
                    <a:pt x="1139" y="202"/>
                  </a:lnTo>
                  <a:lnTo>
                    <a:pt x="1133" y="211"/>
                  </a:lnTo>
                  <a:lnTo>
                    <a:pt x="1125" y="220"/>
                  </a:lnTo>
                  <a:lnTo>
                    <a:pt x="1117" y="227"/>
                  </a:lnTo>
                  <a:lnTo>
                    <a:pt x="1100" y="240"/>
                  </a:lnTo>
                  <a:lnTo>
                    <a:pt x="1082" y="253"/>
                  </a:lnTo>
                  <a:lnTo>
                    <a:pt x="1074" y="259"/>
                  </a:lnTo>
                  <a:lnTo>
                    <a:pt x="1066" y="266"/>
                  </a:lnTo>
                  <a:lnTo>
                    <a:pt x="1058" y="272"/>
                  </a:lnTo>
                  <a:lnTo>
                    <a:pt x="1052" y="280"/>
                  </a:lnTo>
                  <a:lnTo>
                    <a:pt x="1046" y="288"/>
                  </a:lnTo>
                  <a:lnTo>
                    <a:pt x="1043" y="297"/>
                  </a:lnTo>
                  <a:lnTo>
                    <a:pt x="1040" y="308"/>
                  </a:lnTo>
                  <a:lnTo>
                    <a:pt x="1040" y="320"/>
                  </a:lnTo>
                  <a:lnTo>
                    <a:pt x="1041" y="339"/>
                  </a:lnTo>
                  <a:lnTo>
                    <a:pt x="1045" y="360"/>
                  </a:lnTo>
                  <a:lnTo>
                    <a:pt x="1046" y="371"/>
                  </a:lnTo>
                  <a:lnTo>
                    <a:pt x="1047" y="381"/>
                  </a:lnTo>
                  <a:lnTo>
                    <a:pt x="1047" y="391"/>
                  </a:lnTo>
                  <a:lnTo>
                    <a:pt x="1046" y="400"/>
                  </a:lnTo>
                  <a:lnTo>
                    <a:pt x="1034" y="410"/>
                  </a:lnTo>
                  <a:lnTo>
                    <a:pt x="1013" y="430"/>
                  </a:lnTo>
                  <a:lnTo>
                    <a:pt x="1003" y="440"/>
                  </a:lnTo>
                  <a:lnTo>
                    <a:pt x="995" y="450"/>
                  </a:lnTo>
                  <a:lnTo>
                    <a:pt x="991" y="455"/>
                  </a:lnTo>
                  <a:lnTo>
                    <a:pt x="988" y="460"/>
                  </a:lnTo>
                  <a:lnTo>
                    <a:pt x="987" y="464"/>
                  </a:lnTo>
                  <a:lnTo>
                    <a:pt x="986" y="467"/>
                  </a:lnTo>
                  <a:lnTo>
                    <a:pt x="987" y="470"/>
                  </a:lnTo>
                  <a:lnTo>
                    <a:pt x="990" y="476"/>
                  </a:lnTo>
                  <a:lnTo>
                    <a:pt x="995" y="481"/>
                  </a:lnTo>
                  <a:lnTo>
                    <a:pt x="999" y="486"/>
                  </a:lnTo>
                  <a:lnTo>
                    <a:pt x="1009" y="495"/>
                  </a:lnTo>
                  <a:lnTo>
                    <a:pt x="1012" y="499"/>
                  </a:lnTo>
                  <a:lnTo>
                    <a:pt x="1016" y="524"/>
                  </a:lnTo>
                  <a:lnTo>
                    <a:pt x="1019" y="550"/>
                  </a:lnTo>
                  <a:lnTo>
                    <a:pt x="1019" y="576"/>
                  </a:lnTo>
                  <a:lnTo>
                    <a:pt x="1019" y="610"/>
                  </a:lnTo>
                  <a:lnTo>
                    <a:pt x="1020" y="618"/>
                  </a:lnTo>
                  <a:lnTo>
                    <a:pt x="1022" y="625"/>
                  </a:lnTo>
                  <a:lnTo>
                    <a:pt x="1025" y="632"/>
                  </a:lnTo>
                  <a:lnTo>
                    <a:pt x="1026" y="640"/>
                  </a:lnTo>
                  <a:lnTo>
                    <a:pt x="1026" y="650"/>
                  </a:lnTo>
                  <a:lnTo>
                    <a:pt x="1026" y="664"/>
                  </a:lnTo>
                  <a:lnTo>
                    <a:pt x="1027" y="679"/>
                  </a:lnTo>
                  <a:lnTo>
                    <a:pt x="1031" y="696"/>
                  </a:lnTo>
                  <a:lnTo>
                    <a:pt x="1033" y="705"/>
                  </a:lnTo>
                  <a:lnTo>
                    <a:pt x="1035" y="713"/>
                  </a:lnTo>
                  <a:lnTo>
                    <a:pt x="1038" y="720"/>
                  </a:lnTo>
                  <a:lnTo>
                    <a:pt x="1043" y="726"/>
                  </a:lnTo>
                  <a:lnTo>
                    <a:pt x="1047" y="731"/>
                  </a:lnTo>
                  <a:lnTo>
                    <a:pt x="1053" y="735"/>
                  </a:lnTo>
                  <a:lnTo>
                    <a:pt x="1058" y="738"/>
                  </a:lnTo>
                  <a:lnTo>
                    <a:pt x="1066" y="739"/>
                  </a:lnTo>
                  <a:lnTo>
                    <a:pt x="1067" y="745"/>
                  </a:lnTo>
                  <a:lnTo>
                    <a:pt x="1070" y="751"/>
                  </a:lnTo>
                  <a:lnTo>
                    <a:pt x="1074" y="759"/>
                  </a:lnTo>
                  <a:lnTo>
                    <a:pt x="1079" y="765"/>
                  </a:lnTo>
                  <a:lnTo>
                    <a:pt x="1083" y="772"/>
                  </a:lnTo>
                  <a:lnTo>
                    <a:pt x="1088" y="780"/>
                  </a:lnTo>
                  <a:lnTo>
                    <a:pt x="1091" y="790"/>
                  </a:lnTo>
                  <a:lnTo>
                    <a:pt x="1092" y="800"/>
                  </a:lnTo>
                  <a:lnTo>
                    <a:pt x="1092" y="807"/>
                  </a:lnTo>
                  <a:lnTo>
                    <a:pt x="1092" y="816"/>
                  </a:lnTo>
                  <a:lnTo>
                    <a:pt x="1092" y="825"/>
                  </a:lnTo>
                  <a:lnTo>
                    <a:pt x="1092" y="831"/>
                  </a:lnTo>
                  <a:lnTo>
                    <a:pt x="1092" y="837"/>
                  </a:lnTo>
                  <a:lnTo>
                    <a:pt x="1080" y="836"/>
                  </a:lnTo>
                  <a:lnTo>
                    <a:pt x="1069" y="837"/>
                  </a:lnTo>
                  <a:lnTo>
                    <a:pt x="1059" y="840"/>
                  </a:lnTo>
                  <a:lnTo>
                    <a:pt x="1049" y="842"/>
                  </a:lnTo>
                  <a:lnTo>
                    <a:pt x="1040" y="844"/>
                  </a:lnTo>
                  <a:lnTo>
                    <a:pt x="1029" y="844"/>
                  </a:lnTo>
                  <a:lnTo>
                    <a:pt x="1023" y="844"/>
                  </a:lnTo>
                  <a:lnTo>
                    <a:pt x="1018" y="842"/>
                  </a:lnTo>
                  <a:lnTo>
                    <a:pt x="1012" y="840"/>
                  </a:lnTo>
                  <a:lnTo>
                    <a:pt x="1005" y="837"/>
                  </a:lnTo>
                  <a:lnTo>
                    <a:pt x="1001" y="846"/>
                  </a:lnTo>
                  <a:lnTo>
                    <a:pt x="997" y="856"/>
                  </a:lnTo>
                  <a:lnTo>
                    <a:pt x="993" y="869"/>
                  </a:lnTo>
                  <a:lnTo>
                    <a:pt x="990" y="883"/>
                  </a:lnTo>
                  <a:lnTo>
                    <a:pt x="982" y="914"/>
                  </a:lnTo>
                  <a:lnTo>
                    <a:pt x="975" y="947"/>
                  </a:lnTo>
                  <a:lnTo>
                    <a:pt x="970" y="962"/>
                  </a:lnTo>
                  <a:lnTo>
                    <a:pt x="966" y="978"/>
                  </a:lnTo>
                  <a:lnTo>
                    <a:pt x="960" y="992"/>
                  </a:lnTo>
                  <a:lnTo>
                    <a:pt x="955" y="1004"/>
                  </a:lnTo>
                  <a:lnTo>
                    <a:pt x="951" y="1009"/>
                  </a:lnTo>
                  <a:lnTo>
                    <a:pt x="947" y="1014"/>
                  </a:lnTo>
                  <a:lnTo>
                    <a:pt x="944" y="1018"/>
                  </a:lnTo>
                  <a:lnTo>
                    <a:pt x="940" y="1021"/>
                  </a:lnTo>
                  <a:lnTo>
                    <a:pt x="935" y="1024"/>
                  </a:lnTo>
                  <a:lnTo>
                    <a:pt x="930" y="1026"/>
                  </a:lnTo>
                  <a:lnTo>
                    <a:pt x="925" y="1028"/>
                  </a:lnTo>
                  <a:lnTo>
                    <a:pt x="920" y="1028"/>
                  </a:lnTo>
                  <a:lnTo>
                    <a:pt x="918" y="1029"/>
                  </a:lnTo>
                  <a:lnTo>
                    <a:pt x="912" y="1031"/>
                  </a:lnTo>
                  <a:lnTo>
                    <a:pt x="909" y="1032"/>
                  </a:lnTo>
                  <a:lnTo>
                    <a:pt x="906" y="1032"/>
                  </a:lnTo>
                  <a:lnTo>
                    <a:pt x="902" y="1031"/>
                  </a:lnTo>
                  <a:lnTo>
                    <a:pt x="900" y="1028"/>
                  </a:lnTo>
                  <a:lnTo>
                    <a:pt x="888" y="1035"/>
                  </a:lnTo>
                  <a:lnTo>
                    <a:pt x="873" y="1043"/>
                  </a:lnTo>
                  <a:lnTo>
                    <a:pt x="864" y="1047"/>
                  </a:lnTo>
                  <a:lnTo>
                    <a:pt x="856" y="1050"/>
                  </a:lnTo>
                  <a:lnTo>
                    <a:pt x="847" y="1052"/>
                  </a:lnTo>
                  <a:lnTo>
                    <a:pt x="840" y="1053"/>
                  </a:lnTo>
                  <a:lnTo>
                    <a:pt x="828" y="1053"/>
                  </a:lnTo>
                  <a:lnTo>
                    <a:pt x="816" y="1052"/>
                  </a:lnTo>
                  <a:lnTo>
                    <a:pt x="805" y="1049"/>
                  </a:lnTo>
                  <a:lnTo>
                    <a:pt x="795" y="1046"/>
                  </a:lnTo>
                  <a:lnTo>
                    <a:pt x="789" y="1043"/>
                  </a:lnTo>
                  <a:lnTo>
                    <a:pt x="786" y="1040"/>
                  </a:lnTo>
                  <a:lnTo>
                    <a:pt x="782" y="1037"/>
                  </a:lnTo>
                  <a:lnTo>
                    <a:pt x="779" y="1033"/>
                  </a:lnTo>
                  <a:lnTo>
                    <a:pt x="777" y="1027"/>
                  </a:lnTo>
                  <a:lnTo>
                    <a:pt x="775" y="1022"/>
                  </a:lnTo>
                  <a:lnTo>
                    <a:pt x="774" y="1016"/>
                  </a:lnTo>
                  <a:lnTo>
                    <a:pt x="774" y="1010"/>
                  </a:lnTo>
                  <a:lnTo>
                    <a:pt x="761" y="1011"/>
                  </a:lnTo>
                  <a:lnTo>
                    <a:pt x="743" y="1014"/>
                  </a:lnTo>
                  <a:lnTo>
                    <a:pt x="734" y="1014"/>
                  </a:lnTo>
                  <a:lnTo>
                    <a:pt x="727" y="1012"/>
                  </a:lnTo>
                  <a:lnTo>
                    <a:pt x="723" y="1011"/>
                  </a:lnTo>
                  <a:lnTo>
                    <a:pt x="719" y="1009"/>
                  </a:lnTo>
                  <a:lnTo>
                    <a:pt x="717" y="1007"/>
                  </a:lnTo>
                  <a:lnTo>
                    <a:pt x="713" y="1004"/>
                  </a:lnTo>
                  <a:lnTo>
                    <a:pt x="707" y="997"/>
                  </a:lnTo>
                  <a:lnTo>
                    <a:pt x="701" y="993"/>
                  </a:lnTo>
                  <a:lnTo>
                    <a:pt x="697" y="992"/>
                  </a:lnTo>
                  <a:lnTo>
                    <a:pt x="694" y="992"/>
                  </a:lnTo>
                  <a:lnTo>
                    <a:pt x="689" y="993"/>
                  </a:lnTo>
                  <a:lnTo>
                    <a:pt x="686" y="993"/>
                  </a:lnTo>
                  <a:lnTo>
                    <a:pt x="680" y="991"/>
                  </a:lnTo>
                  <a:lnTo>
                    <a:pt x="674" y="986"/>
                  </a:lnTo>
                  <a:lnTo>
                    <a:pt x="662" y="987"/>
                  </a:lnTo>
                  <a:lnTo>
                    <a:pt x="653" y="989"/>
                  </a:lnTo>
                  <a:lnTo>
                    <a:pt x="643" y="991"/>
                  </a:lnTo>
                  <a:lnTo>
                    <a:pt x="627" y="992"/>
                  </a:lnTo>
                  <a:lnTo>
                    <a:pt x="618" y="991"/>
                  </a:lnTo>
                  <a:lnTo>
                    <a:pt x="611" y="988"/>
                  </a:lnTo>
                  <a:lnTo>
                    <a:pt x="608" y="987"/>
                  </a:lnTo>
                  <a:lnTo>
                    <a:pt x="605" y="984"/>
                  </a:lnTo>
                  <a:lnTo>
                    <a:pt x="603" y="982"/>
                  </a:lnTo>
                  <a:lnTo>
                    <a:pt x="600" y="979"/>
                  </a:lnTo>
                  <a:lnTo>
                    <a:pt x="597" y="971"/>
                  </a:lnTo>
                  <a:lnTo>
                    <a:pt x="596" y="963"/>
                  </a:lnTo>
                  <a:lnTo>
                    <a:pt x="595" y="953"/>
                  </a:lnTo>
                  <a:lnTo>
                    <a:pt x="594" y="942"/>
                  </a:lnTo>
                  <a:lnTo>
                    <a:pt x="593" y="933"/>
                  </a:lnTo>
                  <a:lnTo>
                    <a:pt x="590" y="925"/>
                  </a:lnTo>
                  <a:lnTo>
                    <a:pt x="587" y="916"/>
                  </a:lnTo>
                  <a:lnTo>
                    <a:pt x="584" y="908"/>
                  </a:lnTo>
                  <a:lnTo>
                    <a:pt x="581" y="900"/>
                  </a:lnTo>
                  <a:lnTo>
                    <a:pt x="577" y="892"/>
                  </a:lnTo>
                  <a:lnTo>
                    <a:pt x="575" y="884"/>
                  </a:lnTo>
                  <a:lnTo>
                    <a:pt x="574" y="875"/>
                  </a:lnTo>
                  <a:lnTo>
                    <a:pt x="575" y="870"/>
                  </a:lnTo>
                  <a:lnTo>
                    <a:pt x="577" y="866"/>
                  </a:lnTo>
                  <a:lnTo>
                    <a:pt x="581" y="860"/>
                  </a:lnTo>
                  <a:lnTo>
                    <a:pt x="584" y="856"/>
                  </a:lnTo>
                  <a:lnTo>
                    <a:pt x="587" y="851"/>
                  </a:lnTo>
                  <a:lnTo>
                    <a:pt x="590" y="846"/>
                  </a:lnTo>
                  <a:lnTo>
                    <a:pt x="593" y="842"/>
                  </a:lnTo>
                  <a:lnTo>
                    <a:pt x="594" y="837"/>
                  </a:lnTo>
                  <a:lnTo>
                    <a:pt x="593" y="825"/>
                  </a:lnTo>
                  <a:lnTo>
                    <a:pt x="589" y="809"/>
                  </a:lnTo>
                  <a:lnTo>
                    <a:pt x="588" y="798"/>
                  </a:lnTo>
                  <a:lnTo>
                    <a:pt x="588" y="789"/>
                  </a:lnTo>
                  <a:lnTo>
                    <a:pt x="590" y="779"/>
                  </a:lnTo>
                  <a:lnTo>
                    <a:pt x="594" y="770"/>
                  </a:lnTo>
                  <a:lnTo>
                    <a:pt x="571" y="766"/>
                  </a:lnTo>
                  <a:lnTo>
                    <a:pt x="521" y="759"/>
                  </a:lnTo>
                  <a:lnTo>
                    <a:pt x="494" y="756"/>
                  </a:lnTo>
                  <a:lnTo>
                    <a:pt x="471" y="755"/>
                  </a:lnTo>
                  <a:lnTo>
                    <a:pt x="461" y="754"/>
                  </a:lnTo>
                  <a:lnTo>
                    <a:pt x="454" y="755"/>
                  </a:lnTo>
                  <a:lnTo>
                    <a:pt x="450" y="756"/>
                  </a:lnTo>
                  <a:lnTo>
                    <a:pt x="448" y="758"/>
                  </a:lnTo>
                  <a:lnTo>
                    <a:pt x="448" y="762"/>
                  </a:lnTo>
                  <a:lnTo>
                    <a:pt x="448" y="770"/>
                  </a:lnTo>
                  <a:lnTo>
                    <a:pt x="447" y="775"/>
                  </a:lnTo>
                  <a:lnTo>
                    <a:pt x="446" y="780"/>
                  </a:lnTo>
                  <a:lnTo>
                    <a:pt x="443" y="785"/>
                  </a:lnTo>
                  <a:lnTo>
                    <a:pt x="440" y="790"/>
                  </a:lnTo>
                  <a:lnTo>
                    <a:pt x="437" y="796"/>
                  </a:lnTo>
                  <a:lnTo>
                    <a:pt x="431" y="801"/>
                  </a:lnTo>
                  <a:lnTo>
                    <a:pt x="425" y="806"/>
                  </a:lnTo>
                  <a:lnTo>
                    <a:pt x="417" y="811"/>
                  </a:lnTo>
                  <a:lnTo>
                    <a:pt x="407" y="814"/>
                  </a:lnTo>
                  <a:lnTo>
                    <a:pt x="396" y="817"/>
                  </a:lnTo>
                  <a:lnTo>
                    <a:pt x="383" y="819"/>
                  </a:lnTo>
                  <a:lnTo>
                    <a:pt x="369" y="819"/>
                  </a:lnTo>
                  <a:lnTo>
                    <a:pt x="362" y="818"/>
                  </a:lnTo>
                  <a:lnTo>
                    <a:pt x="355" y="816"/>
                  </a:lnTo>
                  <a:lnTo>
                    <a:pt x="349" y="811"/>
                  </a:lnTo>
                  <a:lnTo>
                    <a:pt x="342" y="804"/>
                  </a:lnTo>
                  <a:lnTo>
                    <a:pt x="337" y="797"/>
                  </a:lnTo>
                  <a:lnTo>
                    <a:pt x="330" y="789"/>
                  </a:lnTo>
                  <a:lnTo>
                    <a:pt x="325" y="780"/>
                  </a:lnTo>
                  <a:lnTo>
                    <a:pt x="319" y="771"/>
                  </a:lnTo>
                  <a:lnTo>
                    <a:pt x="309" y="749"/>
                  </a:lnTo>
                  <a:lnTo>
                    <a:pt x="302" y="728"/>
                  </a:lnTo>
                  <a:lnTo>
                    <a:pt x="298" y="718"/>
                  </a:lnTo>
                  <a:lnTo>
                    <a:pt x="297" y="708"/>
                  </a:lnTo>
                  <a:lnTo>
                    <a:pt x="295" y="699"/>
                  </a:lnTo>
                  <a:lnTo>
                    <a:pt x="295" y="689"/>
                  </a:lnTo>
                  <a:lnTo>
                    <a:pt x="3" y="689"/>
                  </a:lnTo>
                  <a:lnTo>
                    <a:pt x="2" y="683"/>
                  </a:lnTo>
                  <a:lnTo>
                    <a:pt x="0" y="680"/>
                  </a:lnTo>
                  <a:lnTo>
                    <a:pt x="0" y="677"/>
                  </a:lnTo>
                  <a:lnTo>
                    <a:pt x="3" y="671"/>
                  </a:lnTo>
                  <a:lnTo>
                    <a:pt x="10" y="669"/>
                  </a:lnTo>
                  <a:lnTo>
                    <a:pt x="16" y="668"/>
                  </a:lnTo>
                  <a:lnTo>
                    <a:pt x="23" y="668"/>
                  </a:lnTo>
                  <a:lnTo>
                    <a:pt x="28" y="668"/>
                  </a:lnTo>
                  <a:lnTo>
                    <a:pt x="34" y="668"/>
                  </a:lnTo>
                  <a:lnTo>
                    <a:pt x="39" y="668"/>
                  </a:lnTo>
                  <a:lnTo>
                    <a:pt x="45" y="667"/>
                  </a:lnTo>
                  <a:lnTo>
                    <a:pt x="49" y="665"/>
                  </a:lnTo>
                  <a:lnTo>
                    <a:pt x="49" y="640"/>
                  </a:lnTo>
                  <a:lnTo>
                    <a:pt x="36" y="640"/>
                  </a:lnTo>
                  <a:lnTo>
                    <a:pt x="27" y="640"/>
                  </a:lnTo>
                  <a:lnTo>
                    <a:pt x="18" y="640"/>
                  </a:lnTo>
                  <a:lnTo>
                    <a:pt x="10" y="640"/>
                  </a:lnTo>
                  <a:lnTo>
                    <a:pt x="26" y="631"/>
                  </a:lnTo>
                  <a:lnTo>
                    <a:pt x="39" y="622"/>
                  </a:lnTo>
                  <a:lnTo>
                    <a:pt x="46" y="619"/>
                  </a:lnTo>
                  <a:lnTo>
                    <a:pt x="52" y="615"/>
                  </a:lnTo>
                  <a:lnTo>
                    <a:pt x="60" y="612"/>
                  </a:lnTo>
                  <a:lnTo>
                    <a:pt x="69" y="610"/>
                  </a:lnTo>
                  <a:lnTo>
                    <a:pt x="72" y="613"/>
                  </a:lnTo>
                  <a:lnTo>
                    <a:pt x="75" y="615"/>
                  </a:lnTo>
                  <a:lnTo>
                    <a:pt x="79" y="616"/>
                  </a:lnTo>
                  <a:lnTo>
                    <a:pt x="82" y="617"/>
                  </a:lnTo>
                  <a:lnTo>
                    <a:pt x="91" y="618"/>
                  </a:lnTo>
                  <a:lnTo>
                    <a:pt x="101" y="616"/>
                  </a:lnTo>
                  <a:lnTo>
                    <a:pt x="122" y="612"/>
                  </a:lnTo>
                  <a:lnTo>
                    <a:pt x="142" y="610"/>
                  </a:lnTo>
                  <a:lnTo>
                    <a:pt x="145" y="614"/>
                  </a:lnTo>
                  <a:lnTo>
                    <a:pt x="148" y="617"/>
                  </a:lnTo>
                  <a:lnTo>
                    <a:pt x="152" y="619"/>
                  </a:lnTo>
                  <a:lnTo>
                    <a:pt x="157" y="620"/>
                  </a:lnTo>
                  <a:lnTo>
                    <a:pt x="166" y="621"/>
                  </a:lnTo>
                  <a:lnTo>
                    <a:pt x="175" y="622"/>
                  </a:lnTo>
                  <a:lnTo>
                    <a:pt x="179" y="621"/>
                  </a:lnTo>
                  <a:lnTo>
                    <a:pt x="183" y="620"/>
                  </a:lnTo>
                  <a:lnTo>
                    <a:pt x="186" y="618"/>
                  </a:lnTo>
                  <a:lnTo>
                    <a:pt x="190" y="616"/>
                  </a:lnTo>
                  <a:lnTo>
                    <a:pt x="195" y="610"/>
                  </a:lnTo>
                  <a:lnTo>
                    <a:pt x="201" y="603"/>
                  </a:lnTo>
                  <a:lnTo>
                    <a:pt x="209" y="588"/>
                  </a:lnTo>
                  <a:lnTo>
                    <a:pt x="215" y="578"/>
                  </a:lnTo>
                  <a:lnTo>
                    <a:pt x="220" y="574"/>
                  </a:lnTo>
                  <a:lnTo>
                    <a:pt x="225" y="571"/>
                  </a:lnTo>
                  <a:lnTo>
                    <a:pt x="230" y="569"/>
                  </a:lnTo>
                  <a:lnTo>
                    <a:pt x="236" y="567"/>
                  </a:lnTo>
                  <a:lnTo>
                    <a:pt x="246" y="564"/>
                  </a:lnTo>
                  <a:lnTo>
                    <a:pt x="256" y="560"/>
                  </a:lnTo>
                  <a:lnTo>
                    <a:pt x="258" y="558"/>
                  </a:lnTo>
                  <a:lnTo>
                    <a:pt x="260" y="555"/>
                  </a:lnTo>
                  <a:lnTo>
                    <a:pt x="262" y="550"/>
                  </a:lnTo>
                  <a:lnTo>
                    <a:pt x="264" y="544"/>
                  </a:lnTo>
                  <a:lnTo>
                    <a:pt x="268" y="528"/>
                  </a:lnTo>
                  <a:lnTo>
                    <a:pt x="270" y="511"/>
                  </a:lnTo>
                  <a:lnTo>
                    <a:pt x="274" y="477"/>
                  </a:lnTo>
                  <a:lnTo>
                    <a:pt x="275" y="449"/>
                  </a:lnTo>
                  <a:lnTo>
                    <a:pt x="281" y="440"/>
                  </a:lnTo>
                  <a:lnTo>
                    <a:pt x="287" y="432"/>
                  </a:lnTo>
                  <a:lnTo>
                    <a:pt x="294" y="425"/>
                  </a:lnTo>
                  <a:lnTo>
                    <a:pt x="302" y="416"/>
                  </a:lnTo>
                  <a:lnTo>
                    <a:pt x="316" y="404"/>
                  </a:lnTo>
                  <a:lnTo>
                    <a:pt x="328" y="394"/>
                  </a:lnTo>
                  <a:lnTo>
                    <a:pt x="338" y="382"/>
                  </a:lnTo>
                  <a:lnTo>
                    <a:pt x="346" y="370"/>
                  </a:lnTo>
                  <a:lnTo>
                    <a:pt x="352" y="357"/>
                  </a:lnTo>
                  <a:lnTo>
                    <a:pt x="357" y="345"/>
                  </a:lnTo>
                  <a:lnTo>
                    <a:pt x="361" y="334"/>
                  </a:lnTo>
                  <a:lnTo>
                    <a:pt x="364" y="323"/>
                  </a:lnTo>
                  <a:lnTo>
                    <a:pt x="366" y="312"/>
                  </a:lnTo>
                  <a:lnTo>
                    <a:pt x="369" y="299"/>
                  </a:lnTo>
                  <a:lnTo>
                    <a:pt x="370" y="276"/>
                  </a:lnTo>
                  <a:lnTo>
                    <a:pt x="370" y="251"/>
                  </a:lnTo>
                  <a:lnTo>
                    <a:pt x="369" y="225"/>
                  </a:lnTo>
                  <a:lnTo>
                    <a:pt x="369" y="197"/>
                  </a:lnTo>
                  <a:lnTo>
                    <a:pt x="369" y="191"/>
                  </a:lnTo>
                  <a:lnTo>
                    <a:pt x="369" y="187"/>
                  </a:lnTo>
                  <a:lnTo>
                    <a:pt x="371" y="183"/>
                  </a:lnTo>
                  <a:lnTo>
                    <a:pt x="372" y="180"/>
                  </a:lnTo>
                  <a:lnTo>
                    <a:pt x="375" y="174"/>
                  </a:lnTo>
                  <a:lnTo>
                    <a:pt x="380" y="167"/>
                  </a:lnTo>
                  <a:lnTo>
                    <a:pt x="383" y="160"/>
                  </a:lnTo>
                  <a:lnTo>
                    <a:pt x="385" y="149"/>
                  </a:lnTo>
                  <a:lnTo>
                    <a:pt x="385" y="140"/>
                  </a:lnTo>
                  <a:lnTo>
                    <a:pt x="385" y="132"/>
                  </a:lnTo>
                  <a:lnTo>
                    <a:pt x="383" y="122"/>
                  </a:lnTo>
                  <a:lnTo>
                    <a:pt x="382" y="110"/>
                  </a:lnTo>
                  <a:lnTo>
                    <a:pt x="397" y="87"/>
                  </a:lnTo>
                  <a:lnTo>
                    <a:pt x="417" y="58"/>
                  </a:lnTo>
                  <a:lnTo>
                    <a:pt x="422" y="51"/>
                  </a:lnTo>
                  <a:lnTo>
                    <a:pt x="428" y="45"/>
                  </a:lnTo>
                  <a:lnTo>
                    <a:pt x="435" y="40"/>
                  </a:lnTo>
                  <a:lnTo>
                    <a:pt x="440" y="35"/>
                  </a:lnTo>
                  <a:lnTo>
                    <a:pt x="447" y="31"/>
                  </a:lnTo>
                  <a:lnTo>
                    <a:pt x="453" y="26"/>
                  </a:lnTo>
                  <a:lnTo>
                    <a:pt x="461" y="24"/>
                  </a:lnTo>
                  <a:lnTo>
                    <a:pt x="467" y="24"/>
                  </a:lnTo>
                  <a:lnTo>
                    <a:pt x="476" y="24"/>
                  </a:lnTo>
                  <a:lnTo>
                    <a:pt x="484" y="26"/>
                  </a:lnTo>
                  <a:lnTo>
                    <a:pt x="491" y="30"/>
                  </a:lnTo>
                  <a:lnTo>
                    <a:pt x="497" y="33"/>
                  </a:lnTo>
                  <a:lnTo>
                    <a:pt x="509" y="42"/>
                  </a:lnTo>
                  <a:lnTo>
                    <a:pt x="521" y="52"/>
                  </a:lnTo>
                  <a:lnTo>
                    <a:pt x="532" y="62"/>
                  </a:lnTo>
                  <a:lnTo>
                    <a:pt x="544" y="71"/>
                  </a:lnTo>
                  <a:lnTo>
                    <a:pt x="551" y="74"/>
                  </a:lnTo>
                  <a:lnTo>
                    <a:pt x="558" y="77"/>
                  </a:lnTo>
                  <a:lnTo>
                    <a:pt x="565" y="79"/>
                  </a:lnTo>
                  <a:lnTo>
                    <a:pt x="574" y="79"/>
                  </a:lnTo>
                  <a:lnTo>
                    <a:pt x="587" y="78"/>
                  </a:lnTo>
                  <a:lnTo>
                    <a:pt x="599" y="76"/>
                  </a:lnTo>
                  <a:lnTo>
                    <a:pt x="614" y="74"/>
                  </a:lnTo>
                  <a:lnTo>
                    <a:pt x="634" y="73"/>
                  </a:lnTo>
                  <a:lnTo>
                    <a:pt x="637" y="73"/>
                  </a:lnTo>
                  <a:lnTo>
                    <a:pt x="639" y="71"/>
                  </a:lnTo>
                  <a:lnTo>
                    <a:pt x="641" y="69"/>
                  </a:lnTo>
                  <a:lnTo>
                    <a:pt x="644" y="66"/>
                  </a:lnTo>
                  <a:lnTo>
                    <a:pt x="649" y="60"/>
                  </a:lnTo>
                  <a:lnTo>
                    <a:pt x="654" y="55"/>
                  </a:lnTo>
                  <a:lnTo>
                    <a:pt x="662" y="49"/>
                  </a:lnTo>
                  <a:lnTo>
                    <a:pt x="670" y="44"/>
                  </a:lnTo>
                  <a:lnTo>
                    <a:pt x="677" y="40"/>
                  </a:lnTo>
                  <a:lnTo>
                    <a:pt x="685" y="38"/>
                  </a:lnTo>
                  <a:lnTo>
                    <a:pt x="693" y="36"/>
                  </a:lnTo>
                  <a:lnTo>
                    <a:pt x="701" y="35"/>
                  </a:lnTo>
                  <a:lnTo>
                    <a:pt x="709" y="34"/>
                  </a:lnTo>
                  <a:lnTo>
                    <a:pt x="718" y="34"/>
                  </a:lnTo>
                  <a:lnTo>
                    <a:pt x="734" y="34"/>
                  </a:lnTo>
                  <a:lnTo>
                    <a:pt x="752" y="35"/>
                  </a:lnTo>
                  <a:lnTo>
                    <a:pt x="761" y="34"/>
                  </a:lnTo>
                  <a:lnTo>
                    <a:pt x="769" y="34"/>
                  </a:lnTo>
                  <a:lnTo>
                    <a:pt x="778" y="33"/>
                  </a:lnTo>
                  <a:lnTo>
                    <a:pt x="787" y="31"/>
                  </a:lnTo>
                  <a:lnTo>
                    <a:pt x="790" y="24"/>
                  </a:lnTo>
                  <a:lnTo>
                    <a:pt x="795" y="17"/>
                  </a:lnTo>
                  <a:lnTo>
                    <a:pt x="796" y="13"/>
                  </a:lnTo>
                  <a:lnTo>
                    <a:pt x="799" y="9"/>
                  </a:lnTo>
                  <a:lnTo>
                    <a:pt x="802" y="4"/>
                  </a:lnTo>
                  <a:lnTo>
                    <a:pt x="807" y="0"/>
                  </a:lnTo>
                  <a:lnTo>
                    <a:pt x="814" y="0"/>
                  </a:lnTo>
                  <a:lnTo>
                    <a:pt x="827" y="0"/>
                  </a:lnTo>
                  <a:lnTo>
                    <a:pt x="828" y="8"/>
                  </a:lnTo>
                  <a:lnTo>
                    <a:pt x="830" y="14"/>
                  </a:lnTo>
                  <a:lnTo>
                    <a:pt x="833" y="18"/>
                  </a:lnTo>
                  <a:lnTo>
                    <a:pt x="839" y="21"/>
                  </a:lnTo>
                  <a:lnTo>
                    <a:pt x="843" y="22"/>
                  </a:lnTo>
                  <a:lnTo>
                    <a:pt x="848" y="23"/>
                  </a:lnTo>
                  <a:lnTo>
                    <a:pt x="854" y="24"/>
                  </a:lnTo>
                  <a:lnTo>
                    <a:pt x="859" y="24"/>
                  </a:lnTo>
                  <a:lnTo>
                    <a:pt x="869" y="24"/>
                  </a:lnTo>
                  <a:lnTo>
                    <a:pt x="879" y="24"/>
                  </a:lnTo>
                  <a:lnTo>
                    <a:pt x="887" y="24"/>
                  </a:lnTo>
                  <a:lnTo>
                    <a:pt x="894" y="24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779" name="Freeform 249"/>
            <p:cNvSpPr>
              <a:spLocks/>
            </p:cNvSpPr>
            <p:nvPr>
              <p:custDataLst>
                <p:tags r:id="rId171"/>
              </p:custDataLst>
            </p:nvPr>
          </p:nvSpPr>
          <p:spPr bwMode="auto">
            <a:xfrm>
              <a:off x="5875511" y="4017797"/>
              <a:ext cx="66240" cy="66724"/>
            </a:xfrm>
            <a:custGeom>
              <a:avLst/>
              <a:gdLst>
                <a:gd name="T0" fmla="*/ 53340 w 125"/>
                <a:gd name="T1" fmla="*/ 0 h 81"/>
                <a:gd name="T2" fmla="*/ 53784 w 125"/>
                <a:gd name="T3" fmla="*/ 18521 h 81"/>
                <a:gd name="T4" fmla="*/ 55118 w 125"/>
                <a:gd name="T5" fmla="*/ 31554 h 81"/>
                <a:gd name="T6" fmla="*/ 55562 w 125"/>
                <a:gd name="T7" fmla="*/ 36356 h 81"/>
                <a:gd name="T8" fmla="*/ 55562 w 125"/>
                <a:gd name="T9" fmla="*/ 40472 h 81"/>
                <a:gd name="T10" fmla="*/ 55562 w 125"/>
                <a:gd name="T11" fmla="*/ 44588 h 81"/>
                <a:gd name="T12" fmla="*/ 54673 w 125"/>
                <a:gd name="T13" fmla="*/ 47331 h 81"/>
                <a:gd name="T14" fmla="*/ 52895 w 125"/>
                <a:gd name="T15" fmla="*/ 49389 h 81"/>
                <a:gd name="T16" fmla="*/ 49784 w 125"/>
                <a:gd name="T17" fmla="*/ 50761 h 81"/>
                <a:gd name="T18" fmla="*/ 45783 w 125"/>
                <a:gd name="T19" fmla="*/ 52133 h 81"/>
                <a:gd name="T20" fmla="*/ 40449 w 125"/>
                <a:gd name="T21" fmla="*/ 52819 h 81"/>
                <a:gd name="T22" fmla="*/ 25336 w 125"/>
                <a:gd name="T23" fmla="*/ 54191 h 81"/>
                <a:gd name="T24" fmla="*/ 3111 w 125"/>
                <a:gd name="T25" fmla="*/ 55563 h 81"/>
                <a:gd name="T26" fmla="*/ 2222 w 125"/>
                <a:gd name="T27" fmla="*/ 54191 h 81"/>
                <a:gd name="T28" fmla="*/ 1333 w 125"/>
                <a:gd name="T29" fmla="*/ 49389 h 81"/>
                <a:gd name="T30" fmla="*/ 444 w 125"/>
                <a:gd name="T31" fmla="*/ 40472 h 81"/>
                <a:gd name="T32" fmla="*/ 0 w 125"/>
                <a:gd name="T33" fmla="*/ 29496 h 81"/>
                <a:gd name="T34" fmla="*/ 0 w 125"/>
                <a:gd name="T35" fmla="*/ 25381 h 81"/>
                <a:gd name="T36" fmla="*/ 444 w 125"/>
                <a:gd name="T37" fmla="*/ 21265 h 81"/>
                <a:gd name="T38" fmla="*/ 889 w 125"/>
                <a:gd name="T39" fmla="*/ 17149 h 81"/>
                <a:gd name="T40" fmla="*/ 1778 w 125"/>
                <a:gd name="T41" fmla="*/ 13719 h 81"/>
                <a:gd name="T42" fmla="*/ 3556 w 125"/>
                <a:gd name="T43" fmla="*/ 10289 h 81"/>
                <a:gd name="T44" fmla="*/ 4889 w 125"/>
                <a:gd name="T45" fmla="*/ 6860 h 81"/>
                <a:gd name="T46" fmla="*/ 6223 w 125"/>
                <a:gd name="T47" fmla="*/ 3430 h 81"/>
                <a:gd name="T48" fmla="*/ 8890 w 125"/>
                <a:gd name="T49" fmla="*/ 0 h 81"/>
                <a:gd name="T50" fmla="*/ 53340 w 125"/>
                <a:gd name="T51" fmla="*/ 0 h 81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25" h="81">
                  <a:moveTo>
                    <a:pt x="120" y="0"/>
                  </a:moveTo>
                  <a:lnTo>
                    <a:pt x="121" y="27"/>
                  </a:lnTo>
                  <a:lnTo>
                    <a:pt x="124" y="46"/>
                  </a:lnTo>
                  <a:lnTo>
                    <a:pt x="125" y="53"/>
                  </a:lnTo>
                  <a:lnTo>
                    <a:pt x="125" y="59"/>
                  </a:lnTo>
                  <a:lnTo>
                    <a:pt x="125" y="65"/>
                  </a:lnTo>
                  <a:lnTo>
                    <a:pt x="123" y="69"/>
                  </a:lnTo>
                  <a:lnTo>
                    <a:pt x="119" y="72"/>
                  </a:lnTo>
                  <a:lnTo>
                    <a:pt x="112" y="74"/>
                  </a:lnTo>
                  <a:lnTo>
                    <a:pt x="103" y="76"/>
                  </a:lnTo>
                  <a:lnTo>
                    <a:pt x="91" y="77"/>
                  </a:lnTo>
                  <a:lnTo>
                    <a:pt x="57" y="79"/>
                  </a:lnTo>
                  <a:lnTo>
                    <a:pt x="7" y="81"/>
                  </a:lnTo>
                  <a:lnTo>
                    <a:pt x="5" y="79"/>
                  </a:lnTo>
                  <a:lnTo>
                    <a:pt x="3" y="72"/>
                  </a:lnTo>
                  <a:lnTo>
                    <a:pt x="1" y="59"/>
                  </a:lnTo>
                  <a:lnTo>
                    <a:pt x="0" y="43"/>
                  </a:lnTo>
                  <a:lnTo>
                    <a:pt x="0" y="37"/>
                  </a:lnTo>
                  <a:lnTo>
                    <a:pt x="1" y="31"/>
                  </a:lnTo>
                  <a:lnTo>
                    <a:pt x="2" y="25"/>
                  </a:lnTo>
                  <a:lnTo>
                    <a:pt x="4" y="20"/>
                  </a:lnTo>
                  <a:lnTo>
                    <a:pt x="8" y="15"/>
                  </a:lnTo>
                  <a:lnTo>
                    <a:pt x="11" y="10"/>
                  </a:lnTo>
                  <a:lnTo>
                    <a:pt x="14" y="5"/>
                  </a:lnTo>
                  <a:lnTo>
                    <a:pt x="20" y="0"/>
                  </a:lnTo>
                  <a:lnTo>
                    <a:pt x="12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780" name="Freeform 250"/>
            <p:cNvSpPr>
              <a:spLocks/>
            </p:cNvSpPr>
            <p:nvPr>
              <p:custDataLst>
                <p:tags r:id="rId172"/>
              </p:custDataLst>
            </p:nvPr>
          </p:nvSpPr>
          <p:spPr bwMode="auto">
            <a:xfrm>
              <a:off x="5854691" y="4017797"/>
              <a:ext cx="181690" cy="242111"/>
            </a:xfrm>
            <a:custGeom>
              <a:avLst/>
              <a:gdLst>
                <a:gd name="T0" fmla="*/ 112475 w 355"/>
                <a:gd name="T1" fmla="*/ 7794 h 388"/>
                <a:gd name="T2" fmla="*/ 110329 w 355"/>
                <a:gd name="T3" fmla="*/ 19226 h 388"/>
                <a:gd name="T4" fmla="*/ 113334 w 355"/>
                <a:gd name="T5" fmla="*/ 26501 h 388"/>
                <a:gd name="T6" fmla="*/ 121491 w 355"/>
                <a:gd name="T7" fmla="*/ 31177 h 388"/>
                <a:gd name="T8" fmla="*/ 136945 w 355"/>
                <a:gd name="T9" fmla="*/ 28579 h 388"/>
                <a:gd name="T10" fmla="*/ 142526 w 355"/>
                <a:gd name="T11" fmla="*/ 29618 h 388"/>
                <a:gd name="T12" fmla="*/ 145961 w 355"/>
                <a:gd name="T13" fmla="*/ 35334 h 388"/>
                <a:gd name="T14" fmla="*/ 148107 w 355"/>
                <a:gd name="T15" fmla="*/ 43129 h 388"/>
                <a:gd name="T16" fmla="*/ 150683 w 355"/>
                <a:gd name="T17" fmla="*/ 48844 h 388"/>
                <a:gd name="T18" fmla="*/ 148107 w 355"/>
                <a:gd name="T19" fmla="*/ 56119 h 388"/>
                <a:gd name="T20" fmla="*/ 137375 w 355"/>
                <a:gd name="T21" fmla="*/ 70668 h 388"/>
                <a:gd name="T22" fmla="*/ 149395 w 355"/>
                <a:gd name="T23" fmla="*/ 90934 h 388"/>
                <a:gd name="T24" fmla="*/ 152400 w 355"/>
                <a:gd name="T25" fmla="*/ 104963 h 388"/>
                <a:gd name="T26" fmla="*/ 151541 w 355"/>
                <a:gd name="T27" fmla="*/ 113797 h 388"/>
                <a:gd name="T28" fmla="*/ 148107 w 355"/>
                <a:gd name="T29" fmla="*/ 131984 h 388"/>
                <a:gd name="T30" fmla="*/ 142955 w 355"/>
                <a:gd name="T31" fmla="*/ 140817 h 388"/>
                <a:gd name="T32" fmla="*/ 133940 w 355"/>
                <a:gd name="T33" fmla="*/ 145494 h 388"/>
                <a:gd name="T34" fmla="*/ 122779 w 355"/>
                <a:gd name="T35" fmla="*/ 146533 h 388"/>
                <a:gd name="T36" fmla="*/ 115910 w 355"/>
                <a:gd name="T37" fmla="*/ 146533 h 388"/>
                <a:gd name="T38" fmla="*/ 108183 w 355"/>
                <a:gd name="T39" fmla="*/ 137700 h 388"/>
                <a:gd name="T40" fmla="*/ 103031 w 355"/>
                <a:gd name="T41" fmla="*/ 134582 h 388"/>
                <a:gd name="T42" fmla="*/ 94874 w 355"/>
                <a:gd name="T43" fmla="*/ 139778 h 388"/>
                <a:gd name="T44" fmla="*/ 88006 w 355"/>
                <a:gd name="T45" fmla="*/ 144974 h 388"/>
                <a:gd name="T46" fmla="*/ 83283 w 355"/>
                <a:gd name="T47" fmla="*/ 148092 h 388"/>
                <a:gd name="T48" fmla="*/ 79420 w 355"/>
                <a:gd name="T49" fmla="*/ 154847 h 388"/>
                <a:gd name="T50" fmla="*/ 80278 w 355"/>
                <a:gd name="T51" fmla="*/ 166798 h 388"/>
                <a:gd name="T52" fmla="*/ 88864 w 355"/>
                <a:gd name="T53" fmla="*/ 186024 h 388"/>
                <a:gd name="T54" fmla="*/ 83713 w 355"/>
                <a:gd name="T55" fmla="*/ 183426 h 388"/>
                <a:gd name="T56" fmla="*/ 75985 w 355"/>
                <a:gd name="T57" fmla="*/ 184466 h 388"/>
                <a:gd name="T58" fmla="*/ 69546 w 355"/>
                <a:gd name="T59" fmla="*/ 189662 h 388"/>
                <a:gd name="T60" fmla="*/ 62677 w 355"/>
                <a:gd name="T61" fmla="*/ 201613 h 388"/>
                <a:gd name="T62" fmla="*/ 52803 w 355"/>
                <a:gd name="T63" fmla="*/ 192260 h 388"/>
                <a:gd name="T64" fmla="*/ 48510 w 355"/>
                <a:gd name="T65" fmla="*/ 186024 h 388"/>
                <a:gd name="T66" fmla="*/ 41212 w 355"/>
                <a:gd name="T67" fmla="*/ 168357 h 388"/>
                <a:gd name="T68" fmla="*/ 21465 w 355"/>
                <a:gd name="T69" fmla="*/ 145494 h 388"/>
                <a:gd name="T70" fmla="*/ 9445 w 355"/>
                <a:gd name="T71" fmla="*/ 131984 h 388"/>
                <a:gd name="T72" fmla="*/ 2146 w 355"/>
                <a:gd name="T73" fmla="*/ 115876 h 388"/>
                <a:gd name="T74" fmla="*/ 429 w 355"/>
                <a:gd name="T75" fmla="*/ 97169 h 388"/>
                <a:gd name="T76" fmla="*/ 4722 w 355"/>
                <a:gd name="T77" fmla="*/ 84179 h 388"/>
                <a:gd name="T78" fmla="*/ 17601 w 355"/>
                <a:gd name="T79" fmla="*/ 69629 h 388"/>
                <a:gd name="T80" fmla="*/ 23182 w 355"/>
                <a:gd name="T81" fmla="*/ 60276 h 388"/>
                <a:gd name="T82" fmla="*/ 24041 w 355"/>
                <a:gd name="T83" fmla="*/ 47286 h 388"/>
                <a:gd name="T84" fmla="*/ 46364 w 355"/>
                <a:gd name="T85" fmla="*/ 43129 h 388"/>
                <a:gd name="T86" fmla="*/ 66970 w 355"/>
                <a:gd name="T87" fmla="*/ 41570 h 388"/>
                <a:gd name="T88" fmla="*/ 73839 w 355"/>
                <a:gd name="T89" fmla="*/ 37932 h 388"/>
                <a:gd name="T90" fmla="*/ 75985 w 355"/>
                <a:gd name="T91" fmla="*/ 32736 h 388"/>
                <a:gd name="T92" fmla="*/ 74697 w 355"/>
                <a:gd name="T93" fmla="*/ 21304 h 388"/>
                <a:gd name="T94" fmla="*/ 71692 w 355"/>
                <a:gd name="T95" fmla="*/ 6235 h 38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55" h="388">
                  <a:moveTo>
                    <a:pt x="266" y="7"/>
                  </a:moveTo>
                  <a:lnTo>
                    <a:pt x="265" y="9"/>
                  </a:lnTo>
                  <a:lnTo>
                    <a:pt x="262" y="15"/>
                  </a:lnTo>
                  <a:lnTo>
                    <a:pt x="259" y="23"/>
                  </a:lnTo>
                  <a:lnTo>
                    <a:pt x="257" y="32"/>
                  </a:lnTo>
                  <a:lnTo>
                    <a:pt x="257" y="37"/>
                  </a:lnTo>
                  <a:lnTo>
                    <a:pt x="258" y="42"/>
                  </a:lnTo>
                  <a:lnTo>
                    <a:pt x="261" y="46"/>
                  </a:lnTo>
                  <a:lnTo>
                    <a:pt x="264" y="51"/>
                  </a:lnTo>
                  <a:lnTo>
                    <a:pt x="268" y="54"/>
                  </a:lnTo>
                  <a:lnTo>
                    <a:pt x="275" y="58"/>
                  </a:lnTo>
                  <a:lnTo>
                    <a:pt x="283" y="60"/>
                  </a:lnTo>
                  <a:lnTo>
                    <a:pt x="294" y="63"/>
                  </a:lnTo>
                  <a:lnTo>
                    <a:pt x="301" y="58"/>
                  </a:lnTo>
                  <a:lnTo>
                    <a:pt x="319" y="55"/>
                  </a:lnTo>
                  <a:lnTo>
                    <a:pt x="323" y="55"/>
                  </a:lnTo>
                  <a:lnTo>
                    <a:pt x="328" y="55"/>
                  </a:lnTo>
                  <a:lnTo>
                    <a:pt x="332" y="57"/>
                  </a:lnTo>
                  <a:lnTo>
                    <a:pt x="335" y="59"/>
                  </a:lnTo>
                  <a:lnTo>
                    <a:pt x="337" y="63"/>
                  </a:lnTo>
                  <a:lnTo>
                    <a:pt x="340" y="68"/>
                  </a:lnTo>
                  <a:lnTo>
                    <a:pt x="340" y="74"/>
                  </a:lnTo>
                  <a:lnTo>
                    <a:pt x="340" y="81"/>
                  </a:lnTo>
                  <a:lnTo>
                    <a:pt x="345" y="83"/>
                  </a:lnTo>
                  <a:lnTo>
                    <a:pt x="348" y="87"/>
                  </a:lnTo>
                  <a:lnTo>
                    <a:pt x="350" y="90"/>
                  </a:lnTo>
                  <a:lnTo>
                    <a:pt x="351" y="94"/>
                  </a:lnTo>
                  <a:lnTo>
                    <a:pt x="350" y="99"/>
                  </a:lnTo>
                  <a:lnTo>
                    <a:pt x="347" y="103"/>
                  </a:lnTo>
                  <a:lnTo>
                    <a:pt x="345" y="108"/>
                  </a:lnTo>
                  <a:lnTo>
                    <a:pt x="342" y="113"/>
                  </a:lnTo>
                  <a:lnTo>
                    <a:pt x="328" y="129"/>
                  </a:lnTo>
                  <a:lnTo>
                    <a:pt x="320" y="136"/>
                  </a:lnTo>
                  <a:lnTo>
                    <a:pt x="326" y="143"/>
                  </a:lnTo>
                  <a:lnTo>
                    <a:pt x="341" y="162"/>
                  </a:lnTo>
                  <a:lnTo>
                    <a:pt x="348" y="175"/>
                  </a:lnTo>
                  <a:lnTo>
                    <a:pt x="353" y="188"/>
                  </a:lnTo>
                  <a:lnTo>
                    <a:pt x="355" y="195"/>
                  </a:lnTo>
                  <a:lnTo>
                    <a:pt x="355" y="202"/>
                  </a:lnTo>
                  <a:lnTo>
                    <a:pt x="355" y="209"/>
                  </a:lnTo>
                  <a:lnTo>
                    <a:pt x="353" y="216"/>
                  </a:lnTo>
                  <a:lnTo>
                    <a:pt x="353" y="219"/>
                  </a:lnTo>
                  <a:lnTo>
                    <a:pt x="352" y="228"/>
                  </a:lnTo>
                  <a:lnTo>
                    <a:pt x="350" y="241"/>
                  </a:lnTo>
                  <a:lnTo>
                    <a:pt x="345" y="254"/>
                  </a:lnTo>
                  <a:lnTo>
                    <a:pt x="342" y="260"/>
                  </a:lnTo>
                  <a:lnTo>
                    <a:pt x="339" y="266"/>
                  </a:lnTo>
                  <a:lnTo>
                    <a:pt x="333" y="271"/>
                  </a:lnTo>
                  <a:lnTo>
                    <a:pt x="328" y="276"/>
                  </a:lnTo>
                  <a:lnTo>
                    <a:pt x="321" y="279"/>
                  </a:lnTo>
                  <a:lnTo>
                    <a:pt x="312" y="280"/>
                  </a:lnTo>
                  <a:lnTo>
                    <a:pt x="303" y="280"/>
                  </a:lnTo>
                  <a:lnTo>
                    <a:pt x="294" y="277"/>
                  </a:lnTo>
                  <a:lnTo>
                    <a:pt x="286" y="282"/>
                  </a:lnTo>
                  <a:lnTo>
                    <a:pt x="280" y="285"/>
                  </a:lnTo>
                  <a:lnTo>
                    <a:pt x="275" y="285"/>
                  </a:lnTo>
                  <a:lnTo>
                    <a:pt x="270" y="282"/>
                  </a:lnTo>
                  <a:lnTo>
                    <a:pt x="263" y="276"/>
                  </a:lnTo>
                  <a:lnTo>
                    <a:pt x="255" y="268"/>
                  </a:lnTo>
                  <a:lnTo>
                    <a:pt x="252" y="265"/>
                  </a:lnTo>
                  <a:lnTo>
                    <a:pt x="249" y="261"/>
                  </a:lnTo>
                  <a:lnTo>
                    <a:pt x="244" y="259"/>
                  </a:lnTo>
                  <a:lnTo>
                    <a:pt x="240" y="259"/>
                  </a:lnTo>
                  <a:lnTo>
                    <a:pt x="234" y="260"/>
                  </a:lnTo>
                  <a:lnTo>
                    <a:pt x="229" y="263"/>
                  </a:lnTo>
                  <a:lnTo>
                    <a:pt x="221" y="269"/>
                  </a:lnTo>
                  <a:lnTo>
                    <a:pt x="213" y="277"/>
                  </a:lnTo>
                  <a:lnTo>
                    <a:pt x="211" y="278"/>
                  </a:lnTo>
                  <a:lnTo>
                    <a:pt x="205" y="279"/>
                  </a:lnTo>
                  <a:lnTo>
                    <a:pt x="201" y="280"/>
                  </a:lnTo>
                  <a:lnTo>
                    <a:pt x="197" y="282"/>
                  </a:lnTo>
                  <a:lnTo>
                    <a:pt x="194" y="285"/>
                  </a:lnTo>
                  <a:lnTo>
                    <a:pt x="190" y="288"/>
                  </a:lnTo>
                  <a:lnTo>
                    <a:pt x="187" y="292"/>
                  </a:lnTo>
                  <a:lnTo>
                    <a:pt x="185" y="298"/>
                  </a:lnTo>
                  <a:lnTo>
                    <a:pt x="185" y="304"/>
                  </a:lnTo>
                  <a:lnTo>
                    <a:pt x="185" y="312"/>
                  </a:lnTo>
                  <a:lnTo>
                    <a:pt x="187" y="321"/>
                  </a:lnTo>
                  <a:lnTo>
                    <a:pt x="191" y="331"/>
                  </a:lnTo>
                  <a:lnTo>
                    <a:pt x="198" y="344"/>
                  </a:lnTo>
                  <a:lnTo>
                    <a:pt x="207" y="358"/>
                  </a:lnTo>
                  <a:lnTo>
                    <a:pt x="206" y="357"/>
                  </a:lnTo>
                  <a:lnTo>
                    <a:pt x="201" y="355"/>
                  </a:lnTo>
                  <a:lnTo>
                    <a:pt x="195" y="353"/>
                  </a:lnTo>
                  <a:lnTo>
                    <a:pt x="187" y="353"/>
                  </a:lnTo>
                  <a:lnTo>
                    <a:pt x="183" y="353"/>
                  </a:lnTo>
                  <a:lnTo>
                    <a:pt x="177" y="355"/>
                  </a:lnTo>
                  <a:lnTo>
                    <a:pt x="173" y="357"/>
                  </a:lnTo>
                  <a:lnTo>
                    <a:pt x="167" y="361"/>
                  </a:lnTo>
                  <a:lnTo>
                    <a:pt x="162" y="365"/>
                  </a:lnTo>
                  <a:lnTo>
                    <a:pt x="157" y="371"/>
                  </a:lnTo>
                  <a:lnTo>
                    <a:pt x="152" y="379"/>
                  </a:lnTo>
                  <a:lnTo>
                    <a:pt x="146" y="388"/>
                  </a:lnTo>
                  <a:lnTo>
                    <a:pt x="137" y="380"/>
                  </a:lnTo>
                  <a:lnTo>
                    <a:pt x="128" y="373"/>
                  </a:lnTo>
                  <a:lnTo>
                    <a:pt x="123" y="370"/>
                  </a:lnTo>
                  <a:lnTo>
                    <a:pt x="120" y="366"/>
                  </a:lnTo>
                  <a:lnTo>
                    <a:pt x="117" y="362"/>
                  </a:lnTo>
                  <a:lnTo>
                    <a:pt x="113" y="358"/>
                  </a:lnTo>
                  <a:lnTo>
                    <a:pt x="109" y="346"/>
                  </a:lnTo>
                  <a:lnTo>
                    <a:pt x="102" y="334"/>
                  </a:lnTo>
                  <a:lnTo>
                    <a:pt x="96" y="324"/>
                  </a:lnTo>
                  <a:lnTo>
                    <a:pt x="87" y="315"/>
                  </a:lnTo>
                  <a:lnTo>
                    <a:pt x="70" y="297"/>
                  </a:lnTo>
                  <a:lnTo>
                    <a:pt x="50" y="280"/>
                  </a:lnTo>
                  <a:lnTo>
                    <a:pt x="40" y="271"/>
                  </a:lnTo>
                  <a:lnTo>
                    <a:pt x="31" y="263"/>
                  </a:lnTo>
                  <a:lnTo>
                    <a:pt x="22" y="254"/>
                  </a:lnTo>
                  <a:lnTo>
                    <a:pt x="16" y="245"/>
                  </a:lnTo>
                  <a:lnTo>
                    <a:pt x="9" y="235"/>
                  </a:lnTo>
                  <a:lnTo>
                    <a:pt x="5" y="223"/>
                  </a:lnTo>
                  <a:lnTo>
                    <a:pt x="1" y="211"/>
                  </a:lnTo>
                  <a:lnTo>
                    <a:pt x="0" y="198"/>
                  </a:lnTo>
                  <a:lnTo>
                    <a:pt x="1" y="187"/>
                  </a:lnTo>
                  <a:lnTo>
                    <a:pt x="4" y="178"/>
                  </a:lnTo>
                  <a:lnTo>
                    <a:pt x="7" y="169"/>
                  </a:lnTo>
                  <a:lnTo>
                    <a:pt x="11" y="162"/>
                  </a:lnTo>
                  <a:lnTo>
                    <a:pt x="22" y="150"/>
                  </a:lnTo>
                  <a:lnTo>
                    <a:pt x="34" y="139"/>
                  </a:lnTo>
                  <a:lnTo>
                    <a:pt x="41" y="134"/>
                  </a:lnTo>
                  <a:lnTo>
                    <a:pt x="45" y="129"/>
                  </a:lnTo>
                  <a:lnTo>
                    <a:pt x="50" y="123"/>
                  </a:lnTo>
                  <a:lnTo>
                    <a:pt x="54" y="116"/>
                  </a:lnTo>
                  <a:lnTo>
                    <a:pt x="56" y="109"/>
                  </a:lnTo>
                  <a:lnTo>
                    <a:pt x="57" y="101"/>
                  </a:lnTo>
                  <a:lnTo>
                    <a:pt x="56" y="91"/>
                  </a:lnTo>
                  <a:lnTo>
                    <a:pt x="54" y="81"/>
                  </a:lnTo>
                  <a:lnTo>
                    <a:pt x="84" y="83"/>
                  </a:lnTo>
                  <a:lnTo>
                    <a:pt x="108" y="83"/>
                  </a:lnTo>
                  <a:lnTo>
                    <a:pt x="129" y="83"/>
                  </a:lnTo>
                  <a:lnTo>
                    <a:pt x="144" y="82"/>
                  </a:lnTo>
                  <a:lnTo>
                    <a:pt x="156" y="80"/>
                  </a:lnTo>
                  <a:lnTo>
                    <a:pt x="165" y="77"/>
                  </a:lnTo>
                  <a:lnTo>
                    <a:pt x="168" y="75"/>
                  </a:lnTo>
                  <a:lnTo>
                    <a:pt x="172" y="73"/>
                  </a:lnTo>
                  <a:lnTo>
                    <a:pt x="174" y="71"/>
                  </a:lnTo>
                  <a:lnTo>
                    <a:pt x="175" y="69"/>
                  </a:lnTo>
                  <a:lnTo>
                    <a:pt x="177" y="63"/>
                  </a:lnTo>
                  <a:lnTo>
                    <a:pt x="176" y="56"/>
                  </a:lnTo>
                  <a:lnTo>
                    <a:pt x="175" y="49"/>
                  </a:lnTo>
                  <a:lnTo>
                    <a:pt x="174" y="41"/>
                  </a:lnTo>
                  <a:lnTo>
                    <a:pt x="172" y="32"/>
                  </a:lnTo>
                  <a:lnTo>
                    <a:pt x="169" y="22"/>
                  </a:lnTo>
                  <a:lnTo>
                    <a:pt x="167" y="12"/>
                  </a:lnTo>
                  <a:lnTo>
                    <a:pt x="167" y="0"/>
                  </a:lnTo>
                  <a:lnTo>
                    <a:pt x="266" y="7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781" name="Freeform 251"/>
            <p:cNvSpPr>
              <a:spLocks/>
            </p:cNvSpPr>
            <p:nvPr>
              <p:custDataLst>
                <p:tags r:id="rId173"/>
              </p:custDataLst>
            </p:nvPr>
          </p:nvSpPr>
          <p:spPr bwMode="auto">
            <a:xfrm>
              <a:off x="6490605" y="4503923"/>
              <a:ext cx="310387" cy="625292"/>
            </a:xfrm>
            <a:custGeom>
              <a:avLst/>
              <a:gdLst>
                <a:gd name="T0" fmla="*/ 0 w 599"/>
                <a:gd name="T1" fmla="*/ 135812 h 993"/>
                <a:gd name="T2" fmla="*/ 79105 w 599"/>
                <a:gd name="T3" fmla="*/ 117459 h 993"/>
                <a:gd name="T4" fmla="*/ 99967 w 599"/>
                <a:gd name="T5" fmla="*/ 125849 h 993"/>
                <a:gd name="T6" fmla="*/ 112137 w 599"/>
                <a:gd name="T7" fmla="*/ 135288 h 993"/>
                <a:gd name="T8" fmla="*/ 109530 w 599"/>
                <a:gd name="T9" fmla="*/ 155214 h 993"/>
                <a:gd name="T10" fmla="*/ 101706 w 599"/>
                <a:gd name="T11" fmla="*/ 171469 h 993"/>
                <a:gd name="T12" fmla="*/ 108660 w 599"/>
                <a:gd name="T13" fmla="*/ 187200 h 993"/>
                <a:gd name="T14" fmla="*/ 127784 w 599"/>
                <a:gd name="T15" fmla="*/ 191395 h 993"/>
                <a:gd name="T16" fmla="*/ 138651 w 599"/>
                <a:gd name="T17" fmla="*/ 178286 h 993"/>
                <a:gd name="T18" fmla="*/ 146909 w 599"/>
                <a:gd name="T19" fmla="*/ 166225 h 993"/>
                <a:gd name="T20" fmla="*/ 144301 w 599"/>
                <a:gd name="T21" fmla="*/ 136861 h 993"/>
                <a:gd name="T22" fmla="*/ 136477 w 599"/>
                <a:gd name="T23" fmla="*/ 106972 h 993"/>
                <a:gd name="T24" fmla="*/ 117788 w 599"/>
                <a:gd name="T25" fmla="*/ 82326 h 993"/>
                <a:gd name="T26" fmla="*/ 110399 w 599"/>
                <a:gd name="T27" fmla="*/ 65546 h 993"/>
                <a:gd name="T28" fmla="*/ 117353 w 599"/>
                <a:gd name="T29" fmla="*/ 32511 h 993"/>
                <a:gd name="T30" fmla="*/ 139085 w 599"/>
                <a:gd name="T31" fmla="*/ 28840 h 993"/>
                <a:gd name="T32" fmla="*/ 181680 w 599"/>
                <a:gd name="T33" fmla="*/ 31462 h 993"/>
                <a:gd name="T34" fmla="*/ 226448 w 599"/>
                <a:gd name="T35" fmla="*/ 18877 h 993"/>
                <a:gd name="T36" fmla="*/ 259481 w 599"/>
                <a:gd name="T37" fmla="*/ 1573 h 993"/>
                <a:gd name="T38" fmla="*/ 259481 w 599"/>
                <a:gd name="T39" fmla="*/ 15731 h 993"/>
                <a:gd name="T40" fmla="*/ 259481 w 599"/>
                <a:gd name="T41" fmla="*/ 66071 h 993"/>
                <a:gd name="T42" fmla="*/ 257308 w 599"/>
                <a:gd name="T43" fmla="*/ 119556 h 993"/>
                <a:gd name="T44" fmla="*/ 254265 w 599"/>
                <a:gd name="T45" fmla="*/ 144726 h 993"/>
                <a:gd name="T46" fmla="*/ 239053 w 599"/>
                <a:gd name="T47" fmla="*/ 176713 h 993"/>
                <a:gd name="T48" fmla="*/ 203412 w 599"/>
                <a:gd name="T49" fmla="*/ 210797 h 993"/>
                <a:gd name="T50" fmla="*/ 162556 w 599"/>
                <a:gd name="T51" fmla="*/ 223382 h 993"/>
                <a:gd name="T52" fmla="*/ 153428 w 599"/>
                <a:gd name="T53" fmla="*/ 243308 h 993"/>
                <a:gd name="T54" fmla="*/ 127350 w 599"/>
                <a:gd name="T55" fmla="*/ 265856 h 993"/>
                <a:gd name="T56" fmla="*/ 105618 w 599"/>
                <a:gd name="T57" fmla="*/ 287879 h 993"/>
                <a:gd name="T58" fmla="*/ 99533 w 599"/>
                <a:gd name="T59" fmla="*/ 305184 h 993"/>
                <a:gd name="T60" fmla="*/ 103010 w 599"/>
                <a:gd name="T61" fmla="*/ 324585 h 993"/>
                <a:gd name="T62" fmla="*/ 116049 w 599"/>
                <a:gd name="T63" fmla="*/ 342938 h 993"/>
                <a:gd name="T64" fmla="*/ 110399 w 599"/>
                <a:gd name="T65" fmla="*/ 363913 h 993"/>
                <a:gd name="T66" fmla="*/ 115180 w 599"/>
                <a:gd name="T67" fmla="*/ 382266 h 993"/>
                <a:gd name="T68" fmla="*/ 116049 w 599"/>
                <a:gd name="T69" fmla="*/ 414253 h 993"/>
                <a:gd name="T70" fmla="*/ 111268 w 599"/>
                <a:gd name="T71" fmla="*/ 426838 h 993"/>
                <a:gd name="T72" fmla="*/ 83886 w 599"/>
                <a:gd name="T73" fmla="*/ 457776 h 993"/>
                <a:gd name="T74" fmla="*/ 63892 w 599"/>
                <a:gd name="T75" fmla="*/ 465117 h 993"/>
                <a:gd name="T76" fmla="*/ 44333 w 599"/>
                <a:gd name="T77" fmla="*/ 468787 h 993"/>
                <a:gd name="T78" fmla="*/ 37814 w 599"/>
                <a:gd name="T79" fmla="*/ 478750 h 993"/>
                <a:gd name="T80" fmla="*/ 41291 w 599"/>
                <a:gd name="T81" fmla="*/ 492384 h 993"/>
                <a:gd name="T82" fmla="*/ 39552 w 599"/>
                <a:gd name="T83" fmla="*/ 520176 h 993"/>
                <a:gd name="T84" fmla="*/ 32163 w 599"/>
                <a:gd name="T85" fmla="*/ 424740 h 993"/>
                <a:gd name="T86" fmla="*/ 25209 w 599"/>
                <a:gd name="T87" fmla="*/ 401144 h 993"/>
                <a:gd name="T88" fmla="*/ 17820 w 599"/>
                <a:gd name="T89" fmla="*/ 377547 h 993"/>
                <a:gd name="T90" fmla="*/ 46941 w 599"/>
                <a:gd name="T91" fmla="*/ 349231 h 993"/>
                <a:gd name="T92" fmla="*/ 47376 w 599"/>
                <a:gd name="T93" fmla="*/ 321964 h 993"/>
                <a:gd name="T94" fmla="*/ 64762 w 599"/>
                <a:gd name="T95" fmla="*/ 299416 h 993"/>
                <a:gd name="T96" fmla="*/ 75628 w 599"/>
                <a:gd name="T97" fmla="*/ 275819 h 993"/>
                <a:gd name="T98" fmla="*/ 73020 w 599"/>
                <a:gd name="T99" fmla="*/ 231247 h 993"/>
                <a:gd name="T100" fmla="*/ 66065 w 599"/>
                <a:gd name="T101" fmla="*/ 190871 h 993"/>
                <a:gd name="T102" fmla="*/ 35206 w 599"/>
                <a:gd name="T103" fmla="*/ 178810 h 993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599" h="993">
                  <a:moveTo>
                    <a:pt x="15" y="309"/>
                  </a:moveTo>
                  <a:lnTo>
                    <a:pt x="9" y="291"/>
                  </a:lnTo>
                  <a:lnTo>
                    <a:pt x="3" y="273"/>
                  </a:lnTo>
                  <a:lnTo>
                    <a:pt x="1" y="266"/>
                  </a:lnTo>
                  <a:lnTo>
                    <a:pt x="0" y="259"/>
                  </a:lnTo>
                  <a:lnTo>
                    <a:pt x="0" y="253"/>
                  </a:lnTo>
                  <a:lnTo>
                    <a:pt x="2" y="248"/>
                  </a:lnTo>
                  <a:lnTo>
                    <a:pt x="174" y="216"/>
                  </a:lnTo>
                  <a:lnTo>
                    <a:pt x="177" y="220"/>
                  </a:lnTo>
                  <a:lnTo>
                    <a:pt x="182" y="224"/>
                  </a:lnTo>
                  <a:lnTo>
                    <a:pt x="187" y="227"/>
                  </a:lnTo>
                  <a:lnTo>
                    <a:pt x="193" y="229"/>
                  </a:lnTo>
                  <a:lnTo>
                    <a:pt x="207" y="234"/>
                  </a:lnTo>
                  <a:lnTo>
                    <a:pt x="222" y="238"/>
                  </a:lnTo>
                  <a:lnTo>
                    <a:pt x="230" y="240"/>
                  </a:lnTo>
                  <a:lnTo>
                    <a:pt x="237" y="242"/>
                  </a:lnTo>
                  <a:lnTo>
                    <a:pt x="243" y="245"/>
                  </a:lnTo>
                  <a:lnTo>
                    <a:pt x="249" y="249"/>
                  </a:lnTo>
                  <a:lnTo>
                    <a:pt x="253" y="253"/>
                  </a:lnTo>
                  <a:lnTo>
                    <a:pt x="258" y="258"/>
                  </a:lnTo>
                  <a:lnTo>
                    <a:pt x="260" y="264"/>
                  </a:lnTo>
                  <a:lnTo>
                    <a:pt x="261" y="272"/>
                  </a:lnTo>
                  <a:lnTo>
                    <a:pt x="260" y="280"/>
                  </a:lnTo>
                  <a:lnTo>
                    <a:pt x="256" y="289"/>
                  </a:lnTo>
                  <a:lnTo>
                    <a:pt x="252" y="296"/>
                  </a:lnTo>
                  <a:lnTo>
                    <a:pt x="248" y="302"/>
                  </a:lnTo>
                  <a:lnTo>
                    <a:pt x="242" y="308"/>
                  </a:lnTo>
                  <a:lnTo>
                    <a:pt x="238" y="314"/>
                  </a:lnTo>
                  <a:lnTo>
                    <a:pt x="236" y="321"/>
                  </a:lnTo>
                  <a:lnTo>
                    <a:pt x="234" y="327"/>
                  </a:lnTo>
                  <a:lnTo>
                    <a:pt x="234" y="333"/>
                  </a:lnTo>
                  <a:lnTo>
                    <a:pt x="236" y="338"/>
                  </a:lnTo>
                  <a:lnTo>
                    <a:pt x="238" y="344"/>
                  </a:lnTo>
                  <a:lnTo>
                    <a:pt x="241" y="349"/>
                  </a:lnTo>
                  <a:lnTo>
                    <a:pt x="250" y="357"/>
                  </a:lnTo>
                  <a:lnTo>
                    <a:pt x="259" y="365"/>
                  </a:lnTo>
                  <a:lnTo>
                    <a:pt x="278" y="378"/>
                  </a:lnTo>
                  <a:lnTo>
                    <a:pt x="294" y="389"/>
                  </a:lnTo>
                  <a:lnTo>
                    <a:pt x="294" y="376"/>
                  </a:lnTo>
                  <a:lnTo>
                    <a:pt x="294" y="365"/>
                  </a:lnTo>
                  <a:lnTo>
                    <a:pt x="294" y="356"/>
                  </a:lnTo>
                  <a:lnTo>
                    <a:pt x="294" y="346"/>
                  </a:lnTo>
                  <a:lnTo>
                    <a:pt x="305" y="346"/>
                  </a:lnTo>
                  <a:lnTo>
                    <a:pt x="315" y="343"/>
                  </a:lnTo>
                  <a:lnTo>
                    <a:pt x="319" y="340"/>
                  </a:lnTo>
                  <a:lnTo>
                    <a:pt x="323" y="338"/>
                  </a:lnTo>
                  <a:lnTo>
                    <a:pt x="327" y="335"/>
                  </a:lnTo>
                  <a:lnTo>
                    <a:pt x="329" y="332"/>
                  </a:lnTo>
                  <a:lnTo>
                    <a:pt x="334" y="326"/>
                  </a:lnTo>
                  <a:lnTo>
                    <a:pt x="338" y="317"/>
                  </a:lnTo>
                  <a:lnTo>
                    <a:pt x="340" y="308"/>
                  </a:lnTo>
                  <a:lnTo>
                    <a:pt x="340" y="297"/>
                  </a:lnTo>
                  <a:lnTo>
                    <a:pt x="339" y="283"/>
                  </a:lnTo>
                  <a:lnTo>
                    <a:pt x="337" y="272"/>
                  </a:lnTo>
                  <a:lnTo>
                    <a:pt x="332" y="261"/>
                  </a:lnTo>
                  <a:lnTo>
                    <a:pt x="327" y="251"/>
                  </a:lnTo>
                  <a:lnTo>
                    <a:pt x="322" y="240"/>
                  </a:lnTo>
                  <a:lnTo>
                    <a:pt x="318" y="229"/>
                  </a:lnTo>
                  <a:lnTo>
                    <a:pt x="315" y="217"/>
                  </a:lnTo>
                  <a:lnTo>
                    <a:pt x="314" y="204"/>
                  </a:lnTo>
                  <a:lnTo>
                    <a:pt x="309" y="202"/>
                  </a:lnTo>
                  <a:lnTo>
                    <a:pt x="301" y="194"/>
                  </a:lnTo>
                  <a:lnTo>
                    <a:pt x="292" y="184"/>
                  </a:lnTo>
                  <a:lnTo>
                    <a:pt x="282" y="171"/>
                  </a:lnTo>
                  <a:lnTo>
                    <a:pt x="271" y="157"/>
                  </a:lnTo>
                  <a:lnTo>
                    <a:pt x="262" y="144"/>
                  </a:lnTo>
                  <a:lnTo>
                    <a:pt x="259" y="139"/>
                  </a:lnTo>
                  <a:lnTo>
                    <a:pt x="256" y="133"/>
                  </a:lnTo>
                  <a:lnTo>
                    <a:pt x="254" y="128"/>
                  </a:lnTo>
                  <a:lnTo>
                    <a:pt x="254" y="125"/>
                  </a:lnTo>
                  <a:lnTo>
                    <a:pt x="255" y="110"/>
                  </a:lnTo>
                  <a:lnTo>
                    <a:pt x="259" y="90"/>
                  </a:lnTo>
                  <a:lnTo>
                    <a:pt x="262" y="80"/>
                  </a:lnTo>
                  <a:lnTo>
                    <a:pt x="265" y="71"/>
                  </a:lnTo>
                  <a:lnTo>
                    <a:pt x="270" y="62"/>
                  </a:lnTo>
                  <a:lnTo>
                    <a:pt x="274" y="56"/>
                  </a:lnTo>
                  <a:lnTo>
                    <a:pt x="286" y="57"/>
                  </a:lnTo>
                  <a:lnTo>
                    <a:pt x="298" y="58"/>
                  </a:lnTo>
                  <a:lnTo>
                    <a:pt x="309" y="57"/>
                  </a:lnTo>
                  <a:lnTo>
                    <a:pt x="320" y="55"/>
                  </a:lnTo>
                  <a:lnTo>
                    <a:pt x="343" y="52"/>
                  </a:lnTo>
                  <a:lnTo>
                    <a:pt x="367" y="50"/>
                  </a:lnTo>
                  <a:lnTo>
                    <a:pt x="378" y="52"/>
                  </a:lnTo>
                  <a:lnTo>
                    <a:pt x="398" y="56"/>
                  </a:lnTo>
                  <a:lnTo>
                    <a:pt x="418" y="60"/>
                  </a:lnTo>
                  <a:lnTo>
                    <a:pt x="433" y="62"/>
                  </a:lnTo>
                  <a:lnTo>
                    <a:pt x="445" y="60"/>
                  </a:lnTo>
                  <a:lnTo>
                    <a:pt x="466" y="54"/>
                  </a:lnTo>
                  <a:lnTo>
                    <a:pt x="493" y="46"/>
                  </a:lnTo>
                  <a:lnTo>
                    <a:pt x="521" y="36"/>
                  </a:lnTo>
                  <a:lnTo>
                    <a:pt x="550" y="26"/>
                  </a:lnTo>
                  <a:lnTo>
                    <a:pt x="574" y="16"/>
                  </a:lnTo>
                  <a:lnTo>
                    <a:pt x="584" y="12"/>
                  </a:lnTo>
                  <a:lnTo>
                    <a:pt x="591" y="7"/>
                  </a:lnTo>
                  <a:lnTo>
                    <a:pt x="597" y="3"/>
                  </a:lnTo>
                  <a:lnTo>
                    <a:pt x="599" y="0"/>
                  </a:lnTo>
                  <a:lnTo>
                    <a:pt x="598" y="12"/>
                  </a:lnTo>
                  <a:lnTo>
                    <a:pt x="597" y="20"/>
                  </a:lnTo>
                  <a:lnTo>
                    <a:pt x="597" y="25"/>
                  </a:lnTo>
                  <a:lnTo>
                    <a:pt x="597" y="30"/>
                  </a:lnTo>
                  <a:lnTo>
                    <a:pt x="598" y="36"/>
                  </a:lnTo>
                  <a:lnTo>
                    <a:pt x="599" y="44"/>
                  </a:lnTo>
                  <a:lnTo>
                    <a:pt x="599" y="76"/>
                  </a:lnTo>
                  <a:lnTo>
                    <a:pt x="598" y="102"/>
                  </a:lnTo>
                  <a:lnTo>
                    <a:pt x="597" y="126"/>
                  </a:lnTo>
                  <a:lnTo>
                    <a:pt x="596" y="146"/>
                  </a:lnTo>
                  <a:lnTo>
                    <a:pt x="595" y="165"/>
                  </a:lnTo>
                  <a:lnTo>
                    <a:pt x="594" y="185"/>
                  </a:lnTo>
                  <a:lnTo>
                    <a:pt x="592" y="205"/>
                  </a:lnTo>
                  <a:lnTo>
                    <a:pt x="592" y="228"/>
                  </a:lnTo>
                  <a:lnTo>
                    <a:pt x="592" y="239"/>
                  </a:lnTo>
                  <a:lnTo>
                    <a:pt x="591" y="249"/>
                  </a:lnTo>
                  <a:lnTo>
                    <a:pt x="589" y="258"/>
                  </a:lnTo>
                  <a:lnTo>
                    <a:pt x="587" y="267"/>
                  </a:lnTo>
                  <a:lnTo>
                    <a:pt x="585" y="276"/>
                  </a:lnTo>
                  <a:lnTo>
                    <a:pt x="581" y="285"/>
                  </a:lnTo>
                  <a:lnTo>
                    <a:pt x="577" y="295"/>
                  </a:lnTo>
                  <a:lnTo>
                    <a:pt x="573" y="304"/>
                  </a:lnTo>
                  <a:lnTo>
                    <a:pt x="562" y="321"/>
                  </a:lnTo>
                  <a:lnTo>
                    <a:pt x="550" y="337"/>
                  </a:lnTo>
                  <a:lnTo>
                    <a:pt x="535" y="353"/>
                  </a:lnTo>
                  <a:lnTo>
                    <a:pt x="520" y="367"/>
                  </a:lnTo>
                  <a:lnTo>
                    <a:pt x="503" y="379"/>
                  </a:lnTo>
                  <a:lnTo>
                    <a:pt x="487" y="391"/>
                  </a:lnTo>
                  <a:lnTo>
                    <a:pt x="468" y="402"/>
                  </a:lnTo>
                  <a:lnTo>
                    <a:pt x="450" y="410"/>
                  </a:lnTo>
                  <a:lnTo>
                    <a:pt x="431" y="417"/>
                  </a:lnTo>
                  <a:lnTo>
                    <a:pt x="411" y="422"/>
                  </a:lnTo>
                  <a:lnTo>
                    <a:pt x="393" y="425"/>
                  </a:lnTo>
                  <a:lnTo>
                    <a:pt x="374" y="426"/>
                  </a:lnTo>
                  <a:lnTo>
                    <a:pt x="372" y="433"/>
                  </a:lnTo>
                  <a:lnTo>
                    <a:pt x="368" y="440"/>
                  </a:lnTo>
                  <a:lnTo>
                    <a:pt x="365" y="446"/>
                  </a:lnTo>
                  <a:lnTo>
                    <a:pt x="362" y="452"/>
                  </a:lnTo>
                  <a:lnTo>
                    <a:pt x="353" y="464"/>
                  </a:lnTo>
                  <a:lnTo>
                    <a:pt x="342" y="474"/>
                  </a:lnTo>
                  <a:lnTo>
                    <a:pt x="331" y="483"/>
                  </a:lnTo>
                  <a:lnTo>
                    <a:pt x="318" y="491"/>
                  </a:lnTo>
                  <a:lnTo>
                    <a:pt x="306" y="499"/>
                  </a:lnTo>
                  <a:lnTo>
                    <a:pt x="293" y="507"/>
                  </a:lnTo>
                  <a:lnTo>
                    <a:pt x="281" y="516"/>
                  </a:lnTo>
                  <a:lnTo>
                    <a:pt x="269" y="525"/>
                  </a:lnTo>
                  <a:lnTo>
                    <a:pt x="258" y="534"/>
                  </a:lnTo>
                  <a:lnTo>
                    <a:pt x="248" y="544"/>
                  </a:lnTo>
                  <a:lnTo>
                    <a:pt x="243" y="549"/>
                  </a:lnTo>
                  <a:lnTo>
                    <a:pt x="239" y="555"/>
                  </a:lnTo>
                  <a:lnTo>
                    <a:pt x="236" y="561"/>
                  </a:lnTo>
                  <a:lnTo>
                    <a:pt x="232" y="568"/>
                  </a:lnTo>
                  <a:lnTo>
                    <a:pt x="230" y="575"/>
                  </a:lnTo>
                  <a:lnTo>
                    <a:pt x="229" y="582"/>
                  </a:lnTo>
                  <a:lnTo>
                    <a:pt x="228" y="590"/>
                  </a:lnTo>
                  <a:lnTo>
                    <a:pt x="227" y="598"/>
                  </a:lnTo>
                  <a:lnTo>
                    <a:pt x="228" y="604"/>
                  </a:lnTo>
                  <a:lnTo>
                    <a:pt x="231" y="611"/>
                  </a:lnTo>
                  <a:lnTo>
                    <a:pt x="237" y="619"/>
                  </a:lnTo>
                  <a:lnTo>
                    <a:pt x="242" y="629"/>
                  </a:lnTo>
                  <a:lnTo>
                    <a:pt x="249" y="637"/>
                  </a:lnTo>
                  <a:lnTo>
                    <a:pt x="255" y="645"/>
                  </a:lnTo>
                  <a:lnTo>
                    <a:pt x="262" y="650"/>
                  </a:lnTo>
                  <a:lnTo>
                    <a:pt x="267" y="654"/>
                  </a:lnTo>
                  <a:lnTo>
                    <a:pt x="262" y="663"/>
                  </a:lnTo>
                  <a:lnTo>
                    <a:pt x="258" y="671"/>
                  </a:lnTo>
                  <a:lnTo>
                    <a:pt x="255" y="680"/>
                  </a:lnTo>
                  <a:lnTo>
                    <a:pt x="254" y="685"/>
                  </a:lnTo>
                  <a:lnTo>
                    <a:pt x="254" y="694"/>
                  </a:lnTo>
                  <a:lnTo>
                    <a:pt x="256" y="701"/>
                  </a:lnTo>
                  <a:lnTo>
                    <a:pt x="258" y="709"/>
                  </a:lnTo>
                  <a:lnTo>
                    <a:pt x="261" y="715"/>
                  </a:lnTo>
                  <a:lnTo>
                    <a:pt x="263" y="722"/>
                  </a:lnTo>
                  <a:lnTo>
                    <a:pt x="265" y="729"/>
                  </a:lnTo>
                  <a:lnTo>
                    <a:pt x="266" y="738"/>
                  </a:lnTo>
                  <a:lnTo>
                    <a:pt x="267" y="747"/>
                  </a:lnTo>
                  <a:lnTo>
                    <a:pt x="267" y="766"/>
                  </a:lnTo>
                  <a:lnTo>
                    <a:pt x="267" y="780"/>
                  </a:lnTo>
                  <a:lnTo>
                    <a:pt x="267" y="790"/>
                  </a:lnTo>
                  <a:lnTo>
                    <a:pt x="267" y="796"/>
                  </a:lnTo>
                  <a:lnTo>
                    <a:pt x="266" y="799"/>
                  </a:lnTo>
                  <a:lnTo>
                    <a:pt x="264" y="803"/>
                  </a:lnTo>
                  <a:lnTo>
                    <a:pt x="261" y="808"/>
                  </a:lnTo>
                  <a:lnTo>
                    <a:pt x="256" y="814"/>
                  </a:lnTo>
                  <a:lnTo>
                    <a:pt x="244" y="827"/>
                  </a:lnTo>
                  <a:lnTo>
                    <a:pt x="230" y="841"/>
                  </a:lnTo>
                  <a:lnTo>
                    <a:pt x="215" y="856"/>
                  </a:lnTo>
                  <a:lnTo>
                    <a:pt x="200" y="868"/>
                  </a:lnTo>
                  <a:lnTo>
                    <a:pt x="193" y="873"/>
                  </a:lnTo>
                  <a:lnTo>
                    <a:pt x="186" y="877"/>
                  </a:lnTo>
                  <a:lnTo>
                    <a:pt x="180" y="880"/>
                  </a:lnTo>
                  <a:lnTo>
                    <a:pt x="174" y="882"/>
                  </a:lnTo>
                  <a:lnTo>
                    <a:pt x="161" y="885"/>
                  </a:lnTo>
                  <a:lnTo>
                    <a:pt x="147" y="887"/>
                  </a:lnTo>
                  <a:lnTo>
                    <a:pt x="132" y="889"/>
                  </a:lnTo>
                  <a:lnTo>
                    <a:pt x="118" y="890"/>
                  </a:lnTo>
                  <a:lnTo>
                    <a:pt x="113" y="891"/>
                  </a:lnTo>
                  <a:lnTo>
                    <a:pt x="106" y="892"/>
                  </a:lnTo>
                  <a:lnTo>
                    <a:pt x="102" y="894"/>
                  </a:lnTo>
                  <a:lnTo>
                    <a:pt x="96" y="896"/>
                  </a:lnTo>
                  <a:lnTo>
                    <a:pt x="93" y="900"/>
                  </a:lnTo>
                  <a:lnTo>
                    <a:pt x="91" y="904"/>
                  </a:lnTo>
                  <a:lnTo>
                    <a:pt x="88" y="908"/>
                  </a:lnTo>
                  <a:lnTo>
                    <a:pt x="87" y="913"/>
                  </a:lnTo>
                  <a:lnTo>
                    <a:pt x="88" y="920"/>
                  </a:lnTo>
                  <a:lnTo>
                    <a:pt x="90" y="925"/>
                  </a:lnTo>
                  <a:lnTo>
                    <a:pt x="91" y="931"/>
                  </a:lnTo>
                  <a:lnTo>
                    <a:pt x="93" y="935"/>
                  </a:lnTo>
                  <a:lnTo>
                    <a:pt x="95" y="939"/>
                  </a:lnTo>
                  <a:lnTo>
                    <a:pt x="99" y="941"/>
                  </a:lnTo>
                  <a:lnTo>
                    <a:pt x="103" y="943"/>
                  </a:lnTo>
                  <a:lnTo>
                    <a:pt x="108" y="943"/>
                  </a:lnTo>
                  <a:lnTo>
                    <a:pt x="94" y="993"/>
                  </a:lnTo>
                  <a:lnTo>
                    <a:pt x="91" y="992"/>
                  </a:lnTo>
                  <a:lnTo>
                    <a:pt x="82" y="990"/>
                  </a:lnTo>
                  <a:lnTo>
                    <a:pt x="75" y="988"/>
                  </a:lnTo>
                  <a:lnTo>
                    <a:pt x="74" y="987"/>
                  </a:lnTo>
                  <a:lnTo>
                    <a:pt x="74" y="820"/>
                  </a:lnTo>
                  <a:lnTo>
                    <a:pt x="74" y="810"/>
                  </a:lnTo>
                  <a:lnTo>
                    <a:pt x="73" y="801"/>
                  </a:lnTo>
                  <a:lnTo>
                    <a:pt x="71" y="793"/>
                  </a:lnTo>
                  <a:lnTo>
                    <a:pt x="70" y="785"/>
                  </a:lnTo>
                  <a:lnTo>
                    <a:pt x="64" y="774"/>
                  </a:lnTo>
                  <a:lnTo>
                    <a:pt x="58" y="765"/>
                  </a:lnTo>
                  <a:lnTo>
                    <a:pt x="52" y="755"/>
                  </a:lnTo>
                  <a:lnTo>
                    <a:pt x="47" y="744"/>
                  </a:lnTo>
                  <a:lnTo>
                    <a:pt x="45" y="738"/>
                  </a:lnTo>
                  <a:lnTo>
                    <a:pt x="42" y="729"/>
                  </a:lnTo>
                  <a:lnTo>
                    <a:pt x="41" y="720"/>
                  </a:lnTo>
                  <a:lnTo>
                    <a:pt x="41" y="709"/>
                  </a:lnTo>
                  <a:lnTo>
                    <a:pt x="51" y="704"/>
                  </a:lnTo>
                  <a:lnTo>
                    <a:pt x="72" y="690"/>
                  </a:lnTo>
                  <a:lnTo>
                    <a:pt x="95" y="675"/>
                  </a:lnTo>
                  <a:lnTo>
                    <a:pt x="108" y="666"/>
                  </a:lnTo>
                  <a:lnTo>
                    <a:pt x="107" y="653"/>
                  </a:lnTo>
                  <a:lnTo>
                    <a:pt x="106" y="636"/>
                  </a:lnTo>
                  <a:lnTo>
                    <a:pt x="106" y="627"/>
                  </a:lnTo>
                  <a:lnTo>
                    <a:pt x="108" y="617"/>
                  </a:lnTo>
                  <a:lnTo>
                    <a:pt x="109" y="614"/>
                  </a:lnTo>
                  <a:lnTo>
                    <a:pt x="110" y="610"/>
                  </a:lnTo>
                  <a:lnTo>
                    <a:pt x="113" y="607"/>
                  </a:lnTo>
                  <a:lnTo>
                    <a:pt x="115" y="604"/>
                  </a:lnTo>
                  <a:lnTo>
                    <a:pt x="129" y="591"/>
                  </a:lnTo>
                  <a:lnTo>
                    <a:pt x="149" y="571"/>
                  </a:lnTo>
                  <a:lnTo>
                    <a:pt x="159" y="558"/>
                  </a:lnTo>
                  <a:lnTo>
                    <a:pt x="166" y="546"/>
                  </a:lnTo>
                  <a:lnTo>
                    <a:pt x="170" y="539"/>
                  </a:lnTo>
                  <a:lnTo>
                    <a:pt x="172" y="532"/>
                  </a:lnTo>
                  <a:lnTo>
                    <a:pt x="174" y="526"/>
                  </a:lnTo>
                  <a:lnTo>
                    <a:pt x="174" y="519"/>
                  </a:lnTo>
                  <a:lnTo>
                    <a:pt x="174" y="498"/>
                  </a:lnTo>
                  <a:lnTo>
                    <a:pt x="172" y="479"/>
                  </a:lnTo>
                  <a:lnTo>
                    <a:pt x="170" y="460"/>
                  </a:lnTo>
                  <a:lnTo>
                    <a:pt x="168" y="441"/>
                  </a:lnTo>
                  <a:lnTo>
                    <a:pt x="165" y="423"/>
                  </a:lnTo>
                  <a:lnTo>
                    <a:pt x="163" y="404"/>
                  </a:lnTo>
                  <a:lnTo>
                    <a:pt x="161" y="384"/>
                  </a:lnTo>
                  <a:lnTo>
                    <a:pt x="161" y="364"/>
                  </a:lnTo>
                  <a:lnTo>
                    <a:pt x="152" y="364"/>
                  </a:lnTo>
                  <a:lnTo>
                    <a:pt x="142" y="363"/>
                  </a:lnTo>
                  <a:lnTo>
                    <a:pt x="132" y="361"/>
                  </a:lnTo>
                  <a:lnTo>
                    <a:pt x="122" y="358"/>
                  </a:lnTo>
                  <a:lnTo>
                    <a:pt x="102" y="350"/>
                  </a:lnTo>
                  <a:lnTo>
                    <a:pt x="81" y="341"/>
                  </a:lnTo>
                  <a:lnTo>
                    <a:pt x="42" y="323"/>
                  </a:lnTo>
                  <a:lnTo>
                    <a:pt x="15" y="30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782" name="Freeform 252"/>
            <p:cNvSpPr>
              <a:spLocks/>
            </p:cNvSpPr>
            <p:nvPr>
              <p:custDataLst>
                <p:tags r:id="rId174"/>
              </p:custDataLst>
            </p:nvPr>
          </p:nvSpPr>
          <p:spPr bwMode="auto">
            <a:xfrm>
              <a:off x="6174543" y="4791785"/>
              <a:ext cx="283890" cy="345055"/>
            </a:xfrm>
            <a:custGeom>
              <a:avLst/>
              <a:gdLst>
                <a:gd name="T0" fmla="*/ 13108 w 545"/>
                <a:gd name="T1" fmla="*/ 224008 h 549"/>
                <a:gd name="T2" fmla="*/ 20099 w 545"/>
                <a:gd name="T3" fmla="*/ 237616 h 549"/>
                <a:gd name="T4" fmla="*/ 20099 w 545"/>
                <a:gd name="T5" fmla="*/ 267973 h 549"/>
                <a:gd name="T6" fmla="*/ 20972 w 545"/>
                <a:gd name="T7" fmla="*/ 275824 h 549"/>
                <a:gd name="T8" fmla="*/ 24031 w 545"/>
                <a:gd name="T9" fmla="*/ 281057 h 549"/>
                <a:gd name="T10" fmla="*/ 29711 w 545"/>
                <a:gd name="T11" fmla="*/ 285244 h 549"/>
                <a:gd name="T12" fmla="*/ 43693 w 545"/>
                <a:gd name="T13" fmla="*/ 287338 h 549"/>
                <a:gd name="T14" fmla="*/ 49373 w 545"/>
                <a:gd name="T15" fmla="*/ 285768 h 549"/>
                <a:gd name="T16" fmla="*/ 56800 w 545"/>
                <a:gd name="T17" fmla="*/ 278964 h 549"/>
                <a:gd name="T18" fmla="*/ 62481 w 545"/>
                <a:gd name="T19" fmla="*/ 265356 h 549"/>
                <a:gd name="T20" fmla="*/ 67287 w 545"/>
                <a:gd name="T21" fmla="*/ 249654 h 549"/>
                <a:gd name="T22" fmla="*/ 73841 w 545"/>
                <a:gd name="T23" fmla="*/ 237616 h 549"/>
                <a:gd name="T24" fmla="*/ 79958 w 545"/>
                <a:gd name="T25" fmla="*/ 232906 h 549"/>
                <a:gd name="T26" fmla="*/ 87822 w 545"/>
                <a:gd name="T27" fmla="*/ 232383 h 549"/>
                <a:gd name="T28" fmla="*/ 96998 w 545"/>
                <a:gd name="T29" fmla="*/ 234476 h 549"/>
                <a:gd name="T30" fmla="*/ 110106 w 545"/>
                <a:gd name="T31" fmla="*/ 241280 h 549"/>
                <a:gd name="T32" fmla="*/ 118844 w 545"/>
                <a:gd name="T33" fmla="*/ 244944 h 549"/>
                <a:gd name="T34" fmla="*/ 129767 w 545"/>
                <a:gd name="T35" fmla="*/ 245467 h 549"/>
                <a:gd name="T36" fmla="*/ 139380 w 545"/>
                <a:gd name="T37" fmla="*/ 242850 h 549"/>
                <a:gd name="T38" fmla="*/ 145060 w 545"/>
                <a:gd name="T39" fmla="*/ 237093 h 549"/>
                <a:gd name="T40" fmla="*/ 156857 w 545"/>
                <a:gd name="T41" fmla="*/ 203073 h 549"/>
                <a:gd name="T42" fmla="*/ 166906 w 545"/>
                <a:gd name="T43" fmla="*/ 189989 h 549"/>
                <a:gd name="T44" fmla="*/ 195306 w 545"/>
                <a:gd name="T45" fmla="*/ 164343 h 549"/>
                <a:gd name="T46" fmla="*/ 230260 w 545"/>
                <a:gd name="T47" fmla="*/ 138173 h 549"/>
                <a:gd name="T48" fmla="*/ 230697 w 545"/>
                <a:gd name="T49" fmla="*/ 121425 h 549"/>
                <a:gd name="T50" fmla="*/ 219774 w 545"/>
                <a:gd name="T51" fmla="*/ 114098 h 549"/>
                <a:gd name="T52" fmla="*/ 211909 w 545"/>
                <a:gd name="T53" fmla="*/ 104153 h 549"/>
                <a:gd name="T54" fmla="*/ 200986 w 545"/>
                <a:gd name="T55" fmla="*/ 82171 h 549"/>
                <a:gd name="T56" fmla="*/ 192248 w 545"/>
                <a:gd name="T57" fmla="*/ 69087 h 549"/>
                <a:gd name="T58" fmla="*/ 164721 w 545"/>
                <a:gd name="T59" fmla="*/ 39777 h 549"/>
                <a:gd name="T60" fmla="*/ 156857 w 545"/>
                <a:gd name="T61" fmla="*/ 27739 h 549"/>
                <a:gd name="T62" fmla="*/ 152050 w 545"/>
                <a:gd name="T63" fmla="*/ 12561 h 549"/>
                <a:gd name="T64" fmla="*/ 139380 w 545"/>
                <a:gd name="T65" fmla="*/ 0 h 549"/>
                <a:gd name="T66" fmla="*/ 106610 w 545"/>
                <a:gd name="T67" fmla="*/ 1047 h 549"/>
                <a:gd name="T68" fmla="*/ 76899 w 545"/>
                <a:gd name="T69" fmla="*/ 6804 h 549"/>
                <a:gd name="T70" fmla="*/ 41508 w 545"/>
                <a:gd name="T71" fmla="*/ 11514 h 549"/>
                <a:gd name="T72" fmla="*/ 31022 w 545"/>
                <a:gd name="T73" fmla="*/ 14131 h 549"/>
                <a:gd name="T74" fmla="*/ 29274 w 545"/>
                <a:gd name="T75" fmla="*/ 19889 h 549"/>
                <a:gd name="T76" fmla="*/ 31896 w 545"/>
                <a:gd name="T77" fmla="*/ 29310 h 549"/>
                <a:gd name="T78" fmla="*/ 36702 w 545"/>
                <a:gd name="T79" fmla="*/ 38730 h 549"/>
                <a:gd name="T80" fmla="*/ 37576 w 545"/>
                <a:gd name="T81" fmla="*/ 56002 h 549"/>
                <a:gd name="T82" fmla="*/ 32333 w 545"/>
                <a:gd name="T83" fmla="*/ 89499 h 549"/>
                <a:gd name="T84" fmla="*/ 27089 w 545"/>
                <a:gd name="T85" fmla="*/ 124042 h 549"/>
                <a:gd name="T86" fmla="*/ 20536 w 545"/>
                <a:gd name="T87" fmla="*/ 137650 h 549"/>
                <a:gd name="T88" fmla="*/ 11360 w 545"/>
                <a:gd name="T89" fmla="*/ 144977 h 549"/>
                <a:gd name="T90" fmla="*/ 2185 w 545"/>
                <a:gd name="T91" fmla="*/ 160679 h 549"/>
                <a:gd name="T92" fmla="*/ 437 w 545"/>
                <a:gd name="T93" fmla="*/ 177427 h 549"/>
                <a:gd name="T94" fmla="*/ 3495 w 545"/>
                <a:gd name="T95" fmla="*/ 192082 h 549"/>
                <a:gd name="T96" fmla="*/ 3495 w 545"/>
                <a:gd name="T97" fmla="*/ 204643 h 549"/>
                <a:gd name="T98" fmla="*/ 0 w 545"/>
                <a:gd name="T99" fmla="*/ 213541 h 549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545" h="549">
                  <a:moveTo>
                    <a:pt x="13" y="420"/>
                  </a:moveTo>
                  <a:lnTo>
                    <a:pt x="21" y="424"/>
                  </a:lnTo>
                  <a:lnTo>
                    <a:pt x="30" y="428"/>
                  </a:lnTo>
                  <a:lnTo>
                    <a:pt x="40" y="431"/>
                  </a:lnTo>
                  <a:lnTo>
                    <a:pt x="46" y="432"/>
                  </a:lnTo>
                  <a:lnTo>
                    <a:pt x="46" y="454"/>
                  </a:lnTo>
                  <a:lnTo>
                    <a:pt x="46" y="472"/>
                  </a:lnTo>
                  <a:lnTo>
                    <a:pt x="46" y="491"/>
                  </a:lnTo>
                  <a:lnTo>
                    <a:pt x="46" y="512"/>
                  </a:lnTo>
                  <a:lnTo>
                    <a:pt x="47" y="518"/>
                  </a:lnTo>
                  <a:lnTo>
                    <a:pt x="47" y="523"/>
                  </a:lnTo>
                  <a:lnTo>
                    <a:pt x="48" y="527"/>
                  </a:lnTo>
                  <a:lnTo>
                    <a:pt x="51" y="531"/>
                  </a:lnTo>
                  <a:lnTo>
                    <a:pt x="53" y="534"/>
                  </a:lnTo>
                  <a:lnTo>
                    <a:pt x="55" y="537"/>
                  </a:lnTo>
                  <a:lnTo>
                    <a:pt x="57" y="540"/>
                  </a:lnTo>
                  <a:lnTo>
                    <a:pt x="61" y="542"/>
                  </a:lnTo>
                  <a:lnTo>
                    <a:pt x="68" y="545"/>
                  </a:lnTo>
                  <a:lnTo>
                    <a:pt x="77" y="547"/>
                  </a:lnTo>
                  <a:lnTo>
                    <a:pt x="88" y="548"/>
                  </a:lnTo>
                  <a:lnTo>
                    <a:pt x="100" y="549"/>
                  </a:lnTo>
                  <a:lnTo>
                    <a:pt x="104" y="548"/>
                  </a:lnTo>
                  <a:lnTo>
                    <a:pt x="109" y="548"/>
                  </a:lnTo>
                  <a:lnTo>
                    <a:pt x="113" y="546"/>
                  </a:lnTo>
                  <a:lnTo>
                    <a:pt x="117" y="544"/>
                  </a:lnTo>
                  <a:lnTo>
                    <a:pt x="123" y="539"/>
                  </a:lnTo>
                  <a:lnTo>
                    <a:pt x="130" y="533"/>
                  </a:lnTo>
                  <a:lnTo>
                    <a:pt x="134" y="525"/>
                  </a:lnTo>
                  <a:lnTo>
                    <a:pt x="138" y="516"/>
                  </a:lnTo>
                  <a:lnTo>
                    <a:pt x="143" y="507"/>
                  </a:lnTo>
                  <a:lnTo>
                    <a:pt x="146" y="496"/>
                  </a:lnTo>
                  <a:lnTo>
                    <a:pt x="151" y="487"/>
                  </a:lnTo>
                  <a:lnTo>
                    <a:pt x="154" y="477"/>
                  </a:lnTo>
                  <a:lnTo>
                    <a:pt x="158" y="469"/>
                  </a:lnTo>
                  <a:lnTo>
                    <a:pt x="164" y="461"/>
                  </a:lnTo>
                  <a:lnTo>
                    <a:pt x="169" y="454"/>
                  </a:lnTo>
                  <a:lnTo>
                    <a:pt x="176" y="448"/>
                  </a:lnTo>
                  <a:lnTo>
                    <a:pt x="179" y="446"/>
                  </a:lnTo>
                  <a:lnTo>
                    <a:pt x="183" y="445"/>
                  </a:lnTo>
                  <a:lnTo>
                    <a:pt x="188" y="444"/>
                  </a:lnTo>
                  <a:lnTo>
                    <a:pt x="193" y="444"/>
                  </a:lnTo>
                  <a:lnTo>
                    <a:pt x="201" y="444"/>
                  </a:lnTo>
                  <a:lnTo>
                    <a:pt x="209" y="445"/>
                  </a:lnTo>
                  <a:lnTo>
                    <a:pt x="215" y="446"/>
                  </a:lnTo>
                  <a:lnTo>
                    <a:pt x="222" y="448"/>
                  </a:lnTo>
                  <a:lnTo>
                    <a:pt x="232" y="453"/>
                  </a:lnTo>
                  <a:lnTo>
                    <a:pt x="242" y="457"/>
                  </a:lnTo>
                  <a:lnTo>
                    <a:pt x="252" y="461"/>
                  </a:lnTo>
                  <a:lnTo>
                    <a:pt x="261" y="465"/>
                  </a:lnTo>
                  <a:lnTo>
                    <a:pt x="267" y="467"/>
                  </a:lnTo>
                  <a:lnTo>
                    <a:pt x="272" y="468"/>
                  </a:lnTo>
                  <a:lnTo>
                    <a:pt x="279" y="469"/>
                  </a:lnTo>
                  <a:lnTo>
                    <a:pt x="286" y="469"/>
                  </a:lnTo>
                  <a:lnTo>
                    <a:pt x="297" y="469"/>
                  </a:lnTo>
                  <a:lnTo>
                    <a:pt x="305" y="468"/>
                  </a:lnTo>
                  <a:lnTo>
                    <a:pt x="313" y="466"/>
                  </a:lnTo>
                  <a:lnTo>
                    <a:pt x="319" y="464"/>
                  </a:lnTo>
                  <a:lnTo>
                    <a:pt x="324" y="461"/>
                  </a:lnTo>
                  <a:lnTo>
                    <a:pt x="328" y="457"/>
                  </a:lnTo>
                  <a:lnTo>
                    <a:pt x="332" y="453"/>
                  </a:lnTo>
                  <a:lnTo>
                    <a:pt x="335" y="447"/>
                  </a:lnTo>
                  <a:lnTo>
                    <a:pt x="345" y="422"/>
                  </a:lnTo>
                  <a:lnTo>
                    <a:pt x="359" y="388"/>
                  </a:lnTo>
                  <a:lnTo>
                    <a:pt x="365" y="380"/>
                  </a:lnTo>
                  <a:lnTo>
                    <a:pt x="373" y="372"/>
                  </a:lnTo>
                  <a:lnTo>
                    <a:pt x="382" y="363"/>
                  </a:lnTo>
                  <a:lnTo>
                    <a:pt x="393" y="353"/>
                  </a:lnTo>
                  <a:lnTo>
                    <a:pt x="418" y="333"/>
                  </a:lnTo>
                  <a:lnTo>
                    <a:pt x="447" y="314"/>
                  </a:lnTo>
                  <a:lnTo>
                    <a:pt x="476" y="296"/>
                  </a:lnTo>
                  <a:lnTo>
                    <a:pt x="503" y="278"/>
                  </a:lnTo>
                  <a:lnTo>
                    <a:pt x="527" y="264"/>
                  </a:lnTo>
                  <a:lnTo>
                    <a:pt x="545" y="253"/>
                  </a:lnTo>
                  <a:lnTo>
                    <a:pt x="538" y="235"/>
                  </a:lnTo>
                  <a:lnTo>
                    <a:pt x="528" y="232"/>
                  </a:lnTo>
                  <a:lnTo>
                    <a:pt x="518" y="229"/>
                  </a:lnTo>
                  <a:lnTo>
                    <a:pt x="511" y="223"/>
                  </a:lnTo>
                  <a:lnTo>
                    <a:pt x="503" y="218"/>
                  </a:lnTo>
                  <a:lnTo>
                    <a:pt x="496" y="212"/>
                  </a:lnTo>
                  <a:lnTo>
                    <a:pt x="491" y="206"/>
                  </a:lnTo>
                  <a:lnTo>
                    <a:pt x="485" y="199"/>
                  </a:lnTo>
                  <a:lnTo>
                    <a:pt x="480" y="191"/>
                  </a:lnTo>
                  <a:lnTo>
                    <a:pt x="470" y="175"/>
                  </a:lnTo>
                  <a:lnTo>
                    <a:pt x="460" y="157"/>
                  </a:lnTo>
                  <a:lnTo>
                    <a:pt x="454" y="149"/>
                  </a:lnTo>
                  <a:lnTo>
                    <a:pt x="447" y="141"/>
                  </a:lnTo>
                  <a:lnTo>
                    <a:pt x="440" y="132"/>
                  </a:lnTo>
                  <a:lnTo>
                    <a:pt x="432" y="124"/>
                  </a:lnTo>
                  <a:lnTo>
                    <a:pt x="404" y="101"/>
                  </a:lnTo>
                  <a:lnTo>
                    <a:pt x="377" y="76"/>
                  </a:lnTo>
                  <a:lnTo>
                    <a:pt x="370" y="69"/>
                  </a:lnTo>
                  <a:lnTo>
                    <a:pt x="365" y="62"/>
                  </a:lnTo>
                  <a:lnTo>
                    <a:pt x="359" y="53"/>
                  </a:lnTo>
                  <a:lnTo>
                    <a:pt x="355" y="44"/>
                  </a:lnTo>
                  <a:lnTo>
                    <a:pt x="350" y="35"/>
                  </a:lnTo>
                  <a:lnTo>
                    <a:pt x="348" y="24"/>
                  </a:lnTo>
                  <a:lnTo>
                    <a:pt x="346" y="13"/>
                  </a:lnTo>
                  <a:lnTo>
                    <a:pt x="346" y="0"/>
                  </a:lnTo>
                  <a:lnTo>
                    <a:pt x="319" y="0"/>
                  </a:lnTo>
                  <a:lnTo>
                    <a:pt x="293" y="0"/>
                  </a:lnTo>
                  <a:lnTo>
                    <a:pt x="268" y="1"/>
                  </a:lnTo>
                  <a:lnTo>
                    <a:pt x="244" y="2"/>
                  </a:lnTo>
                  <a:lnTo>
                    <a:pt x="221" y="6"/>
                  </a:lnTo>
                  <a:lnTo>
                    <a:pt x="198" y="9"/>
                  </a:lnTo>
                  <a:lnTo>
                    <a:pt x="176" y="13"/>
                  </a:lnTo>
                  <a:lnTo>
                    <a:pt x="153" y="19"/>
                  </a:lnTo>
                  <a:lnTo>
                    <a:pt x="123" y="21"/>
                  </a:lnTo>
                  <a:lnTo>
                    <a:pt x="95" y="22"/>
                  </a:lnTo>
                  <a:lnTo>
                    <a:pt x="84" y="23"/>
                  </a:lnTo>
                  <a:lnTo>
                    <a:pt x="75" y="25"/>
                  </a:lnTo>
                  <a:lnTo>
                    <a:pt x="71" y="27"/>
                  </a:lnTo>
                  <a:lnTo>
                    <a:pt x="68" y="30"/>
                  </a:lnTo>
                  <a:lnTo>
                    <a:pt x="67" y="33"/>
                  </a:lnTo>
                  <a:lnTo>
                    <a:pt x="67" y="38"/>
                  </a:lnTo>
                  <a:lnTo>
                    <a:pt x="67" y="44"/>
                  </a:lnTo>
                  <a:lnTo>
                    <a:pt x="69" y="50"/>
                  </a:lnTo>
                  <a:lnTo>
                    <a:pt x="73" y="56"/>
                  </a:lnTo>
                  <a:lnTo>
                    <a:pt x="77" y="63"/>
                  </a:lnTo>
                  <a:lnTo>
                    <a:pt x="80" y="68"/>
                  </a:lnTo>
                  <a:lnTo>
                    <a:pt x="84" y="74"/>
                  </a:lnTo>
                  <a:lnTo>
                    <a:pt x="86" y="80"/>
                  </a:lnTo>
                  <a:lnTo>
                    <a:pt x="87" y="87"/>
                  </a:lnTo>
                  <a:lnTo>
                    <a:pt x="86" y="107"/>
                  </a:lnTo>
                  <a:lnTo>
                    <a:pt x="82" y="129"/>
                  </a:lnTo>
                  <a:lnTo>
                    <a:pt x="78" y="150"/>
                  </a:lnTo>
                  <a:lnTo>
                    <a:pt x="74" y="171"/>
                  </a:lnTo>
                  <a:lnTo>
                    <a:pt x="68" y="193"/>
                  </a:lnTo>
                  <a:lnTo>
                    <a:pt x="64" y="214"/>
                  </a:lnTo>
                  <a:lnTo>
                    <a:pt x="62" y="237"/>
                  </a:lnTo>
                  <a:lnTo>
                    <a:pt x="61" y="259"/>
                  </a:lnTo>
                  <a:lnTo>
                    <a:pt x="54" y="261"/>
                  </a:lnTo>
                  <a:lnTo>
                    <a:pt x="47" y="263"/>
                  </a:lnTo>
                  <a:lnTo>
                    <a:pt x="42" y="266"/>
                  </a:lnTo>
                  <a:lnTo>
                    <a:pt x="36" y="269"/>
                  </a:lnTo>
                  <a:lnTo>
                    <a:pt x="26" y="277"/>
                  </a:lnTo>
                  <a:lnTo>
                    <a:pt x="18" y="287"/>
                  </a:lnTo>
                  <a:lnTo>
                    <a:pt x="10" y="297"/>
                  </a:lnTo>
                  <a:lnTo>
                    <a:pt x="5" y="307"/>
                  </a:lnTo>
                  <a:lnTo>
                    <a:pt x="1" y="317"/>
                  </a:lnTo>
                  <a:lnTo>
                    <a:pt x="0" y="327"/>
                  </a:lnTo>
                  <a:lnTo>
                    <a:pt x="1" y="339"/>
                  </a:lnTo>
                  <a:lnTo>
                    <a:pt x="3" y="349"/>
                  </a:lnTo>
                  <a:lnTo>
                    <a:pt x="6" y="358"/>
                  </a:lnTo>
                  <a:lnTo>
                    <a:pt x="8" y="367"/>
                  </a:lnTo>
                  <a:lnTo>
                    <a:pt x="9" y="376"/>
                  </a:lnTo>
                  <a:lnTo>
                    <a:pt x="9" y="386"/>
                  </a:lnTo>
                  <a:lnTo>
                    <a:pt x="8" y="391"/>
                  </a:lnTo>
                  <a:lnTo>
                    <a:pt x="6" y="397"/>
                  </a:lnTo>
                  <a:lnTo>
                    <a:pt x="3" y="402"/>
                  </a:lnTo>
                  <a:lnTo>
                    <a:pt x="0" y="408"/>
                  </a:lnTo>
                  <a:lnTo>
                    <a:pt x="13" y="42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783" name="Freeform 253"/>
            <p:cNvSpPr>
              <a:spLocks/>
            </p:cNvSpPr>
            <p:nvPr>
              <p:custDataLst>
                <p:tags r:id="rId175"/>
              </p:custDataLst>
            </p:nvPr>
          </p:nvSpPr>
          <p:spPr bwMode="auto">
            <a:xfrm>
              <a:off x="6857770" y="4553490"/>
              <a:ext cx="234683" cy="522348"/>
            </a:xfrm>
            <a:custGeom>
              <a:avLst/>
              <a:gdLst>
                <a:gd name="T0" fmla="*/ 48777 w 452"/>
                <a:gd name="T1" fmla="*/ 136452 h 832"/>
                <a:gd name="T2" fmla="*/ 60100 w 452"/>
                <a:gd name="T3" fmla="*/ 129656 h 832"/>
                <a:gd name="T4" fmla="*/ 71859 w 452"/>
                <a:gd name="T5" fmla="*/ 125474 h 832"/>
                <a:gd name="T6" fmla="*/ 83618 w 452"/>
                <a:gd name="T7" fmla="*/ 121291 h 832"/>
                <a:gd name="T8" fmla="*/ 93634 w 452"/>
                <a:gd name="T9" fmla="*/ 113449 h 832"/>
                <a:gd name="T10" fmla="*/ 101038 w 452"/>
                <a:gd name="T11" fmla="*/ 104561 h 832"/>
                <a:gd name="T12" fmla="*/ 101038 w 452"/>
                <a:gd name="T13" fmla="*/ 93582 h 832"/>
                <a:gd name="T14" fmla="*/ 115410 w 452"/>
                <a:gd name="T15" fmla="*/ 93060 h 832"/>
                <a:gd name="T16" fmla="*/ 122813 w 452"/>
                <a:gd name="T17" fmla="*/ 90446 h 832"/>
                <a:gd name="T18" fmla="*/ 129782 w 452"/>
                <a:gd name="T19" fmla="*/ 84695 h 832"/>
                <a:gd name="T20" fmla="*/ 139363 w 452"/>
                <a:gd name="T21" fmla="*/ 69533 h 832"/>
                <a:gd name="T22" fmla="*/ 152428 w 452"/>
                <a:gd name="T23" fmla="*/ 39210 h 832"/>
                <a:gd name="T24" fmla="*/ 164622 w 452"/>
                <a:gd name="T25" fmla="*/ 0 h 832"/>
                <a:gd name="T26" fmla="*/ 167671 w 452"/>
                <a:gd name="T27" fmla="*/ 9933 h 832"/>
                <a:gd name="T28" fmla="*/ 177252 w 452"/>
                <a:gd name="T29" fmla="*/ 24572 h 832"/>
                <a:gd name="T30" fmla="*/ 195108 w 452"/>
                <a:gd name="T31" fmla="*/ 44439 h 832"/>
                <a:gd name="T32" fmla="*/ 191624 w 452"/>
                <a:gd name="T33" fmla="*/ 53849 h 832"/>
                <a:gd name="T34" fmla="*/ 193366 w 452"/>
                <a:gd name="T35" fmla="*/ 72147 h 832"/>
                <a:gd name="T36" fmla="*/ 196850 w 452"/>
                <a:gd name="T37" fmla="*/ 96719 h 832"/>
                <a:gd name="T38" fmla="*/ 195108 w 452"/>
                <a:gd name="T39" fmla="*/ 107698 h 832"/>
                <a:gd name="T40" fmla="*/ 186398 w 452"/>
                <a:gd name="T41" fmla="*/ 122337 h 832"/>
                <a:gd name="T42" fmla="*/ 178123 w 452"/>
                <a:gd name="T43" fmla="*/ 136452 h 832"/>
                <a:gd name="T44" fmla="*/ 176381 w 452"/>
                <a:gd name="T45" fmla="*/ 147954 h 832"/>
                <a:gd name="T46" fmla="*/ 171155 w 452"/>
                <a:gd name="T47" fmla="*/ 161024 h 832"/>
                <a:gd name="T48" fmla="*/ 166800 w 452"/>
                <a:gd name="T49" fmla="*/ 166252 h 832"/>
                <a:gd name="T50" fmla="*/ 164187 w 452"/>
                <a:gd name="T51" fmla="*/ 173572 h 832"/>
                <a:gd name="T52" fmla="*/ 160267 w 452"/>
                <a:gd name="T53" fmla="*/ 190302 h 832"/>
                <a:gd name="T54" fmla="*/ 147202 w 452"/>
                <a:gd name="T55" fmla="*/ 223238 h 832"/>
                <a:gd name="T56" fmla="*/ 139798 w 452"/>
                <a:gd name="T57" fmla="*/ 245719 h 832"/>
                <a:gd name="T58" fmla="*/ 138492 w 452"/>
                <a:gd name="T59" fmla="*/ 261403 h 832"/>
                <a:gd name="T60" fmla="*/ 135008 w 452"/>
                <a:gd name="T61" fmla="*/ 277610 h 832"/>
                <a:gd name="T62" fmla="*/ 122378 w 452"/>
                <a:gd name="T63" fmla="*/ 314730 h 832"/>
                <a:gd name="T64" fmla="*/ 113232 w 452"/>
                <a:gd name="T65" fmla="*/ 333028 h 832"/>
                <a:gd name="T66" fmla="*/ 105393 w 452"/>
                <a:gd name="T67" fmla="*/ 342438 h 832"/>
                <a:gd name="T68" fmla="*/ 101038 w 452"/>
                <a:gd name="T69" fmla="*/ 345052 h 832"/>
                <a:gd name="T70" fmla="*/ 99296 w 452"/>
                <a:gd name="T71" fmla="*/ 373284 h 832"/>
                <a:gd name="T72" fmla="*/ 93634 w 452"/>
                <a:gd name="T73" fmla="*/ 396810 h 832"/>
                <a:gd name="T74" fmla="*/ 83182 w 452"/>
                <a:gd name="T75" fmla="*/ 415631 h 832"/>
                <a:gd name="T76" fmla="*/ 68375 w 452"/>
                <a:gd name="T77" fmla="*/ 428179 h 832"/>
                <a:gd name="T78" fmla="*/ 47906 w 452"/>
                <a:gd name="T79" fmla="*/ 434452 h 832"/>
                <a:gd name="T80" fmla="*/ 34841 w 452"/>
                <a:gd name="T81" fmla="*/ 432361 h 832"/>
                <a:gd name="T82" fmla="*/ 31792 w 452"/>
                <a:gd name="T83" fmla="*/ 427133 h 832"/>
                <a:gd name="T84" fmla="*/ 21775 w 452"/>
                <a:gd name="T85" fmla="*/ 423473 h 832"/>
                <a:gd name="T86" fmla="*/ 11323 w 452"/>
                <a:gd name="T87" fmla="*/ 417200 h 832"/>
                <a:gd name="T88" fmla="*/ 5226 w 452"/>
                <a:gd name="T89" fmla="*/ 406221 h 832"/>
                <a:gd name="T90" fmla="*/ 1307 w 452"/>
                <a:gd name="T91" fmla="*/ 393150 h 832"/>
                <a:gd name="T92" fmla="*/ 0 w 452"/>
                <a:gd name="T93" fmla="*/ 370147 h 832"/>
                <a:gd name="T94" fmla="*/ 1742 w 452"/>
                <a:gd name="T95" fmla="*/ 362828 h 832"/>
                <a:gd name="T96" fmla="*/ 8275 w 452"/>
                <a:gd name="T97" fmla="*/ 354463 h 832"/>
                <a:gd name="T98" fmla="*/ 4791 w 452"/>
                <a:gd name="T99" fmla="*/ 351326 h 832"/>
                <a:gd name="T100" fmla="*/ 0 w 452"/>
                <a:gd name="T101" fmla="*/ 340870 h 832"/>
                <a:gd name="T102" fmla="*/ 2178 w 452"/>
                <a:gd name="T103" fmla="*/ 328322 h 832"/>
                <a:gd name="T104" fmla="*/ 3484 w 452"/>
                <a:gd name="T105" fmla="*/ 318912 h 832"/>
                <a:gd name="T106" fmla="*/ 2178 w 452"/>
                <a:gd name="T107" fmla="*/ 308979 h 832"/>
                <a:gd name="T108" fmla="*/ 7839 w 452"/>
                <a:gd name="T109" fmla="*/ 306887 h 832"/>
                <a:gd name="T110" fmla="*/ 18727 w 452"/>
                <a:gd name="T111" fmla="*/ 296954 h 832"/>
                <a:gd name="T112" fmla="*/ 27437 w 452"/>
                <a:gd name="T113" fmla="*/ 281270 h 832"/>
                <a:gd name="T114" fmla="*/ 33099 w 452"/>
                <a:gd name="T115" fmla="*/ 264540 h 832"/>
                <a:gd name="T116" fmla="*/ 37454 w 452"/>
                <a:gd name="T117" fmla="*/ 241537 h 832"/>
                <a:gd name="T118" fmla="*/ 36147 w 452"/>
                <a:gd name="T119" fmla="*/ 228989 h 832"/>
                <a:gd name="T120" fmla="*/ 30486 w 452"/>
                <a:gd name="T121" fmla="*/ 213305 h 832"/>
                <a:gd name="T122" fmla="*/ 24388 w 452"/>
                <a:gd name="T123" fmla="*/ 199712 h 832"/>
                <a:gd name="T124" fmla="*/ 23082 w 452"/>
                <a:gd name="T125" fmla="*/ 189779 h 83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52" h="832">
                  <a:moveTo>
                    <a:pt x="93" y="264"/>
                  </a:moveTo>
                  <a:lnTo>
                    <a:pt x="103" y="263"/>
                  </a:lnTo>
                  <a:lnTo>
                    <a:pt x="112" y="261"/>
                  </a:lnTo>
                  <a:lnTo>
                    <a:pt x="120" y="257"/>
                  </a:lnTo>
                  <a:lnTo>
                    <a:pt x="129" y="252"/>
                  </a:lnTo>
                  <a:lnTo>
                    <a:pt x="138" y="248"/>
                  </a:lnTo>
                  <a:lnTo>
                    <a:pt x="147" y="244"/>
                  </a:lnTo>
                  <a:lnTo>
                    <a:pt x="157" y="241"/>
                  </a:lnTo>
                  <a:lnTo>
                    <a:pt x="165" y="240"/>
                  </a:lnTo>
                  <a:lnTo>
                    <a:pt x="175" y="239"/>
                  </a:lnTo>
                  <a:lnTo>
                    <a:pt x="184" y="236"/>
                  </a:lnTo>
                  <a:lnTo>
                    <a:pt x="192" y="232"/>
                  </a:lnTo>
                  <a:lnTo>
                    <a:pt x="199" y="227"/>
                  </a:lnTo>
                  <a:lnTo>
                    <a:pt x="206" y="222"/>
                  </a:lnTo>
                  <a:lnTo>
                    <a:pt x="215" y="217"/>
                  </a:lnTo>
                  <a:lnTo>
                    <a:pt x="222" y="213"/>
                  </a:lnTo>
                  <a:lnTo>
                    <a:pt x="232" y="209"/>
                  </a:lnTo>
                  <a:lnTo>
                    <a:pt x="232" y="200"/>
                  </a:lnTo>
                  <a:lnTo>
                    <a:pt x="232" y="191"/>
                  </a:lnTo>
                  <a:lnTo>
                    <a:pt x="232" y="184"/>
                  </a:lnTo>
                  <a:lnTo>
                    <a:pt x="232" y="179"/>
                  </a:lnTo>
                  <a:lnTo>
                    <a:pt x="248" y="179"/>
                  </a:lnTo>
                  <a:lnTo>
                    <a:pt x="259" y="179"/>
                  </a:lnTo>
                  <a:lnTo>
                    <a:pt x="265" y="178"/>
                  </a:lnTo>
                  <a:lnTo>
                    <a:pt x="271" y="177"/>
                  </a:lnTo>
                  <a:lnTo>
                    <a:pt x="276" y="175"/>
                  </a:lnTo>
                  <a:lnTo>
                    <a:pt x="282" y="173"/>
                  </a:lnTo>
                  <a:lnTo>
                    <a:pt x="287" y="170"/>
                  </a:lnTo>
                  <a:lnTo>
                    <a:pt x="293" y="166"/>
                  </a:lnTo>
                  <a:lnTo>
                    <a:pt x="298" y="162"/>
                  </a:lnTo>
                  <a:lnTo>
                    <a:pt x="303" y="157"/>
                  </a:lnTo>
                  <a:lnTo>
                    <a:pt x="311" y="145"/>
                  </a:lnTo>
                  <a:lnTo>
                    <a:pt x="320" y="133"/>
                  </a:lnTo>
                  <a:lnTo>
                    <a:pt x="329" y="120"/>
                  </a:lnTo>
                  <a:lnTo>
                    <a:pt x="336" y="106"/>
                  </a:lnTo>
                  <a:lnTo>
                    <a:pt x="350" y="75"/>
                  </a:lnTo>
                  <a:lnTo>
                    <a:pt x="361" y="46"/>
                  </a:lnTo>
                  <a:lnTo>
                    <a:pt x="371" y="20"/>
                  </a:lnTo>
                  <a:lnTo>
                    <a:pt x="378" y="0"/>
                  </a:lnTo>
                  <a:lnTo>
                    <a:pt x="379" y="7"/>
                  </a:lnTo>
                  <a:lnTo>
                    <a:pt x="383" y="13"/>
                  </a:lnTo>
                  <a:lnTo>
                    <a:pt x="385" y="19"/>
                  </a:lnTo>
                  <a:lnTo>
                    <a:pt x="389" y="25"/>
                  </a:lnTo>
                  <a:lnTo>
                    <a:pt x="397" y="36"/>
                  </a:lnTo>
                  <a:lnTo>
                    <a:pt x="407" y="47"/>
                  </a:lnTo>
                  <a:lnTo>
                    <a:pt x="430" y="65"/>
                  </a:lnTo>
                  <a:lnTo>
                    <a:pt x="452" y="80"/>
                  </a:lnTo>
                  <a:lnTo>
                    <a:pt x="448" y="85"/>
                  </a:lnTo>
                  <a:lnTo>
                    <a:pt x="444" y="91"/>
                  </a:lnTo>
                  <a:lnTo>
                    <a:pt x="442" y="96"/>
                  </a:lnTo>
                  <a:lnTo>
                    <a:pt x="440" y="103"/>
                  </a:lnTo>
                  <a:lnTo>
                    <a:pt x="440" y="114"/>
                  </a:lnTo>
                  <a:lnTo>
                    <a:pt x="442" y="125"/>
                  </a:lnTo>
                  <a:lnTo>
                    <a:pt x="444" y="138"/>
                  </a:lnTo>
                  <a:lnTo>
                    <a:pt x="448" y="151"/>
                  </a:lnTo>
                  <a:lnTo>
                    <a:pt x="451" y="168"/>
                  </a:lnTo>
                  <a:lnTo>
                    <a:pt x="452" y="185"/>
                  </a:lnTo>
                  <a:lnTo>
                    <a:pt x="451" y="192"/>
                  </a:lnTo>
                  <a:lnTo>
                    <a:pt x="450" y="199"/>
                  </a:lnTo>
                  <a:lnTo>
                    <a:pt x="448" y="206"/>
                  </a:lnTo>
                  <a:lnTo>
                    <a:pt x="444" y="213"/>
                  </a:lnTo>
                  <a:lnTo>
                    <a:pt x="437" y="224"/>
                  </a:lnTo>
                  <a:lnTo>
                    <a:pt x="428" y="234"/>
                  </a:lnTo>
                  <a:lnTo>
                    <a:pt x="420" y="244"/>
                  </a:lnTo>
                  <a:lnTo>
                    <a:pt x="412" y="255"/>
                  </a:lnTo>
                  <a:lnTo>
                    <a:pt x="409" y="261"/>
                  </a:lnTo>
                  <a:lnTo>
                    <a:pt x="407" y="269"/>
                  </a:lnTo>
                  <a:lnTo>
                    <a:pt x="406" y="276"/>
                  </a:lnTo>
                  <a:lnTo>
                    <a:pt x="405" y="283"/>
                  </a:lnTo>
                  <a:lnTo>
                    <a:pt x="402" y="289"/>
                  </a:lnTo>
                  <a:lnTo>
                    <a:pt x="397" y="302"/>
                  </a:lnTo>
                  <a:lnTo>
                    <a:pt x="393" y="308"/>
                  </a:lnTo>
                  <a:lnTo>
                    <a:pt x="388" y="314"/>
                  </a:lnTo>
                  <a:lnTo>
                    <a:pt x="386" y="316"/>
                  </a:lnTo>
                  <a:lnTo>
                    <a:pt x="383" y="318"/>
                  </a:lnTo>
                  <a:lnTo>
                    <a:pt x="381" y="319"/>
                  </a:lnTo>
                  <a:lnTo>
                    <a:pt x="378" y="320"/>
                  </a:lnTo>
                  <a:lnTo>
                    <a:pt x="377" y="332"/>
                  </a:lnTo>
                  <a:lnTo>
                    <a:pt x="376" y="343"/>
                  </a:lnTo>
                  <a:lnTo>
                    <a:pt x="373" y="354"/>
                  </a:lnTo>
                  <a:lnTo>
                    <a:pt x="368" y="364"/>
                  </a:lnTo>
                  <a:lnTo>
                    <a:pt x="360" y="386"/>
                  </a:lnTo>
                  <a:lnTo>
                    <a:pt x="349" y="406"/>
                  </a:lnTo>
                  <a:lnTo>
                    <a:pt x="338" y="427"/>
                  </a:lnTo>
                  <a:lnTo>
                    <a:pt x="328" y="449"/>
                  </a:lnTo>
                  <a:lnTo>
                    <a:pt x="325" y="459"/>
                  </a:lnTo>
                  <a:lnTo>
                    <a:pt x="321" y="470"/>
                  </a:lnTo>
                  <a:lnTo>
                    <a:pt x="319" y="481"/>
                  </a:lnTo>
                  <a:lnTo>
                    <a:pt x="319" y="493"/>
                  </a:lnTo>
                  <a:lnTo>
                    <a:pt x="318" y="500"/>
                  </a:lnTo>
                  <a:lnTo>
                    <a:pt x="316" y="509"/>
                  </a:lnTo>
                  <a:lnTo>
                    <a:pt x="314" y="520"/>
                  </a:lnTo>
                  <a:lnTo>
                    <a:pt x="310" y="531"/>
                  </a:lnTo>
                  <a:lnTo>
                    <a:pt x="300" y="559"/>
                  </a:lnTo>
                  <a:lnTo>
                    <a:pt x="288" y="587"/>
                  </a:lnTo>
                  <a:lnTo>
                    <a:pt x="281" y="602"/>
                  </a:lnTo>
                  <a:lnTo>
                    <a:pt x="274" y="615"/>
                  </a:lnTo>
                  <a:lnTo>
                    <a:pt x="266" y="627"/>
                  </a:lnTo>
                  <a:lnTo>
                    <a:pt x="260" y="637"/>
                  </a:lnTo>
                  <a:lnTo>
                    <a:pt x="252" y="646"/>
                  </a:lnTo>
                  <a:lnTo>
                    <a:pt x="245" y="653"/>
                  </a:lnTo>
                  <a:lnTo>
                    <a:pt x="242" y="655"/>
                  </a:lnTo>
                  <a:lnTo>
                    <a:pt x="239" y="658"/>
                  </a:lnTo>
                  <a:lnTo>
                    <a:pt x="236" y="659"/>
                  </a:lnTo>
                  <a:lnTo>
                    <a:pt x="232" y="660"/>
                  </a:lnTo>
                  <a:lnTo>
                    <a:pt x="231" y="678"/>
                  </a:lnTo>
                  <a:lnTo>
                    <a:pt x="230" y="696"/>
                  </a:lnTo>
                  <a:lnTo>
                    <a:pt x="228" y="714"/>
                  </a:lnTo>
                  <a:lnTo>
                    <a:pt x="225" y="730"/>
                  </a:lnTo>
                  <a:lnTo>
                    <a:pt x="220" y="745"/>
                  </a:lnTo>
                  <a:lnTo>
                    <a:pt x="215" y="759"/>
                  </a:lnTo>
                  <a:lnTo>
                    <a:pt x="207" y="773"/>
                  </a:lnTo>
                  <a:lnTo>
                    <a:pt x="199" y="785"/>
                  </a:lnTo>
                  <a:lnTo>
                    <a:pt x="191" y="795"/>
                  </a:lnTo>
                  <a:lnTo>
                    <a:pt x="181" y="805"/>
                  </a:lnTo>
                  <a:lnTo>
                    <a:pt x="169" y="812"/>
                  </a:lnTo>
                  <a:lnTo>
                    <a:pt x="157" y="819"/>
                  </a:lnTo>
                  <a:lnTo>
                    <a:pt x="142" y="825"/>
                  </a:lnTo>
                  <a:lnTo>
                    <a:pt x="127" y="829"/>
                  </a:lnTo>
                  <a:lnTo>
                    <a:pt x="110" y="831"/>
                  </a:lnTo>
                  <a:lnTo>
                    <a:pt x="93" y="832"/>
                  </a:lnTo>
                  <a:lnTo>
                    <a:pt x="86" y="831"/>
                  </a:lnTo>
                  <a:lnTo>
                    <a:pt x="80" y="827"/>
                  </a:lnTo>
                  <a:lnTo>
                    <a:pt x="77" y="825"/>
                  </a:lnTo>
                  <a:lnTo>
                    <a:pt x="75" y="821"/>
                  </a:lnTo>
                  <a:lnTo>
                    <a:pt x="73" y="817"/>
                  </a:lnTo>
                  <a:lnTo>
                    <a:pt x="73" y="813"/>
                  </a:lnTo>
                  <a:lnTo>
                    <a:pt x="61" y="812"/>
                  </a:lnTo>
                  <a:lnTo>
                    <a:pt x="50" y="810"/>
                  </a:lnTo>
                  <a:lnTo>
                    <a:pt x="41" y="807"/>
                  </a:lnTo>
                  <a:lnTo>
                    <a:pt x="34" y="803"/>
                  </a:lnTo>
                  <a:lnTo>
                    <a:pt x="26" y="798"/>
                  </a:lnTo>
                  <a:lnTo>
                    <a:pt x="20" y="791"/>
                  </a:lnTo>
                  <a:lnTo>
                    <a:pt x="15" y="785"/>
                  </a:lnTo>
                  <a:lnTo>
                    <a:pt x="12" y="777"/>
                  </a:lnTo>
                  <a:lnTo>
                    <a:pt x="8" y="769"/>
                  </a:lnTo>
                  <a:lnTo>
                    <a:pt x="5" y="760"/>
                  </a:lnTo>
                  <a:lnTo>
                    <a:pt x="3" y="752"/>
                  </a:lnTo>
                  <a:lnTo>
                    <a:pt x="2" y="743"/>
                  </a:lnTo>
                  <a:lnTo>
                    <a:pt x="0" y="726"/>
                  </a:lnTo>
                  <a:lnTo>
                    <a:pt x="0" y="708"/>
                  </a:lnTo>
                  <a:lnTo>
                    <a:pt x="1" y="702"/>
                  </a:lnTo>
                  <a:lnTo>
                    <a:pt x="2" y="697"/>
                  </a:lnTo>
                  <a:lnTo>
                    <a:pt x="4" y="694"/>
                  </a:lnTo>
                  <a:lnTo>
                    <a:pt x="7" y="691"/>
                  </a:lnTo>
                  <a:lnTo>
                    <a:pt x="14" y="685"/>
                  </a:lnTo>
                  <a:lnTo>
                    <a:pt x="19" y="678"/>
                  </a:lnTo>
                  <a:lnTo>
                    <a:pt x="17" y="677"/>
                  </a:lnTo>
                  <a:lnTo>
                    <a:pt x="14" y="675"/>
                  </a:lnTo>
                  <a:lnTo>
                    <a:pt x="11" y="672"/>
                  </a:lnTo>
                  <a:lnTo>
                    <a:pt x="7" y="668"/>
                  </a:lnTo>
                  <a:lnTo>
                    <a:pt x="2" y="660"/>
                  </a:lnTo>
                  <a:lnTo>
                    <a:pt x="0" y="652"/>
                  </a:lnTo>
                  <a:lnTo>
                    <a:pt x="1" y="642"/>
                  </a:lnTo>
                  <a:lnTo>
                    <a:pt x="3" y="635"/>
                  </a:lnTo>
                  <a:lnTo>
                    <a:pt x="5" y="628"/>
                  </a:lnTo>
                  <a:lnTo>
                    <a:pt x="7" y="622"/>
                  </a:lnTo>
                  <a:lnTo>
                    <a:pt x="8" y="616"/>
                  </a:lnTo>
                  <a:lnTo>
                    <a:pt x="8" y="610"/>
                  </a:lnTo>
                  <a:lnTo>
                    <a:pt x="5" y="602"/>
                  </a:lnTo>
                  <a:lnTo>
                    <a:pt x="0" y="591"/>
                  </a:lnTo>
                  <a:lnTo>
                    <a:pt x="5" y="591"/>
                  </a:lnTo>
                  <a:lnTo>
                    <a:pt x="9" y="590"/>
                  </a:lnTo>
                  <a:lnTo>
                    <a:pt x="14" y="589"/>
                  </a:lnTo>
                  <a:lnTo>
                    <a:pt x="18" y="587"/>
                  </a:lnTo>
                  <a:lnTo>
                    <a:pt x="27" y="582"/>
                  </a:lnTo>
                  <a:lnTo>
                    <a:pt x="36" y="575"/>
                  </a:lnTo>
                  <a:lnTo>
                    <a:pt x="43" y="568"/>
                  </a:lnTo>
                  <a:lnTo>
                    <a:pt x="50" y="559"/>
                  </a:lnTo>
                  <a:lnTo>
                    <a:pt x="57" y="549"/>
                  </a:lnTo>
                  <a:lnTo>
                    <a:pt x="63" y="538"/>
                  </a:lnTo>
                  <a:lnTo>
                    <a:pt x="68" y="527"/>
                  </a:lnTo>
                  <a:lnTo>
                    <a:pt x="73" y="516"/>
                  </a:lnTo>
                  <a:lnTo>
                    <a:pt x="76" y="506"/>
                  </a:lnTo>
                  <a:lnTo>
                    <a:pt x="80" y="496"/>
                  </a:lnTo>
                  <a:lnTo>
                    <a:pt x="84" y="476"/>
                  </a:lnTo>
                  <a:lnTo>
                    <a:pt x="86" y="462"/>
                  </a:lnTo>
                  <a:lnTo>
                    <a:pt x="85" y="453"/>
                  </a:lnTo>
                  <a:lnTo>
                    <a:pt x="84" y="445"/>
                  </a:lnTo>
                  <a:lnTo>
                    <a:pt x="83" y="438"/>
                  </a:lnTo>
                  <a:lnTo>
                    <a:pt x="81" y="430"/>
                  </a:lnTo>
                  <a:lnTo>
                    <a:pt x="75" y="419"/>
                  </a:lnTo>
                  <a:lnTo>
                    <a:pt x="70" y="408"/>
                  </a:lnTo>
                  <a:lnTo>
                    <a:pt x="63" y="398"/>
                  </a:lnTo>
                  <a:lnTo>
                    <a:pt x="58" y="388"/>
                  </a:lnTo>
                  <a:lnTo>
                    <a:pt x="56" y="382"/>
                  </a:lnTo>
                  <a:lnTo>
                    <a:pt x="54" y="376"/>
                  </a:lnTo>
                  <a:lnTo>
                    <a:pt x="53" y="370"/>
                  </a:lnTo>
                  <a:lnTo>
                    <a:pt x="53" y="363"/>
                  </a:lnTo>
                  <a:lnTo>
                    <a:pt x="93" y="264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784" name="Freeform 254"/>
            <p:cNvSpPr>
              <a:spLocks/>
            </p:cNvSpPr>
            <p:nvPr>
              <p:custDataLst>
                <p:tags r:id="rId176"/>
              </p:custDataLst>
            </p:nvPr>
          </p:nvSpPr>
          <p:spPr bwMode="auto">
            <a:xfrm>
              <a:off x="6471680" y="4191278"/>
              <a:ext cx="43530" cy="80068"/>
            </a:xfrm>
            <a:custGeom>
              <a:avLst/>
              <a:gdLst>
                <a:gd name="T0" fmla="*/ 36513 w 80"/>
                <a:gd name="T1" fmla="*/ 1058 h 126"/>
                <a:gd name="T2" fmla="*/ 36513 w 80"/>
                <a:gd name="T3" fmla="*/ 53446 h 126"/>
                <a:gd name="T4" fmla="*/ 35600 w 80"/>
                <a:gd name="T5" fmla="*/ 55033 h 126"/>
                <a:gd name="T6" fmla="*/ 34231 w 80"/>
                <a:gd name="T7" fmla="*/ 56621 h 126"/>
                <a:gd name="T8" fmla="*/ 31949 w 80"/>
                <a:gd name="T9" fmla="*/ 57679 h 126"/>
                <a:gd name="T10" fmla="*/ 30580 w 80"/>
                <a:gd name="T11" fmla="*/ 58737 h 126"/>
                <a:gd name="T12" fmla="*/ 26472 w 80"/>
                <a:gd name="T13" fmla="*/ 60325 h 126"/>
                <a:gd name="T14" fmla="*/ 21908 w 80"/>
                <a:gd name="T15" fmla="*/ 61383 h 126"/>
                <a:gd name="T16" fmla="*/ 16431 w 80"/>
                <a:gd name="T17" fmla="*/ 61912 h 126"/>
                <a:gd name="T18" fmla="*/ 11410 w 80"/>
                <a:gd name="T19" fmla="*/ 62971 h 126"/>
                <a:gd name="T20" fmla="*/ 5933 w 80"/>
                <a:gd name="T21" fmla="*/ 65087 h 126"/>
                <a:gd name="T22" fmla="*/ 0 w 80"/>
                <a:gd name="T23" fmla="*/ 66675 h 126"/>
                <a:gd name="T24" fmla="*/ 3195 w 80"/>
                <a:gd name="T25" fmla="*/ 21167 h 126"/>
                <a:gd name="T26" fmla="*/ 10497 w 80"/>
                <a:gd name="T27" fmla="*/ 14287 h 126"/>
                <a:gd name="T28" fmla="*/ 18713 w 80"/>
                <a:gd name="T29" fmla="*/ 6350 h 126"/>
                <a:gd name="T30" fmla="*/ 23277 w 80"/>
                <a:gd name="T31" fmla="*/ 2646 h 126"/>
                <a:gd name="T32" fmla="*/ 27385 w 80"/>
                <a:gd name="T33" fmla="*/ 529 h 126"/>
                <a:gd name="T34" fmla="*/ 29667 w 80"/>
                <a:gd name="T35" fmla="*/ 0 h 126"/>
                <a:gd name="T36" fmla="*/ 31949 w 80"/>
                <a:gd name="T37" fmla="*/ 0 h 126"/>
                <a:gd name="T38" fmla="*/ 34231 w 80"/>
                <a:gd name="T39" fmla="*/ 529 h 126"/>
                <a:gd name="T40" fmla="*/ 36513 w 80"/>
                <a:gd name="T41" fmla="*/ 1058 h 12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80" h="126">
                  <a:moveTo>
                    <a:pt x="80" y="2"/>
                  </a:moveTo>
                  <a:lnTo>
                    <a:pt x="80" y="101"/>
                  </a:lnTo>
                  <a:lnTo>
                    <a:pt x="78" y="104"/>
                  </a:lnTo>
                  <a:lnTo>
                    <a:pt x="75" y="107"/>
                  </a:lnTo>
                  <a:lnTo>
                    <a:pt x="70" y="109"/>
                  </a:lnTo>
                  <a:lnTo>
                    <a:pt x="67" y="111"/>
                  </a:lnTo>
                  <a:lnTo>
                    <a:pt x="58" y="114"/>
                  </a:lnTo>
                  <a:lnTo>
                    <a:pt x="48" y="116"/>
                  </a:lnTo>
                  <a:lnTo>
                    <a:pt x="36" y="117"/>
                  </a:lnTo>
                  <a:lnTo>
                    <a:pt x="25" y="119"/>
                  </a:lnTo>
                  <a:lnTo>
                    <a:pt x="13" y="123"/>
                  </a:lnTo>
                  <a:lnTo>
                    <a:pt x="0" y="126"/>
                  </a:lnTo>
                  <a:lnTo>
                    <a:pt x="7" y="40"/>
                  </a:lnTo>
                  <a:lnTo>
                    <a:pt x="23" y="27"/>
                  </a:lnTo>
                  <a:lnTo>
                    <a:pt x="41" y="12"/>
                  </a:lnTo>
                  <a:lnTo>
                    <a:pt x="51" y="5"/>
                  </a:lnTo>
                  <a:lnTo>
                    <a:pt x="60" y="1"/>
                  </a:lnTo>
                  <a:lnTo>
                    <a:pt x="65" y="0"/>
                  </a:lnTo>
                  <a:lnTo>
                    <a:pt x="70" y="0"/>
                  </a:lnTo>
                  <a:lnTo>
                    <a:pt x="75" y="1"/>
                  </a:lnTo>
                  <a:lnTo>
                    <a:pt x="80" y="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785" name="Freeform 255"/>
            <p:cNvSpPr>
              <a:spLocks/>
            </p:cNvSpPr>
            <p:nvPr>
              <p:custDataLst>
                <p:tags r:id="rId177"/>
              </p:custDataLst>
            </p:nvPr>
          </p:nvSpPr>
          <p:spPr bwMode="auto">
            <a:xfrm>
              <a:off x="6458432" y="4143618"/>
              <a:ext cx="66240" cy="72442"/>
            </a:xfrm>
            <a:custGeom>
              <a:avLst/>
              <a:gdLst>
                <a:gd name="T0" fmla="*/ 50633 w 124"/>
                <a:gd name="T1" fmla="*/ 0 h 117"/>
                <a:gd name="T2" fmla="*/ 51977 w 124"/>
                <a:gd name="T3" fmla="*/ 7734 h 117"/>
                <a:gd name="T4" fmla="*/ 54666 w 124"/>
                <a:gd name="T5" fmla="*/ 18046 h 117"/>
                <a:gd name="T6" fmla="*/ 55562 w 124"/>
                <a:gd name="T7" fmla="*/ 23202 h 117"/>
                <a:gd name="T8" fmla="*/ 55562 w 124"/>
                <a:gd name="T9" fmla="*/ 27842 h 117"/>
                <a:gd name="T10" fmla="*/ 55562 w 124"/>
                <a:gd name="T11" fmla="*/ 30420 h 117"/>
                <a:gd name="T12" fmla="*/ 55114 w 124"/>
                <a:gd name="T13" fmla="*/ 32998 h 117"/>
                <a:gd name="T14" fmla="*/ 54666 w 124"/>
                <a:gd name="T15" fmla="*/ 35576 h 117"/>
                <a:gd name="T16" fmla="*/ 53322 w 124"/>
                <a:gd name="T17" fmla="*/ 37639 h 117"/>
                <a:gd name="T18" fmla="*/ 51081 w 124"/>
                <a:gd name="T19" fmla="*/ 37123 h 117"/>
                <a:gd name="T20" fmla="*/ 48393 w 124"/>
                <a:gd name="T21" fmla="*/ 36607 h 117"/>
                <a:gd name="T22" fmla="*/ 46152 w 124"/>
                <a:gd name="T23" fmla="*/ 37123 h 117"/>
                <a:gd name="T24" fmla="*/ 43016 w 124"/>
                <a:gd name="T25" fmla="*/ 37639 h 117"/>
                <a:gd name="T26" fmla="*/ 37191 w 124"/>
                <a:gd name="T27" fmla="*/ 40217 h 117"/>
                <a:gd name="T28" fmla="*/ 31814 w 124"/>
                <a:gd name="T29" fmla="*/ 43826 h 117"/>
                <a:gd name="T30" fmla="*/ 20612 w 124"/>
                <a:gd name="T31" fmla="*/ 53107 h 117"/>
                <a:gd name="T32" fmla="*/ 11650 w 124"/>
                <a:gd name="T33" fmla="*/ 60325 h 117"/>
                <a:gd name="T34" fmla="*/ 10306 w 124"/>
                <a:gd name="T35" fmla="*/ 57747 h 117"/>
                <a:gd name="T36" fmla="*/ 5825 w 124"/>
                <a:gd name="T37" fmla="*/ 52075 h 117"/>
                <a:gd name="T38" fmla="*/ 1792 w 124"/>
                <a:gd name="T39" fmla="*/ 45888 h 117"/>
                <a:gd name="T40" fmla="*/ 0 w 124"/>
                <a:gd name="T41" fmla="*/ 40732 h 117"/>
                <a:gd name="T42" fmla="*/ 448 w 124"/>
                <a:gd name="T43" fmla="*/ 39185 h 117"/>
                <a:gd name="T44" fmla="*/ 896 w 124"/>
                <a:gd name="T45" fmla="*/ 37123 h 117"/>
                <a:gd name="T46" fmla="*/ 2240 w 124"/>
                <a:gd name="T47" fmla="*/ 34545 h 117"/>
                <a:gd name="T48" fmla="*/ 4033 w 124"/>
                <a:gd name="T49" fmla="*/ 31967 h 117"/>
                <a:gd name="T50" fmla="*/ 7617 w 124"/>
                <a:gd name="T51" fmla="*/ 26811 h 117"/>
                <a:gd name="T52" fmla="*/ 12098 w 124"/>
                <a:gd name="T53" fmla="*/ 21655 h 117"/>
                <a:gd name="T54" fmla="*/ 21508 w 124"/>
                <a:gd name="T55" fmla="*/ 11343 h 117"/>
                <a:gd name="T56" fmla="*/ 26885 w 124"/>
                <a:gd name="T57" fmla="*/ 6187 h 117"/>
                <a:gd name="T58" fmla="*/ 32710 w 124"/>
                <a:gd name="T59" fmla="*/ 6187 h 117"/>
                <a:gd name="T60" fmla="*/ 38535 w 124"/>
                <a:gd name="T61" fmla="*/ 6187 h 117"/>
                <a:gd name="T62" fmla="*/ 44808 w 124"/>
                <a:gd name="T63" fmla="*/ 3094 h 117"/>
                <a:gd name="T64" fmla="*/ 50633 w 124"/>
                <a:gd name="T65" fmla="*/ 0 h 11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24" h="117">
                  <a:moveTo>
                    <a:pt x="113" y="0"/>
                  </a:moveTo>
                  <a:lnTo>
                    <a:pt x="116" y="15"/>
                  </a:lnTo>
                  <a:lnTo>
                    <a:pt x="122" y="35"/>
                  </a:lnTo>
                  <a:lnTo>
                    <a:pt x="124" y="45"/>
                  </a:lnTo>
                  <a:lnTo>
                    <a:pt x="124" y="54"/>
                  </a:lnTo>
                  <a:lnTo>
                    <a:pt x="124" y="59"/>
                  </a:lnTo>
                  <a:lnTo>
                    <a:pt x="123" y="64"/>
                  </a:lnTo>
                  <a:lnTo>
                    <a:pt x="122" y="69"/>
                  </a:lnTo>
                  <a:lnTo>
                    <a:pt x="119" y="73"/>
                  </a:lnTo>
                  <a:lnTo>
                    <a:pt x="114" y="72"/>
                  </a:lnTo>
                  <a:lnTo>
                    <a:pt x="108" y="71"/>
                  </a:lnTo>
                  <a:lnTo>
                    <a:pt x="103" y="72"/>
                  </a:lnTo>
                  <a:lnTo>
                    <a:pt x="96" y="73"/>
                  </a:lnTo>
                  <a:lnTo>
                    <a:pt x="83" y="78"/>
                  </a:lnTo>
                  <a:lnTo>
                    <a:pt x="71" y="85"/>
                  </a:lnTo>
                  <a:lnTo>
                    <a:pt x="46" y="103"/>
                  </a:lnTo>
                  <a:lnTo>
                    <a:pt x="26" y="117"/>
                  </a:lnTo>
                  <a:lnTo>
                    <a:pt x="23" y="112"/>
                  </a:lnTo>
                  <a:lnTo>
                    <a:pt x="13" y="101"/>
                  </a:lnTo>
                  <a:lnTo>
                    <a:pt x="4" y="89"/>
                  </a:lnTo>
                  <a:lnTo>
                    <a:pt x="0" y="79"/>
                  </a:lnTo>
                  <a:lnTo>
                    <a:pt x="1" y="76"/>
                  </a:lnTo>
                  <a:lnTo>
                    <a:pt x="2" y="72"/>
                  </a:lnTo>
                  <a:lnTo>
                    <a:pt x="5" y="67"/>
                  </a:lnTo>
                  <a:lnTo>
                    <a:pt x="9" y="62"/>
                  </a:lnTo>
                  <a:lnTo>
                    <a:pt x="17" y="52"/>
                  </a:lnTo>
                  <a:lnTo>
                    <a:pt x="27" y="42"/>
                  </a:lnTo>
                  <a:lnTo>
                    <a:pt x="48" y="22"/>
                  </a:lnTo>
                  <a:lnTo>
                    <a:pt x="60" y="12"/>
                  </a:lnTo>
                  <a:lnTo>
                    <a:pt x="73" y="12"/>
                  </a:lnTo>
                  <a:lnTo>
                    <a:pt x="86" y="12"/>
                  </a:lnTo>
                  <a:lnTo>
                    <a:pt x="100" y="6"/>
                  </a:lnTo>
                  <a:lnTo>
                    <a:pt x="11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786" name="Freeform 256"/>
            <p:cNvSpPr>
              <a:spLocks/>
            </p:cNvSpPr>
            <p:nvPr>
              <p:custDataLst>
                <p:tags r:id="rId178"/>
              </p:custDataLst>
            </p:nvPr>
          </p:nvSpPr>
          <p:spPr bwMode="auto">
            <a:xfrm>
              <a:off x="6827488" y="2582295"/>
              <a:ext cx="599955" cy="568101"/>
            </a:xfrm>
            <a:custGeom>
              <a:avLst/>
              <a:gdLst>
                <a:gd name="T0" fmla="*/ 403983 w 1156"/>
                <a:gd name="T1" fmla="*/ 100397 h 900"/>
                <a:gd name="T2" fmla="*/ 373946 w 1156"/>
                <a:gd name="T3" fmla="*/ 85154 h 900"/>
                <a:gd name="T4" fmla="*/ 336508 w 1156"/>
                <a:gd name="T5" fmla="*/ 58346 h 900"/>
                <a:gd name="T6" fmla="*/ 268597 w 1156"/>
                <a:gd name="T7" fmla="*/ 54666 h 900"/>
                <a:gd name="T8" fmla="*/ 239865 w 1156"/>
                <a:gd name="T9" fmla="*/ 80948 h 900"/>
                <a:gd name="T10" fmla="*/ 219405 w 1156"/>
                <a:gd name="T11" fmla="*/ 94089 h 900"/>
                <a:gd name="T12" fmla="*/ 185449 w 1156"/>
                <a:gd name="T13" fmla="*/ 103551 h 900"/>
                <a:gd name="T14" fmla="*/ 166730 w 1156"/>
                <a:gd name="T15" fmla="*/ 104602 h 900"/>
                <a:gd name="T16" fmla="*/ 154541 w 1156"/>
                <a:gd name="T17" fmla="*/ 90936 h 900"/>
                <a:gd name="T18" fmla="*/ 113185 w 1156"/>
                <a:gd name="T19" fmla="*/ 71487 h 900"/>
                <a:gd name="T20" fmla="*/ 99255 w 1156"/>
                <a:gd name="T21" fmla="*/ 45205 h 900"/>
                <a:gd name="T22" fmla="*/ 95772 w 1156"/>
                <a:gd name="T23" fmla="*/ 12090 h 900"/>
                <a:gd name="T24" fmla="*/ 81841 w 1156"/>
                <a:gd name="T25" fmla="*/ 526 h 900"/>
                <a:gd name="T26" fmla="*/ 67476 w 1156"/>
                <a:gd name="T27" fmla="*/ 11038 h 900"/>
                <a:gd name="T28" fmla="*/ 59204 w 1156"/>
                <a:gd name="T29" fmla="*/ 35218 h 900"/>
                <a:gd name="T30" fmla="*/ 34391 w 1156"/>
                <a:gd name="T31" fmla="*/ 28385 h 900"/>
                <a:gd name="T32" fmla="*/ 1741 w 1156"/>
                <a:gd name="T33" fmla="*/ 8410 h 900"/>
                <a:gd name="T34" fmla="*/ 2177 w 1156"/>
                <a:gd name="T35" fmla="*/ 37846 h 900"/>
                <a:gd name="T36" fmla="*/ 19590 w 1156"/>
                <a:gd name="T37" fmla="*/ 76743 h 900"/>
                <a:gd name="T38" fmla="*/ 31779 w 1156"/>
                <a:gd name="T39" fmla="*/ 107756 h 900"/>
                <a:gd name="T40" fmla="*/ 58769 w 1156"/>
                <a:gd name="T41" fmla="*/ 149281 h 900"/>
                <a:gd name="T42" fmla="*/ 53110 w 1156"/>
                <a:gd name="T43" fmla="*/ 166102 h 900"/>
                <a:gd name="T44" fmla="*/ 57898 w 1156"/>
                <a:gd name="T45" fmla="*/ 194486 h 900"/>
                <a:gd name="T46" fmla="*/ 81841 w 1156"/>
                <a:gd name="T47" fmla="*/ 224973 h 900"/>
                <a:gd name="T48" fmla="*/ 112750 w 1156"/>
                <a:gd name="T49" fmla="*/ 239691 h 900"/>
                <a:gd name="T50" fmla="*/ 112750 w 1156"/>
                <a:gd name="T51" fmla="*/ 275435 h 900"/>
                <a:gd name="T52" fmla="*/ 145835 w 1156"/>
                <a:gd name="T53" fmla="*/ 305396 h 900"/>
                <a:gd name="T54" fmla="*/ 184143 w 1156"/>
                <a:gd name="T55" fmla="*/ 349024 h 900"/>
                <a:gd name="T56" fmla="*/ 205039 w 1156"/>
                <a:gd name="T57" fmla="*/ 378460 h 900"/>
                <a:gd name="T58" fmla="*/ 219405 w 1156"/>
                <a:gd name="T59" fmla="*/ 385293 h 900"/>
                <a:gd name="T60" fmla="*/ 235947 w 1156"/>
                <a:gd name="T61" fmla="*/ 396857 h 900"/>
                <a:gd name="T62" fmla="*/ 260326 w 1156"/>
                <a:gd name="T63" fmla="*/ 413678 h 900"/>
                <a:gd name="T64" fmla="*/ 298199 w 1156"/>
                <a:gd name="T65" fmla="*/ 417883 h 900"/>
                <a:gd name="T66" fmla="*/ 318659 w 1156"/>
                <a:gd name="T67" fmla="*/ 409998 h 900"/>
                <a:gd name="T68" fmla="*/ 339120 w 1156"/>
                <a:gd name="T69" fmla="*/ 401588 h 900"/>
                <a:gd name="T70" fmla="*/ 348697 w 1156"/>
                <a:gd name="T71" fmla="*/ 418409 h 900"/>
                <a:gd name="T72" fmla="*/ 353921 w 1156"/>
                <a:gd name="T73" fmla="*/ 450473 h 900"/>
                <a:gd name="T74" fmla="*/ 380476 w 1156"/>
                <a:gd name="T75" fmla="*/ 459408 h 900"/>
                <a:gd name="T76" fmla="*/ 440116 w 1156"/>
                <a:gd name="T77" fmla="*/ 468870 h 900"/>
                <a:gd name="T78" fmla="*/ 474942 w 1156"/>
                <a:gd name="T79" fmla="*/ 462037 h 900"/>
                <a:gd name="T80" fmla="*/ 478424 w 1156"/>
                <a:gd name="T81" fmla="*/ 436806 h 900"/>
                <a:gd name="T82" fmla="*/ 503238 w 1156"/>
                <a:gd name="T83" fmla="*/ 404742 h 900"/>
                <a:gd name="T84" fmla="*/ 492790 w 1156"/>
                <a:gd name="T85" fmla="*/ 394229 h 900"/>
                <a:gd name="T86" fmla="*/ 477118 w 1156"/>
                <a:gd name="T87" fmla="*/ 372152 h 900"/>
                <a:gd name="T88" fmla="*/ 448822 w 1156"/>
                <a:gd name="T89" fmla="*/ 337986 h 900"/>
                <a:gd name="T90" fmla="*/ 443163 w 1156"/>
                <a:gd name="T91" fmla="*/ 316960 h 900"/>
                <a:gd name="T92" fmla="*/ 454481 w 1156"/>
                <a:gd name="T93" fmla="*/ 293832 h 900"/>
                <a:gd name="T94" fmla="*/ 456223 w 1156"/>
                <a:gd name="T95" fmla="*/ 276486 h 900"/>
                <a:gd name="T96" fmla="*/ 448387 w 1156"/>
                <a:gd name="T97" fmla="*/ 269127 h 900"/>
                <a:gd name="T98" fmla="*/ 427926 w 1156"/>
                <a:gd name="T99" fmla="*/ 266499 h 900"/>
                <a:gd name="T100" fmla="*/ 415302 w 1156"/>
                <a:gd name="T101" fmla="*/ 238114 h 900"/>
                <a:gd name="T102" fmla="*/ 407901 w 1156"/>
                <a:gd name="T103" fmla="*/ 196063 h 900"/>
                <a:gd name="T104" fmla="*/ 402242 w 1156"/>
                <a:gd name="T105" fmla="*/ 187653 h 900"/>
                <a:gd name="T106" fmla="*/ 409207 w 1156"/>
                <a:gd name="T107" fmla="*/ 175563 h 900"/>
                <a:gd name="T108" fmla="*/ 417914 w 1156"/>
                <a:gd name="T109" fmla="*/ 154012 h 9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156" h="900">
                  <a:moveTo>
                    <a:pt x="963" y="271"/>
                  </a:moveTo>
                  <a:lnTo>
                    <a:pt x="954" y="252"/>
                  </a:lnTo>
                  <a:lnTo>
                    <a:pt x="948" y="234"/>
                  </a:lnTo>
                  <a:lnTo>
                    <a:pt x="941" y="213"/>
                  </a:lnTo>
                  <a:lnTo>
                    <a:pt x="937" y="191"/>
                  </a:lnTo>
                  <a:lnTo>
                    <a:pt x="928" y="191"/>
                  </a:lnTo>
                  <a:lnTo>
                    <a:pt x="920" y="190"/>
                  </a:lnTo>
                  <a:lnTo>
                    <a:pt x="913" y="189"/>
                  </a:lnTo>
                  <a:lnTo>
                    <a:pt x="906" y="187"/>
                  </a:lnTo>
                  <a:lnTo>
                    <a:pt x="893" y="183"/>
                  </a:lnTo>
                  <a:lnTo>
                    <a:pt x="881" y="177"/>
                  </a:lnTo>
                  <a:lnTo>
                    <a:pt x="859" y="162"/>
                  </a:lnTo>
                  <a:lnTo>
                    <a:pt x="839" y="145"/>
                  </a:lnTo>
                  <a:lnTo>
                    <a:pt x="828" y="137"/>
                  </a:lnTo>
                  <a:lnTo>
                    <a:pt x="816" y="129"/>
                  </a:lnTo>
                  <a:lnTo>
                    <a:pt x="803" y="122"/>
                  </a:lnTo>
                  <a:lnTo>
                    <a:pt x="789" y="116"/>
                  </a:lnTo>
                  <a:lnTo>
                    <a:pt x="773" y="111"/>
                  </a:lnTo>
                  <a:lnTo>
                    <a:pt x="755" y="106"/>
                  </a:lnTo>
                  <a:lnTo>
                    <a:pt x="745" y="105"/>
                  </a:lnTo>
                  <a:lnTo>
                    <a:pt x="734" y="104"/>
                  </a:lnTo>
                  <a:lnTo>
                    <a:pt x="723" y="104"/>
                  </a:lnTo>
                  <a:lnTo>
                    <a:pt x="711" y="104"/>
                  </a:lnTo>
                  <a:lnTo>
                    <a:pt x="617" y="104"/>
                  </a:lnTo>
                  <a:lnTo>
                    <a:pt x="609" y="113"/>
                  </a:lnTo>
                  <a:lnTo>
                    <a:pt x="587" y="129"/>
                  </a:lnTo>
                  <a:lnTo>
                    <a:pt x="576" y="138"/>
                  </a:lnTo>
                  <a:lnTo>
                    <a:pt x="565" y="146"/>
                  </a:lnTo>
                  <a:lnTo>
                    <a:pt x="556" y="152"/>
                  </a:lnTo>
                  <a:lnTo>
                    <a:pt x="551" y="154"/>
                  </a:lnTo>
                  <a:lnTo>
                    <a:pt x="542" y="155"/>
                  </a:lnTo>
                  <a:lnTo>
                    <a:pt x="532" y="157"/>
                  </a:lnTo>
                  <a:lnTo>
                    <a:pt x="522" y="159"/>
                  </a:lnTo>
                  <a:lnTo>
                    <a:pt x="512" y="160"/>
                  </a:lnTo>
                  <a:lnTo>
                    <a:pt x="518" y="173"/>
                  </a:lnTo>
                  <a:lnTo>
                    <a:pt x="504" y="179"/>
                  </a:lnTo>
                  <a:lnTo>
                    <a:pt x="490" y="184"/>
                  </a:lnTo>
                  <a:lnTo>
                    <a:pt x="478" y="188"/>
                  </a:lnTo>
                  <a:lnTo>
                    <a:pt x="465" y="192"/>
                  </a:lnTo>
                  <a:lnTo>
                    <a:pt x="453" y="194"/>
                  </a:lnTo>
                  <a:lnTo>
                    <a:pt x="439" y="196"/>
                  </a:lnTo>
                  <a:lnTo>
                    <a:pt x="426" y="197"/>
                  </a:lnTo>
                  <a:lnTo>
                    <a:pt x="412" y="197"/>
                  </a:lnTo>
                  <a:lnTo>
                    <a:pt x="405" y="198"/>
                  </a:lnTo>
                  <a:lnTo>
                    <a:pt x="398" y="199"/>
                  </a:lnTo>
                  <a:lnTo>
                    <a:pt x="393" y="200"/>
                  </a:lnTo>
                  <a:lnTo>
                    <a:pt x="389" y="200"/>
                  </a:lnTo>
                  <a:lnTo>
                    <a:pt x="383" y="199"/>
                  </a:lnTo>
                  <a:lnTo>
                    <a:pt x="379" y="197"/>
                  </a:lnTo>
                  <a:lnTo>
                    <a:pt x="371" y="194"/>
                  </a:lnTo>
                  <a:lnTo>
                    <a:pt x="367" y="190"/>
                  </a:lnTo>
                  <a:lnTo>
                    <a:pt x="363" y="184"/>
                  </a:lnTo>
                  <a:lnTo>
                    <a:pt x="358" y="179"/>
                  </a:lnTo>
                  <a:lnTo>
                    <a:pt x="355" y="173"/>
                  </a:lnTo>
                  <a:lnTo>
                    <a:pt x="351" y="168"/>
                  </a:lnTo>
                  <a:lnTo>
                    <a:pt x="345" y="163"/>
                  </a:lnTo>
                  <a:lnTo>
                    <a:pt x="338" y="160"/>
                  </a:lnTo>
                  <a:lnTo>
                    <a:pt x="316" y="153"/>
                  </a:lnTo>
                  <a:lnTo>
                    <a:pt x="280" y="142"/>
                  </a:lnTo>
                  <a:lnTo>
                    <a:pt x="260" y="136"/>
                  </a:lnTo>
                  <a:lnTo>
                    <a:pt x="244" y="128"/>
                  </a:lnTo>
                  <a:lnTo>
                    <a:pt x="237" y="124"/>
                  </a:lnTo>
                  <a:lnTo>
                    <a:pt x="232" y="120"/>
                  </a:lnTo>
                  <a:lnTo>
                    <a:pt x="228" y="116"/>
                  </a:lnTo>
                  <a:lnTo>
                    <a:pt x="225" y="111"/>
                  </a:lnTo>
                  <a:lnTo>
                    <a:pt x="228" y="86"/>
                  </a:lnTo>
                  <a:lnTo>
                    <a:pt x="228" y="65"/>
                  </a:lnTo>
                  <a:lnTo>
                    <a:pt x="228" y="56"/>
                  </a:lnTo>
                  <a:lnTo>
                    <a:pt x="226" y="46"/>
                  </a:lnTo>
                  <a:lnTo>
                    <a:pt x="224" y="37"/>
                  </a:lnTo>
                  <a:lnTo>
                    <a:pt x="222" y="30"/>
                  </a:lnTo>
                  <a:lnTo>
                    <a:pt x="220" y="23"/>
                  </a:lnTo>
                  <a:lnTo>
                    <a:pt x="217" y="17"/>
                  </a:lnTo>
                  <a:lnTo>
                    <a:pt x="212" y="12"/>
                  </a:lnTo>
                  <a:lnTo>
                    <a:pt x="207" y="8"/>
                  </a:lnTo>
                  <a:lnTo>
                    <a:pt x="201" y="5"/>
                  </a:lnTo>
                  <a:lnTo>
                    <a:pt x="195" y="2"/>
                  </a:lnTo>
                  <a:lnTo>
                    <a:pt x="188" y="1"/>
                  </a:lnTo>
                  <a:lnTo>
                    <a:pt x="179" y="0"/>
                  </a:lnTo>
                  <a:lnTo>
                    <a:pt x="174" y="1"/>
                  </a:lnTo>
                  <a:lnTo>
                    <a:pt x="168" y="3"/>
                  </a:lnTo>
                  <a:lnTo>
                    <a:pt x="164" y="7"/>
                  </a:lnTo>
                  <a:lnTo>
                    <a:pt x="161" y="11"/>
                  </a:lnTo>
                  <a:lnTo>
                    <a:pt x="155" y="21"/>
                  </a:lnTo>
                  <a:lnTo>
                    <a:pt x="151" y="34"/>
                  </a:lnTo>
                  <a:lnTo>
                    <a:pt x="147" y="46"/>
                  </a:lnTo>
                  <a:lnTo>
                    <a:pt x="144" y="57"/>
                  </a:lnTo>
                  <a:lnTo>
                    <a:pt x="142" y="62"/>
                  </a:lnTo>
                  <a:lnTo>
                    <a:pt x="139" y="65"/>
                  </a:lnTo>
                  <a:lnTo>
                    <a:pt x="136" y="67"/>
                  </a:lnTo>
                  <a:lnTo>
                    <a:pt x="133" y="68"/>
                  </a:lnTo>
                  <a:lnTo>
                    <a:pt x="125" y="68"/>
                  </a:lnTo>
                  <a:lnTo>
                    <a:pt x="118" y="66"/>
                  </a:lnTo>
                  <a:lnTo>
                    <a:pt x="109" y="64"/>
                  </a:lnTo>
                  <a:lnTo>
                    <a:pt x="100" y="62"/>
                  </a:lnTo>
                  <a:lnTo>
                    <a:pt x="79" y="54"/>
                  </a:lnTo>
                  <a:lnTo>
                    <a:pt x="58" y="46"/>
                  </a:lnTo>
                  <a:lnTo>
                    <a:pt x="39" y="38"/>
                  </a:lnTo>
                  <a:lnTo>
                    <a:pt x="21" y="29"/>
                  </a:lnTo>
                  <a:lnTo>
                    <a:pt x="15" y="24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25"/>
                  </a:lnTo>
                  <a:lnTo>
                    <a:pt x="0" y="37"/>
                  </a:lnTo>
                  <a:lnTo>
                    <a:pt x="0" y="49"/>
                  </a:lnTo>
                  <a:lnTo>
                    <a:pt x="1" y="62"/>
                  </a:lnTo>
                  <a:lnTo>
                    <a:pt x="5" y="72"/>
                  </a:lnTo>
                  <a:lnTo>
                    <a:pt x="7" y="81"/>
                  </a:lnTo>
                  <a:lnTo>
                    <a:pt x="15" y="96"/>
                  </a:lnTo>
                  <a:lnTo>
                    <a:pt x="24" y="111"/>
                  </a:lnTo>
                  <a:lnTo>
                    <a:pt x="33" y="124"/>
                  </a:lnTo>
                  <a:lnTo>
                    <a:pt x="42" y="138"/>
                  </a:lnTo>
                  <a:lnTo>
                    <a:pt x="45" y="146"/>
                  </a:lnTo>
                  <a:lnTo>
                    <a:pt x="49" y="156"/>
                  </a:lnTo>
                  <a:lnTo>
                    <a:pt x="52" y="167"/>
                  </a:lnTo>
                  <a:lnTo>
                    <a:pt x="53" y="179"/>
                  </a:lnTo>
                  <a:lnTo>
                    <a:pt x="60" y="179"/>
                  </a:lnTo>
                  <a:lnTo>
                    <a:pt x="64" y="190"/>
                  </a:lnTo>
                  <a:lnTo>
                    <a:pt x="73" y="205"/>
                  </a:lnTo>
                  <a:lnTo>
                    <a:pt x="83" y="223"/>
                  </a:lnTo>
                  <a:lnTo>
                    <a:pt x="96" y="241"/>
                  </a:lnTo>
                  <a:lnTo>
                    <a:pt x="109" y="258"/>
                  </a:lnTo>
                  <a:lnTo>
                    <a:pt x="122" y="273"/>
                  </a:lnTo>
                  <a:lnTo>
                    <a:pt x="129" y="280"/>
                  </a:lnTo>
                  <a:lnTo>
                    <a:pt x="135" y="284"/>
                  </a:lnTo>
                  <a:lnTo>
                    <a:pt x="141" y="288"/>
                  </a:lnTo>
                  <a:lnTo>
                    <a:pt x="146" y="290"/>
                  </a:lnTo>
                  <a:lnTo>
                    <a:pt x="139" y="296"/>
                  </a:lnTo>
                  <a:lnTo>
                    <a:pt x="130" y="304"/>
                  </a:lnTo>
                  <a:lnTo>
                    <a:pt x="127" y="310"/>
                  </a:lnTo>
                  <a:lnTo>
                    <a:pt x="122" y="316"/>
                  </a:lnTo>
                  <a:lnTo>
                    <a:pt x="120" y="324"/>
                  </a:lnTo>
                  <a:lnTo>
                    <a:pt x="120" y="332"/>
                  </a:lnTo>
                  <a:lnTo>
                    <a:pt x="120" y="341"/>
                  </a:lnTo>
                  <a:lnTo>
                    <a:pt x="123" y="350"/>
                  </a:lnTo>
                  <a:lnTo>
                    <a:pt x="128" y="360"/>
                  </a:lnTo>
                  <a:lnTo>
                    <a:pt x="133" y="370"/>
                  </a:lnTo>
                  <a:lnTo>
                    <a:pt x="140" y="380"/>
                  </a:lnTo>
                  <a:lnTo>
                    <a:pt x="147" y="391"/>
                  </a:lnTo>
                  <a:lnTo>
                    <a:pt x="157" y="401"/>
                  </a:lnTo>
                  <a:lnTo>
                    <a:pt x="167" y="410"/>
                  </a:lnTo>
                  <a:lnTo>
                    <a:pt x="177" y="420"/>
                  </a:lnTo>
                  <a:lnTo>
                    <a:pt x="188" y="428"/>
                  </a:lnTo>
                  <a:lnTo>
                    <a:pt x="200" y="436"/>
                  </a:lnTo>
                  <a:lnTo>
                    <a:pt x="212" y="442"/>
                  </a:lnTo>
                  <a:lnTo>
                    <a:pt x="224" y="449"/>
                  </a:lnTo>
                  <a:lnTo>
                    <a:pt x="236" y="453"/>
                  </a:lnTo>
                  <a:lnTo>
                    <a:pt x="247" y="455"/>
                  </a:lnTo>
                  <a:lnTo>
                    <a:pt x="259" y="456"/>
                  </a:lnTo>
                  <a:lnTo>
                    <a:pt x="260" y="469"/>
                  </a:lnTo>
                  <a:lnTo>
                    <a:pt x="264" y="483"/>
                  </a:lnTo>
                  <a:lnTo>
                    <a:pt x="265" y="490"/>
                  </a:lnTo>
                  <a:lnTo>
                    <a:pt x="265" y="500"/>
                  </a:lnTo>
                  <a:lnTo>
                    <a:pt x="263" y="511"/>
                  </a:lnTo>
                  <a:lnTo>
                    <a:pt x="259" y="524"/>
                  </a:lnTo>
                  <a:lnTo>
                    <a:pt x="305" y="573"/>
                  </a:lnTo>
                  <a:lnTo>
                    <a:pt x="312" y="574"/>
                  </a:lnTo>
                  <a:lnTo>
                    <a:pt x="319" y="576"/>
                  </a:lnTo>
                  <a:lnTo>
                    <a:pt x="324" y="578"/>
                  </a:lnTo>
                  <a:lnTo>
                    <a:pt x="330" y="580"/>
                  </a:lnTo>
                  <a:lnTo>
                    <a:pt x="335" y="581"/>
                  </a:lnTo>
                  <a:lnTo>
                    <a:pt x="342" y="581"/>
                  </a:lnTo>
                  <a:lnTo>
                    <a:pt x="349" y="578"/>
                  </a:lnTo>
                  <a:lnTo>
                    <a:pt x="358" y="573"/>
                  </a:lnTo>
                  <a:lnTo>
                    <a:pt x="372" y="593"/>
                  </a:lnTo>
                  <a:lnTo>
                    <a:pt x="404" y="639"/>
                  </a:lnTo>
                  <a:lnTo>
                    <a:pt x="423" y="664"/>
                  </a:lnTo>
                  <a:lnTo>
                    <a:pt x="439" y="687"/>
                  </a:lnTo>
                  <a:lnTo>
                    <a:pt x="447" y="697"/>
                  </a:lnTo>
                  <a:lnTo>
                    <a:pt x="455" y="705"/>
                  </a:lnTo>
                  <a:lnTo>
                    <a:pt x="460" y="711"/>
                  </a:lnTo>
                  <a:lnTo>
                    <a:pt x="465" y="714"/>
                  </a:lnTo>
                  <a:lnTo>
                    <a:pt x="471" y="720"/>
                  </a:lnTo>
                  <a:lnTo>
                    <a:pt x="479" y="727"/>
                  </a:lnTo>
                  <a:lnTo>
                    <a:pt x="483" y="729"/>
                  </a:lnTo>
                  <a:lnTo>
                    <a:pt x="488" y="731"/>
                  </a:lnTo>
                  <a:lnTo>
                    <a:pt x="493" y="733"/>
                  </a:lnTo>
                  <a:lnTo>
                    <a:pt x="498" y="733"/>
                  </a:lnTo>
                  <a:lnTo>
                    <a:pt x="504" y="733"/>
                  </a:lnTo>
                  <a:lnTo>
                    <a:pt x="512" y="733"/>
                  </a:lnTo>
                  <a:lnTo>
                    <a:pt x="522" y="733"/>
                  </a:lnTo>
                  <a:lnTo>
                    <a:pt x="532" y="733"/>
                  </a:lnTo>
                  <a:lnTo>
                    <a:pt x="533" y="741"/>
                  </a:lnTo>
                  <a:lnTo>
                    <a:pt x="537" y="748"/>
                  </a:lnTo>
                  <a:lnTo>
                    <a:pt x="542" y="755"/>
                  </a:lnTo>
                  <a:lnTo>
                    <a:pt x="547" y="761"/>
                  </a:lnTo>
                  <a:lnTo>
                    <a:pt x="554" y="766"/>
                  </a:lnTo>
                  <a:lnTo>
                    <a:pt x="561" y="771"/>
                  </a:lnTo>
                  <a:lnTo>
                    <a:pt x="570" y="776"/>
                  </a:lnTo>
                  <a:lnTo>
                    <a:pt x="579" y="781"/>
                  </a:lnTo>
                  <a:lnTo>
                    <a:pt x="598" y="787"/>
                  </a:lnTo>
                  <a:lnTo>
                    <a:pt x="616" y="791"/>
                  </a:lnTo>
                  <a:lnTo>
                    <a:pt x="635" y="794"/>
                  </a:lnTo>
                  <a:lnTo>
                    <a:pt x="651" y="795"/>
                  </a:lnTo>
                  <a:lnTo>
                    <a:pt x="663" y="795"/>
                  </a:lnTo>
                  <a:lnTo>
                    <a:pt x="671" y="795"/>
                  </a:lnTo>
                  <a:lnTo>
                    <a:pt x="685" y="795"/>
                  </a:lnTo>
                  <a:lnTo>
                    <a:pt x="700" y="793"/>
                  </a:lnTo>
                  <a:lnTo>
                    <a:pt x="706" y="792"/>
                  </a:lnTo>
                  <a:lnTo>
                    <a:pt x="713" y="790"/>
                  </a:lnTo>
                  <a:lnTo>
                    <a:pt x="718" y="787"/>
                  </a:lnTo>
                  <a:lnTo>
                    <a:pt x="724" y="783"/>
                  </a:lnTo>
                  <a:lnTo>
                    <a:pt x="732" y="780"/>
                  </a:lnTo>
                  <a:lnTo>
                    <a:pt x="742" y="773"/>
                  </a:lnTo>
                  <a:lnTo>
                    <a:pt x="749" y="769"/>
                  </a:lnTo>
                  <a:lnTo>
                    <a:pt x="756" y="766"/>
                  </a:lnTo>
                  <a:lnTo>
                    <a:pt x="763" y="764"/>
                  </a:lnTo>
                  <a:lnTo>
                    <a:pt x="771" y="764"/>
                  </a:lnTo>
                  <a:lnTo>
                    <a:pt x="779" y="764"/>
                  </a:lnTo>
                  <a:lnTo>
                    <a:pt x="785" y="767"/>
                  </a:lnTo>
                  <a:lnTo>
                    <a:pt x="790" y="771"/>
                  </a:lnTo>
                  <a:lnTo>
                    <a:pt x="794" y="775"/>
                  </a:lnTo>
                  <a:lnTo>
                    <a:pt x="796" y="782"/>
                  </a:lnTo>
                  <a:lnTo>
                    <a:pt x="798" y="789"/>
                  </a:lnTo>
                  <a:lnTo>
                    <a:pt x="801" y="796"/>
                  </a:lnTo>
                  <a:lnTo>
                    <a:pt x="802" y="804"/>
                  </a:lnTo>
                  <a:lnTo>
                    <a:pt x="803" y="820"/>
                  </a:lnTo>
                  <a:lnTo>
                    <a:pt x="805" y="837"/>
                  </a:lnTo>
                  <a:lnTo>
                    <a:pt x="807" y="845"/>
                  </a:lnTo>
                  <a:lnTo>
                    <a:pt x="809" y="851"/>
                  </a:lnTo>
                  <a:lnTo>
                    <a:pt x="813" y="857"/>
                  </a:lnTo>
                  <a:lnTo>
                    <a:pt x="817" y="862"/>
                  </a:lnTo>
                  <a:lnTo>
                    <a:pt x="822" y="865"/>
                  </a:lnTo>
                  <a:lnTo>
                    <a:pt x="828" y="867"/>
                  </a:lnTo>
                  <a:lnTo>
                    <a:pt x="838" y="869"/>
                  </a:lnTo>
                  <a:lnTo>
                    <a:pt x="849" y="871"/>
                  </a:lnTo>
                  <a:lnTo>
                    <a:pt x="874" y="874"/>
                  </a:lnTo>
                  <a:lnTo>
                    <a:pt x="897" y="875"/>
                  </a:lnTo>
                  <a:lnTo>
                    <a:pt x="925" y="876"/>
                  </a:lnTo>
                  <a:lnTo>
                    <a:pt x="948" y="878"/>
                  </a:lnTo>
                  <a:lnTo>
                    <a:pt x="970" y="882"/>
                  </a:lnTo>
                  <a:lnTo>
                    <a:pt x="991" y="887"/>
                  </a:lnTo>
                  <a:lnTo>
                    <a:pt x="1011" y="892"/>
                  </a:lnTo>
                  <a:lnTo>
                    <a:pt x="1035" y="896"/>
                  </a:lnTo>
                  <a:lnTo>
                    <a:pt x="1047" y="898"/>
                  </a:lnTo>
                  <a:lnTo>
                    <a:pt x="1060" y="899"/>
                  </a:lnTo>
                  <a:lnTo>
                    <a:pt x="1074" y="900"/>
                  </a:lnTo>
                  <a:lnTo>
                    <a:pt x="1089" y="900"/>
                  </a:lnTo>
                  <a:lnTo>
                    <a:pt x="1091" y="879"/>
                  </a:lnTo>
                  <a:lnTo>
                    <a:pt x="1093" y="865"/>
                  </a:lnTo>
                  <a:lnTo>
                    <a:pt x="1095" y="854"/>
                  </a:lnTo>
                  <a:lnTo>
                    <a:pt x="1096" y="844"/>
                  </a:lnTo>
                  <a:lnTo>
                    <a:pt x="1096" y="840"/>
                  </a:lnTo>
                  <a:lnTo>
                    <a:pt x="1097" y="836"/>
                  </a:lnTo>
                  <a:lnTo>
                    <a:pt x="1099" y="831"/>
                  </a:lnTo>
                  <a:lnTo>
                    <a:pt x="1102" y="827"/>
                  </a:lnTo>
                  <a:lnTo>
                    <a:pt x="1108" y="820"/>
                  </a:lnTo>
                  <a:lnTo>
                    <a:pt x="1116" y="814"/>
                  </a:lnTo>
                  <a:lnTo>
                    <a:pt x="1136" y="802"/>
                  </a:lnTo>
                  <a:lnTo>
                    <a:pt x="1156" y="789"/>
                  </a:lnTo>
                  <a:lnTo>
                    <a:pt x="1156" y="770"/>
                  </a:lnTo>
                  <a:lnTo>
                    <a:pt x="1151" y="769"/>
                  </a:lnTo>
                  <a:lnTo>
                    <a:pt x="1147" y="768"/>
                  </a:lnTo>
                  <a:lnTo>
                    <a:pt x="1143" y="766"/>
                  </a:lnTo>
                  <a:lnTo>
                    <a:pt x="1140" y="764"/>
                  </a:lnTo>
                  <a:lnTo>
                    <a:pt x="1136" y="758"/>
                  </a:lnTo>
                  <a:lnTo>
                    <a:pt x="1132" y="750"/>
                  </a:lnTo>
                  <a:lnTo>
                    <a:pt x="1130" y="734"/>
                  </a:lnTo>
                  <a:lnTo>
                    <a:pt x="1129" y="720"/>
                  </a:lnTo>
                  <a:lnTo>
                    <a:pt x="1121" y="719"/>
                  </a:lnTo>
                  <a:lnTo>
                    <a:pt x="1114" y="717"/>
                  </a:lnTo>
                  <a:lnTo>
                    <a:pt x="1105" y="713"/>
                  </a:lnTo>
                  <a:lnTo>
                    <a:pt x="1096" y="708"/>
                  </a:lnTo>
                  <a:lnTo>
                    <a:pt x="1087" y="701"/>
                  </a:lnTo>
                  <a:lnTo>
                    <a:pt x="1077" y="694"/>
                  </a:lnTo>
                  <a:lnTo>
                    <a:pt x="1069" y="686"/>
                  </a:lnTo>
                  <a:lnTo>
                    <a:pt x="1061" y="678"/>
                  </a:lnTo>
                  <a:lnTo>
                    <a:pt x="1044" y="660"/>
                  </a:lnTo>
                  <a:lnTo>
                    <a:pt x="1031" y="643"/>
                  </a:lnTo>
                  <a:lnTo>
                    <a:pt x="1026" y="635"/>
                  </a:lnTo>
                  <a:lnTo>
                    <a:pt x="1021" y="628"/>
                  </a:lnTo>
                  <a:lnTo>
                    <a:pt x="1018" y="622"/>
                  </a:lnTo>
                  <a:lnTo>
                    <a:pt x="1016" y="616"/>
                  </a:lnTo>
                  <a:lnTo>
                    <a:pt x="1017" y="609"/>
                  </a:lnTo>
                  <a:lnTo>
                    <a:pt x="1018" y="603"/>
                  </a:lnTo>
                  <a:lnTo>
                    <a:pt x="1019" y="598"/>
                  </a:lnTo>
                  <a:lnTo>
                    <a:pt x="1021" y="593"/>
                  </a:lnTo>
                  <a:lnTo>
                    <a:pt x="1027" y="584"/>
                  </a:lnTo>
                  <a:lnTo>
                    <a:pt x="1033" y="576"/>
                  </a:lnTo>
                  <a:lnTo>
                    <a:pt x="1039" y="568"/>
                  </a:lnTo>
                  <a:lnTo>
                    <a:pt x="1044" y="559"/>
                  </a:lnTo>
                  <a:lnTo>
                    <a:pt x="1047" y="553"/>
                  </a:lnTo>
                  <a:lnTo>
                    <a:pt x="1048" y="548"/>
                  </a:lnTo>
                  <a:lnTo>
                    <a:pt x="1049" y="542"/>
                  </a:lnTo>
                  <a:lnTo>
                    <a:pt x="1050" y="536"/>
                  </a:lnTo>
                  <a:lnTo>
                    <a:pt x="1049" y="531"/>
                  </a:lnTo>
                  <a:lnTo>
                    <a:pt x="1048" y="526"/>
                  </a:lnTo>
                  <a:lnTo>
                    <a:pt x="1047" y="522"/>
                  </a:lnTo>
                  <a:lnTo>
                    <a:pt x="1044" y="519"/>
                  </a:lnTo>
                  <a:lnTo>
                    <a:pt x="1041" y="517"/>
                  </a:lnTo>
                  <a:lnTo>
                    <a:pt x="1038" y="515"/>
                  </a:lnTo>
                  <a:lnTo>
                    <a:pt x="1035" y="513"/>
                  </a:lnTo>
                  <a:lnTo>
                    <a:pt x="1030" y="512"/>
                  </a:lnTo>
                  <a:lnTo>
                    <a:pt x="1013" y="511"/>
                  </a:lnTo>
                  <a:lnTo>
                    <a:pt x="996" y="512"/>
                  </a:lnTo>
                  <a:lnTo>
                    <a:pt x="993" y="511"/>
                  </a:lnTo>
                  <a:lnTo>
                    <a:pt x="990" y="510"/>
                  </a:lnTo>
                  <a:lnTo>
                    <a:pt x="986" y="509"/>
                  </a:lnTo>
                  <a:lnTo>
                    <a:pt x="983" y="507"/>
                  </a:lnTo>
                  <a:lnTo>
                    <a:pt x="976" y="501"/>
                  </a:lnTo>
                  <a:lnTo>
                    <a:pt x="971" y="493"/>
                  </a:lnTo>
                  <a:lnTo>
                    <a:pt x="966" y="485"/>
                  </a:lnTo>
                  <a:lnTo>
                    <a:pt x="962" y="475"/>
                  </a:lnTo>
                  <a:lnTo>
                    <a:pt x="958" y="464"/>
                  </a:lnTo>
                  <a:lnTo>
                    <a:pt x="954" y="453"/>
                  </a:lnTo>
                  <a:lnTo>
                    <a:pt x="950" y="429"/>
                  </a:lnTo>
                  <a:lnTo>
                    <a:pt x="946" y="407"/>
                  </a:lnTo>
                  <a:lnTo>
                    <a:pt x="943" y="389"/>
                  </a:lnTo>
                  <a:lnTo>
                    <a:pt x="943" y="375"/>
                  </a:lnTo>
                  <a:lnTo>
                    <a:pt x="940" y="375"/>
                  </a:lnTo>
                  <a:lnTo>
                    <a:pt x="937" y="373"/>
                  </a:lnTo>
                  <a:lnTo>
                    <a:pt x="934" y="371"/>
                  </a:lnTo>
                  <a:lnTo>
                    <a:pt x="931" y="369"/>
                  </a:lnTo>
                  <a:lnTo>
                    <a:pt x="928" y="366"/>
                  </a:lnTo>
                  <a:lnTo>
                    <a:pt x="926" y="363"/>
                  </a:lnTo>
                  <a:lnTo>
                    <a:pt x="924" y="360"/>
                  </a:lnTo>
                  <a:lnTo>
                    <a:pt x="924" y="357"/>
                  </a:lnTo>
                  <a:lnTo>
                    <a:pt x="924" y="354"/>
                  </a:lnTo>
                  <a:lnTo>
                    <a:pt x="925" y="351"/>
                  </a:lnTo>
                  <a:lnTo>
                    <a:pt x="926" y="348"/>
                  </a:lnTo>
                  <a:lnTo>
                    <a:pt x="928" y="345"/>
                  </a:lnTo>
                  <a:lnTo>
                    <a:pt x="934" y="339"/>
                  </a:lnTo>
                  <a:lnTo>
                    <a:pt x="940" y="334"/>
                  </a:lnTo>
                  <a:lnTo>
                    <a:pt x="946" y="328"/>
                  </a:lnTo>
                  <a:lnTo>
                    <a:pt x="951" y="323"/>
                  </a:lnTo>
                  <a:lnTo>
                    <a:pt x="955" y="318"/>
                  </a:lnTo>
                  <a:lnTo>
                    <a:pt x="957" y="314"/>
                  </a:lnTo>
                  <a:lnTo>
                    <a:pt x="958" y="301"/>
                  </a:lnTo>
                  <a:lnTo>
                    <a:pt x="960" y="293"/>
                  </a:lnTo>
                  <a:lnTo>
                    <a:pt x="962" y="285"/>
                  </a:lnTo>
                  <a:lnTo>
                    <a:pt x="963" y="27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787" name="Freeform 257"/>
            <p:cNvSpPr>
              <a:spLocks/>
            </p:cNvSpPr>
            <p:nvPr>
              <p:custDataLst>
                <p:tags r:id="rId179"/>
              </p:custDataLst>
            </p:nvPr>
          </p:nvSpPr>
          <p:spPr bwMode="auto">
            <a:xfrm>
              <a:off x="6855878" y="3371534"/>
              <a:ext cx="295246" cy="274518"/>
            </a:xfrm>
            <a:custGeom>
              <a:avLst/>
              <a:gdLst>
                <a:gd name="T0" fmla="*/ 11277 w 571"/>
                <a:gd name="T1" fmla="*/ 98045 h 443"/>
                <a:gd name="T2" fmla="*/ 16047 w 571"/>
                <a:gd name="T3" fmla="*/ 91337 h 443"/>
                <a:gd name="T4" fmla="*/ 17782 w 571"/>
                <a:gd name="T5" fmla="*/ 84628 h 443"/>
                <a:gd name="T6" fmla="*/ 16915 w 571"/>
                <a:gd name="T7" fmla="*/ 66567 h 443"/>
                <a:gd name="T8" fmla="*/ 19083 w 571"/>
                <a:gd name="T9" fmla="*/ 61923 h 443"/>
                <a:gd name="T10" fmla="*/ 23854 w 571"/>
                <a:gd name="T11" fmla="*/ 57795 h 443"/>
                <a:gd name="T12" fmla="*/ 29492 w 571"/>
                <a:gd name="T13" fmla="*/ 55215 h 443"/>
                <a:gd name="T14" fmla="*/ 34697 w 571"/>
                <a:gd name="T15" fmla="*/ 53667 h 443"/>
                <a:gd name="T16" fmla="*/ 44672 w 571"/>
                <a:gd name="T17" fmla="*/ 54699 h 443"/>
                <a:gd name="T18" fmla="*/ 53780 w 571"/>
                <a:gd name="T19" fmla="*/ 56247 h 443"/>
                <a:gd name="T20" fmla="*/ 68527 w 571"/>
                <a:gd name="T21" fmla="*/ 61923 h 443"/>
                <a:gd name="T22" fmla="*/ 79803 w 571"/>
                <a:gd name="T23" fmla="*/ 69664 h 443"/>
                <a:gd name="T24" fmla="*/ 89345 w 571"/>
                <a:gd name="T25" fmla="*/ 79468 h 443"/>
                <a:gd name="T26" fmla="*/ 110163 w 571"/>
                <a:gd name="T27" fmla="*/ 47474 h 443"/>
                <a:gd name="T28" fmla="*/ 123608 w 571"/>
                <a:gd name="T29" fmla="*/ 25285 h 443"/>
                <a:gd name="T30" fmla="*/ 233337 w 571"/>
                <a:gd name="T31" fmla="*/ 22189 h 443"/>
                <a:gd name="T32" fmla="*/ 241578 w 571"/>
                <a:gd name="T33" fmla="*/ 40250 h 443"/>
                <a:gd name="T34" fmla="*/ 243747 w 571"/>
                <a:gd name="T35" fmla="*/ 50571 h 443"/>
                <a:gd name="T36" fmla="*/ 244614 w 571"/>
                <a:gd name="T37" fmla="*/ 63471 h 443"/>
                <a:gd name="T38" fmla="*/ 246349 w 571"/>
                <a:gd name="T39" fmla="*/ 77920 h 443"/>
                <a:gd name="T40" fmla="*/ 247650 w 571"/>
                <a:gd name="T41" fmla="*/ 91853 h 443"/>
                <a:gd name="T42" fmla="*/ 244614 w 571"/>
                <a:gd name="T43" fmla="*/ 92885 h 443"/>
                <a:gd name="T44" fmla="*/ 243747 w 571"/>
                <a:gd name="T45" fmla="*/ 92369 h 443"/>
                <a:gd name="T46" fmla="*/ 242012 w 571"/>
                <a:gd name="T47" fmla="*/ 94949 h 443"/>
                <a:gd name="T48" fmla="*/ 237675 w 571"/>
                <a:gd name="T49" fmla="*/ 106818 h 443"/>
                <a:gd name="T50" fmla="*/ 231603 w 571"/>
                <a:gd name="T51" fmla="*/ 116106 h 443"/>
                <a:gd name="T52" fmla="*/ 223362 w 571"/>
                <a:gd name="T53" fmla="*/ 123330 h 443"/>
                <a:gd name="T54" fmla="*/ 214254 w 571"/>
                <a:gd name="T55" fmla="*/ 128491 h 443"/>
                <a:gd name="T56" fmla="*/ 175654 w 571"/>
                <a:gd name="T57" fmla="*/ 146036 h 443"/>
                <a:gd name="T58" fmla="*/ 150498 w 571"/>
                <a:gd name="T59" fmla="*/ 158420 h 443"/>
                <a:gd name="T60" fmla="*/ 127945 w 571"/>
                <a:gd name="T61" fmla="*/ 169257 h 443"/>
                <a:gd name="T62" fmla="*/ 106260 w 571"/>
                <a:gd name="T63" fmla="*/ 178029 h 443"/>
                <a:gd name="T64" fmla="*/ 80671 w 571"/>
                <a:gd name="T65" fmla="*/ 187318 h 443"/>
                <a:gd name="T66" fmla="*/ 72430 w 571"/>
                <a:gd name="T67" fmla="*/ 191446 h 443"/>
                <a:gd name="T68" fmla="*/ 64623 w 571"/>
                <a:gd name="T69" fmla="*/ 196606 h 443"/>
                <a:gd name="T70" fmla="*/ 51612 w 571"/>
                <a:gd name="T71" fmla="*/ 207959 h 443"/>
                <a:gd name="T72" fmla="*/ 39902 w 571"/>
                <a:gd name="T73" fmla="*/ 219828 h 443"/>
                <a:gd name="T74" fmla="*/ 29059 w 571"/>
                <a:gd name="T75" fmla="*/ 228600 h 443"/>
                <a:gd name="T76" fmla="*/ 21686 w 571"/>
                <a:gd name="T77" fmla="*/ 195058 h 443"/>
                <a:gd name="T78" fmla="*/ 14313 w 571"/>
                <a:gd name="T79" fmla="*/ 161516 h 443"/>
                <a:gd name="T80" fmla="*/ 6939 w 571"/>
                <a:gd name="T81" fmla="*/ 129523 h 443"/>
                <a:gd name="T82" fmla="*/ 0 w 571"/>
                <a:gd name="T83" fmla="*/ 101141 h 44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571" h="443">
                  <a:moveTo>
                    <a:pt x="0" y="196"/>
                  </a:moveTo>
                  <a:lnTo>
                    <a:pt x="26" y="190"/>
                  </a:lnTo>
                  <a:lnTo>
                    <a:pt x="33" y="184"/>
                  </a:lnTo>
                  <a:lnTo>
                    <a:pt x="37" y="177"/>
                  </a:lnTo>
                  <a:lnTo>
                    <a:pt x="39" y="171"/>
                  </a:lnTo>
                  <a:lnTo>
                    <a:pt x="41" y="164"/>
                  </a:lnTo>
                  <a:lnTo>
                    <a:pt x="41" y="149"/>
                  </a:lnTo>
                  <a:lnTo>
                    <a:pt x="39" y="129"/>
                  </a:lnTo>
                  <a:lnTo>
                    <a:pt x="41" y="124"/>
                  </a:lnTo>
                  <a:lnTo>
                    <a:pt x="44" y="120"/>
                  </a:lnTo>
                  <a:lnTo>
                    <a:pt x="49" y="116"/>
                  </a:lnTo>
                  <a:lnTo>
                    <a:pt x="55" y="112"/>
                  </a:lnTo>
                  <a:lnTo>
                    <a:pt x="61" y="109"/>
                  </a:lnTo>
                  <a:lnTo>
                    <a:pt x="68" y="107"/>
                  </a:lnTo>
                  <a:lnTo>
                    <a:pt x="75" y="105"/>
                  </a:lnTo>
                  <a:lnTo>
                    <a:pt x="80" y="104"/>
                  </a:lnTo>
                  <a:lnTo>
                    <a:pt x="92" y="105"/>
                  </a:lnTo>
                  <a:lnTo>
                    <a:pt x="103" y="106"/>
                  </a:lnTo>
                  <a:lnTo>
                    <a:pt x="114" y="107"/>
                  </a:lnTo>
                  <a:lnTo>
                    <a:pt x="124" y="109"/>
                  </a:lnTo>
                  <a:lnTo>
                    <a:pt x="142" y="113"/>
                  </a:lnTo>
                  <a:lnTo>
                    <a:pt x="158" y="120"/>
                  </a:lnTo>
                  <a:lnTo>
                    <a:pt x="172" y="127"/>
                  </a:lnTo>
                  <a:lnTo>
                    <a:pt x="184" y="135"/>
                  </a:lnTo>
                  <a:lnTo>
                    <a:pt x="195" y="145"/>
                  </a:lnTo>
                  <a:lnTo>
                    <a:pt x="206" y="154"/>
                  </a:lnTo>
                  <a:lnTo>
                    <a:pt x="227" y="127"/>
                  </a:lnTo>
                  <a:lnTo>
                    <a:pt x="254" y="92"/>
                  </a:lnTo>
                  <a:lnTo>
                    <a:pt x="276" y="62"/>
                  </a:lnTo>
                  <a:lnTo>
                    <a:pt x="285" y="49"/>
                  </a:lnTo>
                  <a:lnTo>
                    <a:pt x="538" y="0"/>
                  </a:lnTo>
                  <a:lnTo>
                    <a:pt x="538" y="43"/>
                  </a:lnTo>
                  <a:lnTo>
                    <a:pt x="548" y="60"/>
                  </a:lnTo>
                  <a:lnTo>
                    <a:pt x="557" y="78"/>
                  </a:lnTo>
                  <a:lnTo>
                    <a:pt x="560" y="87"/>
                  </a:lnTo>
                  <a:lnTo>
                    <a:pt x="562" y="98"/>
                  </a:lnTo>
                  <a:lnTo>
                    <a:pt x="564" y="110"/>
                  </a:lnTo>
                  <a:lnTo>
                    <a:pt x="564" y="123"/>
                  </a:lnTo>
                  <a:lnTo>
                    <a:pt x="565" y="136"/>
                  </a:lnTo>
                  <a:lnTo>
                    <a:pt x="568" y="151"/>
                  </a:lnTo>
                  <a:lnTo>
                    <a:pt x="570" y="164"/>
                  </a:lnTo>
                  <a:lnTo>
                    <a:pt x="571" y="178"/>
                  </a:lnTo>
                  <a:lnTo>
                    <a:pt x="568" y="180"/>
                  </a:lnTo>
                  <a:lnTo>
                    <a:pt x="564" y="180"/>
                  </a:lnTo>
                  <a:lnTo>
                    <a:pt x="563" y="179"/>
                  </a:lnTo>
                  <a:lnTo>
                    <a:pt x="562" y="179"/>
                  </a:lnTo>
                  <a:lnTo>
                    <a:pt x="561" y="179"/>
                  </a:lnTo>
                  <a:lnTo>
                    <a:pt x="558" y="184"/>
                  </a:lnTo>
                  <a:lnTo>
                    <a:pt x="553" y="196"/>
                  </a:lnTo>
                  <a:lnTo>
                    <a:pt x="548" y="207"/>
                  </a:lnTo>
                  <a:lnTo>
                    <a:pt x="541" y="217"/>
                  </a:lnTo>
                  <a:lnTo>
                    <a:pt x="534" y="225"/>
                  </a:lnTo>
                  <a:lnTo>
                    <a:pt x="525" y="232"/>
                  </a:lnTo>
                  <a:lnTo>
                    <a:pt x="515" y="239"/>
                  </a:lnTo>
                  <a:lnTo>
                    <a:pt x="505" y="244"/>
                  </a:lnTo>
                  <a:lnTo>
                    <a:pt x="494" y="249"/>
                  </a:lnTo>
                  <a:lnTo>
                    <a:pt x="449" y="267"/>
                  </a:lnTo>
                  <a:lnTo>
                    <a:pt x="405" y="283"/>
                  </a:lnTo>
                  <a:lnTo>
                    <a:pt x="374" y="296"/>
                  </a:lnTo>
                  <a:lnTo>
                    <a:pt x="347" y="307"/>
                  </a:lnTo>
                  <a:lnTo>
                    <a:pt x="321" y="318"/>
                  </a:lnTo>
                  <a:lnTo>
                    <a:pt x="295" y="328"/>
                  </a:lnTo>
                  <a:lnTo>
                    <a:pt x="270" y="337"/>
                  </a:lnTo>
                  <a:lnTo>
                    <a:pt x="245" y="345"/>
                  </a:lnTo>
                  <a:lnTo>
                    <a:pt x="216" y="354"/>
                  </a:lnTo>
                  <a:lnTo>
                    <a:pt x="186" y="363"/>
                  </a:lnTo>
                  <a:lnTo>
                    <a:pt x="177" y="366"/>
                  </a:lnTo>
                  <a:lnTo>
                    <a:pt x="167" y="371"/>
                  </a:lnTo>
                  <a:lnTo>
                    <a:pt x="158" y="376"/>
                  </a:lnTo>
                  <a:lnTo>
                    <a:pt x="149" y="381"/>
                  </a:lnTo>
                  <a:lnTo>
                    <a:pt x="134" y="392"/>
                  </a:lnTo>
                  <a:lnTo>
                    <a:pt x="119" y="403"/>
                  </a:lnTo>
                  <a:lnTo>
                    <a:pt x="105" y="414"/>
                  </a:lnTo>
                  <a:lnTo>
                    <a:pt x="92" y="426"/>
                  </a:lnTo>
                  <a:lnTo>
                    <a:pt x="79" y="435"/>
                  </a:lnTo>
                  <a:lnTo>
                    <a:pt x="67" y="443"/>
                  </a:lnTo>
                  <a:lnTo>
                    <a:pt x="58" y="410"/>
                  </a:lnTo>
                  <a:lnTo>
                    <a:pt x="50" y="378"/>
                  </a:lnTo>
                  <a:lnTo>
                    <a:pt x="42" y="345"/>
                  </a:lnTo>
                  <a:lnTo>
                    <a:pt x="33" y="313"/>
                  </a:lnTo>
                  <a:lnTo>
                    <a:pt x="24" y="282"/>
                  </a:lnTo>
                  <a:lnTo>
                    <a:pt x="16" y="251"/>
                  </a:lnTo>
                  <a:lnTo>
                    <a:pt x="8" y="223"/>
                  </a:lnTo>
                  <a:lnTo>
                    <a:pt x="0" y="19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788" name="Freeform 258"/>
            <p:cNvSpPr>
              <a:spLocks/>
            </p:cNvSpPr>
            <p:nvPr>
              <p:custDataLst>
                <p:tags r:id="rId180"/>
              </p:custDataLst>
            </p:nvPr>
          </p:nvSpPr>
          <p:spPr bwMode="auto">
            <a:xfrm>
              <a:off x="7088667" y="3100829"/>
              <a:ext cx="143838" cy="144885"/>
            </a:xfrm>
            <a:custGeom>
              <a:avLst/>
              <a:gdLst>
                <a:gd name="T0" fmla="*/ 0 w 286"/>
                <a:gd name="T1" fmla="*/ 58737 h 228"/>
                <a:gd name="T2" fmla="*/ 1687 w 286"/>
                <a:gd name="T3" fmla="*/ 57679 h 228"/>
                <a:gd name="T4" fmla="*/ 2953 w 286"/>
                <a:gd name="T5" fmla="*/ 57679 h 228"/>
                <a:gd name="T6" fmla="*/ 4219 w 286"/>
                <a:gd name="T7" fmla="*/ 58208 h 228"/>
                <a:gd name="T8" fmla="*/ 4640 w 286"/>
                <a:gd name="T9" fmla="*/ 58737 h 228"/>
                <a:gd name="T10" fmla="*/ 5062 w 286"/>
                <a:gd name="T11" fmla="*/ 61912 h 228"/>
                <a:gd name="T12" fmla="*/ 5484 w 286"/>
                <a:gd name="T13" fmla="*/ 65087 h 228"/>
                <a:gd name="T14" fmla="*/ 5906 w 286"/>
                <a:gd name="T15" fmla="*/ 67733 h 228"/>
                <a:gd name="T16" fmla="*/ 6750 w 286"/>
                <a:gd name="T17" fmla="*/ 69321 h 228"/>
                <a:gd name="T18" fmla="*/ 8015 w 286"/>
                <a:gd name="T19" fmla="*/ 70908 h 228"/>
                <a:gd name="T20" fmla="*/ 10124 w 286"/>
                <a:gd name="T21" fmla="*/ 71967 h 228"/>
                <a:gd name="T22" fmla="*/ 12234 w 286"/>
                <a:gd name="T23" fmla="*/ 72496 h 228"/>
                <a:gd name="T24" fmla="*/ 15609 w 286"/>
                <a:gd name="T25" fmla="*/ 73025 h 228"/>
                <a:gd name="T26" fmla="*/ 20249 w 286"/>
                <a:gd name="T27" fmla="*/ 73025 h 228"/>
                <a:gd name="T28" fmla="*/ 25311 w 286"/>
                <a:gd name="T29" fmla="*/ 71967 h 228"/>
                <a:gd name="T30" fmla="*/ 41342 w 286"/>
                <a:gd name="T31" fmla="*/ 68792 h 228"/>
                <a:gd name="T32" fmla="*/ 54419 w 286"/>
                <a:gd name="T33" fmla="*/ 64558 h 228"/>
                <a:gd name="T34" fmla="*/ 60325 w 286"/>
                <a:gd name="T35" fmla="*/ 62442 h 228"/>
                <a:gd name="T36" fmla="*/ 65809 w 286"/>
                <a:gd name="T37" fmla="*/ 60325 h 228"/>
                <a:gd name="T38" fmla="*/ 70449 w 286"/>
                <a:gd name="T39" fmla="*/ 57679 h 228"/>
                <a:gd name="T40" fmla="*/ 75090 w 286"/>
                <a:gd name="T41" fmla="*/ 54504 h 228"/>
                <a:gd name="T42" fmla="*/ 79308 w 286"/>
                <a:gd name="T43" fmla="*/ 50800 h 228"/>
                <a:gd name="T44" fmla="*/ 83527 w 286"/>
                <a:gd name="T45" fmla="*/ 46038 h 228"/>
                <a:gd name="T46" fmla="*/ 87745 w 286"/>
                <a:gd name="T47" fmla="*/ 41275 h 228"/>
                <a:gd name="T48" fmla="*/ 92386 w 286"/>
                <a:gd name="T49" fmla="*/ 34396 h 228"/>
                <a:gd name="T50" fmla="*/ 96604 w 286"/>
                <a:gd name="T51" fmla="*/ 27517 h 228"/>
                <a:gd name="T52" fmla="*/ 101667 w 286"/>
                <a:gd name="T53" fmla="*/ 19579 h 228"/>
                <a:gd name="T54" fmla="*/ 106729 w 286"/>
                <a:gd name="T55" fmla="*/ 10583 h 228"/>
                <a:gd name="T56" fmla="*/ 112213 w 286"/>
                <a:gd name="T57" fmla="*/ 0 h 228"/>
                <a:gd name="T58" fmla="*/ 113900 w 286"/>
                <a:gd name="T59" fmla="*/ 3704 h 228"/>
                <a:gd name="T60" fmla="*/ 115588 w 286"/>
                <a:gd name="T61" fmla="*/ 6879 h 228"/>
                <a:gd name="T62" fmla="*/ 116431 w 286"/>
                <a:gd name="T63" fmla="*/ 10583 h 228"/>
                <a:gd name="T64" fmla="*/ 117697 w 286"/>
                <a:gd name="T65" fmla="*/ 14287 h 228"/>
                <a:gd name="T66" fmla="*/ 118963 w 286"/>
                <a:gd name="T67" fmla="*/ 22225 h 228"/>
                <a:gd name="T68" fmla="*/ 120650 w 286"/>
                <a:gd name="T69" fmla="*/ 32808 h 228"/>
                <a:gd name="T70" fmla="*/ 103776 w 286"/>
                <a:gd name="T71" fmla="*/ 104775 h 228"/>
                <a:gd name="T72" fmla="*/ 95339 w 286"/>
                <a:gd name="T73" fmla="*/ 120650 h 228"/>
                <a:gd name="T74" fmla="*/ 22358 w 286"/>
                <a:gd name="T75" fmla="*/ 111125 h 228"/>
                <a:gd name="T76" fmla="*/ 0 w 286"/>
                <a:gd name="T77" fmla="*/ 58737 h 228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286" h="228">
                  <a:moveTo>
                    <a:pt x="0" y="111"/>
                  </a:moveTo>
                  <a:lnTo>
                    <a:pt x="4" y="109"/>
                  </a:lnTo>
                  <a:lnTo>
                    <a:pt x="7" y="109"/>
                  </a:lnTo>
                  <a:lnTo>
                    <a:pt x="10" y="110"/>
                  </a:lnTo>
                  <a:lnTo>
                    <a:pt x="11" y="111"/>
                  </a:lnTo>
                  <a:lnTo>
                    <a:pt x="12" y="117"/>
                  </a:lnTo>
                  <a:lnTo>
                    <a:pt x="13" y="123"/>
                  </a:lnTo>
                  <a:lnTo>
                    <a:pt x="14" y="128"/>
                  </a:lnTo>
                  <a:lnTo>
                    <a:pt x="16" y="131"/>
                  </a:lnTo>
                  <a:lnTo>
                    <a:pt x="19" y="134"/>
                  </a:lnTo>
                  <a:lnTo>
                    <a:pt x="24" y="136"/>
                  </a:lnTo>
                  <a:lnTo>
                    <a:pt x="29" y="137"/>
                  </a:lnTo>
                  <a:lnTo>
                    <a:pt x="37" y="138"/>
                  </a:lnTo>
                  <a:lnTo>
                    <a:pt x="48" y="138"/>
                  </a:lnTo>
                  <a:lnTo>
                    <a:pt x="60" y="136"/>
                  </a:lnTo>
                  <a:lnTo>
                    <a:pt x="98" y="130"/>
                  </a:lnTo>
                  <a:lnTo>
                    <a:pt x="129" y="122"/>
                  </a:lnTo>
                  <a:lnTo>
                    <a:pt x="143" y="118"/>
                  </a:lnTo>
                  <a:lnTo>
                    <a:pt x="156" y="114"/>
                  </a:lnTo>
                  <a:lnTo>
                    <a:pt x="167" y="109"/>
                  </a:lnTo>
                  <a:lnTo>
                    <a:pt x="178" y="103"/>
                  </a:lnTo>
                  <a:lnTo>
                    <a:pt x="188" y="96"/>
                  </a:lnTo>
                  <a:lnTo>
                    <a:pt x="198" y="87"/>
                  </a:lnTo>
                  <a:lnTo>
                    <a:pt x="208" y="78"/>
                  </a:lnTo>
                  <a:lnTo>
                    <a:pt x="219" y="65"/>
                  </a:lnTo>
                  <a:lnTo>
                    <a:pt x="229" y="52"/>
                  </a:lnTo>
                  <a:lnTo>
                    <a:pt x="241" y="37"/>
                  </a:lnTo>
                  <a:lnTo>
                    <a:pt x="253" y="20"/>
                  </a:lnTo>
                  <a:lnTo>
                    <a:pt x="266" y="0"/>
                  </a:lnTo>
                  <a:lnTo>
                    <a:pt x="270" y="7"/>
                  </a:lnTo>
                  <a:lnTo>
                    <a:pt x="274" y="13"/>
                  </a:lnTo>
                  <a:lnTo>
                    <a:pt x="276" y="20"/>
                  </a:lnTo>
                  <a:lnTo>
                    <a:pt x="279" y="27"/>
                  </a:lnTo>
                  <a:lnTo>
                    <a:pt x="282" y="42"/>
                  </a:lnTo>
                  <a:lnTo>
                    <a:pt x="286" y="62"/>
                  </a:lnTo>
                  <a:lnTo>
                    <a:pt x="246" y="198"/>
                  </a:lnTo>
                  <a:lnTo>
                    <a:pt x="226" y="228"/>
                  </a:lnTo>
                  <a:lnTo>
                    <a:pt x="53" y="210"/>
                  </a:lnTo>
                  <a:lnTo>
                    <a:pt x="0" y="11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789" name="Freeform 259"/>
            <p:cNvSpPr>
              <a:spLocks/>
            </p:cNvSpPr>
            <p:nvPr>
              <p:custDataLst>
                <p:tags r:id="rId181"/>
              </p:custDataLst>
            </p:nvPr>
          </p:nvSpPr>
          <p:spPr bwMode="auto">
            <a:xfrm>
              <a:off x="6715825" y="2683332"/>
              <a:ext cx="264964" cy="316459"/>
            </a:xfrm>
            <a:custGeom>
              <a:avLst/>
              <a:gdLst>
                <a:gd name="T0" fmla="*/ 202740 w 524"/>
                <a:gd name="T1" fmla="*/ 193078 h 505"/>
                <a:gd name="T2" fmla="*/ 205284 w 524"/>
                <a:gd name="T3" fmla="*/ 180554 h 505"/>
                <a:gd name="T4" fmla="*/ 204860 w 524"/>
                <a:gd name="T5" fmla="*/ 171683 h 505"/>
                <a:gd name="T6" fmla="*/ 202740 w 524"/>
                <a:gd name="T7" fmla="*/ 157593 h 505"/>
                <a:gd name="T8" fmla="*/ 192984 w 524"/>
                <a:gd name="T9" fmla="*/ 156028 h 505"/>
                <a:gd name="T10" fmla="*/ 182805 w 524"/>
                <a:gd name="T11" fmla="*/ 150288 h 505"/>
                <a:gd name="T12" fmla="*/ 172625 w 524"/>
                <a:gd name="T13" fmla="*/ 142982 h 505"/>
                <a:gd name="T14" fmla="*/ 163719 w 524"/>
                <a:gd name="T15" fmla="*/ 133589 h 505"/>
                <a:gd name="T16" fmla="*/ 155236 w 524"/>
                <a:gd name="T17" fmla="*/ 123674 h 505"/>
                <a:gd name="T18" fmla="*/ 149298 w 524"/>
                <a:gd name="T19" fmla="*/ 112716 h 505"/>
                <a:gd name="T20" fmla="*/ 145056 w 524"/>
                <a:gd name="T21" fmla="*/ 102279 h 505"/>
                <a:gd name="T22" fmla="*/ 143784 w 524"/>
                <a:gd name="T23" fmla="*/ 92886 h 505"/>
                <a:gd name="T24" fmla="*/ 144632 w 524"/>
                <a:gd name="T25" fmla="*/ 84537 h 505"/>
                <a:gd name="T26" fmla="*/ 148025 w 524"/>
                <a:gd name="T27" fmla="*/ 78275 h 505"/>
                <a:gd name="T28" fmla="*/ 154812 w 524"/>
                <a:gd name="T29" fmla="*/ 70969 h 505"/>
                <a:gd name="T30" fmla="*/ 150146 w 524"/>
                <a:gd name="T31" fmla="*/ 67838 h 505"/>
                <a:gd name="T32" fmla="*/ 144632 w 524"/>
                <a:gd name="T33" fmla="*/ 62098 h 505"/>
                <a:gd name="T34" fmla="*/ 133604 w 524"/>
                <a:gd name="T35" fmla="*/ 45399 h 505"/>
                <a:gd name="T36" fmla="*/ 123849 w 524"/>
                <a:gd name="T37" fmla="*/ 26613 h 505"/>
                <a:gd name="T38" fmla="*/ 118335 w 524"/>
                <a:gd name="T39" fmla="*/ 13046 h 505"/>
                <a:gd name="T40" fmla="*/ 110277 w 524"/>
                <a:gd name="T41" fmla="*/ 12524 h 505"/>
                <a:gd name="T42" fmla="*/ 101370 w 524"/>
                <a:gd name="T43" fmla="*/ 9915 h 505"/>
                <a:gd name="T44" fmla="*/ 92887 w 524"/>
                <a:gd name="T45" fmla="*/ 5740 h 505"/>
                <a:gd name="T46" fmla="*/ 83556 w 524"/>
                <a:gd name="T47" fmla="*/ 3131 h 505"/>
                <a:gd name="T48" fmla="*/ 72104 w 524"/>
                <a:gd name="T49" fmla="*/ 1565 h 505"/>
                <a:gd name="T50" fmla="*/ 63197 w 524"/>
                <a:gd name="T51" fmla="*/ 4175 h 505"/>
                <a:gd name="T52" fmla="*/ 48352 w 524"/>
                <a:gd name="T53" fmla="*/ 21395 h 505"/>
                <a:gd name="T54" fmla="*/ 41566 w 524"/>
                <a:gd name="T55" fmla="*/ 29744 h 505"/>
                <a:gd name="T56" fmla="*/ 39445 w 524"/>
                <a:gd name="T57" fmla="*/ 33397 h 505"/>
                <a:gd name="T58" fmla="*/ 39869 w 524"/>
                <a:gd name="T59" fmla="*/ 49052 h 505"/>
                <a:gd name="T60" fmla="*/ 40293 w 524"/>
                <a:gd name="T61" fmla="*/ 73056 h 505"/>
                <a:gd name="T62" fmla="*/ 39869 w 524"/>
                <a:gd name="T63" fmla="*/ 85580 h 505"/>
                <a:gd name="T64" fmla="*/ 36476 w 524"/>
                <a:gd name="T65" fmla="*/ 93930 h 505"/>
                <a:gd name="T66" fmla="*/ 28417 w 524"/>
                <a:gd name="T67" fmla="*/ 102801 h 505"/>
                <a:gd name="T68" fmla="*/ 16966 w 524"/>
                <a:gd name="T69" fmla="*/ 111672 h 505"/>
                <a:gd name="T70" fmla="*/ 5514 w 524"/>
                <a:gd name="T71" fmla="*/ 118978 h 505"/>
                <a:gd name="T72" fmla="*/ 848 w 524"/>
                <a:gd name="T73" fmla="*/ 128371 h 505"/>
                <a:gd name="T74" fmla="*/ 848 w 524"/>
                <a:gd name="T75" fmla="*/ 137764 h 505"/>
                <a:gd name="T76" fmla="*/ 0 w 524"/>
                <a:gd name="T77" fmla="*/ 145069 h 505"/>
                <a:gd name="T78" fmla="*/ 0 w 524"/>
                <a:gd name="T79" fmla="*/ 150809 h 505"/>
                <a:gd name="T80" fmla="*/ 2969 w 524"/>
                <a:gd name="T81" fmla="*/ 157071 h 505"/>
                <a:gd name="T82" fmla="*/ 11028 w 524"/>
                <a:gd name="T83" fmla="*/ 163855 h 505"/>
                <a:gd name="T84" fmla="*/ 26297 w 524"/>
                <a:gd name="T85" fmla="*/ 172726 h 505"/>
                <a:gd name="T86" fmla="*/ 50897 w 524"/>
                <a:gd name="T87" fmla="*/ 185250 h 505"/>
                <a:gd name="T88" fmla="*/ 76345 w 524"/>
                <a:gd name="T89" fmla="*/ 195165 h 505"/>
                <a:gd name="T90" fmla="*/ 90766 w 524"/>
                <a:gd name="T91" fmla="*/ 200905 h 505"/>
                <a:gd name="T92" fmla="*/ 100521 w 524"/>
                <a:gd name="T93" fmla="*/ 208733 h 505"/>
                <a:gd name="T94" fmla="*/ 106884 w 524"/>
                <a:gd name="T95" fmla="*/ 218126 h 505"/>
                <a:gd name="T96" fmla="*/ 111125 w 524"/>
                <a:gd name="T97" fmla="*/ 226997 h 505"/>
                <a:gd name="T98" fmla="*/ 112822 w 524"/>
                <a:gd name="T99" fmla="*/ 235346 h 505"/>
                <a:gd name="T100" fmla="*/ 114518 w 524"/>
                <a:gd name="T101" fmla="*/ 244739 h 505"/>
                <a:gd name="T102" fmla="*/ 117487 w 524"/>
                <a:gd name="T103" fmla="*/ 251001 h 505"/>
                <a:gd name="T104" fmla="*/ 121729 w 524"/>
                <a:gd name="T105" fmla="*/ 255176 h 505"/>
                <a:gd name="T106" fmla="*/ 130211 w 524"/>
                <a:gd name="T107" fmla="*/ 259350 h 505"/>
                <a:gd name="T108" fmla="*/ 139118 w 524"/>
                <a:gd name="T109" fmla="*/ 262481 h 505"/>
                <a:gd name="T110" fmla="*/ 142087 w 524"/>
                <a:gd name="T111" fmla="*/ 260916 h 505"/>
                <a:gd name="T112" fmla="*/ 146753 w 524"/>
                <a:gd name="T113" fmla="*/ 260394 h 505"/>
                <a:gd name="T114" fmla="*/ 155236 w 524"/>
                <a:gd name="T115" fmla="*/ 262481 h 505"/>
                <a:gd name="T116" fmla="*/ 162446 w 524"/>
                <a:gd name="T117" fmla="*/ 263525 h 505"/>
                <a:gd name="T118" fmla="*/ 185350 w 524"/>
                <a:gd name="T119" fmla="*/ 263525 h 505"/>
                <a:gd name="T120" fmla="*/ 197226 w 524"/>
                <a:gd name="T121" fmla="*/ 234302 h 505"/>
                <a:gd name="T122" fmla="*/ 208677 w 524"/>
                <a:gd name="T123" fmla="*/ 228040 h 50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524" h="505">
                  <a:moveTo>
                    <a:pt x="524" y="419"/>
                  </a:moveTo>
                  <a:lnTo>
                    <a:pt x="478" y="370"/>
                  </a:lnTo>
                  <a:lnTo>
                    <a:pt x="482" y="357"/>
                  </a:lnTo>
                  <a:lnTo>
                    <a:pt x="484" y="346"/>
                  </a:lnTo>
                  <a:lnTo>
                    <a:pt x="484" y="336"/>
                  </a:lnTo>
                  <a:lnTo>
                    <a:pt x="483" y="329"/>
                  </a:lnTo>
                  <a:lnTo>
                    <a:pt x="479" y="315"/>
                  </a:lnTo>
                  <a:lnTo>
                    <a:pt x="478" y="302"/>
                  </a:lnTo>
                  <a:lnTo>
                    <a:pt x="466" y="301"/>
                  </a:lnTo>
                  <a:lnTo>
                    <a:pt x="455" y="299"/>
                  </a:lnTo>
                  <a:lnTo>
                    <a:pt x="443" y="295"/>
                  </a:lnTo>
                  <a:lnTo>
                    <a:pt x="431" y="288"/>
                  </a:lnTo>
                  <a:lnTo>
                    <a:pt x="419" y="282"/>
                  </a:lnTo>
                  <a:lnTo>
                    <a:pt x="407" y="274"/>
                  </a:lnTo>
                  <a:lnTo>
                    <a:pt x="396" y="266"/>
                  </a:lnTo>
                  <a:lnTo>
                    <a:pt x="386" y="256"/>
                  </a:lnTo>
                  <a:lnTo>
                    <a:pt x="376" y="247"/>
                  </a:lnTo>
                  <a:lnTo>
                    <a:pt x="366" y="237"/>
                  </a:lnTo>
                  <a:lnTo>
                    <a:pt x="359" y="226"/>
                  </a:lnTo>
                  <a:lnTo>
                    <a:pt x="352" y="216"/>
                  </a:lnTo>
                  <a:lnTo>
                    <a:pt x="347" y="206"/>
                  </a:lnTo>
                  <a:lnTo>
                    <a:pt x="342" y="196"/>
                  </a:lnTo>
                  <a:lnTo>
                    <a:pt x="339" y="187"/>
                  </a:lnTo>
                  <a:lnTo>
                    <a:pt x="339" y="178"/>
                  </a:lnTo>
                  <a:lnTo>
                    <a:pt x="339" y="170"/>
                  </a:lnTo>
                  <a:lnTo>
                    <a:pt x="341" y="162"/>
                  </a:lnTo>
                  <a:lnTo>
                    <a:pt x="346" y="156"/>
                  </a:lnTo>
                  <a:lnTo>
                    <a:pt x="349" y="150"/>
                  </a:lnTo>
                  <a:lnTo>
                    <a:pt x="358" y="142"/>
                  </a:lnTo>
                  <a:lnTo>
                    <a:pt x="365" y="136"/>
                  </a:lnTo>
                  <a:lnTo>
                    <a:pt x="360" y="134"/>
                  </a:lnTo>
                  <a:lnTo>
                    <a:pt x="354" y="130"/>
                  </a:lnTo>
                  <a:lnTo>
                    <a:pt x="348" y="126"/>
                  </a:lnTo>
                  <a:lnTo>
                    <a:pt x="341" y="119"/>
                  </a:lnTo>
                  <a:lnTo>
                    <a:pt x="328" y="104"/>
                  </a:lnTo>
                  <a:lnTo>
                    <a:pt x="315" y="87"/>
                  </a:lnTo>
                  <a:lnTo>
                    <a:pt x="302" y="69"/>
                  </a:lnTo>
                  <a:lnTo>
                    <a:pt x="292" y="51"/>
                  </a:lnTo>
                  <a:lnTo>
                    <a:pt x="283" y="36"/>
                  </a:lnTo>
                  <a:lnTo>
                    <a:pt x="279" y="25"/>
                  </a:lnTo>
                  <a:lnTo>
                    <a:pt x="272" y="25"/>
                  </a:lnTo>
                  <a:lnTo>
                    <a:pt x="260" y="24"/>
                  </a:lnTo>
                  <a:lnTo>
                    <a:pt x="249" y="22"/>
                  </a:lnTo>
                  <a:lnTo>
                    <a:pt x="239" y="19"/>
                  </a:lnTo>
                  <a:lnTo>
                    <a:pt x="229" y="16"/>
                  </a:lnTo>
                  <a:lnTo>
                    <a:pt x="219" y="11"/>
                  </a:lnTo>
                  <a:lnTo>
                    <a:pt x="208" y="9"/>
                  </a:lnTo>
                  <a:lnTo>
                    <a:pt x="197" y="6"/>
                  </a:lnTo>
                  <a:lnTo>
                    <a:pt x="185" y="6"/>
                  </a:lnTo>
                  <a:lnTo>
                    <a:pt x="170" y="3"/>
                  </a:lnTo>
                  <a:lnTo>
                    <a:pt x="159" y="0"/>
                  </a:lnTo>
                  <a:lnTo>
                    <a:pt x="149" y="8"/>
                  </a:lnTo>
                  <a:lnTo>
                    <a:pt x="126" y="29"/>
                  </a:lnTo>
                  <a:lnTo>
                    <a:pt x="114" y="41"/>
                  </a:lnTo>
                  <a:lnTo>
                    <a:pt x="103" y="52"/>
                  </a:lnTo>
                  <a:lnTo>
                    <a:pt x="98" y="57"/>
                  </a:lnTo>
                  <a:lnTo>
                    <a:pt x="95" y="61"/>
                  </a:lnTo>
                  <a:lnTo>
                    <a:pt x="93" y="64"/>
                  </a:lnTo>
                  <a:lnTo>
                    <a:pt x="93" y="68"/>
                  </a:lnTo>
                  <a:lnTo>
                    <a:pt x="94" y="94"/>
                  </a:lnTo>
                  <a:lnTo>
                    <a:pt x="95" y="125"/>
                  </a:lnTo>
                  <a:lnTo>
                    <a:pt x="95" y="140"/>
                  </a:lnTo>
                  <a:lnTo>
                    <a:pt x="95" y="153"/>
                  </a:lnTo>
                  <a:lnTo>
                    <a:pt x="94" y="164"/>
                  </a:lnTo>
                  <a:lnTo>
                    <a:pt x="93" y="172"/>
                  </a:lnTo>
                  <a:lnTo>
                    <a:pt x="86" y="180"/>
                  </a:lnTo>
                  <a:lnTo>
                    <a:pt x="78" y="188"/>
                  </a:lnTo>
                  <a:lnTo>
                    <a:pt x="67" y="197"/>
                  </a:lnTo>
                  <a:lnTo>
                    <a:pt x="53" y="206"/>
                  </a:lnTo>
                  <a:lnTo>
                    <a:pt x="40" y="214"/>
                  </a:lnTo>
                  <a:lnTo>
                    <a:pt x="26" y="222"/>
                  </a:lnTo>
                  <a:lnTo>
                    <a:pt x="13" y="228"/>
                  </a:lnTo>
                  <a:lnTo>
                    <a:pt x="0" y="235"/>
                  </a:lnTo>
                  <a:lnTo>
                    <a:pt x="2" y="246"/>
                  </a:lnTo>
                  <a:lnTo>
                    <a:pt x="3" y="256"/>
                  </a:lnTo>
                  <a:lnTo>
                    <a:pt x="2" y="264"/>
                  </a:lnTo>
                  <a:lnTo>
                    <a:pt x="1" y="272"/>
                  </a:lnTo>
                  <a:lnTo>
                    <a:pt x="0" y="278"/>
                  </a:lnTo>
                  <a:lnTo>
                    <a:pt x="0" y="284"/>
                  </a:lnTo>
                  <a:lnTo>
                    <a:pt x="0" y="289"/>
                  </a:lnTo>
                  <a:lnTo>
                    <a:pt x="2" y="295"/>
                  </a:lnTo>
                  <a:lnTo>
                    <a:pt x="7" y="301"/>
                  </a:lnTo>
                  <a:lnTo>
                    <a:pt x="15" y="307"/>
                  </a:lnTo>
                  <a:lnTo>
                    <a:pt x="26" y="314"/>
                  </a:lnTo>
                  <a:lnTo>
                    <a:pt x="41" y="321"/>
                  </a:lnTo>
                  <a:lnTo>
                    <a:pt x="62" y="331"/>
                  </a:lnTo>
                  <a:lnTo>
                    <a:pt x="89" y="341"/>
                  </a:lnTo>
                  <a:lnTo>
                    <a:pt x="120" y="355"/>
                  </a:lnTo>
                  <a:lnTo>
                    <a:pt x="159" y="370"/>
                  </a:lnTo>
                  <a:lnTo>
                    <a:pt x="180" y="374"/>
                  </a:lnTo>
                  <a:lnTo>
                    <a:pt x="198" y="379"/>
                  </a:lnTo>
                  <a:lnTo>
                    <a:pt x="214" y="385"/>
                  </a:lnTo>
                  <a:lnTo>
                    <a:pt x="226" y="393"/>
                  </a:lnTo>
                  <a:lnTo>
                    <a:pt x="237" y="400"/>
                  </a:lnTo>
                  <a:lnTo>
                    <a:pt x="246" y="410"/>
                  </a:lnTo>
                  <a:lnTo>
                    <a:pt x="252" y="418"/>
                  </a:lnTo>
                  <a:lnTo>
                    <a:pt x="258" y="427"/>
                  </a:lnTo>
                  <a:lnTo>
                    <a:pt x="262" y="435"/>
                  </a:lnTo>
                  <a:lnTo>
                    <a:pt x="265" y="443"/>
                  </a:lnTo>
                  <a:lnTo>
                    <a:pt x="266" y="451"/>
                  </a:lnTo>
                  <a:lnTo>
                    <a:pt x="269" y="458"/>
                  </a:lnTo>
                  <a:lnTo>
                    <a:pt x="270" y="469"/>
                  </a:lnTo>
                  <a:lnTo>
                    <a:pt x="272" y="475"/>
                  </a:lnTo>
                  <a:lnTo>
                    <a:pt x="277" y="481"/>
                  </a:lnTo>
                  <a:lnTo>
                    <a:pt x="282" y="485"/>
                  </a:lnTo>
                  <a:lnTo>
                    <a:pt x="287" y="489"/>
                  </a:lnTo>
                  <a:lnTo>
                    <a:pt x="294" y="492"/>
                  </a:lnTo>
                  <a:lnTo>
                    <a:pt x="307" y="497"/>
                  </a:lnTo>
                  <a:lnTo>
                    <a:pt x="325" y="505"/>
                  </a:lnTo>
                  <a:lnTo>
                    <a:pt x="328" y="503"/>
                  </a:lnTo>
                  <a:lnTo>
                    <a:pt x="331" y="501"/>
                  </a:lnTo>
                  <a:lnTo>
                    <a:pt x="335" y="500"/>
                  </a:lnTo>
                  <a:lnTo>
                    <a:pt x="338" y="500"/>
                  </a:lnTo>
                  <a:lnTo>
                    <a:pt x="346" y="499"/>
                  </a:lnTo>
                  <a:lnTo>
                    <a:pt x="353" y="500"/>
                  </a:lnTo>
                  <a:lnTo>
                    <a:pt x="366" y="503"/>
                  </a:lnTo>
                  <a:lnTo>
                    <a:pt x="372" y="505"/>
                  </a:lnTo>
                  <a:lnTo>
                    <a:pt x="383" y="505"/>
                  </a:lnTo>
                  <a:lnTo>
                    <a:pt x="407" y="505"/>
                  </a:lnTo>
                  <a:lnTo>
                    <a:pt x="437" y="505"/>
                  </a:lnTo>
                  <a:lnTo>
                    <a:pt x="458" y="505"/>
                  </a:lnTo>
                  <a:lnTo>
                    <a:pt x="465" y="449"/>
                  </a:lnTo>
                  <a:lnTo>
                    <a:pt x="478" y="443"/>
                  </a:lnTo>
                  <a:lnTo>
                    <a:pt x="492" y="437"/>
                  </a:lnTo>
                  <a:lnTo>
                    <a:pt x="524" y="41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790" name="Freeform 260"/>
            <p:cNvSpPr>
              <a:spLocks/>
            </p:cNvSpPr>
            <p:nvPr>
              <p:custDataLst>
                <p:tags r:id="rId182"/>
              </p:custDataLst>
            </p:nvPr>
          </p:nvSpPr>
          <p:spPr bwMode="auto">
            <a:xfrm>
              <a:off x="7311994" y="2635672"/>
              <a:ext cx="395554" cy="348867"/>
            </a:xfrm>
            <a:custGeom>
              <a:avLst/>
              <a:gdLst>
                <a:gd name="T0" fmla="*/ 26925 w 764"/>
                <a:gd name="T1" fmla="*/ 102595 h 555"/>
                <a:gd name="T2" fmla="*/ 40388 w 764"/>
                <a:gd name="T3" fmla="*/ 99455 h 555"/>
                <a:gd name="T4" fmla="*/ 55588 w 764"/>
                <a:gd name="T5" fmla="*/ 95267 h 555"/>
                <a:gd name="T6" fmla="*/ 75999 w 764"/>
                <a:gd name="T7" fmla="*/ 79040 h 555"/>
                <a:gd name="T8" fmla="*/ 84250 w 764"/>
                <a:gd name="T9" fmla="*/ 65954 h 555"/>
                <a:gd name="T10" fmla="*/ 86421 w 764"/>
                <a:gd name="T11" fmla="*/ 46063 h 555"/>
                <a:gd name="T12" fmla="*/ 90330 w 764"/>
                <a:gd name="T13" fmla="*/ 36118 h 555"/>
                <a:gd name="T14" fmla="*/ 104227 w 764"/>
                <a:gd name="T15" fmla="*/ 31407 h 555"/>
                <a:gd name="T16" fmla="*/ 127678 w 764"/>
                <a:gd name="T17" fmla="*/ 32454 h 555"/>
                <a:gd name="T18" fmla="*/ 142877 w 764"/>
                <a:gd name="T19" fmla="*/ 37165 h 555"/>
                <a:gd name="T20" fmla="*/ 157208 w 764"/>
                <a:gd name="T21" fmla="*/ 47110 h 555"/>
                <a:gd name="T22" fmla="*/ 167631 w 764"/>
                <a:gd name="T23" fmla="*/ 48680 h 555"/>
                <a:gd name="T24" fmla="*/ 181962 w 764"/>
                <a:gd name="T25" fmla="*/ 43969 h 555"/>
                <a:gd name="T26" fmla="*/ 199768 w 764"/>
                <a:gd name="T27" fmla="*/ 31930 h 555"/>
                <a:gd name="T28" fmla="*/ 208019 w 764"/>
                <a:gd name="T29" fmla="*/ 17274 h 555"/>
                <a:gd name="T30" fmla="*/ 220613 w 764"/>
                <a:gd name="T31" fmla="*/ 2094 h 555"/>
                <a:gd name="T32" fmla="*/ 230167 w 764"/>
                <a:gd name="T33" fmla="*/ 9945 h 555"/>
                <a:gd name="T34" fmla="*/ 238853 w 764"/>
                <a:gd name="T35" fmla="*/ 23555 h 555"/>
                <a:gd name="T36" fmla="*/ 243630 w 764"/>
                <a:gd name="T37" fmla="*/ 45540 h 555"/>
                <a:gd name="T38" fmla="*/ 247538 w 764"/>
                <a:gd name="T39" fmla="*/ 52868 h 555"/>
                <a:gd name="T40" fmla="*/ 255789 w 764"/>
                <a:gd name="T41" fmla="*/ 54438 h 555"/>
                <a:gd name="T42" fmla="*/ 270121 w 764"/>
                <a:gd name="T43" fmla="*/ 38211 h 555"/>
                <a:gd name="T44" fmla="*/ 322668 w 764"/>
                <a:gd name="T45" fmla="*/ 34547 h 555"/>
                <a:gd name="T46" fmla="*/ 329617 w 764"/>
                <a:gd name="T47" fmla="*/ 45540 h 555"/>
                <a:gd name="T48" fmla="*/ 294874 w 764"/>
                <a:gd name="T49" fmla="*/ 52345 h 555"/>
                <a:gd name="T50" fmla="*/ 262738 w 764"/>
                <a:gd name="T51" fmla="*/ 58626 h 555"/>
                <a:gd name="T52" fmla="*/ 249275 w 764"/>
                <a:gd name="T53" fmla="*/ 68048 h 555"/>
                <a:gd name="T54" fmla="*/ 247972 w 764"/>
                <a:gd name="T55" fmla="*/ 76946 h 555"/>
                <a:gd name="T56" fmla="*/ 252749 w 764"/>
                <a:gd name="T57" fmla="*/ 85845 h 555"/>
                <a:gd name="T58" fmla="*/ 261001 w 764"/>
                <a:gd name="T59" fmla="*/ 94220 h 555"/>
                <a:gd name="T60" fmla="*/ 262304 w 764"/>
                <a:gd name="T61" fmla="*/ 102072 h 555"/>
                <a:gd name="T62" fmla="*/ 257961 w 764"/>
                <a:gd name="T63" fmla="*/ 111494 h 555"/>
                <a:gd name="T64" fmla="*/ 249275 w 764"/>
                <a:gd name="T65" fmla="*/ 124056 h 555"/>
                <a:gd name="T66" fmla="*/ 245367 w 764"/>
                <a:gd name="T67" fmla="*/ 133478 h 555"/>
                <a:gd name="T68" fmla="*/ 235378 w 764"/>
                <a:gd name="T69" fmla="*/ 140807 h 555"/>
                <a:gd name="T70" fmla="*/ 225390 w 764"/>
                <a:gd name="T71" fmla="*/ 162268 h 555"/>
                <a:gd name="T72" fmla="*/ 220613 w 764"/>
                <a:gd name="T73" fmla="*/ 190011 h 555"/>
                <a:gd name="T74" fmla="*/ 215836 w 764"/>
                <a:gd name="T75" fmla="*/ 222464 h 555"/>
                <a:gd name="T76" fmla="*/ 207150 w 764"/>
                <a:gd name="T77" fmla="*/ 215659 h 555"/>
                <a:gd name="T78" fmla="*/ 199768 w 764"/>
                <a:gd name="T79" fmla="*/ 213042 h 555"/>
                <a:gd name="T80" fmla="*/ 190648 w 764"/>
                <a:gd name="T81" fmla="*/ 218800 h 555"/>
                <a:gd name="T82" fmla="*/ 178488 w 764"/>
                <a:gd name="T83" fmla="*/ 230316 h 555"/>
                <a:gd name="T84" fmla="*/ 170671 w 764"/>
                <a:gd name="T85" fmla="*/ 232410 h 555"/>
                <a:gd name="T86" fmla="*/ 162854 w 764"/>
                <a:gd name="T87" fmla="*/ 242355 h 555"/>
                <a:gd name="T88" fmla="*/ 158511 w 764"/>
                <a:gd name="T89" fmla="*/ 267480 h 555"/>
                <a:gd name="T90" fmla="*/ 151997 w 764"/>
                <a:gd name="T91" fmla="*/ 274809 h 555"/>
                <a:gd name="T92" fmla="*/ 117255 w 764"/>
                <a:gd name="T93" fmla="*/ 285801 h 555"/>
                <a:gd name="T94" fmla="*/ 84250 w 764"/>
                <a:gd name="T95" fmla="*/ 289989 h 555"/>
                <a:gd name="T96" fmla="*/ 49073 w 764"/>
                <a:gd name="T97" fmla="*/ 283707 h 555"/>
                <a:gd name="T98" fmla="*/ 41256 w 764"/>
                <a:gd name="T99" fmla="*/ 271145 h 555"/>
                <a:gd name="T100" fmla="*/ 49942 w 764"/>
                <a:gd name="T101" fmla="*/ 255441 h 555"/>
                <a:gd name="T102" fmla="*/ 54285 w 764"/>
                <a:gd name="T103" fmla="*/ 241832 h 555"/>
                <a:gd name="T104" fmla="*/ 53416 w 764"/>
                <a:gd name="T105" fmla="*/ 231363 h 555"/>
                <a:gd name="T106" fmla="*/ 48205 w 764"/>
                <a:gd name="T107" fmla="*/ 226652 h 555"/>
                <a:gd name="T108" fmla="*/ 29965 w 764"/>
                <a:gd name="T109" fmla="*/ 225605 h 555"/>
                <a:gd name="T110" fmla="*/ 22582 w 764"/>
                <a:gd name="T111" fmla="*/ 220370 h 555"/>
                <a:gd name="T112" fmla="*/ 14765 w 764"/>
                <a:gd name="T113" fmla="*/ 201003 h 555"/>
                <a:gd name="T114" fmla="*/ 8251 w 764"/>
                <a:gd name="T115" fmla="*/ 161745 h 555"/>
                <a:gd name="T116" fmla="*/ 4343 w 764"/>
                <a:gd name="T117" fmla="*/ 152323 h 555"/>
                <a:gd name="T118" fmla="*/ 0 w 764"/>
                <a:gd name="T119" fmla="*/ 146565 h 555"/>
                <a:gd name="T120" fmla="*/ 869 w 764"/>
                <a:gd name="T121" fmla="*/ 140283 h 555"/>
                <a:gd name="T122" fmla="*/ 9554 w 764"/>
                <a:gd name="T123" fmla="*/ 129814 h 555"/>
                <a:gd name="T124" fmla="*/ 14765 w 764"/>
                <a:gd name="T125" fmla="*/ 115681 h 55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764" h="555">
                  <a:moveTo>
                    <a:pt x="39" y="191"/>
                  </a:moveTo>
                  <a:lnTo>
                    <a:pt x="48" y="194"/>
                  </a:lnTo>
                  <a:lnTo>
                    <a:pt x="56" y="196"/>
                  </a:lnTo>
                  <a:lnTo>
                    <a:pt x="62" y="196"/>
                  </a:lnTo>
                  <a:lnTo>
                    <a:pt x="68" y="195"/>
                  </a:lnTo>
                  <a:lnTo>
                    <a:pt x="77" y="192"/>
                  </a:lnTo>
                  <a:lnTo>
                    <a:pt x="85" y="191"/>
                  </a:lnTo>
                  <a:lnTo>
                    <a:pt x="93" y="190"/>
                  </a:lnTo>
                  <a:lnTo>
                    <a:pt x="101" y="190"/>
                  </a:lnTo>
                  <a:lnTo>
                    <a:pt x="107" y="188"/>
                  </a:lnTo>
                  <a:lnTo>
                    <a:pt x="114" y="186"/>
                  </a:lnTo>
                  <a:lnTo>
                    <a:pt x="128" y="182"/>
                  </a:lnTo>
                  <a:lnTo>
                    <a:pt x="140" y="175"/>
                  </a:lnTo>
                  <a:lnTo>
                    <a:pt x="152" y="168"/>
                  </a:lnTo>
                  <a:lnTo>
                    <a:pt x="164" y="160"/>
                  </a:lnTo>
                  <a:lnTo>
                    <a:pt x="175" y="151"/>
                  </a:lnTo>
                  <a:lnTo>
                    <a:pt x="185" y="142"/>
                  </a:lnTo>
                  <a:lnTo>
                    <a:pt x="189" y="136"/>
                  </a:lnTo>
                  <a:lnTo>
                    <a:pt x="192" y="131"/>
                  </a:lnTo>
                  <a:lnTo>
                    <a:pt x="194" y="126"/>
                  </a:lnTo>
                  <a:lnTo>
                    <a:pt x="195" y="120"/>
                  </a:lnTo>
                  <a:lnTo>
                    <a:pt x="197" y="109"/>
                  </a:lnTo>
                  <a:lnTo>
                    <a:pt x="198" y="98"/>
                  </a:lnTo>
                  <a:lnTo>
                    <a:pt x="199" y="88"/>
                  </a:lnTo>
                  <a:lnTo>
                    <a:pt x="202" y="78"/>
                  </a:lnTo>
                  <a:lnTo>
                    <a:pt x="204" y="74"/>
                  </a:lnTo>
                  <a:lnTo>
                    <a:pt x="206" y="71"/>
                  </a:lnTo>
                  <a:lnTo>
                    <a:pt x="208" y="69"/>
                  </a:lnTo>
                  <a:lnTo>
                    <a:pt x="212" y="68"/>
                  </a:lnTo>
                  <a:lnTo>
                    <a:pt x="221" y="64"/>
                  </a:lnTo>
                  <a:lnTo>
                    <a:pt x="231" y="62"/>
                  </a:lnTo>
                  <a:lnTo>
                    <a:pt x="240" y="60"/>
                  </a:lnTo>
                  <a:lnTo>
                    <a:pt x="249" y="60"/>
                  </a:lnTo>
                  <a:lnTo>
                    <a:pt x="266" y="61"/>
                  </a:lnTo>
                  <a:lnTo>
                    <a:pt x="285" y="61"/>
                  </a:lnTo>
                  <a:lnTo>
                    <a:pt x="294" y="62"/>
                  </a:lnTo>
                  <a:lnTo>
                    <a:pt x="303" y="63"/>
                  </a:lnTo>
                  <a:lnTo>
                    <a:pt x="310" y="64"/>
                  </a:lnTo>
                  <a:lnTo>
                    <a:pt x="317" y="66"/>
                  </a:lnTo>
                  <a:lnTo>
                    <a:pt x="329" y="71"/>
                  </a:lnTo>
                  <a:lnTo>
                    <a:pt x="339" y="77"/>
                  </a:lnTo>
                  <a:lnTo>
                    <a:pt x="348" y="82"/>
                  </a:lnTo>
                  <a:lnTo>
                    <a:pt x="357" y="88"/>
                  </a:lnTo>
                  <a:lnTo>
                    <a:pt x="362" y="90"/>
                  </a:lnTo>
                  <a:lnTo>
                    <a:pt x="366" y="91"/>
                  </a:lnTo>
                  <a:lnTo>
                    <a:pt x="372" y="92"/>
                  </a:lnTo>
                  <a:lnTo>
                    <a:pt x="378" y="93"/>
                  </a:lnTo>
                  <a:lnTo>
                    <a:pt x="386" y="93"/>
                  </a:lnTo>
                  <a:lnTo>
                    <a:pt x="394" y="92"/>
                  </a:lnTo>
                  <a:lnTo>
                    <a:pt x="402" y="90"/>
                  </a:lnTo>
                  <a:lnTo>
                    <a:pt x="407" y="89"/>
                  </a:lnTo>
                  <a:lnTo>
                    <a:pt x="419" y="84"/>
                  </a:lnTo>
                  <a:lnTo>
                    <a:pt x="429" y="78"/>
                  </a:lnTo>
                  <a:lnTo>
                    <a:pt x="439" y="72"/>
                  </a:lnTo>
                  <a:lnTo>
                    <a:pt x="449" y="66"/>
                  </a:lnTo>
                  <a:lnTo>
                    <a:pt x="460" y="61"/>
                  </a:lnTo>
                  <a:lnTo>
                    <a:pt x="471" y="55"/>
                  </a:lnTo>
                  <a:lnTo>
                    <a:pt x="472" y="48"/>
                  </a:lnTo>
                  <a:lnTo>
                    <a:pt x="475" y="41"/>
                  </a:lnTo>
                  <a:lnTo>
                    <a:pt x="479" y="33"/>
                  </a:lnTo>
                  <a:lnTo>
                    <a:pt x="485" y="25"/>
                  </a:lnTo>
                  <a:lnTo>
                    <a:pt x="496" y="11"/>
                  </a:lnTo>
                  <a:lnTo>
                    <a:pt x="505" y="0"/>
                  </a:lnTo>
                  <a:lnTo>
                    <a:pt x="508" y="4"/>
                  </a:lnTo>
                  <a:lnTo>
                    <a:pt x="512" y="8"/>
                  </a:lnTo>
                  <a:lnTo>
                    <a:pt x="518" y="12"/>
                  </a:lnTo>
                  <a:lnTo>
                    <a:pt x="525" y="15"/>
                  </a:lnTo>
                  <a:lnTo>
                    <a:pt x="530" y="19"/>
                  </a:lnTo>
                  <a:lnTo>
                    <a:pt x="537" y="22"/>
                  </a:lnTo>
                  <a:lnTo>
                    <a:pt x="541" y="26"/>
                  </a:lnTo>
                  <a:lnTo>
                    <a:pt x="544" y="31"/>
                  </a:lnTo>
                  <a:lnTo>
                    <a:pt x="550" y="45"/>
                  </a:lnTo>
                  <a:lnTo>
                    <a:pt x="554" y="58"/>
                  </a:lnTo>
                  <a:lnTo>
                    <a:pt x="556" y="70"/>
                  </a:lnTo>
                  <a:lnTo>
                    <a:pt x="559" y="81"/>
                  </a:lnTo>
                  <a:lnTo>
                    <a:pt x="561" y="87"/>
                  </a:lnTo>
                  <a:lnTo>
                    <a:pt x="562" y="91"/>
                  </a:lnTo>
                  <a:lnTo>
                    <a:pt x="564" y="95"/>
                  </a:lnTo>
                  <a:lnTo>
                    <a:pt x="566" y="99"/>
                  </a:lnTo>
                  <a:lnTo>
                    <a:pt x="570" y="101"/>
                  </a:lnTo>
                  <a:lnTo>
                    <a:pt x="574" y="103"/>
                  </a:lnTo>
                  <a:lnTo>
                    <a:pt x="578" y="104"/>
                  </a:lnTo>
                  <a:lnTo>
                    <a:pt x="584" y="105"/>
                  </a:lnTo>
                  <a:lnTo>
                    <a:pt x="589" y="104"/>
                  </a:lnTo>
                  <a:lnTo>
                    <a:pt x="596" y="100"/>
                  </a:lnTo>
                  <a:lnTo>
                    <a:pt x="602" y="95"/>
                  </a:lnTo>
                  <a:lnTo>
                    <a:pt x="610" y="88"/>
                  </a:lnTo>
                  <a:lnTo>
                    <a:pt x="622" y="73"/>
                  </a:lnTo>
                  <a:lnTo>
                    <a:pt x="631" y="61"/>
                  </a:lnTo>
                  <a:lnTo>
                    <a:pt x="723" y="61"/>
                  </a:lnTo>
                  <a:lnTo>
                    <a:pt x="736" y="61"/>
                  </a:lnTo>
                  <a:lnTo>
                    <a:pt x="743" y="66"/>
                  </a:lnTo>
                  <a:lnTo>
                    <a:pt x="748" y="70"/>
                  </a:lnTo>
                  <a:lnTo>
                    <a:pt x="752" y="75"/>
                  </a:lnTo>
                  <a:lnTo>
                    <a:pt x="755" y="79"/>
                  </a:lnTo>
                  <a:lnTo>
                    <a:pt x="759" y="87"/>
                  </a:lnTo>
                  <a:lnTo>
                    <a:pt x="764" y="93"/>
                  </a:lnTo>
                  <a:lnTo>
                    <a:pt x="740" y="95"/>
                  </a:lnTo>
                  <a:lnTo>
                    <a:pt x="711" y="97"/>
                  </a:lnTo>
                  <a:lnTo>
                    <a:pt x="679" y="100"/>
                  </a:lnTo>
                  <a:lnTo>
                    <a:pt x="647" y="103"/>
                  </a:lnTo>
                  <a:lnTo>
                    <a:pt x="632" y="106"/>
                  </a:lnTo>
                  <a:lnTo>
                    <a:pt x="618" y="109"/>
                  </a:lnTo>
                  <a:lnTo>
                    <a:pt x="605" y="112"/>
                  </a:lnTo>
                  <a:lnTo>
                    <a:pt x="594" y="117"/>
                  </a:lnTo>
                  <a:lnTo>
                    <a:pt x="584" y="122"/>
                  </a:lnTo>
                  <a:lnTo>
                    <a:pt x="577" y="127"/>
                  </a:lnTo>
                  <a:lnTo>
                    <a:pt x="574" y="130"/>
                  </a:lnTo>
                  <a:lnTo>
                    <a:pt x="572" y="134"/>
                  </a:lnTo>
                  <a:lnTo>
                    <a:pt x="571" y="137"/>
                  </a:lnTo>
                  <a:lnTo>
                    <a:pt x="571" y="142"/>
                  </a:lnTo>
                  <a:lnTo>
                    <a:pt x="571" y="147"/>
                  </a:lnTo>
                  <a:lnTo>
                    <a:pt x="572" y="152"/>
                  </a:lnTo>
                  <a:lnTo>
                    <a:pt x="574" y="156"/>
                  </a:lnTo>
                  <a:lnTo>
                    <a:pt x="576" y="159"/>
                  </a:lnTo>
                  <a:lnTo>
                    <a:pt x="582" y="164"/>
                  </a:lnTo>
                  <a:lnTo>
                    <a:pt x="587" y="169"/>
                  </a:lnTo>
                  <a:lnTo>
                    <a:pt x="594" y="173"/>
                  </a:lnTo>
                  <a:lnTo>
                    <a:pt x="599" y="177"/>
                  </a:lnTo>
                  <a:lnTo>
                    <a:pt x="601" y="180"/>
                  </a:lnTo>
                  <a:lnTo>
                    <a:pt x="602" y="183"/>
                  </a:lnTo>
                  <a:lnTo>
                    <a:pt x="604" y="186"/>
                  </a:lnTo>
                  <a:lnTo>
                    <a:pt x="604" y="191"/>
                  </a:lnTo>
                  <a:lnTo>
                    <a:pt x="604" y="195"/>
                  </a:lnTo>
                  <a:lnTo>
                    <a:pt x="602" y="200"/>
                  </a:lnTo>
                  <a:lnTo>
                    <a:pt x="601" y="204"/>
                  </a:lnTo>
                  <a:lnTo>
                    <a:pt x="599" y="207"/>
                  </a:lnTo>
                  <a:lnTo>
                    <a:pt x="594" y="213"/>
                  </a:lnTo>
                  <a:lnTo>
                    <a:pt x="587" y="220"/>
                  </a:lnTo>
                  <a:lnTo>
                    <a:pt x="582" y="226"/>
                  </a:lnTo>
                  <a:lnTo>
                    <a:pt x="576" y="233"/>
                  </a:lnTo>
                  <a:lnTo>
                    <a:pt x="574" y="237"/>
                  </a:lnTo>
                  <a:lnTo>
                    <a:pt x="572" y="242"/>
                  </a:lnTo>
                  <a:lnTo>
                    <a:pt x="571" y="247"/>
                  </a:lnTo>
                  <a:lnTo>
                    <a:pt x="571" y="252"/>
                  </a:lnTo>
                  <a:lnTo>
                    <a:pt x="565" y="255"/>
                  </a:lnTo>
                  <a:lnTo>
                    <a:pt x="560" y="256"/>
                  </a:lnTo>
                  <a:lnTo>
                    <a:pt x="555" y="259"/>
                  </a:lnTo>
                  <a:lnTo>
                    <a:pt x="551" y="262"/>
                  </a:lnTo>
                  <a:lnTo>
                    <a:pt x="542" y="269"/>
                  </a:lnTo>
                  <a:lnTo>
                    <a:pt x="535" y="277"/>
                  </a:lnTo>
                  <a:lnTo>
                    <a:pt x="529" y="287"/>
                  </a:lnTo>
                  <a:lnTo>
                    <a:pt x="523" y="298"/>
                  </a:lnTo>
                  <a:lnTo>
                    <a:pt x="519" y="310"/>
                  </a:lnTo>
                  <a:lnTo>
                    <a:pt x="515" y="323"/>
                  </a:lnTo>
                  <a:lnTo>
                    <a:pt x="512" y="336"/>
                  </a:lnTo>
                  <a:lnTo>
                    <a:pt x="509" y="349"/>
                  </a:lnTo>
                  <a:lnTo>
                    <a:pt x="508" y="363"/>
                  </a:lnTo>
                  <a:lnTo>
                    <a:pt x="506" y="377"/>
                  </a:lnTo>
                  <a:lnTo>
                    <a:pt x="505" y="402"/>
                  </a:lnTo>
                  <a:lnTo>
                    <a:pt x="505" y="425"/>
                  </a:lnTo>
                  <a:lnTo>
                    <a:pt x="497" y="425"/>
                  </a:lnTo>
                  <a:lnTo>
                    <a:pt x="492" y="423"/>
                  </a:lnTo>
                  <a:lnTo>
                    <a:pt x="486" y="420"/>
                  </a:lnTo>
                  <a:lnTo>
                    <a:pt x="482" y="415"/>
                  </a:lnTo>
                  <a:lnTo>
                    <a:pt x="477" y="412"/>
                  </a:lnTo>
                  <a:lnTo>
                    <a:pt x="473" y="409"/>
                  </a:lnTo>
                  <a:lnTo>
                    <a:pt x="470" y="407"/>
                  </a:lnTo>
                  <a:lnTo>
                    <a:pt x="464" y="406"/>
                  </a:lnTo>
                  <a:lnTo>
                    <a:pt x="460" y="407"/>
                  </a:lnTo>
                  <a:lnTo>
                    <a:pt x="455" y="408"/>
                  </a:lnTo>
                  <a:lnTo>
                    <a:pt x="451" y="410"/>
                  </a:lnTo>
                  <a:lnTo>
                    <a:pt x="447" y="412"/>
                  </a:lnTo>
                  <a:lnTo>
                    <a:pt x="439" y="418"/>
                  </a:lnTo>
                  <a:lnTo>
                    <a:pt x="431" y="425"/>
                  </a:lnTo>
                  <a:lnTo>
                    <a:pt x="423" y="432"/>
                  </a:lnTo>
                  <a:lnTo>
                    <a:pt x="416" y="438"/>
                  </a:lnTo>
                  <a:lnTo>
                    <a:pt x="411" y="440"/>
                  </a:lnTo>
                  <a:lnTo>
                    <a:pt x="407" y="442"/>
                  </a:lnTo>
                  <a:lnTo>
                    <a:pt x="403" y="443"/>
                  </a:lnTo>
                  <a:lnTo>
                    <a:pt x="398" y="444"/>
                  </a:lnTo>
                  <a:lnTo>
                    <a:pt x="393" y="444"/>
                  </a:lnTo>
                  <a:lnTo>
                    <a:pt x="388" y="446"/>
                  </a:lnTo>
                  <a:lnTo>
                    <a:pt x="385" y="449"/>
                  </a:lnTo>
                  <a:lnTo>
                    <a:pt x="382" y="453"/>
                  </a:lnTo>
                  <a:lnTo>
                    <a:pt x="375" y="463"/>
                  </a:lnTo>
                  <a:lnTo>
                    <a:pt x="372" y="476"/>
                  </a:lnTo>
                  <a:lnTo>
                    <a:pt x="369" y="489"/>
                  </a:lnTo>
                  <a:lnTo>
                    <a:pt x="366" y="501"/>
                  </a:lnTo>
                  <a:lnTo>
                    <a:pt x="365" y="511"/>
                  </a:lnTo>
                  <a:lnTo>
                    <a:pt x="365" y="517"/>
                  </a:lnTo>
                  <a:lnTo>
                    <a:pt x="362" y="520"/>
                  </a:lnTo>
                  <a:lnTo>
                    <a:pt x="358" y="522"/>
                  </a:lnTo>
                  <a:lnTo>
                    <a:pt x="350" y="525"/>
                  </a:lnTo>
                  <a:lnTo>
                    <a:pt x="342" y="528"/>
                  </a:lnTo>
                  <a:lnTo>
                    <a:pt x="320" y="535"/>
                  </a:lnTo>
                  <a:lnTo>
                    <a:pt x="296" y="541"/>
                  </a:lnTo>
                  <a:lnTo>
                    <a:pt x="270" y="546"/>
                  </a:lnTo>
                  <a:lnTo>
                    <a:pt x="246" y="551"/>
                  </a:lnTo>
                  <a:lnTo>
                    <a:pt x="226" y="554"/>
                  </a:lnTo>
                  <a:lnTo>
                    <a:pt x="212" y="555"/>
                  </a:lnTo>
                  <a:lnTo>
                    <a:pt x="194" y="554"/>
                  </a:lnTo>
                  <a:lnTo>
                    <a:pt x="176" y="553"/>
                  </a:lnTo>
                  <a:lnTo>
                    <a:pt x="159" y="550"/>
                  </a:lnTo>
                  <a:lnTo>
                    <a:pt x="142" y="548"/>
                  </a:lnTo>
                  <a:lnTo>
                    <a:pt x="113" y="542"/>
                  </a:lnTo>
                  <a:lnTo>
                    <a:pt x="92" y="536"/>
                  </a:lnTo>
                  <a:lnTo>
                    <a:pt x="93" y="529"/>
                  </a:lnTo>
                  <a:lnTo>
                    <a:pt x="94" y="523"/>
                  </a:lnTo>
                  <a:lnTo>
                    <a:pt x="95" y="518"/>
                  </a:lnTo>
                  <a:lnTo>
                    <a:pt x="97" y="513"/>
                  </a:lnTo>
                  <a:lnTo>
                    <a:pt x="103" y="504"/>
                  </a:lnTo>
                  <a:lnTo>
                    <a:pt x="109" y="496"/>
                  </a:lnTo>
                  <a:lnTo>
                    <a:pt x="115" y="488"/>
                  </a:lnTo>
                  <a:lnTo>
                    <a:pt x="120" y="479"/>
                  </a:lnTo>
                  <a:lnTo>
                    <a:pt x="123" y="473"/>
                  </a:lnTo>
                  <a:lnTo>
                    <a:pt x="124" y="468"/>
                  </a:lnTo>
                  <a:lnTo>
                    <a:pt x="125" y="462"/>
                  </a:lnTo>
                  <a:lnTo>
                    <a:pt x="126" y="456"/>
                  </a:lnTo>
                  <a:lnTo>
                    <a:pt x="125" y="451"/>
                  </a:lnTo>
                  <a:lnTo>
                    <a:pt x="124" y="446"/>
                  </a:lnTo>
                  <a:lnTo>
                    <a:pt x="123" y="442"/>
                  </a:lnTo>
                  <a:lnTo>
                    <a:pt x="120" y="439"/>
                  </a:lnTo>
                  <a:lnTo>
                    <a:pt x="117" y="437"/>
                  </a:lnTo>
                  <a:lnTo>
                    <a:pt x="114" y="435"/>
                  </a:lnTo>
                  <a:lnTo>
                    <a:pt x="111" y="433"/>
                  </a:lnTo>
                  <a:lnTo>
                    <a:pt x="106" y="432"/>
                  </a:lnTo>
                  <a:lnTo>
                    <a:pt x="89" y="431"/>
                  </a:lnTo>
                  <a:lnTo>
                    <a:pt x="72" y="432"/>
                  </a:lnTo>
                  <a:lnTo>
                    <a:pt x="69" y="431"/>
                  </a:lnTo>
                  <a:lnTo>
                    <a:pt x="66" y="430"/>
                  </a:lnTo>
                  <a:lnTo>
                    <a:pt x="62" y="429"/>
                  </a:lnTo>
                  <a:lnTo>
                    <a:pt x="59" y="427"/>
                  </a:lnTo>
                  <a:lnTo>
                    <a:pt x="52" y="421"/>
                  </a:lnTo>
                  <a:lnTo>
                    <a:pt x="47" y="413"/>
                  </a:lnTo>
                  <a:lnTo>
                    <a:pt x="42" y="405"/>
                  </a:lnTo>
                  <a:lnTo>
                    <a:pt x="38" y="395"/>
                  </a:lnTo>
                  <a:lnTo>
                    <a:pt x="34" y="384"/>
                  </a:lnTo>
                  <a:lnTo>
                    <a:pt x="30" y="373"/>
                  </a:lnTo>
                  <a:lnTo>
                    <a:pt x="26" y="349"/>
                  </a:lnTo>
                  <a:lnTo>
                    <a:pt x="22" y="327"/>
                  </a:lnTo>
                  <a:lnTo>
                    <a:pt x="19" y="309"/>
                  </a:lnTo>
                  <a:lnTo>
                    <a:pt x="19" y="295"/>
                  </a:lnTo>
                  <a:lnTo>
                    <a:pt x="16" y="295"/>
                  </a:lnTo>
                  <a:lnTo>
                    <a:pt x="13" y="293"/>
                  </a:lnTo>
                  <a:lnTo>
                    <a:pt x="10" y="291"/>
                  </a:lnTo>
                  <a:lnTo>
                    <a:pt x="7" y="289"/>
                  </a:lnTo>
                  <a:lnTo>
                    <a:pt x="4" y="286"/>
                  </a:lnTo>
                  <a:lnTo>
                    <a:pt x="2" y="283"/>
                  </a:lnTo>
                  <a:lnTo>
                    <a:pt x="0" y="280"/>
                  </a:lnTo>
                  <a:lnTo>
                    <a:pt x="0" y="277"/>
                  </a:lnTo>
                  <a:lnTo>
                    <a:pt x="0" y="274"/>
                  </a:lnTo>
                  <a:lnTo>
                    <a:pt x="1" y="271"/>
                  </a:lnTo>
                  <a:lnTo>
                    <a:pt x="2" y="268"/>
                  </a:lnTo>
                  <a:lnTo>
                    <a:pt x="4" y="265"/>
                  </a:lnTo>
                  <a:lnTo>
                    <a:pt x="10" y="259"/>
                  </a:lnTo>
                  <a:lnTo>
                    <a:pt x="16" y="254"/>
                  </a:lnTo>
                  <a:lnTo>
                    <a:pt x="22" y="248"/>
                  </a:lnTo>
                  <a:lnTo>
                    <a:pt x="27" y="243"/>
                  </a:lnTo>
                  <a:lnTo>
                    <a:pt x="31" y="238"/>
                  </a:lnTo>
                  <a:lnTo>
                    <a:pt x="33" y="234"/>
                  </a:lnTo>
                  <a:lnTo>
                    <a:pt x="34" y="221"/>
                  </a:lnTo>
                  <a:lnTo>
                    <a:pt x="36" y="213"/>
                  </a:lnTo>
                  <a:lnTo>
                    <a:pt x="38" y="205"/>
                  </a:lnTo>
                  <a:lnTo>
                    <a:pt x="39" y="19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791" name="Freeform 261"/>
            <p:cNvSpPr>
              <a:spLocks/>
            </p:cNvSpPr>
            <p:nvPr>
              <p:custDataLst>
                <p:tags r:id="rId183"/>
              </p:custDataLst>
            </p:nvPr>
          </p:nvSpPr>
          <p:spPr bwMode="auto">
            <a:xfrm>
              <a:off x="7349847" y="2694771"/>
              <a:ext cx="435298" cy="509004"/>
            </a:xfrm>
            <a:custGeom>
              <a:avLst/>
              <a:gdLst>
                <a:gd name="T0" fmla="*/ 342277 w 831"/>
                <a:gd name="T1" fmla="*/ 42804 h 812"/>
                <a:gd name="T2" fmla="*/ 310642 w 831"/>
                <a:gd name="T3" fmla="*/ 15138 h 812"/>
                <a:gd name="T4" fmla="*/ 246932 w 831"/>
                <a:gd name="T5" fmla="*/ 5220 h 812"/>
                <a:gd name="T6" fmla="*/ 219251 w 831"/>
                <a:gd name="T7" fmla="*/ 15138 h 812"/>
                <a:gd name="T8" fmla="*/ 213539 w 831"/>
                <a:gd name="T9" fmla="*/ 25578 h 812"/>
                <a:gd name="T10" fmla="*/ 218372 w 831"/>
                <a:gd name="T11" fmla="*/ 37062 h 812"/>
                <a:gd name="T12" fmla="*/ 227160 w 831"/>
                <a:gd name="T13" fmla="*/ 46980 h 812"/>
                <a:gd name="T14" fmla="*/ 226720 w 831"/>
                <a:gd name="T15" fmla="*/ 57942 h 812"/>
                <a:gd name="T16" fmla="*/ 215736 w 831"/>
                <a:gd name="T17" fmla="*/ 73080 h 812"/>
                <a:gd name="T18" fmla="*/ 210903 w 831"/>
                <a:gd name="T19" fmla="*/ 84564 h 812"/>
                <a:gd name="T20" fmla="*/ 197721 w 831"/>
                <a:gd name="T21" fmla="*/ 96048 h 812"/>
                <a:gd name="T22" fmla="*/ 187615 w 831"/>
                <a:gd name="T23" fmla="*/ 126846 h 812"/>
                <a:gd name="T24" fmla="*/ 184540 w 831"/>
                <a:gd name="T25" fmla="*/ 173304 h 812"/>
                <a:gd name="T26" fmla="*/ 172237 w 831"/>
                <a:gd name="T27" fmla="*/ 166518 h 812"/>
                <a:gd name="T28" fmla="*/ 162571 w 831"/>
                <a:gd name="T29" fmla="*/ 164430 h 812"/>
                <a:gd name="T30" fmla="*/ 148511 w 831"/>
                <a:gd name="T31" fmla="*/ 176958 h 812"/>
                <a:gd name="T32" fmla="*/ 137526 w 831"/>
                <a:gd name="T33" fmla="*/ 183222 h 812"/>
                <a:gd name="T34" fmla="*/ 127420 w 831"/>
                <a:gd name="T35" fmla="*/ 193140 h 812"/>
                <a:gd name="T36" fmla="*/ 123026 w 831"/>
                <a:gd name="T37" fmla="*/ 221327 h 812"/>
                <a:gd name="T38" fmla="*/ 103254 w 831"/>
                <a:gd name="T39" fmla="*/ 230723 h 812"/>
                <a:gd name="T40" fmla="*/ 55801 w 831"/>
                <a:gd name="T41" fmla="*/ 241163 h 812"/>
                <a:gd name="T42" fmla="*/ 11424 w 831"/>
                <a:gd name="T43" fmla="*/ 234377 h 812"/>
                <a:gd name="T44" fmla="*/ 22408 w 831"/>
                <a:gd name="T45" fmla="*/ 263609 h 812"/>
                <a:gd name="T46" fmla="*/ 42181 w 831"/>
                <a:gd name="T47" fmla="*/ 281879 h 812"/>
                <a:gd name="T48" fmla="*/ 54044 w 831"/>
                <a:gd name="T49" fmla="*/ 301193 h 812"/>
                <a:gd name="T50" fmla="*/ 62392 w 831"/>
                <a:gd name="T51" fmla="*/ 311111 h 812"/>
                <a:gd name="T52" fmla="*/ 43499 w 831"/>
                <a:gd name="T53" fmla="*/ 337733 h 812"/>
                <a:gd name="T54" fmla="*/ 38226 w 831"/>
                <a:gd name="T55" fmla="*/ 350261 h 812"/>
                <a:gd name="T56" fmla="*/ 47892 w 831"/>
                <a:gd name="T57" fmla="*/ 375839 h 812"/>
                <a:gd name="T58" fmla="*/ 97542 w 831"/>
                <a:gd name="T59" fmla="*/ 370619 h 812"/>
                <a:gd name="T60" fmla="*/ 132693 w 831"/>
                <a:gd name="T61" fmla="*/ 368009 h 812"/>
                <a:gd name="T62" fmla="*/ 144995 w 831"/>
                <a:gd name="T63" fmla="*/ 376361 h 812"/>
                <a:gd name="T64" fmla="*/ 157738 w 831"/>
                <a:gd name="T65" fmla="*/ 394631 h 812"/>
                <a:gd name="T66" fmla="*/ 179267 w 831"/>
                <a:gd name="T67" fmla="*/ 409769 h 812"/>
                <a:gd name="T68" fmla="*/ 197282 w 831"/>
                <a:gd name="T69" fmla="*/ 419165 h 812"/>
                <a:gd name="T70" fmla="*/ 202115 w 831"/>
                <a:gd name="T71" fmla="*/ 412901 h 812"/>
                <a:gd name="T72" fmla="*/ 213978 w 831"/>
                <a:gd name="T73" fmla="*/ 404027 h 812"/>
                <a:gd name="T74" fmla="*/ 243417 w 831"/>
                <a:gd name="T75" fmla="*/ 398807 h 812"/>
                <a:gd name="T76" fmla="*/ 262310 w 831"/>
                <a:gd name="T77" fmla="*/ 391499 h 812"/>
                <a:gd name="T78" fmla="*/ 271537 w 831"/>
                <a:gd name="T79" fmla="*/ 379493 h 812"/>
                <a:gd name="T80" fmla="*/ 256598 w 831"/>
                <a:gd name="T81" fmla="*/ 365399 h 812"/>
                <a:gd name="T82" fmla="*/ 238144 w 831"/>
                <a:gd name="T83" fmla="*/ 334601 h 812"/>
                <a:gd name="T84" fmla="*/ 231114 w 831"/>
                <a:gd name="T85" fmla="*/ 325727 h 812"/>
                <a:gd name="T86" fmla="*/ 231114 w 831"/>
                <a:gd name="T87" fmla="*/ 301715 h 812"/>
                <a:gd name="T88" fmla="*/ 255719 w 831"/>
                <a:gd name="T89" fmla="*/ 293885 h 812"/>
                <a:gd name="T90" fmla="*/ 273295 w 831"/>
                <a:gd name="T91" fmla="*/ 277181 h 812"/>
                <a:gd name="T92" fmla="*/ 302294 w 831"/>
                <a:gd name="T93" fmla="*/ 217673 h 812"/>
                <a:gd name="T94" fmla="*/ 320748 w 831"/>
                <a:gd name="T95" fmla="*/ 192096 h 812"/>
                <a:gd name="T96" fmla="*/ 318551 w 831"/>
                <a:gd name="T97" fmla="*/ 172260 h 812"/>
                <a:gd name="T98" fmla="*/ 320308 w 831"/>
                <a:gd name="T99" fmla="*/ 159210 h 812"/>
                <a:gd name="T100" fmla="*/ 329975 w 831"/>
                <a:gd name="T101" fmla="*/ 150858 h 812"/>
                <a:gd name="T102" fmla="*/ 294385 w 831"/>
                <a:gd name="T103" fmla="*/ 108054 h 812"/>
                <a:gd name="T104" fmla="*/ 333050 w 831"/>
                <a:gd name="T105" fmla="*/ 73080 h 812"/>
                <a:gd name="T106" fmla="*/ 353701 w 831"/>
                <a:gd name="T107" fmla="*/ 64206 h 81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831" h="812">
                  <a:moveTo>
                    <a:pt x="831" y="98"/>
                  </a:moveTo>
                  <a:lnTo>
                    <a:pt x="817" y="95"/>
                  </a:lnTo>
                  <a:lnTo>
                    <a:pt x="803" y="91"/>
                  </a:lnTo>
                  <a:lnTo>
                    <a:pt x="791" y="87"/>
                  </a:lnTo>
                  <a:lnTo>
                    <a:pt x="779" y="82"/>
                  </a:lnTo>
                  <a:lnTo>
                    <a:pt x="769" y="77"/>
                  </a:lnTo>
                  <a:lnTo>
                    <a:pt x="758" y="71"/>
                  </a:lnTo>
                  <a:lnTo>
                    <a:pt x="749" y="65"/>
                  </a:lnTo>
                  <a:lnTo>
                    <a:pt x="740" y="58"/>
                  </a:lnTo>
                  <a:lnTo>
                    <a:pt x="707" y="29"/>
                  </a:lnTo>
                  <a:lnTo>
                    <a:pt x="679" y="0"/>
                  </a:lnTo>
                  <a:lnTo>
                    <a:pt x="655" y="2"/>
                  </a:lnTo>
                  <a:lnTo>
                    <a:pt x="626" y="4"/>
                  </a:lnTo>
                  <a:lnTo>
                    <a:pt x="594" y="7"/>
                  </a:lnTo>
                  <a:lnTo>
                    <a:pt x="562" y="10"/>
                  </a:lnTo>
                  <a:lnTo>
                    <a:pt x="547" y="13"/>
                  </a:lnTo>
                  <a:lnTo>
                    <a:pt x="533" y="16"/>
                  </a:lnTo>
                  <a:lnTo>
                    <a:pt x="520" y="19"/>
                  </a:lnTo>
                  <a:lnTo>
                    <a:pt x="509" y="24"/>
                  </a:lnTo>
                  <a:lnTo>
                    <a:pt x="499" y="29"/>
                  </a:lnTo>
                  <a:lnTo>
                    <a:pt x="492" y="34"/>
                  </a:lnTo>
                  <a:lnTo>
                    <a:pt x="489" y="37"/>
                  </a:lnTo>
                  <a:lnTo>
                    <a:pt x="487" y="41"/>
                  </a:lnTo>
                  <a:lnTo>
                    <a:pt x="486" y="44"/>
                  </a:lnTo>
                  <a:lnTo>
                    <a:pt x="486" y="49"/>
                  </a:lnTo>
                  <a:lnTo>
                    <a:pt x="486" y="54"/>
                  </a:lnTo>
                  <a:lnTo>
                    <a:pt x="487" y="59"/>
                  </a:lnTo>
                  <a:lnTo>
                    <a:pt x="489" y="63"/>
                  </a:lnTo>
                  <a:lnTo>
                    <a:pt x="491" y="66"/>
                  </a:lnTo>
                  <a:lnTo>
                    <a:pt x="497" y="71"/>
                  </a:lnTo>
                  <a:lnTo>
                    <a:pt x="502" y="76"/>
                  </a:lnTo>
                  <a:lnTo>
                    <a:pt x="509" y="80"/>
                  </a:lnTo>
                  <a:lnTo>
                    <a:pt x="514" y="84"/>
                  </a:lnTo>
                  <a:lnTo>
                    <a:pt x="516" y="87"/>
                  </a:lnTo>
                  <a:lnTo>
                    <a:pt x="517" y="90"/>
                  </a:lnTo>
                  <a:lnTo>
                    <a:pt x="519" y="93"/>
                  </a:lnTo>
                  <a:lnTo>
                    <a:pt x="519" y="98"/>
                  </a:lnTo>
                  <a:lnTo>
                    <a:pt x="519" y="102"/>
                  </a:lnTo>
                  <a:lnTo>
                    <a:pt x="517" y="107"/>
                  </a:lnTo>
                  <a:lnTo>
                    <a:pt x="516" y="111"/>
                  </a:lnTo>
                  <a:lnTo>
                    <a:pt x="514" y="114"/>
                  </a:lnTo>
                  <a:lnTo>
                    <a:pt x="509" y="120"/>
                  </a:lnTo>
                  <a:lnTo>
                    <a:pt x="502" y="127"/>
                  </a:lnTo>
                  <a:lnTo>
                    <a:pt x="497" y="133"/>
                  </a:lnTo>
                  <a:lnTo>
                    <a:pt x="491" y="140"/>
                  </a:lnTo>
                  <a:lnTo>
                    <a:pt x="489" y="144"/>
                  </a:lnTo>
                  <a:lnTo>
                    <a:pt x="487" y="149"/>
                  </a:lnTo>
                  <a:lnTo>
                    <a:pt x="486" y="154"/>
                  </a:lnTo>
                  <a:lnTo>
                    <a:pt x="486" y="159"/>
                  </a:lnTo>
                  <a:lnTo>
                    <a:pt x="480" y="162"/>
                  </a:lnTo>
                  <a:lnTo>
                    <a:pt x="475" y="163"/>
                  </a:lnTo>
                  <a:lnTo>
                    <a:pt x="470" y="166"/>
                  </a:lnTo>
                  <a:lnTo>
                    <a:pt x="466" y="169"/>
                  </a:lnTo>
                  <a:lnTo>
                    <a:pt x="457" y="176"/>
                  </a:lnTo>
                  <a:lnTo>
                    <a:pt x="450" y="184"/>
                  </a:lnTo>
                  <a:lnTo>
                    <a:pt x="444" y="194"/>
                  </a:lnTo>
                  <a:lnTo>
                    <a:pt x="438" y="205"/>
                  </a:lnTo>
                  <a:lnTo>
                    <a:pt x="434" y="217"/>
                  </a:lnTo>
                  <a:lnTo>
                    <a:pt x="430" y="230"/>
                  </a:lnTo>
                  <a:lnTo>
                    <a:pt x="427" y="243"/>
                  </a:lnTo>
                  <a:lnTo>
                    <a:pt x="424" y="256"/>
                  </a:lnTo>
                  <a:lnTo>
                    <a:pt x="423" y="270"/>
                  </a:lnTo>
                  <a:lnTo>
                    <a:pt x="421" y="284"/>
                  </a:lnTo>
                  <a:lnTo>
                    <a:pt x="420" y="309"/>
                  </a:lnTo>
                  <a:lnTo>
                    <a:pt x="420" y="332"/>
                  </a:lnTo>
                  <a:lnTo>
                    <a:pt x="412" y="332"/>
                  </a:lnTo>
                  <a:lnTo>
                    <a:pt x="407" y="330"/>
                  </a:lnTo>
                  <a:lnTo>
                    <a:pt x="401" y="327"/>
                  </a:lnTo>
                  <a:lnTo>
                    <a:pt x="397" y="322"/>
                  </a:lnTo>
                  <a:lnTo>
                    <a:pt x="392" y="319"/>
                  </a:lnTo>
                  <a:lnTo>
                    <a:pt x="388" y="316"/>
                  </a:lnTo>
                  <a:lnTo>
                    <a:pt x="385" y="314"/>
                  </a:lnTo>
                  <a:lnTo>
                    <a:pt x="379" y="313"/>
                  </a:lnTo>
                  <a:lnTo>
                    <a:pt x="375" y="314"/>
                  </a:lnTo>
                  <a:lnTo>
                    <a:pt x="370" y="315"/>
                  </a:lnTo>
                  <a:lnTo>
                    <a:pt x="366" y="317"/>
                  </a:lnTo>
                  <a:lnTo>
                    <a:pt x="362" y="319"/>
                  </a:lnTo>
                  <a:lnTo>
                    <a:pt x="354" y="325"/>
                  </a:lnTo>
                  <a:lnTo>
                    <a:pt x="346" y="332"/>
                  </a:lnTo>
                  <a:lnTo>
                    <a:pt x="338" y="339"/>
                  </a:lnTo>
                  <a:lnTo>
                    <a:pt x="331" y="345"/>
                  </a:lnTo>
                  <a:lnTo>
                    <a:pt x="326" y="347"/>
                  </a:lnTo>
                  <a:lnTo>
                    <a:pt x="322" y="349"/>
                  </a:lnTo>
                  <a:lnTo>
                    <a:pt x="318" y="350"/>
                  </a:lnTo>
                  <a:lnTo>
                    <a:pt x="313" y="351"/>
                  </a:lnTo>
                  <a:lnTo>
                    <a:pt x="308" y="351"/>
                  </a:lnTo>
                  <a:lnTo>
                    <a:pt x="303" y="353"/>
                  </a:lnTo>
                  <a:lnTo>
                    <a:pt x="300" y="356"/>
                  </a:lnTo>
                  <a:lnTo>
                    <a:pt x="297" y="360"/>
                  </a:lnTo>
                  <a:lnTo>
                    <a:pt x="290" y="370"/>
                  </a:lnTo>
                  <a:lnTo>
                    <a:pt x="287" y="383"/>
                  </a:lnTo>
                  <a:lnTo>
                    <a:pt x="284" y="396"/>
                  </a:lnTo>
                  <a:lnTo>
                    <a:pt x="281" y="408"/>
                  </a:lnTo>
                  <a:lnTo>
                    <a:pt x="280" y="418"/>
                  </a:lnTo>
                  <a:lnTo>
                    <a:pt x="280" y="424"/>
                  </a:lnTo>
                  <a:lnTo>
                    <a:pt x="277" y="427"/>
                  </a:lnTo>
                  <a:lnTo>
                    <a:pt x="273" y="429"/>
                  </a:lnTo>
                  <a:lnTo>
                    <a:pt x="265" y="432"/>
                  </a:lnTo>
                  <a:lnTo>
                    <a:pt x="257" y="435"/>
                  </a:lnTo>
                  <a:lnTo>
                    <a:pt x="235" y="442"/>
                  </a:lnTo>
                  <a:lnTo>
                    <a:pt x="211" y="448"/>
                  </a:lnTo>
                  <a:lnTo>
                    <a:pt x="185" y="453"/>
                  </a:lnTo>
                  <a:lnTo>
                    <a:pt x="161" y="458"/>
                  </a:lnTo>
                  <a:lnTo>
                    <a:pt x="141" y="461"/>
                  </a:lnTo>
                  <a:lnTo>
                    <a:pt x="127" y="462"/>
                  </a:lnTo>
                  <a:lnTo>
                    <a:pt x="109" y="461"/>
                  </a:lnTo>
                  <a:lnTo>
                    <a:pt x="91" y="460"/>
                  </a:lnTo>
                  <a:lnTo>
                    <a:pt x="74" y="457"/>
                  </a:lnTo>
                  <a:lnTo>
                    <a:pt x="56" y="455"/>
                  </a:lnTo>
                  <a:lnTo>
                    <a:pt x="26" y="449"/>
                  </a:lnTo>
                  <a:lnTo>
                    <a:pt x="0" y="443"/>
                  </a:lnTo>
                  <a:lnTo>
                    <a:pt x="8" y="455"/>
                  </a:lnTo>
                  <a:lnTo>
                    <a:pt x="19" y="470"/>
                  </a:lnTo>
                  <a:lnTo>
                    <a:pt x="34" y="487"/>
                  </a:lnTo>
                  <a:lnTo>
                    <a:pt x="51" y="505"/>
                  </a:lnTo>
                  <a:lnTo>
                    <a:pt x="60" y="513"/>
                  </a:lnTo>
                  <a:lnTo>
                    <a:pt x="68" y="521"/>
                  </a:lnTo>
                  <a:lnTo>
                    <a:pt x="77" y="528"/>
                  </a:lnTo>
                  <a:lnTo>
                    <a:pt x="87" y="535"/>
                  </a:lnTo>
                  <a:lnTo>
                    <a:pt x="96" y="540"/>
                  </a:lnTo>
                  <a:lnTo>
                    <a:pt x="105" y="544"/>
                  </a:lnTo>
                  <a:lnTo>
                    <a:pt x="112" y="546"/>
                  </a:lnTo>
                  <a:lnTo>
                    <a:pt x="120" y="547"/>
                  </a:lnTo>
                  <a:lnTo>
                    <a:pt x="121" y="561"/>
                  </a:lnTo>
                  <a:lnTo>
                    <a:pt x="123" y="577"/>
                  </a:lnTo>
                  <a:lnTo>
                    <a:pt x="127" y="585"/>
                  </a:lnTo>
                  <a:lnTo>
                    <a:pt x="131" y="591"/>
                  </a:lnTo>
                  <a:lnTo>
                    <a:pt x="134" y="593"/>
                  </a:lnTo>
                  <a:lnTo>
                    <a:pt x="138" y="595"/>
                  </a:lnTo>
                  <a:lnTo>
                    <a:pt x="142" y="596"/>
                  </a:lnTo>
                  <a:lnTo>
                    <a:pt x="147" y="597"/>
                  </a:lnTo>
                  <a:lnTo>
                    <a:pt x="147" y="616"/>
                  </a:lnTo>
                  <a:lnTo>
                    <a:pt x="127" y="629"/>
                  </a:lnTo>
                  <a:lnTo>
                    <a:pt x="107" y="641"/>
                  </a:lnTo>
                  <a:lnTo>
                    <a:pt x="99" y="647"/>
                  </a:lnTo>
                  <a:lnTo>
                    <a:pt x="93" y="654"/>
                  </a:lnTo>
                  <a:lnTo>
                    <a:pt x="90" y="658"/>
                  </a:lnTo>
                  <a:lnTo>
                    <a:pt x="88" y="663"/>
                  </a:lnTo>
                  <a:lnTo>
                    <a:pt x="87" y="667"/>
                  </a:lnTo>
                  <a:lnTo>
                    <a:pt x="87" y="671"/>
                  </a:lnTo>
                  <a:lnTo>
                    <a:pt x="87" y="680"/>
                  </a:lnTo>
                  <a:lnTo>
                    <a:pt x="87" y="689"/>
                  </a:lnTo>
                  <a:lnTo>
                    <a:pt x="87" y="701"/>
                  </a:lnTo>
                  <a:lnTo>
                    <a:pt x="87" y="721"/>
                  </a:lnTo>
                  <a:lnTo>
                    <a:pt x="109" y="720"/>
                  </a:lnTo>
                  <a:lnTo>
                    <a:pt x="132" y="719"/>
                  </a:lnTo>
                  <a:lnTo>
                    <a:pt x="154" y="717"/>
                  </a:lnTo>
                  <a:lnTo>
                    <a:pt x="177" y="714"/>
                  </a:lnTo>
                  <a:lnTo>
                    <a:pt x="199" y="711"/>
                  </a:lnTo>
                  <a:lnTo>
                    <a:pt x="222" y="710"/>
                  </a:lnTo>
                  <a:lnTo>
                    <a:pt x="244" y="708"/>
                  </a:lnTo>
                  <a:lnTo>
                    <a:pt x="266" y="708"/>
                  </a:lnTo>
                  <a:lnTo>
                    <a:pt x="284" y="707"/>
                  </a:lnTo>
                  <a:lnTo>
                    <a:pt x="297" y="705"/>
                  </a:lnTo>
                  <a:lnTo>
                    <a:pt x="302" y="705"/>
                  </a:lnTo>
                  <a:lnTo>
                    <a:pt x="310" y="705"/>
                  </a:lnTo>
                  <a:lnTo>
                    <a:pt x="318" y="706"/>
                  </a:lnTo>
                  <a:lnTo>
                    <a:pt x="326" y="708"/>
                  </a:lnTo>
                  <a:lnTo>
                    <a:pt x="328" y="714"/>
                  </a:lnTo>
                  <a:lnTo>
                    <a:pt x="330" y="721"/>
                  </a:lnTo>
                  <a:lnTo>
                    <a:pt x="333" y="728"/>
                  </a:lnTo>
                  <a:lnTo>
                    <a:pt x="338" y="735"/>
                  </a:lnTo>
                  <a:lnTo>
                    <a:pt x="345" y="742"/>
                  </a:lnTo>
                  <a:lnTo>
                    <a:pt x="352" y="749"/>
                  </a:lnTo>
                  <a:lnTo>
                    <a:pt x="359" y="756"/>
                  </a:lnTo>
                  <a:lnTo>
                    <a:pt x="368" y="762"/>
                  </a:lnTo>
                  <a:lnTo>
                    <a:pt x="378" y="769"/>
                  </a:lnTo>
                  <a:lnTo>
                    <a:pt x="388" y="776"/>
                  </a:lnTo>
                  <a:lnTo>
                    <a:pt x="398" y="781"/>
                  </a:lnTo>
                  <a:lnTo>
                    <a:pt x="408" y="785"/>
                  </a:lnTo>
                  <a:lnTo>
                    <a:pt x="418" y="789"/>
                  </a:lnTo>
                  <a:lnTo>
                    <a:pt x="427" y="792"/>
                  </a:lnTo>
                  <a:lnTo>
                    <a:pt x="437" y="794"/>
                  </a:lnTo>
                  <a:lnTo>
                    <a:pt x="446" y="794"/>
                  </a:lnTo>
                  <a:lnTo>
                    <a:pt x="449" y="803"/>
                  </a:lnTo>
                  <a:lnTo>
                    <a:pt x="453" y="812"/>
                  </a:lnTo>
                  <a:lnTo>
                    <a:pt x="454" y="806"/>
                  </a:lnTo>
                  <a:lnTo>
                    <a:pt x="455" y="800"/>
                  </a:lnTo>
                  <a:lnTo>
                    <a:pt x="457" y="795"/>
                  </a:lnTo>
                  <a:lnTo>
                    <a:pt x="460" y="791"/>
                  </a:lnTo>
                  <a:lnTo>
                    <a:pt x="464" y="787"/>
                  </a:lnTo>
                  <a:lnTo>
                    <a:pt x="467" y="783"/>
                  </a:lnTo>
                  <a:lnTo>
                    <a:pt x="471" y="780"/>
                  </a:lnTo>
                  <a:lnTo>
                    <a:pt x="477" y="778"/>
                  </a:lnTo>
                  <a:lnTo>
                    <a:pt x="487" y="774"/>
                  </a:lnTo>
                  <a:lnTo>
                    <a:pt x="499" y="770"/>
                  </a:lnTo>
                  <a:lnTo>
                    <a:pt x="512" y="768"/>
                  </a:lnTo>
                  <a:lnTo>
                    <a:pt x="525" y="767"/>
                  </a:lnTo>
                  <a:lnTo>
                    <a:pt x="539" y="765"/>
                  </a:lnTo>
                  <a:lnTo>
                    <a:pt x="554" y="764"/>
                  </a:lnTo>
                  <a:lnTo>
                    <a:pt x="567" y="761"/>
                  </a:lnTo>
                  <a:lnTo>
                    <a:pt x="580" y="758"/>
                  </a:lnTo>
                  <a:lnTo>
                    <a:pt x="586" y="756"/>
                  </a:lnTo>
                  <a:lnTo>
                    <a:pt x="591" y="753"/>
                  </a:lnTo>
                  <a:lnTo>
                    <a:pt x="597" y="750"/>
                  </a:lnTo>
                  <a:lnTo>
                    <a:pt x="602" y="747"/>
                  </a:lnTo>
                  <a:lnTo>
                    <a:pt x="606" y="743"/>
                  </a:lnTo>
                  <a:lnTo>
                    <a:pt x="611" y="738"/>
                  </a:lnTo>
                  <a:lnTo>
                    <a:pt x="615" y="733"/>
                  </a:lnTo>
                  <a:lnTo>
                    <a:pt x="618" y="727"/>
                  </a:lnTo>
                  <a:lnTo>
                    <a:pt x="614" y="725"/>
                  </a:lnTo>
                  <a:lnTo>
                    <a:pt x="610" y="722"/>
                  </a:lnTo>
                  <a:lnTo>
                    <a:pt x="604" y="718"/>
                  </a:lnTo>
                  <a:lnTo>
                    <a:pt x="598" y="712"/>
                  </a:lnTo>
                  <a:lnTo>
                    <a:pt x="584" y="700"/>
                  </a:lnTo>
                  <a:lnTo>
                    <a:pt x="571" y="686"/>
                  </a:lnTo>
                  <a:lnTo>
                    <a:pt x="559" y="671"/>
                  </a:lnTo>
                  <a:lnTo>
                    <a:pt x="548" y="655"/>
                  </a:lnTo>
                  <a:lnTo>
                    <a:pt x="545" y="648"/>
                  </a:lnTo>
                  <a:lnTo>
                    <a:pt x="542" y="641"/>
                  </a:lnTo>
                  <a:lnTo>
                    <a:pt x="539" y="634"/>
                  </a:lnTo>
                  <a:lnTo>
                    <a:pt x="538" y="628"/>
                  </a:lnTo>
                  <a:lnTo>
                    <a:pt x="534" y="627"/>
                  </a:lnTo>
                  <a:lnTo>
                    <a:pt x="530" y="626"/>
                  </a:lnTo>
                  <a:lnTo>
                    <a:pt x="526" y="624"/>
                  </a:lnTo>
                  <a:lnTo>
                    <a:pt x="523" y="620"/>
                  </a:lnTo>
                  <a:lnTo>
                    <a:pt x="517" y="613"/>
                  </a:lnTo>
                  <a:lnTo>
                    <a:pt x="512" y="603"/>
                  </a:lnTo>
                  <a:lnTo>
                    <a:pt x="512" y="579"/>
                  </a:lnTo>
                  <a:lnTo>
                    <a:pt x="526" y="578"/>
                  </a:lnTo>
                  <a:lnTo>
                    <a:pt x="539" y="577"/>
                  </a:lnTo>
                  <a:lnTo>
                    <a:pt x="551" y="575"/>
                  </a:lnTo>
                  <a:lnTo>
                    <a:pt x="562" y="571"/>
                  </a:lnTo>
                  <a:lnTo>
                    <a:pt x="572" y="568"/>
                  </a:lnTo>
                  <a:lnTo>
                    <a:pt x="582" y="563"/>
                  </a:lnTo>
                  <a:lnTo>
                    <a:pt x="591" y="558"/>
                  </a:lnTo>
                  <a:lnTo>
                    <a:pt x="600" y="552"/>
                  </a:lnTo>
                  <a:lnTo>
                    <a:pt x="607" y="545"/>
                  </a:lnTo>
                  <a:lnTo>
                    <a:pt x="615" y="538"/>
                  </a:lnTo>
                  <a:lnTo>
                    <a:pt x="622" y="531"/>
                  </a:lnTo>
                  <a:lnTo>
                    <a:pt x="628" y="523"/>
                  </a:lnTo>
                  <a:lnTo>
                    <a:pt x="639" y="507"/>
                  </a:lnTo>
                  <a:lnTo>
                    <a:pt x="650" y="489"/>
                  </a:lnTo>
                  <a:lnTo>
                    <a:pt x="669" y="453"/>
                  </a:lnTo>
                  <a:lnTo>
                    <a:pt x="688" y="417"/>
                  </a:lnTo>
                  <a:lnTo>
                    <a:pt x="699" y="401"/>
                  </a:lnTo>
                  <a:lnTo>
                    <a:pt x="710" y="387"/>
                  </a:lnTo>
                  <a:lnTo>
                    <a:pt x="716" y="379"/>
                  </a:lnTo>
                  <a:lnTo>
                    <a:pt x="723" y="373"/>
                  </a:lnTo>
                  <a:lnTo>
                    <a:pt x="730" y="368"/>
                  </a:lnTo>
                  <a:lnTo>
                    <a:pt x="738" y="363"/>
                  </a:lnTo>
                  <a:lnTo>
                    <a:pt x="732" y="351"/>
                  </a:lnTo>
                  <a:lnTo>
                    <a:pt x="727" y="340"/>
                  </a:lnTo>
                  <a:lnTo>
                    <a:pt x="726" y="335"/>
                  </a:lnTo>
                  <a:lnTo>
                    <a:pt x="725" y="330"/>
                  </a:lnTo>
                  <a:lnTo>
                    <a:pt x="725" y="324"/>
                  </a:lnTo>
                  <a:lnTo>
                    <a:pt x="725" y="319"/>
                  </a:lnTo>
                  <a:lnTo>
                    <a:pt x="726" y="314"/>
                  </a:lnTo>
                  <a:lnTo>
                    <a:pt x="727" y="309"/>
                  </a:lnTo>
                  <a:lnTo>
                    <a:pt x="729" y="305"/>
                  </a:lnTo>
                  <a:lnTo>
                    <a:pt x="733" y="301"/>
                  </a:lnTo>
                  <a:lnTo>
                    <a:pt x="736" y="298"/>
                  </a:lnTo>
                  <a:lnTo>
                    <a:pt x="740" y="295"/>
                  </a:lnTo>
                  <a:lnTo>
                    <a:pt x="746" y="292"/>
                  </a:lnTo>
                  <a:lnTo>
                    <a:pt x="751" y="289"/>
                  </a:lnTo>
                  <a:lnTo>
                    <a:pt x="722" y="262"/>
                  </a:lnTo>
                  <a:lnTo>
                    <a:pt x="700" y="242"/>
                  </a:lnTo>
                  <a:lnTo>
                    <a:pt x="690" y="232"/>
                  </a:lnTo>
                  <a:lnTo>
                    <a:pt x="680" y="221"/>
                  </a:lnTo>
                  <a:lnTo>
                    <a:pt x="670" y="207"/>
                  </a:lnTo>
                  <a:lnTo>
                    <a:pt x="658" y="190"/>
                  </a:lnTo>
                  <a:lnTo>
                    <a:pt x="658" y="147"/>
                  </a:lnTo>
                  <a:lnTo>
                    <a:pt x="701" y="145"/>
                  </a:lnTo>
                  <a:lnTo>
                    <a:pt x="733" y="143"/>
                  </a:lnTo>
                  <a:lnTo>
                    <a:pt x="758" y="140"/>
                  </a:lnTo>
                  <a:lnTo>
                    <a:pt x="778" y="136"/>
                  </a:lnTo>
                  <a:lnTo>
                    <a:pt x="785" y="134"/>
                  </a:lnTo>
                  <a:lnTo>
                    <a:pt x="792" y="131"/>
                  </a:lnTo>
                  <a:lnTo>
                    <a:pt x="799" y="127"/>
                  </a:lnTo>
                  <a:lnTo>
                    <a:pt x="805" y="123"/>
                  </a:lnTo>
                  <a:lnTo>
                    <a:pt x="817" y="113"/>
                  </a:lnTo>
                  <a:lnTo>
                    <a:pt x="831" y="9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792" name="Freeform 262"/>
            <p:cNvSpPr>
              <a:spLocks/>
            </p:cNvSpPr>
            <p:nvPr>
              <p:custDataLst>
                <p:tags r:id="rId184"/>
              </p:custDataLst>
            </p:nvPr>
          </p:nvSpPr>
          <p:spPr bwMode="auto">
            <a:xfrm>
              <a:off x="8292363" y="3016949"/>
              <a:ext cx="263072" cy="703453"/>
            </a:xfrm>
            <a:custGeom>
              <a:avLst/>
              <a:gdLst>
                <a:gd name="T0" fmla="*/ 191387 w 505"/>
                <a:gd name="T1" fmla="*/ 557569 h 1121"/>
                <a:gd name="T2" fmla="*/ 193572 w 505"/>
                <a:gd name="T3" fmla="*/ 537189 h 1121"/>
                <a:gd name="T4" fmla="*/ 174346 w 505"/>
                <a:gd name="T5" fmla="*/ 534054 h 1121"/>
                <a:gd name="T6" fmla="*/ 176967 w 505"/>
                <a:gd name="T7" fmla="*/ 500088 h 1121"/>
                <a:gd name="T8" fmla="*/ 183085 w 505"/>
                <a:gd name="T9" fmla="*/ 486501 h 1121"/>
                <a:gd name="T10" fmla="*/ 180463 w 505"/>
                <a:gd name="T11" fmla="*/ 469779 h 1121"/>
                <a:gd name="T12" fmla="*/ 173909 w 505"/>
                <a:gd name="T13" fmla="*/ 466644 h 1121"/>
                <a:gd name="T14" fmla="*/ 166917 w 505"/>
                <a:gd name="T15" fmla="*/ 437903 h 1121"/>
                <a:gd name="T16" fmla="*/ 141574 w 505"/>
                <a:gd name="T17" fmla="*/ 375719 h 1121"/>
                <a:gd name="T18" fmla="*/ 129339 w 505"/>
                <a:gd name="T19" fmla="*/ 367358 h 1121"/>
                <a:gd name="T20" fmla="*/ 123222 w 505"/>
                <a:gd name="T21" fmla="*/ 375196 h 1121"/>
                <a:gd name="T22" fmla="*/ 98752 w 505"/>
                <a:gd name="T23" fmla="*/ 387738 h 1121"/>
                <a:gd name="T24" fmla="*/ 73846 w 505"/>
                <a:gd name="T25" fmla="*/ 384602 h 1121"/>
                <a:gd name="T26" fmla="*/ 58115 w 505"/>
                <a:gd name="T27" fmla="*/ 296290 h 1121"/>
                <a:gd name="T28" fmla="*/ 44133 w 505"/>
                <a:gd name="T29" fmla="*/ 271730 h 1121"/>
                <a:gd name="T30" fmla="*/ 22285 w 505"/>
                <a:gd name="T31" fmla="*/ 262324 h 1121"/>
                <a:gd name="T32" fmla="*/ 3496 w 505"/>
                <a:gd name="T33" fmla="*/ 246125 h 1121"/>
                <a:gd name="T34" fmla="*/ 10050 w 505"/>
                <a:gd name="T35" fmla="*/ 232538 h 1121"/>
                <a:gd name="T36" fmla="*/ 25343 w 505"/>
                <a:gd name="T37" fmla="*/ 188643 h 1121"/>
                <a:gd name="T38" fmla="*/ 29276 w 505"/>
                <a:gd name="T39" fmla="*/ 144748 h 1121"/>
                <a:gd name="T40" fmla="*/ 34957 w 505"/>
                <a:gd name="T41" fmla="*/ 138478 h 1121"/>
                <a:gd name="T42" fmla="*/ 49376 w 505"/>
                <a:gd name="T43" fmla="*/ 134820 h 1121"/>
                <a:gd name="T44" fmla="*/ 58552 w 505"/>
                <a:gd name="T45" fmla="*/ 116008 h 1121"/>
                <a:gd name="T46" fmla="*/ 61174 w 505"/>
                <a:gd name="T47" fmla="*/ 61139 h 1121"/>
                <a:gd name="T48" fmla="*/ 69476 w 505"/>
                <a:gd name="T49" fmla="*/ 51211 h 1121"/>
                <a:gd name="T50" fmla="*/ 93072 w 505"/>
                <a:gd name="T51" fmla="*/ 38669 h 1121"/>
                <a:gd name="T52" fmla="*/ 102248 w 505"/>
                <a:gd name="T53" fmla="*/ 10974 h 1121"/>
                <a:gd name="T54" fmla="*/ 121037 w 505"/>
                <a:gd name="T55" fmla="*/ 16199 h 1121"/>
                <a:gd name="T56" fmla="*/ 136330 w 505"/>
                <a:gd name="T57" fmla="*/ 25605 h 1121"/>
                <a:gd name="T58" fmla="*/ 147254 w 505"/>
                <a:gd name="T59" fmla="*/ 63752 h 1121"/>
                <a:gd name="T60" fmla="*/ 146380 w 505"/>
                <a:gd name="T61" fmla="*/ 87267 h 1121"/>
                <a:gd name="T62" fmla="*/ 131087 w 505"/>
                <a:gd name="T63" fmla="*/ 112872 h 1121"/>
                <a:gd name="T64" fmla="*/ 128028 w 505"/>
                <a:gd name="T65" fmla="*/ 128027 h 1121"/>
                <a:gd name="T66" fmla="*/ 135020 w 505"/>
                <a:gd name="T67" fmla="*/ 136388 h 1121"/>
                <a:gd name="T68" fmla="*/ 151187 w 505"/>
                <a:gd name="T69" fmla="*/ 141091 h 1121"/>
                <a:gd name="T70" fmla="*/ 162111 w 505"/>
                <a:gd name="T71" fmla="*/ 152064 h 1121"/>
                <a:gd name="T72" fmla="*/ 173909 w 505"/>
                <a:gd name="T73" fmla="*/ 180282 h 1121"/>
                <a:gd name="T74" fmla="*/ 187891 w 505"/>
                <a:gd name="T75" fmla="*/ 209023 h 1121"/>
                <a:gd name="T76" fmla="*/ 202748 w 505"/>
                <a:gd name="T77" fmla="*/ 218429 h 1121"/>
                <a:gd name="T78" fmla="*/ 220663 w 505"/>
                <a:gd name="T79" fmla="*/ 218429 h 1121"/>
                <a:gd name="T80" fmla="*/ 207991 w 505"/>
                <a:gd name="T81" fmla="*/ 258143 h 1121"/>
                <a:gd name="T82" fmla="*/ 186580 w 505"/>
                <a:gd name="T83" fmla="*/ 266504 h 1121"/>
                <a:gd name="T84" fmla="*/ 167354 w 505"/>
                <a:gd name="T85" fmla="*/ 275910 h 1121"/>
                <a:gd name="T86" fmla="*/ 157304 w 505"/>
                <a:gd name="T87" fmla="*/ 298903 h 1121"/>
                <a:gd name="T88" fmla="*/ 161674 w 505"/>
                <a:gd name="T89" fmla="*/ 332869 h 1121"/>
                <a:gd name="T90" fmla="*/ 175656 w 505"/>
                <a:gd name="T91" fmla="*/ 356907 h 1121"/>
                <a:gd name="T92" fmla="*/ 187891 w 505"/>
                <a:gd name="T93" fmla="*/ 384080 h 1121"/>
                <a:gd name="T94" fmla="*/ 187017 w 505"/>
                <a:gd name="T95" fmla="*/ 405505 h 1121"/>
                <a:gd name="T96" fmla="*/ 183085 w 505"/>
                <a:gd name="T97" fmla="*/ 418569 h 1121"/>
                <a:gd name="T98" fmla="*/ 190076 w 505"/>
                <a:gd name="T99" fmla="*/ 444696 h 1121"/>
                <a:gd name="T100" fmla="*/ 211050 w 505"/>
                <a:gd name="T101" fmla="*/ 504268 h 1121"/>
                <a:gd name="T102" fmla="*/ 200126 w 505"/>
                <a:gd name="T103" fmla="*/ 565407 h 1121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505" h="1121">
                  <a:moveTo>
                    <a:pt x="446" y="1121"/>
                  </a:moveTo>
                  <a:lnTo>
                    <a:pt x="445" y="1106"/>
                  </a:lnTo>
                  <a:lnTo>
                    <a:pt x="443" y="1091"/>
                  </a:lnTo>
                  <a:lnTo>
                    <a:pt x="440" y="1079"/>
                  </a:lnTo>
                  <a:lnTo>
                    <a:pt x="438" y="1067"/>
                  </a:lnTo>
                  <a:lnTo>
                    <a:pt x="437" y="1056"/>
                  </a:lnTo>
                  <a:lnTo>
                    <a:pt x="437" y="1045"/>
                  </a:lnTo>
                  <a:lnTo>
                    <a:pt x="438" y="1040"/>
                  </a:lnTo>
                  <a:lnTo>
                    <a:pt x="439" y="1034"/>
                  </a:lnTo>
                  <a:lnTo>
                    <a:pt x="443" y="1028"/>
                  </a:lnTo>
                  <a:lnTo>
                    <a:pt x="446" y="1022"/>
                  </a:lnTo>
                  <a:lnTo>
                    <a:pt x="430" y="1022"/>
                  </a:lnTo>
                  <a:lnTo>
                    <a:pt x="420" y="1022"/>
                  </a:lnTo>
                  <a:lnTo>
                    <a:pt x="411" y="1022"/>
                  </a:lnTo>
                  <a:lnTo>
                    <a:pt x="399" y="1022"/>
                  </a:lnTo>
                  <a:lnTo>
                    <a:pt x="399" y="1001"/>
                  </a:lnTo>
                  <a:lnTo>
                    <a:pt x="399" y="988"/>
                  </a:lnTo>
                  <a:lnTo>
                    <a:pt x="399" y="975"/>
                  </a:lnTo>
                  <a:lnTo>
                    <a:pt x="399" y="961"/>
                  </a:lnTo>
                  <a:lnTo>
                    <a:pt x="405" y="957"/>
                  </a:lnTo>
                  <a:lnTo>
                    <a:pt x="411" y="953"/>
                  </a:lnTo>
                  <a:lnTo>
                    <a:pt x="414" y="949"/>
                  </a:lnTo>
                  <a:lnTo>
                    <a:pt x="416" y="946"/>
                  </a:lnTo>
                  <a:lnTo>
                    <a:pt x="419" y="939"/>
                  </a:lnTo>
                  <a:lnTo>
                    <a:pt x="419" y="931"/>
                  </a:lnTo>
                  <a:lnTo>
                    <a:pt x="419" y="922"/>
                  </a:lnTo>
                  <a:lnTo>
                    <a:pt x="419" y="915"/>
                  </a:lnTo>
                  <a:lnTo>
                    <a:pt x="419" y="908"/>
                  </a:lnTo>
                  <a:lnTo>
                    <a:pt x="419" y="899"/>
                  </a:lnTo>
                  <a:lnTo>
                    <a:pt x="413" y="899"/>
                  </a:lnTo>
                  <a:lnTo>
                    <a:pt x="409" y="899"/>
                  </a:lnTo>
                  <a:lnTo>
                    <a:pt x="404" y="898"/>
                  </a:lnTo>
                  <a:lnTo>
                    <a:pt x="402" y="896"/>
                  </a:lnTo>
                  <a:lnTo>
                    <a:pt x="400" y="895"/>
                  </a:lnTo>
                  <a:lnTo>
                    <a:pt x="398" y="893"/>
                  </a:lnTo>
                  <a:lnTo>
                    <a:pt x="397" y="891"/>
                  </a:lnTo>
                  <a:lnTo>
                    <a:pt x="395" y="889"/>
                  </a:lnTo>
                  <a:lnTo>
                    <a:pt x="394" y="879"/>
                  </a:lnTo>
                  <a:lnTo>
                    <a:pt x="392" y="868"/>
                  </a:lnTo>
                  <a:lnTo>
                    <a:pt x="382" y="838"/>
                  </a:lnTo>
                  <a:lnTo>
                    <a:pt x="371" y="811"/>
                  </a:lnTo>
                  <a:lnTo>
                    <a:pt x="360" y="786"/>
                  </a:lnTo>
                  <a:lnTo>
                    <a:pt x="348" y="764"/>
                  </a:lnTo>
                  <a:lnTo>
                    <a:pt x="336" y="741"/>
                  </a:lnTo>
                  <a:lnTo>
                    <a:pt x="324" y="719"/>
                  </a:lnTo>
                  <a:lnTo>
                    <a:pt x="312" y="695"/>
                  </a:lnTo>
                  <a:lnTo>
                    <a:pt x="300" y="672"/>
                  </a:lnTo>
                  <a:lnTo>
                    <a:pt x="299" y="684"/>
                  </a:lnTo>
                  <a:lnTo>
                    <a:pt x="298" y="694"/>
                  </a:lnTo>
                  <a:lnTo>
                    <a:pt x="296" y="703"/>
                  </a:lnTo>
                  <a:lnTo>
                    <a:pt x="292" y="710"/>
                  </a:lnTo>
                  <a:lnTo>
                    <a:pt x="291" y="713"/>
                  </a:lnTo>
                  <a:lnTo>
                    <a:pt x="288" y="715"/>
                  </a:lnTo>
                  <a:lnTo>
                    <a:pt x="286" y="717"/>
                  </a:lnTo>
                  <a:lnTo>
                    <a:pt x="282" y="718"/>
                  </a:lnTo>
                  <a:lnTo>
                    <a:pt x="276" y="720"/>
                  </a:lnTo>
                  <a:lnTo>
                    <a:pt x="266" y="721"/>
                  </a:lnTo>
                  <a:lnTo>
                    <a:pt x="246" y="751"/>
                  </a:lnTo>
                  <a:lnTo>
                    <a:pt x="238" y="748"/>
                  </a:lnTo>
                  <a:lnTo>
                    <a:pt x="226" y="742"/>
                  </a:lnTo>
                  <a:lnTo>
                    <a:pt x="214" y="736"/>
                  </a:lnTo>
                  <a:lnTo>
                    <a:pt x="207" y="733"/>
                  </a:lnTo>
                  <a:lnTo>
                    <a:pt x="190" y="734"/>
                  </a:lnTo>
                  <a:lnTo>
                    <a:pt x="176" y="735"/>
                  </a:lnTo>
                  <a:lnTo>
                    <a:pt x="169" y="736"/>
                  </a:lnTo>
                  <a:lnTo>
                    <a:pt x="165" y="736"/>
                  </a:lnTo>
                  <a:lnTo>
                    <a:pt x="162" y="735"/>
                  </a:lnTo>
                  <a:lnTo>
                    <a:pt x="159" y="733"/>
                  </a:lnTo>
                  <a:lnTo>
                    <a:pt x="167" y="646"/>
                  </a:lnTo>
                  <a:lnTo>
                    <a:pt x="133" y="567"/>
                  </a:lnTo>
                  <a:lnTo>
                    <a:pt x="122" y="551"/>
                  </a:lnTo>
                  <a:lnTo>
                    <a:pt x="112" y="539"/>
                  </a:lnTo>
                  <a:lnTo>
                    <a:pt x="107" y="533"/>
                  </a:lnTo>
                  <a:lnTo>
                    <a:pt x="103" y="527"/>
                  </a:lnTo>
                  <a:lnTo>
                    <a:pt x="101" y="520"/>
                  </a:lnTo>
                  <a:lnTo>
                    <a:pt x="100" y="511"/>
                  </a:lnTo>
                  <a:lnTo>
                    <a:pt x="85" y="508"/>
                  </a:lnTo>
                  <a:lnTo>
                    <a:pt x="74" y="505"/>
                  </a:lnTo>
                  <a:lnTo>
                    <a:pt x="62" y="504"/>
                  </a:lnTo>
                  <a:lnTo>
                    <a:pt x="51" y="502"/>
                  </a:lnTo>
                  <a:lnTo>
                    <a:pt x="41" y="498"/>
                  </a:lnTo>
                  <a:lnTo>
                    <a:pt x="32" y="493"/>
                  </a:lnTo>
                  <a:lnTo>
                    <a:pt x="23" y="487"/>
                  </a:lnTo>
                  <a:lnTo>
                    <a:pt x="16" y="479"/>
                  </a:lnTo>
                  <a:lnTo>
                    <a:pt x="8" y="471"/>
                  </a:lnTo>
                  <a:lnTo>
                    <a:pt x="0" y="462"/>
                  </a:lnTo>
                  <a:lnTo>
                    <a:pt x="8" y="458"/>
                  </a:lnTo>
                  <a:lnTo>
                    <a:pt x="13" y="454"/>
                  </a:lnTo>
                  <a:lnTo>
                    <a:pt x="19" y="450"/>
                  </a:lnTo>
                  <a:lnTo>
                    <a:pt x="23" y="445"/>
                  </a:lnTo>
                  <a:lnTo>
                    <a:pt x="31" y="435"/>
                  </a:lnTo>
                  <a:lnTo>
                    <a:pt x="38" y="422"/>
                  </a:lnTo>
                  <a:lnTo>
                    <a:pt x="45" y="397"/>
                  </a:lnTo>
                  <a:lnTo>
                    <a:pt x="54" y="369"/>
                  </a:lnTo>
                  <a:lnTo>
                    <a:pt x="58" y="361"/>
                  </a:lnTo>
                  <a:lnTo>
                    <a:pt x="62" y="351"/>
                  </a:lnTo>
                  <a:lnTo>
                    <a:pt x="64" y="340"/>
                  </a:lnTo>
                  <a:lnTo>
                    <a:pt x="65" y="328"/>
                  </a:lnTo>
                  <a:lnTo>
                    <a:pt x="67" y="302"/>
                  </a:lnTo>
                  <a:lnTo>
                    <a:pt x="67" y="277"/>
                  </a:lnTo>
                  <a:lnTo>
                    <a:pt x="67" y="274"/>
                  </a:lnTo>
                  <a:lnTo>
                    <a:pt x="68" y="272"/>
                  </a:lnTo>
                  <a:lnTo>
                    <a:pt x="70" y="269"/>
                  </a:lnTo>
                  <a:lnTo>
                    <a:pt x="73" y="268"/>
                  </a:lnTo>
                  <a:lnTo>
                    <a:pt x="80" y="265"/>
                  </a:lnTo>
                  <a:lnTo>
                    <a:pt x="88" y="264"/>
                  </a:lnTo>
                  <a:lnTo>
                    <a:pt x="96" y="263"/>
                  </a:lnTo>
                  <a:lnTo>
                    <a:pt x="103" y="262"/>
                  </a:lnTo>
                  <a:lnTo>
                    <a:pt x="110" y="261"/>
                  </a:lnTo>
                  <a:lnTo>
                    <a:pt x="113" y="258"/>
                  </a:lnTo>
                  <a:lnTo>
                    <a:pt x="119" y="253"/>
                  </a:lnTo>
                  <a:lnTo>
                    <a:pt x="124" y="247"/>
                  </a:lnTo>
                  <a:lnTo>
                    <a:pt x="129" y="239"/>
                  </a:lnTo>
                  <a:lnTo>
                    <a:pt x="132" y="231"/>
                  </a:lnTo>
                  <a:lnTo>
                    <a:pt x="134" y="222"/>
                  </a:lnTo>
                  <a:lnTo>
                    <a:pt x="136" y="213"/>
                  </a:lnTo>
                  <a:lnTo>
                    <a:pt x="137" y="202"/>
                  </a:lnTo>
                  <a:lnTo>
                    <a:pt x="140" y="192"/>
                  </a:lnTo>
                  <a:lnTo>
                    <a:pt x="141" y="152"/>
                  </a:lnTo>
                  <a:lnTo>
                    <a:pt x="140" y="117"/>
                  </a:lnTo>
                  <a:lnTo>
                    <a:pt x="141" y="114"/>
                  </a:lnTo>
                  <a:lnTo>
                    <a:pt x="143" y="110"/>
                  </a:lnTo>
                  <a:lnTo>
                    <a:pt x="145" y="107"/>
                  </a:lnTo>
                  <a:lnTo>
                    <a:pt x="150" y="104"/>
                  </a:lnTo>
                  <a:lnTo>
                    <a:pt x="159" y="98"/>
                  </a:lnTo>
                  <a:lnTo>
                    <a:pt x="170" y="91"/>
                  </a:lnTo>
                  <a:lnTo>
                    <a:pt x="193" y="83"/>
                  </a:lnTo>
                  <a:lnTo>
                    <a:pt x="207" y="80"/>
                  </a:lnTo>
                  <a:lnTo>
                    <a:pt x="210" y="77"/>
                  </a:lnTo>
                  <a:lnTo>
                    <a:pt x="213" y="74"/>
                  </a:lnTo>
                  <a:lnTo>
                    <a:pt x="217" y="70"/>
                  </a:lnTo>
                  <a:lnTo>
                    <a:pt x="219" y="66"/>
                  </a:lnTo>
                  <a:lnTo>
                    <a:pt x="224" y="56"/>
                  </a:lnTo>
                  <a:lnTo>
                    <a:pt x="227" y="45"/>
                  </a:lnTo>
                  <a:lnTo>
                    <a:pt x="234" y="21"/>
                  </a:lnTo>
                  <a:lnTo>
                    <a:pt x="240" y="0"/>
                  </a:lnTo>
                  <a:lnTo>
                    <a:pt x="251" y="7"/>
                  </a:lnTo>
                  <a:lnTo>
                    <a:pt x="260" y="15"/>
                  </a:lnTo>
                  <a:lnTo>
                    <a:pt x="269" y="23"/>
                  </a:lnTo>
                  <a:lnTo>
                    <a:pt x="277" y="31"/>
                  </a:lnTo>
                  <a:lnTo>
                    <a:pt x="286" y="39"/>
                  </a:lnTo>
                  <a:lnTo>
                    <a:pt x="294" y="44"/>
                  </a:lnTo>
                  <a:lnTo>
                    <a:pt x="300" y="47"/>
                  </a:lnTo>
                  <a:lnTo>
                    <a:pt x="305" y="48"/>
                  </a:lnTo>
                  <a:lnTo>
                    <a:pt x="312" y="49"/>
                  </a:lnTo>
                  <a:lnTo>
                    <a:pt x="320" y="49"/>
                  </a:lnTo>
                  <a:lnTo>
                    <a:pt x="325" y="75"/>
                  </a:lnTo>
                  <a:lnTo>
                    <a:pt x="332" y="99"/>
                  </a:lnTo>
                  <a:lnTo>
                    <a:pt x="335" y="110"/>
                  </a:lnTo>
                  <a:lnTo>
                    <a:pt x="337" y="122"/>
                  </a:lnTo>
                  <a:lnTo>
                    <a:pt x="338" y="134"/>
                  </a:lnTo>
                  <a:lnTo>
                    <a:pt x="339" y="147"/>
                  </a:lnTo>
                  <a:lnTo>
                    <a:pt x="338" y="155"/>
                  </a:lnTo>
                  <a:lnTo>
                    <a:pt x="337" y="161"/>
                  </a:lnTo>
                  <a:lnTo>
                    <a:pt x="335" y="167"/>
                  </a:lnTo>
                  <a:lnTo>
                    <a:pt x="332" y="173"/>
                  </a:lnTo>
                  <a:lnTo>
                    <a:pt x="324" y="183"/>
                  </a:lnTo>
                  <a:lnTo>
                    <a:pt x="316" y="194"/>
                  </a:lnTo>
                  <a:lnTo>
                    <a:pt x="308" y="204"/>
                  </a:lnTo>
                  <a:lnTo>
                    <a:pt x="300" y="216"/>
                  </a:lnTo>
                  <a:lnTo>
                    <a:pt x="297" y="221"/>
                  </a:lnTo>
                  <a:lnTo>
                    <a:pt x="294" y="227"/>
                  </a:lnTo>
                  <a:lnTo>
                    <a:pt x="293" y="233"/>
                  </a:lnTo>
                  <a:lnTo>
                    <a:pt x="292" y="240"/>
                  </a:lnTo>
                  <a:lnTo>
                    <a:pt x="293" y="245"/>
                  </a:lnTo>
                  <a:lnTo>
                    <a:pt x="294" y="250"/>
                  </a:lnTo>
                  <a:lnTo>
                    <a:pt x="297" y="253"/>
                  </a:lnTo>
                  <a:lnTo>
                    <a:pt x="300" y="256"/>
                  </a:lnTo>
                  <a:lnTo>
                    <a:pt x="304" y="258"/>
                  </a:lnTo>
                  <a:lnTo>
                    <a:pt x="309" y="261"/>
                  </a:lnTo>
                  <a:lnTo>
                    <a:pt x="313" y="262"/>
                  </a:lnTo>
                  <a:lnTo>
                    <a:pt x="319" y="264"/>
                  </a:lnTo>
                  <a:lnTo>
                    <a:pt x="330" y="266"/>
                  </a:lnTo>
                  <a:lnTo>
                    <a:pt x="341" y="268"/>
                  </a:lnTo>
                  <a:lnTo>
                    <a:pt x="346" y="270"/>
                  </a:lnTo>
                  <a:lnTo>
                    <a:pt x="350" y="272"/>
                  </a:lnTo>
                  <a:lnTo>
                    <a:pt x="355" y="274"/>
                  </a:lnTo>
                  <a:lnTo>
                    <a:pt x="359" y="277"/>
                  </a:lnTo>
                  <a:lnTo>
                    <a:pt x="366" y="284"/>
                  </a:lnTo>
                  <a:lnTo>
                    <a:pt x="371" y="291"/>
                  </a:lnTo>
                  <a:lnTo>
                    <a:pt x="375" y="298"/>
                  </a:lnTo>
                  <a:lnTo>
                    <a:pt x="378" y="304"/>
                  </a:lnTo>
                  <a:lnTo>
                    <a:pt x="384" y="319"/>
                  </a:lnTo>
                  <a:lnTo>
                    <a:pt x="392" y="333"/>
                  </a:lnTo>
                  <a:lnTo>
                    <a:pt x="398" y="345"/>
                  </a:lnTo>
                  <a:lnTo>
                    <a:pt x="404" y="359"/>
                  </a:lnTo>
                  <a:lnTo>
                    <a:pt x="411" y="374"/>
                  </a:lnTo>
                  <a:lnTo>
                    <a:pt x="420" y="387"/>
                  </a:lnTo>
                  <a:lnTo>
                    <a:pt x="425" y="394"/>
                  </a:lnTo>
                  <a:lnTo>
                    <a:pt x="430" y="400"/>
                  </a:lnTo>
                  <a:lnTo>
                    <a:pt x="436" y="405"/>
                  </a:lnTo>
                  <a:lnTo>
                    <a:pt x="442" y="409"/>
                  </a:lnTo>
                  <a:lnTo>
                    <a:pt x="448" y="413"/>
                  </a:lnTo>
                  <a:lnTo>
                    <a:pt x="456" y="416"/>
                  </a:lnTo>
                  <a:lnTo>
                    <a:pt x="464" y="418"/>
                  </a:lnTo>
                  <a:lnTo>
                    <a:pt x="472" y="418"/>
                  </a:lnTo>
                  <a:lnTo>
                    <a:pt x="477" y="418"/>
                  </a:lnTo>
                  <a:lnTo>
                    <a:pt x="487" y="418"/>
                  </a:lnTo>
                  <a:lnTo>
                    <a:pt x="498" y="418"/>
                  </a:lnTo>
                  <a:lnTo>
                    <a:pt x="505" y="418"/>
                  </a:lnTo>
                  <a:lnTo>
                    <a:pt x="499" y="439"/>
                  </a:lnTo>
                  <a:lnTo>
                    <a:pt x="489" y="460"/>
                  </a:lnTo>
                  <a:lnTo>
                    <a:pt x="483" y="470"/>
                  </a:lnTo>
                  <a:lnTo>
                    <a:pt x="479" y="482"/>
                  </a:lnTo>
                  <a:lnTo>
                    <a:pt x="476" y="494"/>
                  </a:lnTo>
                  <a:lnTo>
                    <a:pt x="472" y="505"/>
                  </a:lnTo>
                  <a:lnTo>
                    <a:pt x="479" y="499"/>
                  </a:lnTo>
                  <a:lnTo>
                    <a:pt x="458" y="503"/>
                  </a:lnTo>
                  <a:lnTo>
                    <a:pt x="437" y="507"/>
                  </a:lnTo>
                  <a:lnTo>
                    <a:pt x="427" y="510"/>
                  </a:lnTo>
                  <a:lnTo>
                    <a:pt x="417" y="512"/>
                  </a:lnTo>
                  <a:lnTo>
                    <a:pt x="408" y="515"/>
                  </a:lnTo>
                  <a:lnTo>
                    <a:pt x="399" y="519"/>
                  </a:lnTo>
                  <a:lnTo>
                    <a:pt x="391" y="523"/>
                  </a:lnTo>
                  <a:lnTo>
                    <a:pt x="383" y="528"/>
                  </a:lnTo>
                  <a:lnTo>
                    <a:pt x="376" y="534"/>
                  </a:lnTo>
                  <a:lnTo>
                    <a:pt x="370" y="543"/>
                  </a:lnTo>
                  <a:lnTo>
                    <a:pt x="366" y="551"/>
                  </a:lnTo>
                  <a:lnTo>
                    <a:pt x="363" y="561"/>
                  </a:lnTo>
                  <a:lnTo>
                    <a:pt x="360" y="572"/>
                  </a:lnTo>
                  <a:lnTo>
                    <a:pt x="359" y="585"/>
                  </a:lnTo>
                  <a:lnTo>
                    <a:pt x="360" y="601"/>
                  </a:lnTo>
                  <a:lnTo>
                    <a:pt x="363" y="614"/>
                  </a:lnTo>
                  <a:lnTo>
                    <a:pt x="366" y="626"/>
                  </a:lnTo>
                  <a:lnTo>
                    <a:pt x="370" y="637"/>
                  </a:lnTo>
                  <a:lnTo>
                    <a:pt x="376" y="647"/>
                  </a:lnTo>
                  <a:lnTo>
                    <a:pt x="382" y="657"/>
                  </a:lnTo>
                  <a:lnTo>
                    <a:pt x="389" y="666"/>
                  </a:lnTo>
                  <a:lnTo>
                    <a:pt x="395" y="675"/>
                  </a:lnTo>
                  <a:lnTo>
                    <a:pt x="402" y="683"/>
                  </a:lnTo>
                  <a:lnTo>
                    <a:pt x="409" y="692"/>
                  </a:lnTo>
                  <a:lnTo>
                    <a:pt x="415" y="701"/>
                  </a:lnTo>
                  <a:lnTo>
                    <a:pt x="421" y="712"/>
                  </a:lnTo>
                  <a:lnTo>
                    <a:pt x="425" y="723"/>
                  </a:lnTo>
                  <a:lnTo>
                    <a:pt x="430" y="735"/>
                  </a:lnTo>
                  <a:lnTo>
                    <a:pt x="432" y="748"/>
                  </a:lnTo>
                  <a:lnTo>
                    <a:pt x="433" y="764"/>
                  </a:lnTo>
                  <a:lnTo>
                    <a:pt x="432" y="769"/>
                  </a:lnTo>
                  <a:lnTo>
                    <a:pt x="431" y="773"/>
                  </a:lnTo>
                  <a:lnTo>
                    <a:pt x="428" y="776"/>
                  </a:lnTo>
                  <a:lnTo>
                    <a:pt x="425" y="780"/>
                  </a:lnTo>
                  <a:lnTo>
                    <a:pt x="423" y="784"/>
                  </a:lnTo>
                  <a:lnTo>
                    <a:pt x="421" y="789"/>
                  </a:lnTo>
                  <a:lnTo>
                    <a:pt x="420" y="794"/>
                  </a:lnTo>
                  <a:lnTo>
                    <a:pt x="419" y="801"/>
                  </a:lnTo>
                  <a:lnTo>
                    <a:pt x="420" y="809"/>
                  </a:lnTo>
                  <a:lnTo>
                    <a:pt x="421" y="818"/>
                  </a:lnTo>
                  <a:lnTo>
                    <a:pt x="423" y="826"/>
                  </a:lnTo>
                  <a:lnTo>
                    <a:pt x="426" y="834"/>
                  </a:lnTo>
                  <a:lnTo>
                    <a:pt x="435" y="851"/>
                  </a:lnTo>
                  <a:lnTo>
                    <a:pt x="445" y="868"/>
                  </a:lnTo>
                  <a:lnTo>
                    <a:pt x="467" y="903"/>
                  </a:lnTo>
                  <a:lnTo>
                    <a:pt x="486" y="937"/>
                  </a:lnTo>
                  <a:lnTo>
                    <a:pt x="486" y="951"/>
                  </a:lnTo>
                  <a:lnTo>
                    <a:pt x="483" y="965"/>
                  </a:lnTo>
                  <a:lnTo>
                    <a:pt x="482" y="980"/>
                  </a:lnTo>
                  <a:lnTo>
                    <a:pt x="479" y="997"/>
                  </a:lnTo>
                  <a:lnTo>
                    <a:pt x="472" y="1027"/>
                  </a:lnTo>
                  <a:lnTo>
                    <a:pt x="466" y="1057"/>
                  </a:lnTo>
                  <a:lnTo>
                    <a:pt x="458" y="1082"/>
                  </a:lnTo>
                  <a:lnTo>
                    <a:pt x="451" y="1103"/>
                  </a:lnTo>
                  <a:lnTo>
                    <a:pt x="447" y="1116"/>
                  </a:lnTo>
                  <a:lnTo>
                    <a:pt x="446" y="112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793" name="Freeform 263"/>
            <p:cNvSpPr>
              <a:spLocks/>
            </p:cNvSpPr>
            <p:nvPr>
              <p:custDataLst>
                <p:tags r:id="rId185"/>
              </p:custDataLst>
            </p:nvPr>
          </p:nvSpPr>
          <p:spPr bwMode="auto">
            <a:xfrm>
              <a:off x="5101437" y="3628895"/>
              <a:ext cx="96523" cy="70537"/>
            </a:xfrm>
            <a:custGeom>
              <a:avLst/>
              <a:gdLst>
                <a:gd name="T0" fmla="*/ 80963 w 180"/>
                <a:gd name="T1" fmla="*/ 3671 h 112"/>
                <a:gd name="T2" fmla="*/ 76915 w 180"/>
                <a:gd name="T3" fmla="*/ 12587 h 112"/>
                <a:gd name="T4" fmla="*/ 73316 w 180"/>
                <a:gd name="T5" fmla="*/ 20453 h 112"/>
                <a:gd name="T6" fmla="*/ 68369 w 180"/>
                <a:gd name="T7" fmla="*/ 27796 h 112"/>
                <a:gd name="T8" fmla="*/ 63421 w 180"/>
                <a:gd name="T9" fmla="*/ 34613 h 112"/>
                <a:gd name="T10" fmla="*/ 58023 w 180"/>
                <a:gd name="T11" fmla="*/ 41956 h 112"/>
                <a:gd name="T12" fmla="*/ 51726 w 180"/>
                <a:gd name="T13" fmla="*/ 48249 h 112"/>
                <a:gd name="T14" fmla="*/ 45429 w 180"/>
                <a:gd name="T15" fmla="*/ 53494 h 112"/>
                <a:gd name="T16" fmla="*/ 39132 w 180"/>
                <a:gd name="T17" fmla="*/ 58738 h 112"/>
                <a:gd name="T18" fmla="*/ 36883 w 180"/>
                <a:gd name="T19" fmla="*/ 56116 h 112"/>
                <a:gd name="T20" fmla="*/ 35534 w 180"/>
                <a:gd name="T21" fmla="*/ 52969 h 112"/>
                <a:gd name="T22" fmla="*/ 34184 w 180"/>
                <a:gd name="T23" fmla="*/ 49822 h 112"/>
                <a:gd name="T24" fmla="*/ 33285 w 180"/>
                <a:gd name="T25" fmla="*/ 46151 h 112"/>
                <a:gd name="T26" fmla="*/ 31486 w 180"/>
                <a:gd name="T27" fmla="*/ 42480 h 112"/>
                <a:gd name="T28" fmla="*/ 30586 w 180"/>
                <a:gd name="T29" fmla="*/ 38809 h 112"/>
                <a:gd name="T30" fmla="*/ 29237 w 180"/>
                <a:gd name="T31" fmla="*/ 36187 h 112"/>
                <a:gd name="T32" fmla="*/ 26988 w 180"/>
                <a:gd name="T33" fmla="*/ 33040 h 112"/>
                <a:gd name="T34" fmla="*/ 20241 w 180"/>
                <a:gd name="T35" fmla="*/ 25173 h 112"/>
                <a:gd name="T36" fmla="*/ 16193 w 180"/>
                <a:gd name="T37" fmla="*/ 19929 h 112"/>
                <a:gd name="T38" fmla="*/ 13494 w 180"/>
                <a:gd name="T39" fmla="*/ 17307 h 112"/>
                <a:gd name="T40" fmla="*/ 11245 w 180"/>
                <a:gd name="T41" fmla="*/ 16258 h 112"/>
                <a:gd name="T42" fmla="*/ 8096 w 180"/>
                <a:gd name="T43" fmla="*/ 15733 h 112"/>
                <a:gd name="T44" fmla="*/ 0 w 180"/>
                <a:gd name="T45" fmla="*/ 13636 h 112"/>
                <a:gd name="T46" fmla="*/ 11695 w 180"/>
                <a:gd name="T47" fmla="*/ 7342 h 112"/>
                <a:gd name="T48" fmla="*/ 18442 w 180"/>
                <a:gd name="T49" fmla="*/ 4720 h 112"/>
                <a:gd name="T50" fmla="*/ 25188 w 180"/>
                <a:gd name="T51" fmla="*/ 2622 h 112"/>
                <a:gd name="T52" fmla="*/ 33285 w 180"/>
                <a:gd name="T53" fmla="*/ 1573 h 112"/>
                <a:gd name="T54" fmla="*/ 41831 w 180"/>
                <a:gd name="T55" fmla="*/ 524 h 112"/>
                <a:gd name="T56" fmla="*/ 51277 w 180"/>
                <a:gd name="T57" fmla="*/ 0 h 112"/>
                <a:gd name="T58" fmla="*/ 60722 w 180"/>
                <a:gd name="T59" fmla="*/ 524 h 112"/>
                <a:gd name="T60" fmla="*/ 70618 w 180"/>
                <a:gd name="T61" fmla="*/ 1573 h 112"/>
                <a:gd name="T62" fmla="*/ 80963 w 180"/>
                <a:gd name="T63" fmla="*/ 3671 h 112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80" h="112">
                  <a:moveTo>
                    <a:pt x="180" y="7"/>
                  </a:moveTo>
                  <a:lnTo>
                    <a:pt x="171" y="24"/>
                  </a:lnTo>
                  <a:lnTo>
                    <a:pt x="163" y="39"/>
                  </a:lnTo>
                  <a:lnTo>
                    <a:pt x="152" y="53"/>
                  </a:lnTo>
                  <a:lnTo>
                    <a:pt x="141" y="66"/>
                  </a:lnTo>
                  <a:lnTo>
                    <a:pt x="129" y="80"/>
                  </a:lnTo>
                  <a:lnTo>
                    <a:pt x="115" y="92"/>
                  </a:lnTo>
                  <a:lnTo>
                    <a:pt x="101" y="102"/>
                  </a:lnTo>
                  <a:lnTo>
                    <a:pt x="87" y="112"/>
                  </a:lnTo>
                  <a:lnTo>
                    <a:pt x="82" y="107"/>
                  </a:lnTo>
                  <a:lnTo>
                    <a:pt x="79" y="101"/>
                  </a:lnTo>
                  <a:lnTo>
                    <a:pt x="76" y="95"/>
                  </a:lnTo>
                  <a:lnTo>
                    <a:pt x="74" y="88"/>
                  </a:lnTo>
                  <a:lnTo>
                    <a:pt x="70" y="81"/>
                  </a:lnTo>
                  <a:lnTo>
                    <a:pt x="68" y="74"/>
                  </a:lnTo>
                  <a:lnTo>
                    <a:pt x="65" y="69"/>
                  </a:lnTo>
                  <a:lnTo>
                    <a:pt x="60" y="63"/>
                  </a:lnTo>
                  <a:lnTo>
                    <a:pt x="45" y="48"/>
                  </a:lnTo>
                  <a:lnTo>
                    <a:pt x="36" y="38"/>
                  </a:lnTo>
                  <a:lnTo>
                    <a:pt x="30" y="33"/>
                  </a:lnTo>
                  <a:lnTo>
                    <a:pt x="25" y="31"/>
                  </a:lnTo>
                  <a:lnTo>
                    <a:pt x="18" y="30"/>
                  </a:lnTo>
                  <a:lnTo>
                    <a:pt x="0" y="26"/>
                  </a:lnTo>
                  <a:lnTo>
                    <a:pt x="26" y="14"/>
                  </a:lnTo>
                  <a:lnTo>
                    <a:pt x="41" y="9"/>
                  </a:lnTo>
                  <a:lnTo>
                    <a:pt x="56" y="5"/>
                  </a:lnTo>
                  <a:lnTo>
                    <a:pt x="74" y="3"/>
                  </a:lnTo>
                  <a:lnTo>
                    <a:pt x="93" y="1"/>
                  </a:lnTo>
                  <a:lnTo>
                    <a:pt x="114" y="0"/>
                  </a:lnTo>
                  <a:lnTo>
                    <a:pt x="135" y="1"/>
                  </a:lnTo>
                  <a:lnTo>
                    <a:pt x="157" y="3"/>
                  </a:lnTo>
                  <a:lnTo>
                    <a:pt x="180" y="7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794" name="Freeform 264"/>
            <p:cNvSpPr>
              <a:spLocks/>
            </p:cNvSpPr>
            <p:nvPr>
              <p:custDataLst>
                <p:tags r:id="rId186"/>
              </p:custDataLst>
            </p:nvPr>
          </p:nvSpPr>
          <p:spPr bwMode="auto">
            <a:xfrm>
              <a:off x="5201745" y="3728028"/>
              <a:ext cx="88952" cy="120102"/>
            </a:xfrm>
            <a:custGeom>
              <a:avLst/>
              <a:gdLst>
                <a:gd name="T0" fmla="*/ 0 w 173"/>
                <a:gd name="T1" fmla="*/ 35421 h 192"/>
                <a:gd name="T2" fmla="*/ 11645 w 173"/>
                <a:gd name="T3" fmla="*/ 21878 h 192"/>
                <a:gd name="T4" fmla="*/ 21995 w 173"/>
                <a:gd name="T5" fmla="*/ 10939 h 192"/>
                <a:gd name="T6" fmla="*/ 24152 w 173"/>
                <a:gd name="T7" fmla="*/ 8334 h 192"/>
                <a:gd name="T8" fmla="*/ 27171 w 173"/>
                <a:gd name="T9" fmla="*/ 6251 h 192"/>
                <a:gd name="T10" fmla="*/ 30190 w 173"/>
                <a:gd name="T11" fmla="*/ 4167 h 192"/>
                <a:gd name="T12" fmla="*/ 32778 w 173"/>
                <a:gd name="T13" fmla="*/ 3125 h 192"/>
                <a:gd name="T14" fmla="*/ 35797 w 173"/>
                <a:gd name="T15" fmla="*/ 1563 h 192"/>
                <a:gd name="T16" fmla="*/ 38815 w 173"/>
                <a:gd name="T17" fmla="*/ 1042 h 192"/>
                <a:gd name="T18" fmla="*/ 42266 w 173"/>
                <a:gd name="T19" fmla="*/ 521 h 192"/>
                <a:gd name="T20" fmla="*/ 46147 w 173"/>
                <a:gd name="T21" fmla="*/ 0 h 192"/>
                <a:gd name="T22" fmla="*/ 50029 w 173"/>
                <a:gd name="T23" fmla="*/ 521 h 192"/>
                <a:gd name="T24" fmla="*/ 53479 w 173"/>
                <a:gd name="T25" fmla="*/ 1042 h 192"/>
                <a:gd name="T26" fmla="*/ 56929 w 173"/>
                <a:gd name="T27" fmla="*/ 2605 h 192"/>
                <a:gd name="T28" fmla="*/ 59948 w 173"/>
                <a:gd name="T29" fmla="*/ 4167 h 192"/>
                <a:gd name="T30" fmla="*/ 62536 w 173"/>
                <a:gd name="T31" fmla="*/ 6772 h 192"/>
                <a:gd name="T32" fmla="*/ 65124 w 173"/>
                <a:gd name="T33" fmla="*/ 9897 h 192"/>
                <a:gd name="T34" fmla="*/ 66849 w 173"/>
                <a:gd name="T35" fmla="*/ 12502 h 192"/>
                <a:gd name="T36" fmla="*/ 69005 w 173"/>
                <a:gd name="T37" fmla="*/ 15627 h 192"/>
                <a:gd name="T38" fmla="*/ 70299 w 173"/>
                <a:gd name="T39" fmla="*/ 19273 h 192"/>
                <a:gd name="T40" fmla="*/ 71593 w 173"/>
                <a:gd name="T41" fmla="*/ 22399 h 192"/>
                <a:gd name="T42" fmla="*/ 72456 w 173"/>
                <a:gd name="T43" fmla="*/ 26045 h 192"/>
                <a:gd name="T44" fmla="*/ 72887 w 173"/>
                <a:gd name="T45" fmla="*/ 29691 h 192"/>
                <a:gd name="T46" fmla="*/ 74181 w 173"/>
                <a:gd name="T47" fmla="*/ 37505 h 192"/>
                <a:gd name="T48" fmla="*/ 74612 w 173"/>
                <a:gd name="T49" fmla="*/ 45318 h 192"/>
                <a:gd name="T50" fmla="*/ 67711 w 173"/>
                <a:gd name="T51" fmla="*/ 59383 h 192"/>
                <a:gd name="T52" fmla="*/ 62967 w 173"/>
                <a:gd name="T53" fmla="*/ 71363 h 192"/>
                <a:gd name="T54" fmla="*/ 59948 w 173"/>
                <a:gd name="T55" fmla="*/ 77093 h 192"/>
                <a:gd name="T56" fmla="*/ 56067 w 173"/>
                <a:gd name="T57" fmla="*/ 83344 h 192"/>
                <a:gd name="T58" fmla="*/ 50460 w 173"/>
                <a:gd name="T59" fmla="*/ 90637 h 192"/>
                <a:gd name="T60" fmla="*/ 42697 w 173"/>
                <a:gd name="T61" fmla="*/ 100013 h 192"/>
                <a:gd name="T62" fmla="*/ 37090 w 173"/>
                <a:gd name="T63" fmla="*/ 95325 h 192"/>
                <a:gd name="T64" fmla="*/ 31915 w 173"/>
                <a:gd name="T65" fmla="*/ 91679 h 192"/>
                <a:gd name="T66" fmla="*/ 27171 w 173"/>
                <a:gd name="T67" fmla="*/ 88032 h 192"/>
                <a:gd name="T68" fmla="*/ 23289 w 173"/>
                <a:gd name="T69" fmla="*/ 84907 h 192"/>
                <a:gd name="T70" fmla="*/ 19839 w 173"/>
                <a:gd name="T71" fmla="*/ 81261 h 192"/>
                <a:gd name="T72" fmla="*/ 17251 w 173"/>
                <a:gd name="T73" fmla="*/ 78135 h 192"/>
                <a:gd name="T74" fmla="*/ 14664 w 173"/>
                <a:gd name="T75" fmla="*/ 75010 h 192"/>
                <a:gd name="T76" fmla="*/ 12938 w 173"/>
                <a:gd name="T77" fmla="*/ 71363 h 192"/>
                <a:gd name="T78" fmla="*/ 9488 w 173"/>
                <a:gd name="T79" fmla="*/ 64071 h 192"/>
                <a:gd name="T80" fmla="*/ 6901 w 173"/>
                <a:gd name="T81" fmla="*/ 55736 h 192"/>
                <a:gd name="T82" fmla="*/ 3882 w 173"/>
                <a:gd name="T83" fmla="*/ 46881 h 192"/>
                <a:gd name="T84" fmla="*/ 0 w 173"/>
                <a:gd name="T85" fmla="*/ 35421 h 192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73" h="192">
                  <a:moveTo>
                    <a:pt x="0" y="68"/>
                  </a:moveTo>
                  <a:lnTo>
                    <a:pt x="27" y="42"/>
                  </a:lnTo>
                  <a:lnTo>
                    <a:pt x="51" y="21"/>
                  </a:lnTo>
                  <a:lnTo>
                    <a:pt x="56" y="16"/>
                  </a:lnTo>
                  <a:lnTo>
                    <a:pt x="63" y="12"/>
                  </a:lnTo>
                  <a:lnTo>
                    <a:pt x="70" y="8"/>
                  </a:lnTo>
                  <a:lnTo>
                    <a:pt x="76" y="6"/>
                  </a:lnTo>
                  <a:lnTo>
                    <a:pt x="83" y="3"/>
                  </a:lnTo>
                  <a:lnTo>
                    <a:pt x="90" y="2"/>
                  </a:lnTo>
                  <a:lnTo>
                    <a:pt x="98" y="1"/>
                  </a:lnTo>
                  <a:lnTo>
                    <a:pt x="107" y="0"/>
                  </a:lnTo>
                  <a:lnTo>
                    <a:pt x="116" y="1"/>
                  </a:lnTo>
                  <a:lnTo>
                    <a:pt x="124" y="2"/>
                  </a:lnTo>
                  <a:lnTo>
                    <a:pt x="132" y="5"/>
                  </a:lnTo>
                  <a:lnTo>
                    <a:pt x="139" y="8"/>
                  </a:lnTo>
                  <a:lnTo>
                    <a:pt x="145" y="13"/>
                  </a:lnTo>
                  <a:lnTo>
                    <a:pt x="151" y="19"/>
                  </a:lnTo>
                  <a:lnTo>
                    <a:pt x="155" y="24"/>
                  </a:lnTo>
                  <a:lnTo>
                    <a:pt x="160" y="30"/>
                  </a:lnTo>
                  <a:lnTo>
                    <a:pt x="163" y="37"/>
                  </a:lnTo>
                  <a:lnTo>
                    <a:pt x="166" y="43"/>
                  </a:lnTo>
                  <a:lnTo>
                    <a:pt x="168" y="50"/>
                  </a:lnTo>
                  <a:lnTo>
                    <a:pt x="169" y="57"/>
                  </a:lnTo>
                  <a:lnTo>
                    <a:pt x="172" y="72"/>
                  </a:lnTo>
                  <a:lnTo>
                    <a:pt x="173" y="87"/>
                  </a:lnTo>
                  <a:lnTo>
                    <a:pt x="157" y="114"/>
                  </a:lnTo>
                  <a:lnTo>
                    <a:pt x="146" y="137"/>
                  </a:lnTo>
                  <a:lnTo>
                    <a:pt x="139" y="148"/>
                  </a:lnTo>
                  <a:lnTo>
                    <a:pt x="130" y="160"/>
                  </a:lnTo>
                  <a:lnTo>
                    <a:pt x="117" y="174"/>
                  </a:lnTo>
                  <a:lnTo>
                    <a:pt x="99" y="192"/>
                  </a:lnTo>
                  <a:lnTo>
                    <a:pt x="86" y="183"/>
                  </a:lnTo>
                  <a:lnTo>
                    <a:pt x="74" y="176"/>
                  </a:lnTo>
                  <a:lnTo>
                    <a:pt x="63" y="169"/>
                  </a:lnTo>
                  <a:lnTo>
                    <a:pt x="54" y="163"/>
                  </a:lnTo>
                  <a:lnTo>
                    <a:pt x="46" y="156"/>
                  </a:lnTo>
                  <a:lnTo>
                    <a:pt x="40" y="150"/>
                  </a:lnTo>
                  <a:lnTo>
                    <a:pt x="34" y="144"/>
                  </a:lnTo>
                  <a:lnTo>
                    <a:pt x="30" y="137"/>
                  </a:lnTo>
                  <a:lnTo>
                    <a:pt x="22" y="123"/>
                  </a:lnTo>
                  <a:lnTo>
                    <a:pt x="16" y="107"/>
                  </a:lnTo>
                  <a:lnTo>
                    <a:pt x="9" y="90"/>
                  </a:lnTo>
                  <a:lnTo>
                    <a:pt x="0" y="6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795" name="Freeform 265"/>
            <p:cNvSpPr>
              <a:spLocks/>
            </p:cNvSpPr>
            <p:nvPr>
              <p:custDataLst>
                <p:tags r:id="rId187"/>
              </p:custDataLst>
            </p:nvPr>
          </p:nvSpPr>
          <p:spPr bwMode="auto">
            <a:xfrm>
              <a:off x="5252845" y="3789032"/>
              <a:ext cx="124912" cy="158230"/>
            </a:xfrm>
            <a:custGeom>
              <a:avLst/>
              <a:gdLst>
                <a:gd name="T0" fmla="*/ 33276 w 233"/>
                <a:gd name="T1" fmla="*/ 0 h 252"/>
                <a:gd name="T2" fmla="*/ 37323 w 233"/>
                <a:gd name="T3" fmla="*/ 1046 h 252"/>
                <a:gd name="T4" fmla="*/ 40021 w 233"/>
                <a:gd name="T5" fmla="*/ 1569 h 252"/>
                <a:gd name="T6" fmla="*/ 42719 w 233"/>
                <a:gd name="T7" fmla="*/ 1569 h 252"/>
                <a:gd name="T8" fmla="*/ 44518 w 233"/>
                <a:gd name="T9" fmla="*/ 1046 h 252"/>
                <a:gd name="T10" fmla="*/ 47666 w 233"/>
                <a:gd name="T11" fmla="*/ 523 h 252"/>
                <a:gd name="T12" fmla="*/ 50814 w 233"/>
                <a:gd name="T13" fmla="*/ 0 h 252"/>
                <a:gd name="T14" fmla="*/ 56210 w 233"/>
                <a:gd name="T15" fmla="*/ 8889 h 252"/>
                <a:gd name="T16" fmla="*/ 62955 w 233"/>
                <a:gd name="T17" fmla="*/ 19346 h 252"/>
                <a:gd name="T18" fmla="*/ 64754 w 233"/>
                <a:gd name="T19" fmla="*/ 21961 h 252"/>
                <a:gd name="T20" fmla="*/ 66552 w 233"/>
                <a:gd name="T21" fmla="*/ 24052 h 252"/>
                <a:gd name="T22" fmla="*/ 68801 w 233"/>
                <a:gd name="T23" fmla="*/ 25621 h 252"/>
                <a:gd name="T24" fmla="*/ 70599 w 233"/>
                <a:gd name="T25" fmla="*/ 27189 h 252"/>
                <a:gd name="T26" fmla="*/ 73298 w 233"/>
                <a:gd name="T27" fmla="*/ 28235 h 252"/>
                <a:gd name="T28" fmla="*/ 75546 w 233"/>
                <a:gd name="T29" fmla="*/ 29281 h 252"/>
                <a:gd name="T30" fmla="*/ 78244 w 233"/>
                <a:gd name="T31" fmla="*/ 29281 h 252"/>
                <a:gd name="T32" fmla="*/ 80942 w 233"/>
                <a:gd name="T33" fmla="*/ 29281 h 252"/>
                <a:gd name="T34" fmla="*/ 80942 w 233"/>
                <a:gd name="T35" fmla="*/ 41830 h 252"/>
                <a:gd name="T36" fmla="*/ 86788 w 233"/>
                <a:gd name="T37" fmla="*/ 53856 h 252"/>
                <a:gd name="T38" fmla="*/ 95332 w 233"/>
                <a:gd name="T39" fmla="*/ 66927 h 252"/>
                <a:gd name="T40" fmla="*/ 96681 w 233"/>
                <a:gd name="T41" fmla="*/ 70587 h 252"/>
                <a:gd name="T42" fmla="*/ 98929 w 233"/>
                <a:gd name="T43" fmla="*/ 74247 h 252"/>
                <a:gd name="T44" fmla="*/ 100278 w 233"/>
                <a:gd name="T45" fmla="*/ 78953 h 252"/>
                <a:gd name="T46" fmla="*/ 101627 w 233"/>
                <a:gd name="T47" fmla="*/ 83659 h 252"/>
                <a:gd name="T48" fmla="*/ 103426 w 233"/>
                <a:gd name="T49" fmla="*/ 88888 h 252"/>
                <a:gd name="T50" fmla="*/ 104325 w 233"/>
                <a:gd name="T51" fmla="*/ 94116 h 252"/>
                <a:gd name="T52" fmla="*/ 104775 w 233"/>
                <a:gd name="T53" fmla="*/ 99868 h 252"/>
                <a:gd name="T54" fmla="*/ 104775 w 233"/>
                <a:gd name="T55" fmla="*/ 106665 h 252"/>
                <a:gd name="T56" fmla="*/ 104325 w 233"/>
                <a:gd name="T57" fmla="*/ 112940 h 252"/>
                <a:gd name="T58" fmla="*/ 103426 w 233"/>
                <a:gd name="T59" fmla="*/ 119214 h 252"/>
                <a:gd name="T60" fmla="*/ 102077 w 233"/>
                <a:gd name="T61" fmla="*/ 125489 h 252"/>
                <a:gd name="T62" fmla="*/ 101627 w 233"/>
                <a:gd name="T63" fmla="*/ 131763 h 252"/>
                <a:gd name="T64" fmla="*/ 99829 w 233"/>
                <a:gd name="T65" fmla="*/ 131763 h 252"/>
                <a:gd name="T66" fmla="*/ 96681 w 233"/>
                <a:gd name="T67" fmla="*/ 130717 h 252"/>
                <a:gd name="T68" fmla="*/ 93533 w 233"/>
                <a:gd name="T69" fmla="*/ 128626 h 252"/>
                <a:gd name="T70" fmla="*/ 89036 w 233"/>
                <a:gd name="T71" fmla="*/ 126011 h 252"/>
                <a:gd name="T72" fmla="*/ 79143 w 233"/>
                <a:gd name="T73" fmla="*/ 118168 h 252"/>
                <a:gd name="T74" fmla="*/ 67901 w 233"/>
                <a:gd name="T75" fmla="*/ 108757 h 252"/>
                <a:gd name="T76" fmla="*/ 56210 w 233"/>
                <a:gd name="T77" fmla="*/ 97254 h 252"/>
                <a:gd name="T78" fmla="*/ 44968 w 233"/>
                <a:gd name="T79" fmla="*/ 86273 h 252"/>
                <a:gd name="T80" fmla="*/ 35075 w 233"/>
                <a:gd name="T81" fmla="*/ 75816 h 252"/>
                <a:gd name="T82" fmla="*/ 27430 w 233"/>
                <a:gd name="T83" fmla="*/ 67450 h 252"/>
                <a:gd name="T84" fmla="*/ 24732 w 233"/>
                <a:gd name="T85" fmla="*/ 65359 h 252"/>
                <a:gd name="T86" fmla="*/ 21585 w 233"/>
                <a:gd name="T87" fmla="*/ 62744 h 252"/>
                <a:gd name="T88" fmla="*/ 18437 w 233"/>
                <a:gd name="T89" fmla="*/ 60653 h 252"/>
                <a:gd name="T90" fmla="*/ 14839 w 233"/>
                <a:gd name="T91" fmla="*/ 58561 h 252"/>
                <a:gd name="T92" fmla="*/ 7645 w 233"/>
                <a:gd name="T93" fmla="*/ 54378 h 252"/>
                <a:gd name="T94" fmla="*/ 0 w 233"/>
                <a:gd name="T95" fmla="*/ 51764 h 252"/>
                <a:gd name="T96" fmla="*/ 17987 w 233"/>
                <a:gd name="T97" fmla="*/ 32941 h 252"/>
                <a:gd name="T98" fmla="*/ 26531 w 233"/>
                <a:gd name="T99" fmla="*/ 22483 h 252"/>
                <a:gd name="T100" fmla="*/ 29229 w 233"/>
                <a:gd name="T101" fmla="*/ 17255 h 252"/>
                <a:gd name="T102" fmla="*/ 31028 w 233"/>
                <a:gd name="T103" fmla="*/ 13072 h 252"/>
                <a:gd name="T104" fmla="*/ 32377 w 233"/>
                <a:gd name="T105" fmla="*/ 7320 h 252"/>
                <a:gd name="T106" fmla="*/ 33276 w 233"/>
                <a:gd name="T107" fmla="*/ 0 h 2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3" h="252">
                  <a:moveTo>
                    <a:pt x="74" y="0"/>
                  </a:moveTo>
                  <a:lnTo>
                    <a:pt x="83" y="2"/>
                  </a:lnTo>
                  <a:lnTo>
                    <a:pt x="89" y="3"/>
                  </a:lnTo>
                  <a:lnTo>
                    <a:pt x="95" y="3"/>
                  </a:lnTo>
                  <a:lnTo>
                    <a:pt x="99" y="2"/>
                  </a:lnTo>
                  <a:lnTo>
                    <a:pt x="106" y="1"/>
                  </a:lnTo>
                  <a:lnTo>
                    <a:pt x="113" y="0"/>
                  </a:lnTo>
                  <a:lnTo>
                    <a:pt x="125" y="17"/>
                  </a:lnTo>
                  <a:lnTo>
                    <a:pt x="140" y="37"/>
                  </a:lnTo>
                  <a:lnTo>
                    <a:pt x="144" y="42"/>
                  </a:lnTo>
                  <a:lnTo>
                    <a:pt x="148" y="46"/>
                  </a:lnTo>
                  <a:lnTo>
                    <a:pt x="153" y="49"/>
                  </a:lnTo>
                  <a:lnTo>
                    <a:pt x="157" y="52"/>
                  </a:lnTo>
                  <a:lnTo>
                    <a:pt x="163" y="54"/>
                  </a:lnTo>
                  <a:lnTo>
                    <a:pt x="168" y="56"/>
                  </a:lnTo>
                  <a:lnTo>
                    <a:pt x="174" y="56"/>
                  </a:lnTo>
                  <a:lnTo>
                    <a:pt x="180" y="56"/>
                  </a:lnTo>
                  <a:lnTo>
                    <a:pt x="180" y="80"/>
                  </a:lnTo>
                  <a:lnTo>
                    <a:pt x="193" y="103"/>
                  </a:lnTo>
                  <a:lnTo>
                    <a:pt x="212" y="128"/>
                  </a:lnTo>
                  <a:lnTo>
                    <a:pt x="215" y="135"/>
                  </a:lnTo>
                  <a:lnTo>
                    <a:pt x="220" y="142"/>
                  </a:lnTo>
                  <a:lnTo>
                    <a:pt x="223" y="151"/>
                  </a:lnTo>
                  <a:lnTo>
                    <a:pt x="226" y="160"/>
                  </a:lnTo>
                  <a:lnTo>
                    <a:pt x="230" y="170"/>
                  </a:lnTo>
                  <a:lnTo>
                    <a:pt x="232" y="180"/>
                  </a:lnTo>
                  <a:lnTo>
                    <a:pt x="233" y="191"/>
                  </a:lnTo>
                  <a:lnTo>
                    <a:pt x="233" y="204"/>
                  </a:lnTo>
                  <a:lnTo>
                    <a:pt x="232" y="216"/>
                  </a:lnTo>
                  <a:lnTo>
                    <a:pt x="230" y="228"/>
                  </a:lnTo>
                  <a:lnTo>
                    <a:pt x="227" y="240"/>
                  </a:lnTo>
                  <a:lnTo>
                    <a:pt x="226" y="252"/>
                  </a:lnTo>
                  <a:lnTo>
                    <a:pt x="222" y="252"/>
                  </a:lnTo>
                  <a:lnTo>
                    <a:pt x="215" y="250"/>
                  </a:lnTo>
                  <a:lnTo>
                    <a:pt x="208" y="246"/>
                  </a:lnTo>
                  <a:lnTo>
                    <a:pt x="198" y="241"/>
                  </a:lnTo>
                  <a:lnTo>
                    <a:pt x="176" y="226"/>
                  </a:lnTo>
                  <a:lnTo>
                    <a:pt x="151" y="208"/>
                  </a:lnTo>
                  <a:lnTo>
                    <a:pt x="125" y="186"/>
                  </a:lnTo>
                  <a:lnTo>
                    <a:pt x="100" y="165"/>
                  </a:lnTo>
                  <a:lnTo>
                    <a:pt x="78" y="145"/>
                  </a:lnTo>
                  <a:lnTo>
                    <a:pt x="61" y="129"/>
                  </a:lnTo>
                  <a:lnTo>
                    <a:pt x="55" y="125"/>
                  </a:lnTo>
                  <a:lnTo>
                    <a:pt x="48" y="120"/>
                  </a:lnTo>
                  <a:lnTo>
                    <a:pt x="41" y="116"/>
                  </a:lnTo>
                  <a:lnTo>
                    <a:pt x="33" y="112"/>
                  </a:lnTo>
                  <a:lnTo>
                    <a:pt x="17" y="104"/>
                  </a:lnTo>
                  <a:lnTo>
                    <a:pt x="0" y="99"/>
                  </a:lnTo>
                  <a:lnTo>
                    <a:pt x="40" y="63"/>
                  </a:lnTo>
                  <a:lnTo>
                    <a:pt x="59" y="43"/>
                  </a:lnTo>
                  <a:lnTo>
                    <a:pt x="65" y="33"/>
                  </a:lnTo>
                  <a:lnTo>
                    <a:pt x="69" y="25"/>
                  </a:lnTo>
                  <a:lnTo>
                    <a:pt x="72" y="14"/>
                  </a:lnTo>
                  <a:lnTo>
                    <a:pt x="74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796" name="Freeform 266"/>
            <p:cNvSpPr>
              <a:spLocks/>
            </p:cNvSpPr>
            <p:nvPr>
              <p:custDataLst>
                <p:tags r:id="rId188"/>
              </p:custDataLst>
            </p:nvPr>
          </p:nvSpPr>
          <p:spPr bwMode="auto">
            <a:xfrm>
              <a:off x="5508347" y="3691806"/>
              <a:ext cx="124912" cy="242109"/>
            </a:xfrm>
            <a:custGeom>
              <a:avLst/>
              <a:gdLst>
                <a:gd name="T0" fmla="*/ 5537 w 246"/>
                <a:gd name="T1" fmla="*/ 199490 h 380"/>
                <a:gd name="T2" fmla="*/ 5963 w 246"/>
                <a:gd name="T3" fmla="*/ 194715 h 380"/>
                <a:gd name="T4" fmla="*/ 6389 w 246"/>
                <a:gd name="T5" fmla="*/ 190470 h 380"/>
                <a:gd name="T6" fmla="*/ 7666 w 246"/>
                <a:gd name="T7" fmla="*/ 186226 h 380"/>
                <a:gd name="T8" fmla="*/ 8518 w 246"/>
                <a:gd name="T9" fmla="*/ 182512 h 380"/>
                <a:gd name="T10" fmla="*/ 10648 w 246"/>
                <a:gd name="T11" fmla="*/ 176676 h 380"/>
                <a:gd name="T12" fmla="*/ 11074 w 246"/>
                <a:gd name="T13" fmla="*/ 173492 h 380"/>
                <a:gd name="T14" fmla="*/ 10648 w 246"/>
                <a:gd name="T15" fmla="*/ 170309 h 380"/>
                <a:gd name="T16" fmla="*/ 9796 w 246"/>
                <a:gd name="T17" fmla="*/ 166595 h 380"/>
                <a:gd name="T18" fmla="*/ 8092 w 246"/>
                <a:gd name="T19" fmla="*/ 161820 h 380"/>
                <a:gd name="T20" fmla="*/ 5537 w 246"/>
                <a:gd name="T21" fmla="*/ 156515 h 380"/>
                <a:gd name="T22" fmla="*/ 3833 w 246"/>
                <a:gd name="T23" fmla="*/ 151209 h 380"/>
                <a:gd name="T24" fmla="*/ 1704 w 246"/>
                <a:gd name="T25" fmla="*/ 145903 h 380"/>
                <a:gd name="T26" fmla="*/ 426 w 246"/>
                <a:gd name="T27" fmla="*/ 141659 h 380"/>
                <a:gd name="T28" fmla="*/ 0 w 246"/>
                <a:gd name="T29" fmla="*/ 137414 h 380"/>
                <a:gd name="T30" fmla="*/ 426 w 246"/>
                <a:gd name="T31" fmla="*/ 133170 h 380"/>
                <a:gd name="T32" fmla="*/ 852 w 246"/>
                <a:gd name="T33" fmla="*/ 128926 h 380"/>
                <a:gd name="T34" fmla="*/ 1278 w 246"/>
                <a:gd name="T35" fmla="*/ 125212 h 380"/>
                <a:gd name="T36" fmla="*/ 2555 w 246"/>
                <a:gd name="T37" fmla="*/ 122028 h 380"/>
                <a:gd name="T38" fmla="*/ 4685 w 246"/>
                <a:gd name="T39" fmla="*/ 115662 h 380"/>
                <a:gd name="T40" fmla="*/ 8092 w 246"/>
                <a:gd name="T41" fmla="*/ 109825 h 380"/>
                <a:gd name="T42" fmla="*/ 11074 w 246"/>
                <a:gd name="T43" fmla="*/ 104520 h 380"/>
                <a:gd name="T44" fmla="*/ 14481 w 246"/>
                <a:gd name="T45" fmla="*/ 98153 h 380"/>
                <a:gd name="T46" fmla="*/ 17463 w 246"/>
                <a:gd name="T47" fmla="*/ 91787 h 380"/>
                <a:gd name="T48" fmla="*/ 20018 w 246"/>
                <a:gd name="T49" fmla="*/ 84889 h 380"/>
                <a:gd name="T50" fmla="*/ 11074 w 246"/>
                <a:gd name="T51" fmla="*/ 38731 h 380"/>
                <a:gd name="T52" fmla="*/ 11074 w 246"/>
                <a:gd name="T53" fmla="*/ 26528 h 380"/>
                <a:gd name="T54" fmla="*/ 10222 w 246"/>
                <a:gd name="T55" fmla="*/ 17508 h 380"/>
                <a:gd name="T56" fmla="*/ 10222 w 246"/>
                <a:gd name="T57" fmla="*/ 13264 h 380"/>
                <a:gd name="T58" fmla="*/ 10222 w 246"/>
                <a:gd name="T59" fmla="*/ 8489 h 380"/>
                <a:gd name="T60" fmla="*/ 10648 w 246"/>
                <a:gd name="T61" fmla="*/ 4244 h 380"/>
                <a:gd name="T62" fmla="*/ 11074 w 246"/>
                <a:gd name="T63" fmla="*/ 0 h 380"/>
                <a:gd name="T64" fmla="*/ 76665 w 246"/>
                <a:gd name="T65" fmla="*/ 0 h 380"/>
                <a:gd name="T66" fmla="*/ 93701 w 246"/>
                <a:gd name="T67" fmla="*/ 68442 h 380"/>
                <a:gd name="T68" fmla="*/ 93701 w 246"/>
                <a:gd name="T69" fmla="*/ 111417 h 380"/>
                <a:gd name="T70" fmla="*/ 93701 w 246"/>
                <a:gd name="T71" fmla="*/ 116723 h 380"/>
                <a:gd name="T72" fmla="*/ 94127 w 246"/>
                <a:gd name="T73" fmla="*/ 122028 h 380"/>
                <a:gd name="T74" fmla="*/ 94979 w 246"/>
                <a:gd name="T75" fmla="*/ 127334 h 380"/>
                <a:gd name="T76" fmla="*/ 95831 w 246"/>
                <a:gd name="T77" fmla="*/ 132639 h 380"/>
                <a:gd name="T78" fmla="*/ 97109 w 246"/>
                <a:gd name="T79" fmla="*/ 137414 h 380"/>
                <a:gd name="T80" fmla="*/ 99664 w 246"/>
                <a:gd name="T81" fmla="*/ 142190 h 380"/>
                <a:gd name="T82" fmla="*/ 101794 w 246"/>
                <a:gd name="T83" fmla="*/ 147495 h 380"/>
                <a:gd name="T84" fmla="*/ 104775 w 246"/>
                <a:gd name="T85" fmla="*/ 153331 h 380"/>
                <a:gd name="T86" fmla="*/ 95405 w 246"/>
                <a:gd name="T87" fmla="*/ 156515 h 380"/>
                <a:gd name="T88" fmla="*/ 86035 w 246"/>
                <a:gd name="T89" fmla="*/ 160228 h 380"/>
                <a:gd name="T90" fmla="*/ 77091 w 246"/>
                <a:gd name="T91" fmla="*/ 164473 h 380"/>
                <a:gd name="T92" fmla="*/ 68146 w 246"/>
                <a:gd name="T93" fmla="*/ 169248 h 380"/>
                <a:gd name="T94" fmla="*/ 60054 w 246"/>
                <a:gd name="T95" fmla="*/ 174023 h 380"/>
                <a:gd name="T96" fmla="*/ 51110 w 246"/>
                <a:gd name="T97" fmla="*/ 179329 h 380"/>
                <a:gd name="T98" fmla="*/ 42591 w 246"/>
                <a:gd name="T99" fmla="*/ 184104 h 380"/>
                <a:gd name="T100" fmla="*/ 34073 w 246"/>
                <a:gd name="T101" fmla="*/ 189940 h 380"/>
                <a:gd name="T102" fmla="*/ 31944 w 246"/>
                <a:gd name="T103" fmla="*/ 192593 h 380"/>
                <a:gd name="T104" fmla="*/ 29388 w 246"/>
                <a:gd name="T105" fmla="*/ 194715 h 380"/>
                <a:gd name="T106" fmla="*/ 26407 w 246"/>
                <a:gd name="T107" fmla="*/ 197368 h 380"/>
                <a:gd name="T108" fmla="*/ 22999 w 246"/>
                <a:gd name="T109" fmla="*/ 199490 h 380"/>
                <a:gd name="T110" fmla="*/ 19592 w 246"/>
                <a:gd name="T111" fmla="*/ 201081 h 380"/>
                <a:gd name="T112" fmla="*/ 15333 w 246"/>
                <a:gd name="T113" fmla="*/ 201612 h 380"/>
                <a:gd name="T114" fmla="*/ 13203 w 246"/>
                <a:gd name="T115" fmla="*/ 201612 h 380"/>
                <a:gd name="T116" fmla="*/ 10648 w 246"/>
                <a:gd name="T117" fmla="*/ 201081 h 380"/>
                <a:gd name="T118" fmla="*/ 8518 w 246"/>
                <a:gd name="T119" fmla="*/ 200551 h 380"/>
                <a:gd name="T120" fmla="*/ 5537 w 246"/>
                <a:gd name="T121" fmla="*/ 199490 h 38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246" h="380">
                  <a:moveTo>
                    <a:pt x="13" y="376"/>
                  </a:moveTo>
                  <a:lnTo>
                    <a:pt x="14" y="367"/>
                  </a:lnTo>
                  <a:lnTo>
                    <a:pt x="15" y="359"/>
                  </a:lnTo>
                  <a:lnTo>
                    <a:pt x="18" y="351"/>
                  </a:lnTo>
                  <a:lnTo>
                    <a:pt x="20" y="344"/>
                  </a:lnTo>
                  <a:lnTo>
                    <a:pt x="25" y="333"/>
                  </a:lnTo>
                  <a:lnTo>
                    <a:pt x="26" y="327"/>
                  </a:lnTo>
                  <a:lnTo>
                    <a:pt x="25" y="321"/>
                  </a:lnTo>
                  <a:lnTo>
                    <a:pt x="23" y="314"/>
                  </a:lnTo>
                  <a:lnTo>
                    <a:pt x="19" y="305"/>
                  </a:lnTo>
                  <a:lnTo>
                    <a:pt x="13" y="295"/>
                  </a:lnTo>
                  <a:lnTo>
                    <a:pt x="9" y="285"/>
                  </a:lnTo>
                  <a:lnTo>
                    <a:pt x="4" y="275"/>
                  </a:lnTo>
                  <a:lnTo>
                    <a:pt x="1" y="267"/>
                  </a:lnTo>
                  <a:lnTo>
                    <a:pt x="0" y="259"/>
                  </a:lnTo>
                  <a:lnTo>
                    <a:pt x="1" y="251"/>
                  </a:lnTo>
                  <a:lnTo>
                    <a:pt x="2" y="243"/>
                  </a:lnTo>
                  <a:lnTo>
                    <a:pt x="3" y="236"/>
                  </a:lnTo>
                  <a:lnTo>
                    <a:pt x="6" y="230"/>
                  </a:lnTo>
                  <a:lnTo>
                    <a:pt x="11" y="218"/>
                  </a:lnTo>
                  <a:lnTo>
                    <a:pt x="19" y="207"/>
                  </a:lnTo>
                  <a:lnTo>
                    <a:pt x="26" y="197"/>
                  </a:lnTo>
                  <a:lnTo>
                    <a:pt x="34" y="185"/>
                  </a:lnTo>
                  <a:lnTo>
                    <a:pt x="41" y="173"/>
                  </a:lnTo>
                  <a:lnTo>
                    <a:pt x="47" y="160"/>
                  </a:lnTo>
                  <a:lnTo>
                    <a:pt x="26" y="73"/>
                  </a:lnTo>
                  <a:lnTo>
                    <a:pt x="26" y="50"/>
                  </a:lnTo>
                  <a:lnTo>
                    <a:pt x="24" y="33"/>
                  </a:lnTo>
                  <a:lnTo>
                    <a:pt x="24" y="25"/>
                  </a:lnTo>
                  <a:lnTo>
                    <a:pt x="24" y="16"/>
                  </a:lnTo>
                  <a:lnTo>
                    <a:pt x="25" y="8"/>
                  </a:lnTo>
                  <a:lnTo>
                    <a:pt x="26" y="0"/>
                  </a:lnTo>
                  <a:lnTo>
                    <a:pt x="180" y="0"/>
                  </a:lnTo>
                  <a:lnTo>
                    <a:pt x="220" y="129"/>
                  </a:lnTo>
                  <a:lnTo>
                    <a:pt x="220" y="210"/>
                  </a:lnTo>
                  <a:lnTo>
                    <a:pt x="220" y="220"/>
                  </a:lnTo>
                  <a:lnTo>
                    <a:pt x="221" y="230"/>
                  </a:lnTo>
                  <a:lnTo>
                    <a:pt x="223" y="240"/>
                  </a:lnTo>
                  <a:lnTo>
                    <a:pt x="225" y="250"/>
                  </a:lnTo>
                  <a:lnTo>
                    <a:pt x="228" y="259"/>
                  </a:lnTo>
                  <a:lnTo>
                    <a:pt x="234" y="268"/>
                  </a:lnTo>
                  <a:lnTo>
                    <a:pt x="239" y="278"/>
                  </a:lnTo>
                  <a:lnTo>
                    <a:pt x="246" y="289"/>
                  </a:lnTo>
                  <a:lnTo>
                    <a:pt x="224" y="295"/>
                  </a:lnTo>
                  <a:lnTo>
                    <a:pt x="202" y="302"/>
                  </a:lnTo>
                  <a:lnTo>
                    <a:pt x="181" y="310"/>
                  </a:lnTo>
                  <a:lnTo>
                    <a:pt x="160" y="319"/>
                  </a:lnTo>
                  <a:lnTo>
                    <a:pt x="141" y="328"/>
                  </a:lnTo>
                  <a:lnTo>
                    <a:pt x="120" y="338"/>
                  </a:lnTo>
                  <a:lnTo>
                    <a:pt x="100" y="347"/>
                  </a:lnTo>
                  <a:lnTo>
                    <a:pt x="80" y="358"/>
                  </a:lnTo>
                  <a:lnTo>
                    <a:pt x="75" y="363"/>
                  </a:lnTo>
                  <a:lnTo>
                    <a:pt x="69" y="367"/>
                  </a:lnTo>
                  <a:lnTo>
                    <a:pt x="62" y="372"/>
                  </a:lnTo>
                  <a:lnTo>
                    <a:pt x="54" y="376"/>
                  </a:lnTo>
                  <a:lnTo>
                    <a:pt x="46" y="379"/>
                  </a:lnTo>
                  <a:lnTo>
                    <a:pt x="36" y="380"/>
                  </a:lnTo>
                  <a:lnTo>
                    <a:pt x="31" y="380"/>
                  </a:lnTo>
                  <a:lnTo>
                    <a:pt x="25" y="379"/>
                  </a:lnTo>
                  <a:lnTo>
                    <a:pt x="20" y="378"/>
                  </a:lnTo>
                  <a:lnTo>
                    <a:pt x="13" y="37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797" name="Freeform 267"/>
            <p:cNvSpPr>
              <a:spLocks/>
            </p:cNvSpPr>
            <p:nvPr>
              <p:custDataLst>
                <p:tags r:id="rId189"/>
              </p:custDataLst>
            </p:nvPr>
          </p:nvSpPr>
          <p:spPr bwMode="auto">
            <a:xfrm>
              <a:off x="5093867" y="3590767"/>
              <a:ext cx="104094" cy="70537"/>
            </a:xfrm>
            <a:custGeom>
              <a:avLst/>
              <a:gdLst>
                <a:gd name="T0" fmla="*/ 3167 w 193"/>
                <a:gd name="T1" fmla="*/ 30915 h 38"/>
                <a:gd name="T2" fmla="*/ 17191 w 193"/>
                <a:gd name="T3" fmla="*/ 17003 h 38"/>
                <a:gd name="T4" fmla="*/ 30311 w 193"/>
                <a:gd name="T5" fmla="*/ 7729 h 38"/>
                <a:gd name="T6" fmla="*/ 36192 w 193"/>
                <a:gd name="T7" fmla="*/ 4637 h 38"/>
                <a:gd name="T8" fmla="*/ 42526 w 193"/>
                <a:gd name="T9" fmla="*/ 3091 h 38"/>
                <a:gd name="T10" fmla="*/ 49764 w 193"/>
                <a:gd name="T11" fmla="*/ 1546 h 38"/>
                <a:gd name="T12" fmla="*/ 57002 w 193"/>
                <a:gd name="T13" fmla="*/ 0 h 38"/>
                <a:gd name="T14" fmla="*/ 62431 w 193"/>
                <a:gd name="T15" fmla="*/ 1546 h 38"/>
                <a:gd name="T16" fmla="*/ 67407 w 193"/>
                <a:gd name="T17" fmla="*/ 1546 h 38"/>
                <a:gd name="T18" fmla="*/ 72384 w 193"/>
                <a:gd name="T19" fmla="*/ 3091 h 38"/>
                <a:gd name="T20" fmla="*/ 76455 w 193"/>
                <a:gd name="T21" fmla="*/ 6183 h 38"/>
                <a:gd name="T22" fmla="*/ 80527 w 193"/>
                <a:gd name="T23" fmla="*/ 9274 h 38"/>
                <a:gd name="T24" fmla="*/ 83241 w 193"/>
                <a:gd name="T25" fmla="*/ 17003 h 38"/>
                <a:gd name="T26" fmla="*/ 84599 w 193"/>
                <a:gd name="T27" fmla="*/ 20095 h 38"/>
                <a:gd name="T28" fmla="*/ 85503 w 193"/>
                <a:gd name="T29" fmla="*/ 27823 h 38"/>
                <a:gd name="T30" fmla="*/ 86408 w 193"/>
                <a:gd name="T31" fmla="*/ 32460 h 38"/>
                <a:gd name="T32" fmla="*/ 87313 w 193"/>
                <a:gd name="T33" fmla="*/ 40189 h 38"/>
                <a:gd name="T34" fmla="*/ 82789 w 193"/>
                <a:gd name="T35" fmla="*/ 41735 h 38"/>
                <a:gd name="T36" fmla="*/ 78265 w 193"/>
                <a:gd name="T37" fmla="*/ 43281 h 38"/>
                <a:gd name="T38" fmla="*/ 74646 w 193"/>
                <a:gd name="T39" fmla="*/ 43281 h 38"/>
                <a:gd name="T40" fmla="*/ 70574 w 193"/>
                <a:gd name="T41" fmla="*/ 43281 h 38"/>
                <a:gd name="T42" fmla="*/ 62431 w 193"/>
                <a:gd name="T43" fmla="*/ 41735 h 38"/>
                <a:gd name="T44" fmla="*/ 54288 w 193"/>
                <a:gd name="T45" fmla="*/ 40189 h 38"/>
                <a:gd name="T46" fmla="*/ 46597 w 193"/>
                <a:gd name="T47" fmla="*/ 40189 h 38"/>
                <a:gd name="T48" fmla="*/ 40264 w 193"/>
                <a:gd name="T49" fmla="*/ 43281 h 38"/>
                <a:gd name="T50" fmla="*/ 34382 w 193"/>
                <a:gd name="T51" fmla="*/ 46372 h 38"/>
                <a:gd name="T52" fmla="*/ 28501 w 193"/>
                <a:gd name="T53" fmla="*/ 49464 h 38"/>
                <a:gd name="T54" fmla="*/ 22168 w 193"/>
                <a:gd name="T55" fmla="*/ 52555 h 38"/>
                <a:gd name="T56" fmla="*/ 15834 w 193"/>
                <a:gd name="T57" fmla="*/ 55647 h 38"/>
                <a:gd name="T58" fmla="*/ 8596 w 193"/>
                <a:gd name="T59" fmla="*/ 57192 h 38"/>
                <a:gd name="T60" fmla="*/ 0 w 193"/>
                <a:gd name="T61" fmla="*/ 58738 h 38"/>
                <a:gd name="T62" fmla="*/ 0 w 193"/>
                <a:gd name="T63" fmla="*/ 51009 h 38"/>
                <a:gd name="T64" fmla="*/ 452 w 193"/>
                <a:gd name="T65" fmla="*/ 44826 h 38"/>
                <a:gd name="T66" fmla="*/ 1357 w 193"/>
                <a:gd name="T67" fmla="*/ 37098 h 38"/>
                <a:gd name="T68" fmla="*/ 3167 w 193"/>
                <a:gd name="T69" fmla="*/ 30915 h 3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93" h="38">
                  <a:moveTo>
                    <a:pt x="7" y="20"/>
                  </a:moveTo>
                  <a:lnTo>
                    <a:pt x="38" y="11"/>
                  </a:lnTo>
                  <a:lnTo>
                    <a:pt x="67" y="5"/>
                  </a:lnTo>
                  <a:lnTo>
                    <a:pt x="80" y="3"/>
                  </a:lnTo>
                  <a:lnTo>
                    <a:pt x="94" y="2"/>
                  </a:lnTo>
                  <a:lnTo>
                    <a:pt x="110" y="1"/>
                  </a:lnTo>
                  <a:lnTo>
                    <a:pt x="126" y="0"/>
                  </a:lnTo>
                  <a:lnTo>
                    <a:pt x="138" y="1"/>
                  </a:lnTo>
                  <a:lnTo>
                    <a:pt x="149" y="1"/>
                  </a:lnTo>
                  <a:lnTo>
                    <a:pt x="160" y="2"/>
                  </a:lnTo>
                  <a:lnTo>
                    <a:pt x="169" y="4"/>
                  </a:lnTo>
                  <a:lnTo>
                    <a:pt x="178" y="6"/>
                  </a:lnTo>
                  <a:lnTo>
                    <a:pt x="184" y="11"/>
                  </a:lnTo>
                  <a:lnTo>
                    <a:pt x="187" y="13"/>
                  </a:lnTo>
                  <a:lnTo>
                    <a:pt x="189" y="18"/>
                  </a:lnTo>
                  <a:lnTo>
                    <a:pt x="191" y="21"/>
                  </a:lnTo>
                  <a:lnTo>
                    <a:pt x="193" y="26"/>
                  </a:lnTo>
                  <a:lnTo>
                    <a:pt x="183" y="27"/>
                  </a:lnTo>
                  <a:lnTo>
                    <a:pt x="173" y="28"/>
                  </a:lnTo>
                  <a:lnTo>
                    <a:pt x="165" y="28"/>
                  </a:lnTo>
                  <a:lnTo>
                    <a:pt x="156" y="28"/>
                  </a:lnTo>
                  <a:lnTo>
                    <a:pt x="138" y="27"/>
                  </a:lnTo>
                  <a:lnTo>
                    <a:pt x="120" y="26"/>
                  </a:lnTo>
                  <a:lnTo>
                    <a:pt x="103" y="26"/>
                  </a:lnTo>
                  <a:lnTo>
                    <a:pt x="89" y="28"/>
                  </a:lnTo>
                  <a:lnTo>
                    <a:pt x="76" y="30"/>
                  </a:lnTo>
                  <a:lnTo>
                    <a:pt x="63" y="32"/>
                  </a:lnTo>
                  <a:lnTo>
                    <a:pt x="49" y="34"/>
                  </a:lnTo>
                  <a:lnTo>
                    <a:pt x="35" y="36"/>
                  </a:lnTo>
                  <a:lnTo>
                    <a:pt x="19" y="37"/>
                  </a:lnTo>
                  <a:lnTo>
                    <a:pt x="0" y="38"/>
                  </a:lnTo>
                  <a:lnTo>
                    <a:pt x="0" y="33"/>
                  </a:lnTo>
                  <a:lnTo>
                    <a:pt x="1" y="29"/>
                  </a:lnTo>
                  <a:lnTo>
                    <a:pt x="3" y="24"/>
                  </a:lnTo>
                  <a:lnTo>
                    <a:pt x="7" y="2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798" name="Freeform 268"/>
            <p:cNvSpPr>
              <a:spLocks/>
            </p:cNvSpPr>
            <p:nvPr>
              <p:custDataLst>
                <p:tags r:id="rId190"/>
              </p:custDataLst>
            </p:nvPr>
          </p:nvSpPr>
          <p:spPr bwMode="auto">
            <a:xfrm>
              <a:off x="5601084" y="3684182"/>
              <a:ext cx="51101" cy="186825"/>
            </a:xfrm>
            <a:custGeom>
              <a:avLst/>
              <a:gdLst>
                <a:gd name="T0" fmla="*/ 22947 w 99"/>
                <a:gd name="T1" fmla="*/ 6202 h 301"/>
                <a:gd name="T2" fmla="*/ 25545 w 99"/>
                <a:gd name="T3" fmla="*/ 6202 h 301"/>
                <a:gd name="T4" fmla="*/ 25545 w 99"/>
                <a:gd name="T5" fmla="*/ 9820 h 301"/>
                <a:gd name="T6" fmla="*/ 26843 w 99"/>
                <a:gd name="T7" fmla="*/ 13438 h 301"/>
                <a:gd name="T8" fmla="*/ 27276 w 99"/>
                <a:gd name="T9" fmla="*/ 17056 h 301"/>
                <a:gd name="T10" fmla="*/ 28575 w 99"/>
                <a:gd name="T11" fmla="*/ 21708 h 301"/>
                <a:gd name="T12" fmla="*/ 31173 w 99"/>
                <a:gd name="T13" fmla="*/ 29978 h 301"/>
                <a:gd name="T14" fmla="*/ 34204 w 99"/>
                <a:gd name="T15" fmla="*/ 38765 h 301"/>
                <a:gd name="T16" fmla="*/ 37667 w 99"/>
                <a:gd name="T17" fmla="*/ 48068 h 301"/>
                <a:gd name="T18" fmla="*/ 40265 w 99"/>
                <a:gd name="T19" fmla="*/ 57372 h 301"/>
                <a:gd name="T20" fmla="*/ 41564 w 99"/>
                <a:gd name="T21" fmla="*/ 62023 h 301"/>
                <a:gd name="T22" fmla="*/ 42430 w 99"/>
                <a:gd name="T23" fmla="*/ 66675 h 301"/>
                <a:gd name="T24" fmla="*/ 42863 w 99"/>
                <a:gd name="T25" fmla="*/ 71327 h 301"/>
                <a:gd name="T26" fmla="*/ 42863 w 99"/>
                <a:gd name="T27" fmla="*/ 76495 h 301"/>
                <a:gd name="T28" fmla="*/ 42863 w 99"/>
                <a:gd name="T29" fmla="*/ 149373 h 301"/>
                <a:gd name="T30" fmla="*/ 38533 w 99"/>
                <a:gd name="T31" fmla="*/ 149890 h 301"/>
                <a:gd name="T32" fmla="*/ 34637 w 99"/>
                <a:gd name="T33" fmla="*/ 151440 h 301"/>
                <a:gd name="T34" fmla="*/ 31606 w 99"/>
                <a:gd name="T35" fmla="*/ 153508 h 301"/>
                <a:gd name="T36" fmla="*/ 28575 w 99"/>
                <a:gd name="T37" fmla="*/ 155575 h 301"/>
                <a:gd name="T38" fmla="*/ 25545 w 99"/>
                <a:gd name="T39" fmla="*/ 149890 h 301"/>
                <a:gd name="T40" fmla="*/ 23380 w 99"/>
                <a:gd name="T41" fmla="*/ 144721 h 301"/>
                <a:gd name="T42" fmla="*/ 20782 w 99"/>
                <a:gd name="T43" fmla="*/ 140069 h 301"/>
                <a:gd name="T44" fmla="*/ 19483 w 99"/>
                <a:gd name="T45" fmla="*/ 135417 h 301"/>
                <a:gd name="T46" fmla="*/ 18617 w 99"/>
                <a:gd name="T47" fmla="*/ 130249 h 301"/>
                <a:gd name="T48" fmla="*/ 17751 w 99"/>
                <a:gd name="T49" fmla="*/ 125080 h 301"/>
                <a:gd name="T50" fmla="*/ 17318 w 99"/>
                <a:gd name="T51" fmla="*/ 119912 h 301"/>
                <a:gd name="T52" fmla="*/ 17318 w 99"/>
                <a:gd name="T53" fmla="*/ 114743 h 301"/>
                <a:gd name="T54" fmla="*/ 17318 w 99"/>
                <a:gd name="T55" fmla="*/ 72877 h 301"/>
                <a:gd name="T56" fmla="*/ 0 w 99"/>
                <a:gd name="T57" fmla="*/ 3101 h 301"/>
                <a:gd name="T58" fmla="*/ 2165 w 99"/>
                <a:gd name="T59" fmla="*/ 1034 h 301"/>
                <a:gd name="T60" fmla="*/ 4330 w 99"/>
                <a:gd name="T61" fmla="*/ 0 h 301"/>
                <a:gd name="T62" fmla="*/ 6061 w 99"/>
                <a:gd name="T63" fmla="*/ 0 h 301"/>
                <a:gd name="T64" fmla="*/ 8659 w 99"/>
                <a:gd name="T65" fmla="*/ 0 h 301"/>
                <a:gd name="T66" fmla="*/ 11257 w 99"/>
                <a:gd name="T67" fmla="*/ 0 h 301"/>
                <a:gd name="T68" fmla="*/ 13855 w 99"/>
                <a:gd name="T69" fmla="*/ 1034 h 301"/>
                <a:gd name="T70" fmla="*/ 16020 w 99"/>
                <a:gd name="T71" fmla="*/ 2067 h 301"/>
                <a:gd name="T72" fmla="*/ 17751 w 99"/>
                <a:gd name="T73" fmla="*/ 3101 h 301"/>
                <a:gd name="T74" fmla="*/ 20349 w 99"/>
                <a:gd name="T75" fmla="*/ 5169 h 301"/>
                <a:gd name="T76" fmla="*/ 22947 w 99"/>
                <a:gd name="T77" fmla="*/ 6202 h 30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99" h="301">
                  <a:moveTo>
                    <a:pt x="53" y="12"/>
                  </a:moveTo>
                  <a:lnTo>
                    <a:pt x="59" y="12"/>
                  </a:lnTo>
                  <a:lnTo>
                    <a:pt x="59" y="19"/>
                  </a:lnTo>
                  <a:lnTo>
                    <a:pt x="62" y="26"/>
                  </a:lnTo>
                  <a:lnTo>
                    <a:pt x="63" y="33"/>
                  </a:lnTo>
                  <a:lnTo>
                    <a:pt x="66" y="42"/>
                  </a:lnTo>
                  <a:lnTo>
                    <a:pt x="72" y="58"/>
                  </a:lnTo>
                  <a:lnTo>
                    <a:pt x="79" y="75"/>
                  </a:lnTo>
                  <a:lnTo>
                    <a:pt x="87" y="93"/>
                  </a:lnTo>
                  <a:lnTo>
                    <a:pt x="93" y="111"/>
                  </a:lnTo>
                  <a:lnTo>
                    <a:pt x="96" y="120"/>
                  </a:lnTo>
                  <a:lnTo>
                    <a:pt x="98" y="129"/>
                  </a:lnTo>
                  <a:lnTo>
                    <a:pt x="99" y="138"/>
                  </a:lnTo>
                  <a:lnTo>
                    <a:pt x="99" y="148"/>
                  </a:lnTo>
                  <a:lnTo>
                    <a:pt x="99" y="289"/>
                  </a:lnTo>
                  <a:lnTo>
                    <a:pt x="89" y="290"/>
                  </a:lnTo>
                  <a:lnTo>
                    <a:pt x="80" y="293"/>
                  </a:lnTo>
                  <a:lnTo>
                    <a:pt x="73" y="297"/>
                  </a:lnTo>
                  <a:lnTo>
                    <a:pt x="66" y="301"/>
                  </a:lnTo>
                  <a:lnTo>
                    <a:pt x="59" y="290"/>
                  </a:lnTo>
                  <a:lnTo>
                    <a:pt x="54" y="280"/>
                  </a:lnTo>
                  <a:lnTo>
                    <a:pt x="48" y="271"/>
                  </a:lnTo>
                  <a:lnTo>
                    <a:pt x="45" y="262"/>
                  </a:lnTo>
                  <a:lnTo>
                    <a:pt x="43" y="252"/>
                  </a:lnTo>
                  <a:lnTo>
                    <a:pt x="41" y="242"/>
                  </a:lnTo>
                  <a:lnTo>
                    <a:pt x="40" y="232"/>
                  </a:lnTo>
                  <a:lnTo>
                    <a:pt x="40" y="222"/>
                  </a:lnTo>
                  <a:lnTo>
                    <a:pt x="40" y="141"/>
                  </a:lnTo>
                  <a:lnTo>
                    <a:pt x="0" y="6"/>
                  </a:lnTo>
                  <a:lnTo>
                    <a:pt x="5" y="2"/>
                  </a:lnTo>
                  <a:lnTo>
                    <a:pt x="10" y="0"/>
                  </a:lnTo>
                  <a:lnTo>
                    <a:pt x="14" y="0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2" y="2"/>
                  </a:lnTo>
                  <a:lnTo>
                    <a:pt x="37" y="4"/>
                  </a:lnTo>
                  <a:lnTo>
                    <a:pt x="41" y="6"/>
                  </a:lnTo>
                  <a:lnTo>
                    <a:pt x="47" y="10"/>
                  </a:lnTo>
                  <a:lnTo>
                    <a:pt x="53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799" name="Freeform 269"/>
            <p:cNvSpPr>
              <a:spLocks/>
            </p:cNvSpPr>
            <p:nvPr>
              <p:custDataLst>
                <p:tags r:id="rId191"/>
              </p:custDataLst>
            </p:nvPr>
          </p:nvSpPr>
          <p:spPr bwMode="auto">
            <a:xfrm>
              <a:off x="5631364" y="3638427"/>
              <a:ext cx="90845" cy="226858"/>
            </a:xfrm>
            <a:custGeom>
              <a:avLst/>
              <a:gdLst>
                <a:gd name="T0" fmla="*/ 0 w 173"/>
                <a:gd name="T1" fmla="*/ 42333 h 357"/>
                <a:gd name="T2" fmla="*/ 3964 w 173"/>
                <a:gd name="T3" fmla="*/ 38100 h 357"/>
                <a:gd name="T4" fmla="*/ 7488 w 173"/>
                <a:gd name="T5" fmla="*/ 34396 h 357"/>
                <a:gd name="T6" fmla="*/ 11012 w 173"/>
                <a:gd name="T7" fmla="*/ 31750 h 357"/>
                <a:gd name="T8" fmla="*/ 14535 w 173"/>
                <a:gd name="T9" fmla="*/ 29633 h 357"/>
                <a:gd name="T10" fmla="*/ 17618 w 173"/>
                <a:gd name="T11" fmla="*/ 26458 h 357"/>
                <a:gd name="T12" fmla="*/ 29511 w 173"/>
                <a:gd name="T13" fmla="*/ 26458 h 357"/>
                <a:gd name="T14" fmla="*/ 41403 w 173"/>
                <a:gd name="T15" fmla="*/ 0 h 357"/>
                <a:gd name="T16" fmla="*/ 44487 w 173"/>
                <a:gd name="T17" fmla="*/ 1587 h 357"/>
                <a:gd name="T18" fmla="*/ 47570 w 173"/>
                <a:gd name="T19" fmla="*/ 3704 h 357"/>
                <a:gd name="T20" fmla="*/ 51094 w 173"/>
                <a:gd name="T21" fmla="*/ 6350 h 357"/>
                <a:gd name="T22" fmla="*/ 54177 w 173"/>
                <a:gd name="T23" fmla="*/ 9525 h 357"/>
                <a:gd name="T24" fmla="*/ 57701 w 173"/>
                <a:gd name="T25" fmla="*/ 11642 h 357"/>
                <a:gd name="T26" fmla="*/ 61224 w 173"/>
                <a:gd name="T27" fmla="*/ 14287 h 357"/>
                <a:gd name="T28" fmla="*/ 63867 w 173"/>
                <a:gd name="T29" fmla="*/ 15346 h 357"/>
                <a:gd name="T30" fmla="*/ 67391 w 173"/>
                <a:gd name="T31" fmla="*/ 15875 h 357"/>
                <a:gd name="T32" fmla="*/ 71795 w 173"/>
                <a:gd name="T33" fmla="*/ 20637 h 357"/>
                <a:gd name="T34" fmla="*/ 76200 w 173"/>
                <a:gd name="T35" fmla="*/ 26458 h 357"/>
                <a:gd name="T36" fmla="*/ 76200 w 173"/>
                <a:gd name="T37" fmla="*/ 32279 h 357"/>
                <a:gd name="T38" fmla="*/ 76200 w 173"/>
                <a:gd name="T39" fmla="*/ 36512 h 357"/>
                <a:gd name="T40" fmla="*/ 76200 w 173"/>
                <a:gd name="T41" fmla="*/ 42333 h 357"/>
                <a:gd name="T42" fmla="*/ 76200 w 173"/>
                <a:gd name="T43" fmla="*/ 51858 h 357"/>
                <a:gd name="T44" fmla="*/ 76200 w 173"/>
                <a:gd name="T45" fmla="*/ 57679 h 357"/>
                <a:gd name="T46" fmla="*/ 75319 w 173"/>
                <a:gd name="T47" fmla="*/ 62442 h 357"/>
                <a:gd name="T48" fmla="*/ 73557 w 173"/>
                <a:gd name="T49" fmla="*/ 67204 h 357"/>
                <a:gd name="T50" fmla="*/ 71795 w 173"/>
                <a:gd name="T51" fmla="*/ 71437 h 357"/>
                <a:gd name="T52" fmla="*/ 66950 w 173"/>
                <a:gd name="T53" fmla="*/ 79904 h 357"/>
                <a:gd name="T54" fmla="*/ 61665 w 173"/>
                <a:gd name="T55" fmla="*/ 88371 h 357"/>
                <a:gd name="T56" fmla="*/ 56379 w 173"/>
                <a:gd name="T57" fmla="*/ 96837 h 357"/>
                <a:gd name="T58" fmla="*/ 51534 w 173"/>
                <a:gd name="T59" fmla="*/ 105833 h 357"/>
                <a:gd name="T60" fmla="*/ 49332 w 173"/>
                <a:gd name="T61" fmla="*/ 110596 h 357"/>
                <a:gd name="T62" fmla="*/ 48010 w 173"/>
                <a:gd name="T63" fmla="*/ 115887 h 357"/>
                <a:gd name="T64" fmla="*/ 47570 w 173"/>
                <a:gd name="T65" fmla="*/ 121179 h 357"/>
                <a:gd name="T66" fmla="*/ 47129 w 173"/>
                <a:gd name="T67" fmla="*/ 127000 h 357"/>
                <a:gd name="T68" fmla="*/ 47570 w 173"/>
                <a:gd name="T69" fmla="*/ 144462 h 357"/>
                <a:gd name="T70" fmla="*/ 48010 w 173"/>
                <a:gd name="T71" fmla="*/ 155045 h 357"/>
                <a:gd name="T72" fmla="*/ 48451 w 173"/>
                <a:gd name="T73" fmla="*/ 159808 h 357"/>
                <a:gd name="T74" fmla="*/ 48010 w 173"/>
                <a:gd name="T75" fmla="*/ 165629 h 357"/>
                <a:gd name="T76" fmla="*/ 48010 w 173"/>
                <a:gd name="T77" fmla="*/ 173037 h 357"/>
                <a:gd name="T78" fmla="*/ 47129 w 173"/>
                <a:gd name="T79" fmla="*/ 182562 h 357"/>
                <a:gd name="T80" fmla="*/ 42725 w 173"/>
                <a:gd name="T81" fmla="*/ 183091 h 357"/>
                <a:gd name="T82" fmla="*/ 38761 w 173"/>
                <a:gd name="T83" fmla="*/ 183620 h 357"/>
                <a:gd name="T84" fmla="*/ 34797 w 173"/>
                <a:gd name="T85" fmla="*/ 184679 h 357"/>
                <a:gd name="T86" fmla="*/ 31273 w 173"/>
                <a:gd name="T87" fmla="*/ 185737 h 357"/>
                <a:gd name="T88" fmla="*/ 27749 w 173"/>
                <a:gd name="T89" fmla="*/ 186795 h 357"/>
                <a:gd name="T90" fmla="*/ 24225 w 173"/>
                <a:gd name="T91" fmla="*/ 187854 h 357"/>
                <a:gd name="T92" fmla="*/ 21142 w 173"/>
                <a:gd name="T93" fmla="*/ 188912 h 357"/>
                <a:gd name="T94" fmla="*/ 17618 w 173"/>
                <a:gd name="T95" fmla="*/ 188912 h 357"/>
                <a:gd name="T96" fmla="*/ 17618 w 173"/>
                <a:gd name="T97" fmla="*/ 114300 h 357"/>
                <a:gd name="T98" fmla="*/ 17618 w 173"/>
                <a:gd name="T99" fmla="*/ 109008 h 357"/>
                <a:gd name="T100" fmla="*/ 17178 w 173"/>
                <a:gd name="T101" fmla="*/ 104246 h 357"/>
                <a:gd name="T102" fmla="*/ 16297 w 173"/>
                <a:gd name="T103" fmla="*/ 99483 h 357"/>
                <a:gd name="T104" fmla="*/ 14976 w 173"/>
                <a:gd name="T105" fmla="*/ 94721 h 357"/>
                <a:gd name="T106" fmla="*/ 12333 w 173"/>
                <a:gd name="T107" fmla="*/ 85196 h 357"/>
                <a:gd name="T108" fmla="*/ 8809 w 173"/>
                <a:gd name="T109" fmla="*/ 75671 h 357"/>
                <a:gd name="T110" fmla="*/ 5726 w 173"/>
                <a:gd name="T111" fmla="*/ 66675 h 357"/>
                <a:gd name="T112" fmla="*/ 3083 w 173"/>
                <a:gd name="T113" fmla="*/ 58208 h 357"/>
                <a:gd name="T114" fmla="*/ 1762 w 173"/>
                <a:gd name="T115" fmla="*/ 53446 h 357"/>
                <a:gd name="T116" fmla="*/ 1321 w 173"/>
                <a:gd name="T117" fmla="*/ 49742 h 357"/>
                <a:gd name="T118" fmla="*/ 0 w 173"/>
                <a:gd name="T119" fmla="*/ 46037 h 357"/>
                <a:gd name="T120" fmla="*/ 0 w 173"/>
                <a:gd name="T121" fmla="*/ 42333 h 35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73" h="357">
                  <a:moveTo>
                    <a:pt x="0" y="80"/>
                  </a:moveTo>
                  <a:lnTo>
                    <a:pt x="9" y="72"/>
                  </a:lnTo>
                  <a:lnTo>
                    <a:pt x="17" y="65"/>
                  </a:lnTo>
                  <a:lnTo>
                    <a:pt x="25" y="60"/>
                  </a:lnTo>
                  <a:lnTo>
                    <a:pt x="33" y="56"/>
                  </a:lnTo>
                  <a:lnTo>
                    <a:pt x="40" y="50"/>
                  </a:lnTo>
                  <a:lnTo>
                    <a:pt x="67" y="50"/>
                  </a:lnTo>
                  <a:lnTo>
                    <a:pt x="94" y="0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6" y="12"/>
                  </a:lnTo>
                  <a:lnTo>
                    <a:pt x="123" y="18"/>
                  </a:lnTo>
                  <a:lnTo>
                    <a:pt x="131" y="22"/>
                  </a:lnTo>
                  <a:lnTo>
                    <a:pt x="139" y="27"/>
                  </a:lnTo>
                  <a:lnTo>
                    <a:pt x="145" y="29"/>
                  </a:lnTo>
                  <a:lnTo>
                    <a:pt x="153" y="30"/>
                  </a:lnTo>
                  <a:lnTo>
                    <a:pt x="163" y="39"/>
                  </a:lnTo>
                  <a:lnTo>
                    <a:pt x="173" y="50"/>
                  </a:lnTo>
                  <a:lnTo>
                    <a:pt x="173" y="61"/>
                  </a:lnTo>
                  <a:lnTo>
                    <a:pt x="173" y="69"/>
                  </a:lnTo>
                  <a:lnTo>
                    <a:pt x="173" y="80"/>
                  </a:lnTo>
                  <a:lnTo>
                    <a:pt x="173" y="98"/>
                  </a:lnTo>
                  <a:lnTo>
                    <a:pt x="173" y="109"/>
                  </a:lnTo>
                  <a:lnTo>
                    <a:pt x="171" y="118"/>
                  </a:lnTo>
                  <a:lnTo>
                    <a:pt x="167" y="127"/>
                  </a:lnTo>
                  <a:lnTo>
                    <a:pt x="163" y="135"/>
                  </a:lnTo>
                  <a:lnTo>
                    <a:pt x="152" y="151"/>
                  </a:lnTo>
                  <a:lnTo>
                    <a:pt x="140" y="167"/>
                  </a:lnTo>
                  <a:lnTo>
                    <a:pt x="128" y="183"/>
                  </a:lnTo>
                  <a:lnTo>
                    <a:pt x="117" y="200"/>
                  </a:lnTo>
                  <a:lnTo>
                    <a:pt x="112" y="209"/>
                  </a:lnTo>
                  <a:lnTo>
                    <a:pt x="109" y="219"/>
                  </a:lnTo>
                  <a:lnTo>
                    <a:pt x="108" y="229"/>
                  </a:lnTo>
                  <a:lnTo>
                    <a:pt x="107" y="240"/>
                  </a:lnTo>
                  <a:lnTo>
                    <a:pt x="108" y="273"/>
                  </a:lnTo>
                  <a:lnTo>
                    <a:pt x="109" y="293"/>
                  </a:lnTo>
                  <a:lnTo>
                    <a:pt x="110" y="302"/>
                  </a:lnTo>
                  <a:lnTo>
                    <a:pt x="109" y="313"/>
                  </a:lnTo>
                  <a:lnTo>
                    <a:pt x="109" y="327"/>
                  </a:lnTo>
                  <a:lnTo>
                    <a:pt x="107" y="345"/>
                  </a:lnTo>
                  <a:lnTo>
                    <a:pt x="97" y="346"/>
                  </a:lnTo>
                  <a:lnTo>
                    <a:pt x="88" y="347"/>
                  </a:lnTo>
                  <a:lnTo>
                    <a:pt x="79" y="349"/>
                  </a:lnTo>
                  <a:lnTo>
                    <a:pt x="71" y="351"/>
                  </a:lnTo>
                  <a:lnTo>
                    <a:pt x="63" y="353"/>
                  </a:lnTo>
                  <a:lnTo>
                    <a:pt x="55" y="355"/>
                  </a:lnTo>
                  <a:lnTo>
                    <a:pt x="48" y="357"/>
                  </a:lnTo>
                  <a:lnTo>
                    <a:pt x="40" y="357"/>
                  </a:lnTo>
                  <a:lnTo>
                    <a:pt x="40" y="216"/>
                  </a:lnTo>
                  <a:lnTo>
                    <a:pt x="40" y="206"/>
                  </a:lnTo>
                  <a:lnTo>
                    <a:pt x="39" y="197"/>
                  </a:lnTo>
                  <a:lnTo>
                    <a:pt x="37" y="188"/>
                  </a:lnTo>
                  <a:lnTo>
                    <a:pt x="34" y="179"/>
                  </a:lnTo>
                  <a:lnTo>
                    <a:pt x="28" y="161"/>
                  </a:lnTo>
                  <a:lnTo>
                    <a:pt x="20" y="143"/>
                  </a:lnTo>
                  <a:lnTo>
                    <a:pt x="13" y="126"/>
                  </a:lnTo>
                  <a:lnTo>
                    <a:pt x="7" y="110"/>
                  </a:lnTo>
                  <a:lnTo>
                    <a:pt x="4" y="101"/>
                  </a:lnTo>
                  <a:lnTo>
                    <a:pt x="3" y="94"/>
                  </a:lnTo>
                  <a:lnTo>
                    <a:pt x="0" y="87"/>
                  </a:lnTo>
                  <a:lnTo>
                    <a:pt x="0" y="8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800" name="Freeform 270"/>
            <p:cNvSpPr>
              <a:spLocks/>
            </p:cNvSpPr>
            <p:nvPr>
              <p:custDataLst>
                <p:tags r:id="rId192"/>
              </p:custDataLst>
            </p:nvPr>
          </p:nvSpPr>
          <p:spPr bwMode="auto">
            <a:xfrm>
              <a:off x="6500069" y="5085369"/>
              <a:ext cx="30282" cy="72442"/>
            </a:xfrm>
            <a:custGeom>
              <a:avLst/>
              <a:gdLst>
                <a:gd name="T0" fmla="*/ 5080 w 50"/>
                <a:gd name="T1" fmla="*/ 0 h 74"/>
                <a:gd name="T2" fmla="*/ 3048 w 50"/>
                <a:gd name="T3" fmla="*/ 11413 h 74"/>
                <a:gd name="T4" fmla="*/ 1016 w 50"/>
                <a:gd name="T5" fmla="*/ 21195 h 74"/>
                <a:gd name="T6" fmla="*/ 0 w 50"/>
                <a:gd name="T7" fmla="*/ 29347 h 74"/>
                <a:gd name="T8" fmla="*/ 0 w 50"/>
                <a:gd name="T9" fmla="*/ 35054 h 74"/>
                <a:gd name="T10" fmla="*/ 0 w 50"/>
                <a:gd name="T11" fmla="*/ 40760 h 74"/>
                <a:gd name="T12" fmla="*/ 1016 w 50"/>
                <a:gd name="T13" fmla="*/ 45651 h 74"/>
                <a:gd name="T14" fmla="*/ 3048 w 50"/>
                <a:gd name="T15" fmla="*/ 49727 h 74"/>
                <a:gd name="T16" fmla="*/ 5080 w 50"/>
                <a:gd name="T17" fmla="*/ 55434 h 74"/>
                <a:gd name="T18" fmla="*/ 25400 w 50"/>
                <a:gd name="T19" fmla="*/ 60325 h 74"/>
                <a:gd name="T20" fmla="*/ 25400 w 50"/>
                <a:gd name="T21" fmla="*/ 41575 h 74"/>
                <a:gd name="T22" fmla="*/ 25400 w 50"/>
                <a:gd name="T23" fmla="*/ 27717 h 74"/>
                <a:gd name="T24" fmla="*/ 25400 w 50"/>
                <a:gd name="T25" fmla="*/ 15489 h 74"/>
                <a:gd name="T26" fmla="*/ 25400 w 50"/>
                <a:gd name="T27" fmla="*/ 0 h 74"/>
                <a:gd name="T28" fmla="*/ 19304 w 50"/>
                <a:gd name="T29" fmla="*/ 0 h 74"/>
                <a:gd name="T30" fmla="*/ 12700 w 50"/>
                <a:gd name="T31" fmla="*/ 0 h 74"/>
                <a:gd name="T32" fmla="*/ 7112 w 50"/>
                <a:gd name="T33" fmla="*/ 0 h 74"/>
                <a:gd name="T34" fmla="*/ 5080 w 50"/>
                <a:gd name="T35" fmla="*/ 0 h 7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50" h="74">
                  <a:moveTo>
                    <a:pt x="10" y="0"/>
                  </a:moveTo>
                  <a:lnTo>
                    <a:pt x="6" y="14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0" y="50"/>
                  </a:lnTo>
                  <a:lnTo>
                    <a:pt x="2" y="56"/>
                  </a:lnTo>
                  <a:lnTo>
                    <a:pt x="6" y="61"/>
                  </a:lnTo>
                  <a:lnTo>
                    <a:pt x="10" y="68"/>
                  </a:lnTo>
                  <a:lnTo>
                    <a:pt x="50" y="74"/>
                  </a:lnTo>
                  <a:lnTo>
                    <a:pt x="50" y="51"/>
                  </a:lnTo>
                  <a:lnTo>
                    <a:pt x="50" y="34"/>
                  </a:lnTo>
                  <a:lnTo>
                    <a:pt x="50" y="19"/>
                  </a:lnTo>
                  <a:lnTo>
                    <a:pt x="50" y="0"/>
                  </a:lnTo>
                  <a:lnTo>
                    <a:pt x="38" y="0"/>
                  </a:lnTo>
                  <a:lnTo>
                    <a:pt x="25" y="0"/>
                  </a:lnTo>
                  <a:lnTo>
                    <a:pt x="14" y="0"/>
                  </a:lnTo>
                  <a:lnTo>
                    <a:pt x="1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801" name="Freeform 271"/>
            <p:cNvSpPr>
              <a:spLocks/>
            </p:cNvSpPr>
            <p:nvPr>
              <p:custDataLst>
                <p:tags r:id="rId193"/>
              </p:custDataLst>
            </p:nvPr>
          </p:nvSpPr>
          <p:spPr bwMode="auto">
            <a:xfrm>
              <a:off x="6375157" y="5201657"/>
              <a:ext cx="73811" cy="68630"/>
            </a:xfrm>
            <a:custGeom>
              <a:avLst/>
              <a:gdLst>
                <a:gd name="T0" fmla="*/ 1376 w 135"/>
                <a:gd name="T1" fmla="*/ 32074 h 98"/>
                <a:gd name="T2" fmla="*/ 5045 w 135"/>
                <a:gd name="T3" fmla="*/ 31491 h 98"/>
                <a:gd name="T4" fmla="*/ 8255 w 135"/>
                <a:gd name="T5" fmla="*/ 30908 h 98"/>
                <a:gd name="T6" fmla="*/ 11007 w 135"/>
                <a:gd name="T7" fmla="*/ 29158 h 98"/>
                <a:gd name="T8" fmla="*/ 14217 w 135"/>
                <a:gd name="T9" fmla="*/ 27409 h 98"/>
                <a:gd name="T10" fmla="*/ 19262 w 135"/>
                <a:gd name="T11" fmla="*/ 22160 h 98"/>
                <a:gd name="T12" fmla="*/ 23848 w 135"/>
                <a:gd name="T13" fmla="*/ 16329 h 98"/>
                <a:gd name="T14" fmla="*/ 27975 w 135"/>
                <a:gd name="T15" fmla="*/ 10497 h 98"/>
                <a:gd name="T16" fmla="*/ 32561 w 135"/>
                <a:gd name="T17" fmla="*/ 4665 h 98"/>
                <a:gd name="T18" fmla="*/ 34854 w 135"/>
                <a:gd name="T19" fmla="*/ 2916 h 98"/>
                <a:gd name="T20" fmla="*/ 37606 w 135"/>
                <a:gd name="T21" fmla="*/ 1166 h 98"/>
                <a:gd name="T22" fmla="*/ 40357 w 135"/>
                <a:gd name="T23" fmla="*/ 0 h 98"/>
                <a:gd name="T24" fmla="*/ 44026 w 135"/>
                <a:gd name="T25" fmla="*/ 0 h 98"/>
                <a:gd name="T26" fmla="*/ 46778 w 135"/>
                <a:gd name="T27" fmla="*/ 0 h 98"/>
                <a:gd name="T28" fmla="*/ 50447 w 135"/>
                <a:gd name="T29" fmla="*/ 1749 h 98"/>
                <a:gd name="T30" fmla="*/ 53657 w 135"/>
                <a:gd name="T31" fmla="*/ 3499 h 98"/>
                <a:gd name="T32" fmla="*/ 56409 w 135"/>
                <a:gd name="T33" fmla="*/ 6415 h 98"/>
                <a:gd name="T34" fmla="*/ 58702 w 135"/>
                <a:gd name="T35" fmla="*/ 9331 h 98"/>
                <a:gd name="T36" fmla="*/ 60536 w 135"/>
                <a:gd name="T37" fmla="*/ 13996 h 98"/>
                <a:gd name="T38" fmla="*/ 61453 w 135"/>
                <a:gd name="T39" fmla="*/ 17495 h 98"/>
                <a:gd name="T40" fmla="*/ 61912 w 135"/>
                <a:gd name="T41" fmla="*/ 21577 h 98"/>
                <a:gd name="T42" fmla="*/ 61453 w 135"/>
                <a:gd name="T43" fmla="*/ 23327 h 98"/>
                <a:gd name="T44" fmla="*/ 60536 w 135"/>
                <a:gd name="T45" fmla="*/ 25076 h 98"/>
                <a:gd name="T46" fmla="*/ 59160 w 135"/>
                <a:gd name="T47" fmla="*/ 27409 h 98"/>
                <a:gd name="T48" fmla="*/ 56867 w 135"/>
                <a:gd name="T49" fmla="*/ 29741 h 98"/>
                <a:gd name="T50" fmla="*/ 51823 w 135"/>
                <a:gd name="T51" fmla="*/ 35573 h 98"/>
                <a:gd name="T52" fmla="*/ 45861 w 135"/>
                <a:gd name="T53" fmla="*/ 41988 h 98"/>
                <a:gd name="T54" fmla="*/ 39899 w 135"/>
                <a:gd name="T55" fmla="*/ 47819 h 98"/>
                <a:gd name="T56" fmla="*/ 33937 w 135"/>
                <a:gd name="T57" fmla="*/ 53068 h 98"/>
                <a:gd name="T58" fmla="*/ 28892 w 135"/>
                <a:gd name="T59" fmla="*/ 55984 h 98"/>
                <a:gd name="T60" fmla="*/ 25223 w 135"/>
                <a:gd name="T61" fmla="*/ 57150 h 98"/>
                <a:gd name="T62" fmla="*/ 23389 w 135"/>
                <a:gd name="T63" fmla="*/ 56567 h 98"/>
                <a:gd name="T64" fmla="*/ 19720 w 135"/>
                <a:gd name="T65" fmla="*/ 53651 h 98"/>
                <a:gd name="T66" fmla="*/ 14675 w 135"/>
                <a:gd name="T67" fmla="*/ 49569 h 98"/>
                <a:gd name="T68" fmla="*/ 9631 w 135"/>
                <a:gd name="T69" fmla="*/ 44904 h 98"/>
                <a:gd name="T70" fmla="*/ 5045 w 135"/>
                <a:gd name="T71" fmla="*/ 39655 h 98"/>
                <a:gd name="T72" fmla="*/ 2293 w 135"/>
                <a:gd name="T73" fmla="*/ 36156 h 98"/>
                <a:gd name="T74" fmla="*/ 459 w 135"/>
                <a:gd name="T75" fmla="*/ 34407 h 98"/>
                <a:gd name="T76" fmla="*/ 0 w 135"/>
                <a:gd name="T77" fmla="*/ 33240 h 98"/>
                <a:gd name="T78" fmla="*/ 0 w 135"/>
                <a:gd name="T79" fmla="*/ 32657 h 98"/>
                <a:gd name="T80" fmla="*/ 1376 w 135"/>
                <a:gd name="T81" fmla="*/ 32074 h 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802" name="Freeform 272"/>
            <p:cNvSpPr>
              <a:spLocks/>
            </p:cNvSpPr>
            <p:nvPr>
              <p:custDataLst>
                <p:tags r:id="rId194"/>
              </p:custDataLst>
            </p:nvPr>
          </p:nvSpPr>
          <p:spPr bwMode="auto">
            <a:xfrm>
              <a:off x="9019120" y="2456473"/>
              <a:ext cx="143838" cy="205889"/>
            </a:xfrm>
            <a:custGeom>
              <a:avLst/>
              <a:gdLst>
                <a:gd name="T0" fmla="*/ 108857 w 266"/>
                <a:gd name="T1" fmla="*/ 4733 h 326"/>
                <a:gd name="T2" fmla="*/ 108857 w 266"/>
                <a:gd name="T3" fmla="*/ 14726 h 326"/>
                <a:gd name="T4" fmla="*/ 112939 w 266"/>
                <a:gd name="T5" fmla="*/ 22089 h 326"/>
                <a:gd name="T6" fmla="*/ 111125 w 266"/>
                <a:gd name="T7" fmla="*/ 28926 h 326"/>
                <a:gd name="T8" fmla="*/ 102054 w 266"/>
                <a:gd name="T9" fmla="*/ 26296 h 326"/>
                <a:gd name="T10" fmla="*/ 95250 w 266"/>
                <a:gd name="T11" fmla="*/ 26822 h 326"/>
                <a:gd name="T12" fmla="*/ 88446 w 266"/>
                <a:gd name="T13" fmla="*/ 34185 h 326"/>
                <a:gd name="T14" fmla="*/ 87539 w 266"/>
                <a:gd name="T15" fmla="*/ 41022 h 326"/>
                <a:gd name="T16" fmla="*/ 89807 w 266"/>
                <a:gd name="T17" fmla="*/ 46807 h 326"/>
                <a:gd name="T18" fmla="*/ 97518 w 266"/>
                <a:gd name="T19" fmla="*/ 57851 h 326"/>
                <a:gd name="T20" fmla="*/ 101600 w 266"/>
                <a:gd name="T21" fmla="*/ 64162 h 326"/>
                <a:gd name="T22" fmla="*/ 102054 w 266"/>
                <a:gd name="T23" fmla="*/ 69947 h 326"/>
                <a:gd name="T24" fmla="*/ 100693 w 266"/>
                <a:gd name="T25" fmla="*/ 75207 h 326"/>
                <a:gd name="T26" fmla="*/ 93889 w 266"/>
                <a:gd name="T27" fmla="*/ 80992 h 326"/>
                <a:gd name="T28" fmla="*/ 90714 w 266"/>
                <a:gd name="T29" fmla="*/ 84147 h 326"/>
                <a:gd name="T30" fmla="*/ 82096 w 266"/>
                <a:gd name="T31" fmla="*/ 87303 h 326"/>
                <a:gd name="T32" fmla="*/ 74386 w 266"/>
                <a:gd name="T33" fmla="*/ 93614 h 326"/>
                <a:gd name="T34" fmla="*/ 72571 w 266"/>
                <a:gd name="T35" fmla="*/ 100451 h 326"/>
                <a:gd name="T36" fmla="*/ 78468 w 266"/>
                <a:gd name="T37" fmla="*/ 108865 h 326"/>
                <a:gd name="T38" fmla="*/ 85725 w 266"/>
                <a:gd name="T39" fmla="*/ 113073 h 326"/>
                <a:gd name="T40" fmla="*/ 97064 w 266"/>
                <a:gd name="T41" fmla="*/ 119384 h 326"/>
                <a:gd name="T42" fmla="*/ 111125 w 266"/>
                <a:gd name="T43" fmla="*/ 136213 h 326"/>
                <a:gd name="T44" fmla="*/ 113846 w 266"/>
                <a:gd name="T45" fmla="*/ 149887 h 326"/>
                <a:gd name="T46" fmla="*/ 99786 w 266"/>
                <a:gd name="T47" fmla="*/ 153043 h 326"/>
                <a:gd name="T48" fmla="*/ 93889 w 266"/>
                <a:gd name="T49" fmla="*/ 156724 h 326"/>
                <a:gd name="T50" fmla="*/ 89807 w 266"/>
                <a:gd name="T51" fmla="*/ 164087 h 326"/>
                <a:gd name="T52" fmla="*/ 85725 w 266"/>
                <a:gd name="T53" fmla="*/ 171450 h 326"/>
                <a:gd name="T54" fmla="*/ 77107 w 266"/>
                <a:gd name="T55" fmla="*/ 168820 h 326"/>
                <a:gd name="T56" fmla="*/ 75746 w 266"/>
                <a:gd name="T57" fmla="*/ 166191 h 326"/>
                <a:gd name="T58" fmla="*/ 69850 w 266"/>
                <a:gd name="T59" fmla="*/ 163035 h 326"/>
                <a:gd name="T60" fmla="*/ 63046 w 266"/>
                <a:gd name="T61" fmla="*/ 158302 h 326"/>
                <a:gd name="T62" fmla="*/ 57150 w 266"/>
                <a:gd name="T63" fmla="*/ 155146 h 326"/>
                <a:gd name="T64" fmla="*/ 44450 w 266"/>
                <a:gd name="T65" fmla="*/ 152517 h 326"/>
                <a:gd name="T66" fmla="*/ 28575 w 266"/>
                <a:gd name="T67" fmla="*/ 145680 h 326"/>
                <a:gd name="T68" fmla="*/ 24493 w 266"/>
                <a:gd name="T69" fmla="*/ 140947 h 326"/>
                <a:gd name="T70" fmla="*/ 24946 w 266"/>
                <a:gd name="T71" fmla="*/ 134636 h 326"/>
                <a:gd name="T72" fmla="*/ 31750 w 266"/>
                <a:gd name="T73" fmla="*/ 128325 h 326"/>
                <a:gd name="T74" fmla="*/ 26761 w 266"/>
                <a:gd name="T75" fmla="*/ 116228 h 326"/>
                <a:gd name="T76" fmla="*/ 15421 w 266"/>
                <a:gd name="T77" fmla="*/ 102029 h 326"/>
                <a:gd name="T78" fmla="*/ 5896 w 266"/>
                <a:gd name="T79" fmla="*/ 95717 h 326"/>
                <a:gd name="T80" fmla="*/ 1814 w 266"/>
                <a:gd name="T81" fmla="*/ 89932 h 326"/>
                <a:gd name="T82" fmla="*/ 8618 w 266"/>
                <a:gd name="T83" fmla="*/ 79940 h 326"/>
                <a:gd name="T84" fmla="*/ 24493 w 266"/>
                <a:gd name="T85" fmla="*/ 65214 h 326"/>
                <a:gd name="T86" fmla="*/ 33111 w 266"/>
                <a:gd name="T87" fmla="*/ 55222 h 326"/>
                <a:gd name="T88" fmla="*/ 39914 w 266"/>
                <a:gd name="T89" fmla="*/ 48385 h 326"/>
                <a:gd name="T90" fmla="*/ 49893 w 266"/>
                <a:gd name="T91" fmla="*/ 46281 h 326"/>
                <a:gd name="T92" fmla="*/ 65314 w 266"/>
                <a:gd name="T93" fmla="*/ 36814 h 326"/>
                <a:gd name="T94" fmla="*/ 76200 w 266"/>
                <a:gd name="T95" fmla="*/ 24192 h 326"/>
                <a:gd name="T96" fmla="*/ 86632 w 266"/>
                <a:gd name="T97" fmla="*/ 11044 h 326"/>
                <a:gd name="T98" fmla="*/ 99786 w 266"/>
                <a:gd name="T99" fmla="*/ 2104 h 326"/>
                <a:gd name="T100" fmla="*/ 107950 w 266"/>
                <a:gd name="T101" fmla="*/ 0 h 32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266" h="326">
                  <a:moveTo>
                    <a:pt x="246" y="0"/>
                  </a:moveTo>
                  <a:lnTo>
                    <a:pt x="241" y="4"/>
                  </a:lnTo>
                  <a:lnTo>
                    <a:pt x="240" y="9"/>
                  </a:lnTo>
                  <a:lnTo>
                    <a:pt x="239" y="16"/>
                  </a:lnTo>
                  <a:lnTo>
                    <a:pt x="239" y="24"/>
                  </a:lnTo>
                  <a:lnTo>
                    <a:pt x="240" y="28"/>
                  </a:lnTo>
                  <a:lnTo>
                    <a:pt x="243" y="33"/>
                  </a:lnTo>
                  <a:lnTo>
                    <a:pt x="246" y="38"/>
                  </a:lnTo>
                  <a:lnTo>
                    <a:pt x="249" y="42"/>
                  </a:lnTo>
                  <a:lnTo>
                    <a:pt x="256" y="50"/>
                  </a:lnTo>
                  <a:lnTo>
                    <a:pt x="259" y="55"/>
                  </a:lnTo>
                  <a:lnTo>
                    <a:pt x="245" y="55"/>
                  </a:lnTo>
                  <a:lnTo>
                    <a:pt x="234" y="54"/>
                  </a:lnTo>
                  <a:lnTo>
                    <a:pt x="229" y="52"/>
                  </a:lnTo>
                  <a:lnTo>
                    <a:pt x="225" y="50"/>
                  </a:lnTo>
                  <a:lnTo>
                    <a:pt x="222" y="47"/>
                  </a:lnTo>
                  <a:lnTo>
                    <a:pt x="220" y="43"/>
                  </a:lnTo>
                  <a:lnTo>
                    <a:pt x="210" y="51"/>
                  </a:lnTo>
                  <a:lnTo>
                    <a:pt x="201" y="58"/>
                  </a:lnTo>
                  <a:lnTo>
                    <a:pt x="198" y="62"/>
                  </a:lnTo>
                  <a:lnTo>
                    <a:pt x="195" y="65"/>
                  </a:lnTo>
                  <a:lnTo>
                    <a:pt x="193" y="69"/>
                  </a:lnTo>
                  <a:lnTo>
                    <a:pt x="192" y="73"/>
                  </a:lnTo>
                  <a:lnTo>
                    <a:pt x="193" y="78"/>
                  </a:lnTo>
                  <a:lnTo>
                    <a:pt x="194" y="82"/>
                  </a:lnTo>
                  <a:lnTo>
                    <a:pt x="195" y="86"/>
                  </a:lnTo>
                  <a:lnTo>
                    <a:pt x="198" y="89"/>
                  </a:lnTo>
                  <a:lnTo>
                    <a:pt x="203" y="97"/>
                  </a:lnTo>
                  <a:lnTo>
                    <a:pt x="210" y="104"/>
                  </a:lnTo>
                  <a:lnTo>
                    <a:pt x="215" y="110"/>
                  </a:lnTo>
                  <a:lnTo>
                    <a:pt x="221" y="116"/>
                  </a:lnTo>
                  <a:lnTo>
                    <a:pt x="223" y="119"/>
                  </a:lnTo>
                  <a:lnTo>
                    <a:pt x="224" y="122"/>
                  </a:lnTo>
                  <a:lnTo>
                    <a:pt x="225" y="125"/>
                  </a:lnTo>
                  <a:lnTo>
                    <a:pt x="226" y="129"/>
                  </a:lnTo>
                  <a:lnTo>
                    <a:pt x="225" y="133"/>
                  </a:lnTo>
                  <a:lnTo>
                    <a:pt x="225" y="137"/>
                  </a:lnTo>
                  <a:lnTo>
                    <a:pt x="223" y="140"/>
                  </a:lnTo>
                  <a:lnTo>
                    <a:pt x="222" y="143"/>
                  </a:lnTo>
                  <a:lnTo>
                    <a:pt x="217" y="148"/>
                  </a:lnTo>
                  <a:lnTo>
                    <a:pt x="213" y="152"/>
                  </a:lnTo>
                  <a:lnTo>
                    <a:pt x="207" y="154"/>
                  </a:lnTo>
                  <a:lnTo>
                    <a:pt x="203" y="156"/>
                  </a:lnTo>
                  <a:lnTo>
                    <a:pt x="201" y="158"/>
                  </a:lnTo>
                  <a:lnTo>
                    <a:pt x="200" y="160"/>
                  </a:lnTo>
                  <a:lnTo>
                    <a:pt x="193" y="161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5" y="170"/>
                  </a:lnTo>
                  <a:lnTo>
                    <a:pt x="168" y="174"/>
                  </a:lnTo>
                  <a:lnTo>
                    <a:pt x="164" y="178"/>
                  </a:lnTo>
                  <a:lnTo>
                    <a:pt x="160" y="181"/>
                  </a:lnTo>
                  <a:lnTo>
                    <a:pt x="159" y="184"/>
                  </a:lnTo>
                  <a:lnTo>
                    <a:pt x="160" y="191"/>
                  </a:lnTo>
                  <a:lnTo>
                    <a:pt x="164" y="197"/>
                  </a:lnTo>
                  <a:lnTo>
                    <a:pt x="168" y="203"/>
                  </a:lnTo>
                  <a:lnTo>
                    <a:pt x="173" y="207"/>
                  </a:lnTo>
                  <a:lnTo>
                    <a:pt x="179" y="211"/>
                  </a:lnTo>
                  <a:lnTo>
                    <a:pt x="184" y="213"/>
                  </a:lnTo>
                  <a:lnTo>
                    <a:pt x="189" y="215"/>
                  </a:lnTo>
                  <a:lnTo>
                    <a:pt x="192" y="215"/>
                  </a:lnTo>
                  <a:lnTo>
                    <a:pt x="204" y="221"/>
                  </a:lnTo>
                  <a:lnTo>
                    <a:pt x="214" y="227"/>
                  </a:lnTo>
                  <a:lnTo>
                    <a:pt x="223" y="234"/>
                  </a:lnTo>
                  <a:lnTo>
                    <a:pt x="231" y="241"/>
                  </a:lnTo>
                  <a:lnTo>
                    <a:pt x="245" y="259"/>
                  </a:lnTo>
                  <a:lnTo>
                    <a:pt x="259" y="277"/>
                  </a:lnTo>
                  <a:lnTo>
                    <a:pt x="266" y="283"/>
                  </a:lnTo>
                  <a:lnTo>
                    <a:pt x="251" y="285"/>
                  </a:lnTo>
                  <a:lnTo>
                    <a:pt x="239" y="286"/>
                  </a:lnTo>
                  <a:lnTo>
                    <a:pt x="228" y="288"/>
                  </a:lnTo>
                  <a:lnTo>
                    <a:pt x="220" y="291"/>
                  </a:lnTo>
                  <a:lnTo>
                    <a:pt x="215" y="293"/>
                  </a:lnTo>
                  <a:lnTo>
                    <a:pt x="211" y="295"/>
                  </a:lnTo>
                  <a:lnTo>
                    <a:pt x="207" y="298"/>
                  </a:lnTo>
                  <a:lnTo>
                    <a:pt x="204" y="302"/>
                  </a:lnTo>
                  <a:lnTo>
                    <a:pt x="201" y="306"/>
                  </a:lnTo>
                  <a:lnTo>
                    <a:pt x="198" y="312"/>
                  </a:lnTo>
                  <a:lnTo>
                    <a:pt x="195" y="319"/>
                  </a:lnTo>
                  <a:lnTo>
                    <a:pt x="192" y="326"/>
                  </a:lnTo>
                  <a:lnTo>
                    <a:pt x="189" y="326"/>
                  </a:lnTo>
                  <a:lnTo>
                    <a:pt x="179" y="325"/>
                  </a:lnTo>
                  <a:lnTo>
                    <a:pt x="175" y="323"/>
                  </a:lnTo>
                  <a:lnTo>
                    <a:pt x="170" y="321"/>
                  </a:lnTo>
                  <a:lnTo>
                    <a:pt x="168" y="320"/>
                  </a:lnTo>
                  <a:lnTo>
                    <a:pt x="167" y="318"/>
                  </a:lnTo>
                  <a:lnTo>
                    <a:pt x="167" y="316"/>
                  </a:lnTo>
                  <a:lnTo>
                    <a:pt x="166" y="314"/>
                  </a:lnTo>
                  <a:lnTo>
                    <a:pt x="159" y="314"/>
                  </a:lnTo>
                  <a:lnTo>
                    <a:pt x="154" y="310"/>
                  </a:lnTo>
                  <a:lnTo>
                    <a:pt x="148" y="308"/>
                  </a:lnTo>
                  <a:lnTo>
                    <a:pt x="144" y="304"/>
                  </a:lnTo>
                  <a:lnTo>
                    <a:pt x="139" y="301"/>
                  </a:lnTo>
                  <a:lnTo>
                    <a:pt x="135" y="298"/>
                  </a:lnTo>
                  <a:lnTo>
                    <a:pt x="131" y="296"/>
                  </a:lnTo>
                  <a:lnTo>
                    <a:pt x="126" y="295"/>
                  </a:lnTo>
                  <a:lnTo>
                    <a:pt x="120" y="295"/>
                  </a:lnTo>
                  <a:lnTo>
                    <a:pt x="109" y="293"/>
                  </a:lnTo>
                  <a:lnTo>
                    <a:pt x="98" y="290"/>
                  </a:lnTo>
                  <a:lnTo>
                    <a:pt x="84" y="287"/>
                  </a:lnTo>
                  <a:lnTo>
                    <a:pt x="72" y="282"/>
                  </a:lnTo>
                  <a:lnTo>
                    <a:pt x="63" y="277"/>
                  </a:lnTo>
                  <a:lnTo>
                    <a:pt x="58" y="274"/>
                  </a:lnTo>
                  <a:lnTo>
                    <a:pt x="56" y="271"/>
                  </a:lnTo>
                  <a:lnTo>
                    <a:pt x="54" y="268"/>
                  </a:lnTo>
                  <a:lnTo>
                    <a:pt x="53" y="265"/>
                  </a:lnTo>
                  <a:lnTo>
                    <a:pt x="54" y="261"/>
                  </a:lnTo>
                  <a:lnTo>
                    <a:pt x="55" y="256"/>
                  </a:lnTo>
                  <a:lnTo>
                    <a:pt x="58" y="252"/>
                  </a:lnTo>
                  <a:lnTo>
                    <a:pt x="61" y="249"/>
                  </a:lnTo>
                  <a:lnTo>
                    <a:pt x="70" y="244"/>
                  </a:lnTo>
                  <a:lnTo>
                    <a:pt x="80" y="240"/>
                  </a:lnTo>
                  <a:lnTo>
                    <a:pt x="68" y="230"/>
                  </a:lnTo>
                  <a:lnTo>
                    <a:pt x="59" y="221"/>
                  </a:lnTo>
                  <a:lnTo>
                    <a:pt x="50" y="211"/>
                  </a:lnTo>
                  <a:lnTo>
                    <a:pt x="43" y="203"/>
                  </a:lnTo>
                  <a:lnTo>
                    <a:pt x="34" y="194"/>
                  </a:lnTo>
                  <a:lnTo>
                    <a:pt x="24" y="187"/>
                  </a:lnTo>
                  <a:lnTo>
                    <a:pt x="20" y="184"/>
                  </a:lnTo>
                  <a:lnTo>
                    <a:pt x="13" y="182"/>
                  </a:lnTo>
                  <a:lnTo>
                    <a:pt x="7" y="180"/>
                  </a:lnTo>
                  <a:lnTo>
                    <a:pt x="0" y="178"/>
                  </a:lnTo>
                  <a:lnTo>
                    <a:pt x="4" y="171"/>
                  </a:lnTo>
                  <a:lnTo>
                    <a:pt x="9" y="164"/>
                  </a:lnTo>
                  <a:lnTo>
                    <a:pt x="13" y="158"/>
                  </a:lnTo>
                  <a:lnTo>
                    <a:pt x="19" y="152"/>
                  </a:lnTo>
                  <a:lnTo>
                    <a:pt x="31" y="141"/>
                  </a:lnTo>
                  <a:lnTo>
                    <a:pt x="43" y="133"/>
                  </a:lnTo>
                  <a:lnTo>
                    <a:pt x="54" y="124"/>
                  </a:lnTo>
                  <a:lnTo>
                    <a:pt x="65" y="115"/>
                  </a:lnTo>
                  <a:lnTo>
                    <a:pt x="69" y="110"/>
                  </a:lnTo>
                  <a:lnTo>
                    <a:pt x="73" y="105"/>
                  </a:lnTo>
                  <a:lnTo>
                    <a:pt x="77" y="99"/>
                  </a:lnTo>
                  <a:lnTo>
                    <a:pt x="80" y="92"/>
                  </a:lnTo>
                  <a:lnTo>
                    <a:pt x="88" y="92"/>
                  </a:lnTo>
                  <a:lnTo>
                    <a:pt x="95" y="90"/>
                  </a:lnTo>
                  <a:lnTo>
                    <a:pt x="103" y="89"/>
                  </a:lnTo>
                  <a:lnTo>
                    <a:pt x="110" y="88"/>
                  </a:lnTo>
                  <a:lnTo>
                    <a:pt x="123" y="83"/>
                  </a:lnTo>
                  <a:lnTo>
                    <a:pt x="134" y="77"/>
                  </a:lnTo>
                  <a:lnTo>
                    <a:pt x="144" y="70"/>
                  </a:lnTo>
                  <a:lnTo>
                    <a:pt x="153" y="63"/>
                  </a:lnTo>
                  <a:lnTo>
                    <a:pt x="160" y="55"/>
                  </a:lnTo>
                  <a:lnTo>
                    <a:pt x="168" y="46"/>
                  </a:lnTo>
                  <a:lnTo>
                    <a:pt x="176" y="38"/>
                  </a:lnTo>
                  <a:lnTo>
                    <a:pt x="182" y="28"/>
                  </a:lnTo>
                  <a:lnTo>
                    <a:pt x="191" y="21"/>
                  </a:lnTo>
                  <a:lnTo>
                    <a:pt x="199" y="14"/>
                  </a:lnTo>
                  <a:lnTo>
                    <a:pt x="209" y="8"/>
                  </a:lnTo>
                  <a:lnTo>
                    <a:pt x="220" y="4"/>
                  </a:lnTo>
                  <a:lnTo>
                    <a:pt x="225" y="2"/>
                  </a:lnTo>
                  <a:lnTo>
                    <a:pt x="232" y="1"/>
                  </a:lnTo>
                  <a:lnTo>
                    <a:pt x="238" y="0"/>
                  </a:lnTo>
                  <a:lnTo>
                    <a:pt x="246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803" name="Freeform 273"/>
            <p:cNvSpPr>
              <a:spLocks/>
            </p:cNvSpPr>
            <p:nvPr>
              <p:custDataLst>
                <p:tags r:id="rId195"/>
              </p:custDataLst>
            </p:nvPr>
          </p:nvSpPr>
          <p:spPr bwMode="auto">
            <a:xfrm>
              <a:off x="7911950" y="2954038"/>
              <a:ext cx="246038" cy="148697"/>
            </a:xfrm>
            <a:custGeom>
              <a:avLst/>
              <a:gdLst>
                <a:gd name="T0" fmla="*/ 37682 w 471"/>
                <a:gd name="T1" fmla="*/ 0 h 237"/>
                <a:gd name="T2" fmla="*/ 40311 w 471"/>
                <a:gd name="T3" fmla="*/ 3657 h 237"/>
                <a:gd name="T4" fmla="*/ 44693 w 471"/>
                <a:gd name="T5" fmla="*/ 6792 h 237"/>
                <a:gd name="T6" fmla="*/ 54770 w 471"/>
                <a:gd name="T7" fmla="*/ 12017 h 237"/>
                <a:gd name="T8" fmla="*/ 69668 w 471"/>
                <a:gd name="T9" fmla="*/ 19331 h 237"/>
                <a:gd name="T10" fmla="*/ 97710 w 471"/>
                <a:gd name="T11" fmla="*/ 40230 h 237"/>
                <a:gd name="T12" fmla="*/ 110855 w 471"/>
                <a:gd name="T13" fmla="*/ 50679 h 237"/>
                <a:gd name="T14" fmla="*/ 124000 w 471"/>
                <a:gd name="T15" fmla="*/ 59039 h 237"/>
                <a:gd name="T16" fmla="*/ 138460 w 471"/>
                <a:gd name="T17" fmla="*/ 66353 h 237"/>
                <a:gd name="T18" fmla="*/ 155548 w 471"/>
                <a:gd name="T19" fmla="*/ 72623 h 237"/>
                <a:gd name="T20" fmla="*/ 174827 w 471"/>
                <a:gd name="T21" fmla="*/ 76280 h 237"/>
                <a:gd name="T22" fmla="*/ 197612 w 471"/>
                <a:gd name="T23" fmla="*/ 77325 h 237"/>
                <a:gd name="T24" fmla="*/ 198050 w 471"/>
                <a:gd name="T25" fmla="*/ 97702 h 237"/>
                <a:gd name="T26" fmla="*/ 201117 w 471"/>
                <a:gd name="T27" fmla="*/ 110241 h 237"/>
                <a:gd name="T28" fmla="*/ 204622 w 471"/>
                <a:gd name="T29" fmla="*/ 118600 h 237"/>
                <a:gd name="T30" fmla="*/ 204622 w 471"/>
                <a:gd name="T31" fmla="*/ 123303 h 237"/>
                <a:gd name="T32" fmla="*/ 197612 w 471"/>
                <a:gd name="T33" fmla="*/ 123303 h 237"/>
                <a:gd name="T34" fmla="*/ 182276 w 471"/>
                <a:gd name="T35" fmla="*/ 120690 h 237"/>
                <a:gd name="T36" fmla="*/ 158615 w 471"/>
                <a:gd name="T37" fmla="*/ 114421 h 237"/>
                <a:gd name="T38" fmla="*/ 138021 w 471"/>
                <a:gd name="T39" fmla="*/ 108151 h 237"/>
                <a:gd name="T40" fmla="*/ 128820 w 471"/>
                <a:gd name="T41" fmla="*/ 106061 h 237"/>
                <a:gd name="T42" fmla="*/ 125753 w 471"/>
                <a:gd name="T43" fmla="*/ 103971 h 237"/>
                <a:gd name="T44" fmla="*/ 121371 w 471"/>
                <a:gd name="T45" fmla="*/ 99269 h 237"/>
                <a:gd name="T46" fmla="*/ 116990 w 471"/>
                <a:gd name="T47" fmla="*/ 92999 h 237"/>
                <a:gd name="T48" fmla="*/ 111732 w 471"/>
                <a:gd name="T49" fmla="*/ 86730 h 237"/>
                <a:gd name="T50" fmla="*/ 105159 w 471"/>
                <a:gd name="T51" fmla="*/ 83072 h 237"/>
                <a:gd name="T52" fmla="*/ 99463 w 471"/>
                <a:gd name="T53" fmla="*/ 83072 h 237"/>
                <a:gd name="T54" fmla="*/ 89824 w 471"/>
                <a:gd name="T55" fmla="*/ 85162 h 237"/>
                <a:gd name="T56" fmla="*/ 80184 w 471"/>
                <a:gd name="T57" fmla="*/ 87252 h 237"/>
                <a:gd name="T58" fmla="*/ 74050 w 471"/>
                <a:gd name="T59" fmla="*/ 87775 h 237"/>
                <a:gd name="T60" fmla="*/ 69230 w 471"/>
                <a:gd name="T61" fmla="*/ 85685 h 237"/>
                <a:gd name="T62" fmla="*/ 64848 w 471"/>
                <a:gd name="T63" fmla="*/ 80983 h 237"/>
                <a:gd name="T64" fmla="*/ 60905 w 471"/>
                <a:gd name="T65" fmla="*/ 77325 h 237"/>
                <a:gd name="T66" fmla="*/ 53456 w 471"/>
                <a:gd name="T67" fmla="*/ 75758 h 237"/>
                <a:gd name="T68" fmla="*/ 40311 w 471"/>
                <a:gd name="T69" fmla="*/ 70533 h 237"/>
                <a:gd name="T70" fmla="*/ 21032 w 471"/>
                <a:gd name="T71" fmla="*/ 61129 h 237"/>
                <a:gd name="T72" fmla="*/ 5258 w 471"/>
                <a:gd name="T73" fmla="*/ 50157 h 237"/>
                <a:gd name="T74" fmla="*/ 3067 w 471"/>
                <a:gd name="T75" fmla="*/ 0 h 23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471" h="237">
                  <a:moveTo>
                    <a:pt x="7" y="0"/>
                  </a:moveTo>
                  <a:lnTo>
                    <a:pt x="86" y="0"/>
                  </a:lnTo>
                  <a:lnTo>
                    <a:pt x="89" y="4"/>
                  </a:lnTo>
                  <a:lnTo>
                    <a:pt x="92" y="7"/>
                  </a:lnTo>
                  <a:lnTo>
                    <a:pt x="97" y="10"/>
                  </a:lnTo>
                  <a:lnTo>
                    <a:pt x="102" y="13"/>
                  </a:lnTo>
                  <a:lnTo>
                    <a:pt x="113" y="18"/>
                  </a:lnTo>
                  <a:lnTo>
                    <a:pt x="125" y="23"/>
                  </a:lnTo>
                  <a:lnTo>
                    <a:pt x="147" y="32"/>
                  </a:lnTo>
                  <a:lnTo>
                    <a:pt x="159" y="37"/>
                  </a:lnTo>
                  <a:lnTo>
                    <a:pt x="192" y="58"/>
                  </a:lnTo>
                  <a:lnTo>
                    <a:pt x="223" y="77"/>
                  </a:lnTo>
                  <a:lnTo>
                    <a:pt x="237" y="88"/>
                  </a:lnTo>
                  <a:lnTo>
                    <a:pt x="253" y="97"/>
                  </a:lnTo>
                  <a:lnTo>
                    <a:pt x="267" y="105"/>
                  </a:lnTo>
                  <a:lnTo>
                    <a:pt x="283" y="113"/>
                  </a:lnTo>
                  <a:lnTo>
                    <a:pt x="299" y="121"/>
                  </a:lnTo>
                  <a:lnTo>
                    <a:pt x="316" y="127"/>
                  </a:lnTo>
                  <a:lnTo>
                    <a:pt x="335" y="133"/>
                  </a:lnTo>
                  <a:lnTo>
                    <a:pt x="355" y="139"/>
                  </a:lnTo>
                  <a:lnTo>
                    <a:pt x="376" y="143"/>
                  </a:lnTo>
                  <a:lnTo>
                    <a:pt x="399" y="146"/>
                  </a:lnTo>
                  <a:lnTo>
                    <a:pt x="424" y="148"/>
                  </a:lnTo>
                  <a:lnTo>
                    <a:pt x="451" y="148"/>
                  </a:lnTo>
                  <a:lnTo>
                    <a:pt x="451" y="179"/>
                  </a:lnTo>
                  <a:lnTo>
                    <a:pt x="452" y="187"/>
                  </a:lnTo>
                  <a:lnTo>
                    <a:pt x="457" y="202"/>
                  </a:lnTo>
                  <a:lnTo>
                    <a:pt x="459" y="211"/>
                  </a:lnTo>
                  <a:lnTo>
                    <a:pt x="462" y="219"/>
                  </a:lnTo>
                  <a:lnTo>
                    <a:pt x="467" y="227"/>
                  </a:lnTo>
                  <a:lnTo>
                    <a:pt x="471" y="234"/>
                  </a:lnTo>
                  <a:lnTo>
                    <a:pt x="467" y="236"/>
                  </a:lnTo>
                  <a:lnTo>
                    <a:pt x="459" y="237"/>
                  </a:lnTo>
                  <a:lnTo>
                    <a:pt x="451" y="236"/>
                  </a:lnTo>
                  <a:lnTo>
                    <a:pt x="440" y="235"/>
                  </a:lnTo>
                  <a:lnTo>
                    <a:pt x="416" y="231"/>
                  </a:lnTo>
                  <a:lnTo>
                    <a:pt x="390" y="226"/>
                  </a:lnTo>
                  <a:lnTo>
                    <a:pt x="362" y="219"/>
                  </a:lnTo>
                  <a:lnTo>
                    <a:pt x="337" y="213"/>
                  </a:lnTo>
                  <a:lnTo>
                    <a:pt x="315" y="207"/>
                  </a:lnTo>
                  <a:lnTo>
                    <a:pt x="299" y="204"/>
                  </a:lnTo>
                  <a:lnTo>
                    <a:pt x="294" y="203"/>
                  </a:lnTo>
                  <a:lnTo>
                    <a:pt x="290" y="201"/>
                  </a:lnTo>
                  <a:lnTo>
                    <a:pt x="287" y="199"/>
                  </a:lnTo>
                  <a:lnTo>
                    <a:pt x="283" y="196"/>
                  </a:lnTo>
                  <a:lnTo>
                    <a:pt x="277" y="190"/>
                  </a:lnTo>
                  <a:lnTo>
                    <a:pt x="272" y="184"/>
                  </a:lnTo>
                  <a:lnTo>
                    <a:pt x="267" y="178"/>
                  </a:lnTo>
                  <a:lnTo>
                    <a:pt x="261" y="171"/>
                  </a:lnTo>
                  <a:lnTo>
                    <a:pt x="255" y="166"/>
                  </a:lnTo>
                  <a:lnTo>
                    <a:pt x="246" y="160"/>
                  </a:lnTo>
                  <a:lnTo>
                    <a:pt x="240" y="159"/>
                  </a:lnTo>
                  <a:lnTo>
                    <a:pt x="234" y="158"/>
                  </a:lnTo>
                  <a:lnTo>
                    <a:pt x="227" y="159"/>
                  </a:lnTo>
                  <a:lnTo>
                    <a:pt x="221" y="159"/>
                  </a:lnTo>
                  <a:lnTo>
                    <a:pt x="205" y="163"/>
                  </a:lnTo>
                  <a:lnTo>
                    <a:pt x="191" y="166"/>
                  </a:lnTo>
                  <a:lnTo>
                    <a:pt x="183" y="167"/>
                  </a:lnTo>
                  <a:lnTo>
                    <a:pt x="176" y="168"/>
                  </a:lnTo>
                  <a:lnTo>
                    <a:pt x="169" y="168"/>
                  </a:lnTo>
                  <a:lnTo>
                    <a:pt x="164" y="166"/>
                  </a:lnTo>
                  <a:lnTo>
                    <a:pt x="158" y="164"/>
                  </a:lnTo>
                  <a:lnTo>
                    <a:pt x="153" y="161"/>
                  </a:lnTo>
                  <a:lnTo>
                    <a:pt x="148" y="155"/>
                  </a:lnTo>
                  <a:lnTo>
                    <a:pt x="146" y="148"/>
                  </a:lnTo>
                  <a:lnTo>
                    <a:pt x="139" y="148"/>
                  </a:lnTo>
                  <a:lnTo>
                    <a:pt x="131" y="147"/>
                  </a:lnTo>
                  <a:lnTo>
                    <a:pt x="122" y="145"/>
                  </a:lnTo>
                  <a:lnTo>
                    <a:pt x="113" y="142"/>
                  </a:lnTo>
                  <a:lnTo>
                    <a:pt x="92" y="135"/>
                  </a:lnTo>
                  <a:lnTo>
                    <a:pt x="70" y="126"/>
                  </a:lnTo>
                  <a:lnTo>
                    <a:pt x="48" y="117"/>
                  </a:lnTo>
                  <a:lnTo>
                    <a:pt x="29" y="107"/>
                  </a:lnTo>
                  <a:lnTo>
                    <a:pt x="12" y="96"/>
                  </a:lnTo>
                  <a:lnTo>
                    <a:pt x="0" y="87"/>
                  </a:lnTo>
                  <a:lnTo>
                    <a:pt x="7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804" name="Freeform 274"/>
            <p:cNvSpPr>
              <a:spLocks/>
            </p:cNvSpPr>
            <p:nvPr>
              <p:custDataLst>
                <p:tags r:id="rId196"/>
              </p:custDataLst>
            </p:nvPr>
          </p:nvSpPr>
          <p:spPr bwMode="auto">
            <a:xfrm>
              <a:off x="8169344" y="3020762"/>
              <a:ext cx="87060" cy="78161"/>
            </a:xfrm>
            <a:custGeom>
              <a:avLst/>
              <a:gdLst>
                <a:gd name="T0" fmla="*/ 73025 w 167"/>
                <a:gd name="T1" fmla="*/ 22754 h 123"/>
                <a:gd name="T2" fmla="*/ 71713 w 167"/>
                <a:gd name="T3" fmla="*/ 28575 h 123"/>
                <a:gd name="T4" fmla="*/ 70401 w 167"/>
                <a:gd name="T5" fmla="*/ 34925 h 123"/>
                <a:gd name="T6" fmla="*/ 67778 w 167"/>
                <a:gd name="T7" fmla="*/ 41804 h 123"/>
                <a:gd name="T8" fmla="*/ 65591 w 167"/>
                <a:gd name="T9" fmla="*/ 49212 h 123"/>
                <a:gd name="T10" fmla="*/ 63842 w 167"/>
                <a:gd name="T11" fmla="*/ 52387 h 123"/>
                <a:gd name="T12" fmla="*/ 62093 w 167"/>
                <a:gd name="T13" fmla="*/ 55562 h 123"/>
                <a:gd name="T14" fmla="*/ 60344 w 167"/>
                <a:gd name="T15" fmla="*/ 58208 h 123"/>
                <a:gd name="T16" fmla="*/ 57720 w 167"/>
                <a:gd name="T17" fmla="*/ 60325 h 123"/>
                <a:gd name="T18" fmla="*/ 55534 w 167"/>
                <a:gd name="T19" fmla="*/ 62441 h 123"/>
                <a:gd name="T20" fmla="*/ 52910 w 167"/>
                <a:gd name="T21" fmla="*/ 64029 h 123"/>
                <a:gd name="T22" fmla="*/ 50287 w 167"/>
                <a:gd name="T23" fmla="*/ 64558 h 123"/>
                <a:gd name="T24" fmla="*/ 46788 w 167"/>
                <a:gd name="T25" fmla="*/ 65087 h 123"/>
                <a:gd name="T26" fmla="*/ 43728 w 167"/>
                <a:gd name="T27" fmla="*/ 64558 h 123"/>
                <a:gd name="T28" fmla="*/ 40229 w 167"/>
                <a:gd name="T29" fmla="*/ 62970 h 123"/>
                <a:gd name="T30" fmla="*/ 38043 w 167"/>
                <a:gd name="T31" fmla="*/ 61383 h 123"/>
                <a:gd name="T32" fmla="*/ 36731 w 167"/>
                <a:gd name="T33" fmla="*/ 59795 h 123"/>
                <a:gd name="T34" fmla="*/ 35857 w 167"/>
                <a:gd name="T35" fmla="*/ 57679 h 123"/>
                <a:gd name="T36" fmla="*/ 35419 w 167"/>
                <a:gd name="T37" fmla="*/ 55562 h 123"/>
                <a:gd name="T38" fmla="*/ 31047 w 167"/>
                <a:gd name="T39" fmla="*/ 55033 h 123"/>
                <a:gd name="T40" fmla="*/ 26674 w 167"/>
                <a:gd name="T41" fmla="*/ 54504 h 123"/>
                <a:gd name="T42" fmla="*/ 22301 w 167"/>
                <a:gd name="T43" fmla="*/ 53445 h 123"/>
                <a:gd name="T44" fmla="*/ 17928 w 167"/>
                <a:gd name="T45" fmla="*/ 51858 h 123"/>
                <a:gd name="T46" fmla="*/ 9183 w 167"/>
                <a:gd name="T47" fmla="*/ 48683 h 123"/>
                <a:gd name="T48" fmla="*/ 0 w 167"/>
                <a:gd name="T49" fmla="*/ 45508 h 123"/>
                <a:gd name="T50" fmla="*/ 875 w 167"/>
                <a:gd name="T51" fmla="*/ 40746 h 123"/>
                <a:gd name="T52" fmla="*/ 2186 w 167"/>
                <a:gd name="T53" fmla="*/ 35454 h 123"/>
                <a:gd name="T54" fmla="*/ 3935 w 167"/>
                <a:gd name="T55" fmla="*/ 29633 h 123"/>
                <a:gd name="T56" fmla="*/ 6559 w 167"/>
                <a:gd name="T57" fmla="*/ 22754 h 123"/>
                <a:gd name="T58" fmla="*/ 8746 w 167"/>
                <a:gd name="T59" fmla="*/ 22754 h 123"/>
                <a:gd name="T60" fmla="*/ 11369 w 167"/>
                <a:gd name="T61" fmla="*/ 22225 h 123"/>
                <a:gd name="T62" fmla="*/ 13118 w 167"/>
                <a:gd name="T63" fmla="*/ 21696 h 123"/>
                <a:gd name="T64" fmla="*/ 14430 w 167"/>
                <a:gd name="T65" fmla="*/ 20108 h 123"/>
                <a:gd name="T66" fmla="*/ 17491 w 167"/>
                <a:gd name="T67" fmla="*/ 17462 h 123"/>
                <a:gd name="T68" fmla="*/ 19677 w 167"/>
                <a:gd name="T69" fmla="*/ 13758 h 123"/>
                <a:gd name="T70" fmla="*/ 22738 w 167"/>
                <a:gd name="T71" fmla="*/ 6350 h 123"/>
                <a:gd name="T72" fmla="*/ 26674 w 167"/>
                <a:gd name="T73" fmla="*/ 0 h 123"/>
                <a:gd name="T74" fmla="*/ 27986 w 167"/>
                <a:gd name="T75" fmla="*/ 2117 h 123"/>
                <a:gd name="T76" fmla="*/ 29297 w 167"/>
                <a:gd name="T77" fmla="*/ 3704 h 123"/>
                <a:gd name="T78" fmla="*/ 31921 w 167"/>
                <a:gd name="T79" fmla="*/ 5821 h 123"/>
                <a:gd name="T80" fmla="*/ 34107 w 167"/>
                <a:gd name="T81" fmla="*/ 7408 h 123"/>
                <a:gd name="T82" fmla="*/ 40229 w 167"/>
                <a:gd name="T83" fmla="*/ 11112 h 123"/>
                <a:gd name="T84" fmla="*/ 46788 w 167"/>
                <a:gd name="T85" fmla="*/ 14817 h 123"/>
                <a:gd name="T86" fmla="*/ 53348 w 167"/>
                <a:gd name="T87" fmla="*/ 18521 h 123"/>
                <a:gd name="T88" fmla="*/ 60781 w 167"/>
                <a:gd name="T89" fmla="*/ 20637 h 123"/>
                <a:gd name="T90" fmla="*/ 66903 w 167"/>
                <a:gd name="T91" fmla="*/ 22225 h 123"/>
                <a:gd name="T92" fmla="*/ 73025 w 167"/>
                <a:gd name="T93" fmla="*/ 22754 h 123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67" h="123">
                  <a:moveTo>
                    <a:pt x="167" y="43"/>
                  </a:moveTo>
                  <a:lnTo>
                    <a:pt x="164" y="54"/>
                  </a:lnTo>
                  <a:lnTo>
                    <a:pt x="161" y="66"/>
                  </a:lnTo>
                  <a:lnTo>
                    <a:pt x="155" y="79"/>
                  </a:lnTo>
                  <a:lnTo>
                    <a:pt x="150" y="93"/>
                  </a:lnTo>
                  <a:lnTo>
                    <a:pt x="146" y="99"/>
                  </a:lnTo>
                  <a:lnTo>
                    <a:pt x="142" y="105"/>
                  </a:lnTo>
                  <a:lnTo>
                    <a:pt x="138" y="110"/>
                  </a:lnTo>
                  <a:lnTo>
                    <a:pt x="132" y="114"/>
                  </a:lnTo>
                  <a:lnTo>
                    <a:pt x="127" y="118"/>
                  </a:lnTo>
                  <a:lnTo>
                    <a:pt x="121" y="121"/>
                  </a:lnTo>
                  <a:lnTo>
                    <a:pt x="115" y="122"/>
                  </a:lnTo>
                  <a:lnTo>
                    <a:pt x="107" y="123"/>
                  </a:lnTo>
                  <a:lnTo>
                    <a:pt x="100" y="122"/>
                  </a:lnTo>
                  <a:lnTo>
                    <a:pt x="92" y="119"/>
                  </a:lnTo>
                  <a:lnTo>
                    <a:pt x="87" y="116"/>
                  </a:lnTo>
                  <a:lnTo>
                    <a:pt x="84" y="113"/>
                  </a:lnTo>
                  <a:lnTo>
                    <a:pt x="82" y="109"/>
                  </a:lnTo>
                  <a:lnTo>
                    <a:pt x="81" y="105"/>
                  </a:lnTo>
                  <a:lnTo>
                    <a:pt x="71" y="104"/>
                  </a:lnTo>
                  <a:lnTo>
                    <a:pt x="61" y="103"/>
                  </a:lnTo>
                  <a:lnTo>
                    <a:pt x="51" y="101"/>
                  </a:lnTo>
                  <a:lnTo>
                    <a:pt x="41" y="98"/>
                  </a:lnTo>
                  <a:lnTo>
                    <a:pt x="21" y="92"/>
                  </a:lnTo>
                  <a:lnTo>
                    <a:pt x="0" y="86"/>
                  </a:lnTo>
                  <a:lnTo>
                    <a:pt x="2" y="77"/>
                  </a:lnTo>
                  <a:lnTo>
                    <a:pt x="5" y="67"/>
                  </a:lnTo>
                  <a:lnTo>
                    <a:pt x="9" y="56"/>
                  </a:lnTo>
                  <a:lnTo>
                    <a:pt x="15" y="43"/>
                  </a:lnTo>
                  <a:lnTo>
                    <a:pt x="20" y="43"/>
                  </a:lnTo>
                  <a:lnTo>
                    <a:pt x="26" y="42"/>
                  </a:lnTo>
                  <a:lnTo>
                    <a:pt x="30" y="41"/>
                  </a:lnTo>
                  <a:lnTo>
                    <a:pt x="33" y="38"/>
                  </a:lnTo>
                  <a:lnTo>
                    <a:pt x="40" y="33"/>
                  </a:lnTo>
                  <a:lnTo>
                    <a:pt x="45" y="26"/>
                  </a:lnTo>
                  <a:lnTo>
                    <a:pt x="52" y="12"/>
                  </a:lnTo>
                  <a:lnTo>
                    <a:pt x="61" y="0"/>
                  </a:lnTo>
                  <a:lnTo>
                    <a:pt x="64" y="4"/>
                  </a:lnTo>
                  <a:lnTo>
                    <a:pt x="67" y="7"/>
                  </a:lnTo>
                  <a:lnTo>
                    <a:pt x="73" y="11"/>
                  </a:lnTo>
                  <a:lnTo>
                    <a:pt x="78" y="14"/>
                  </a:lnTo>
                  <a:lnTo>
                    <a:pt x="92" y="21"/>
                  </a:lnTo>
                  <a:lnTo>
                    <a:pt x="107" y="28"/>
                  </a:lnTo>
                  <a:lnTo>
                    <a:pt x="122" y="35"/>
                  </a:lnTo>
                  <a:lnTo>
                    <a:pt x="139" y="39"/>
                  </a:lnTo>
                  <a:lnTo>
                    <a:pt x="153" y="42"/>
                  </a:lnTo>
                  <a:lnTo>
                    <a:pt x="167" y="4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805" name="Freeform 275"/>
            <p:cNvSpPr>
              <a:spLocks/>
            </p:cNvSpPr>
            <p:nvPr>
              <p:custDataLst>
                <p:tags r:id="rId197"/>
              </p:custDataLst>
            </p:nvPr>
          </p:nvSpPr>
          <p:spPr bwMode="auto">
            <a:xfrm>
              <a:off x="8157987" y="3106547"/>
              <a:ext cx="158978" cy="200170"/>
            </a:xfrm>
            <a:custGeom>
              <a:avLst/>
              <a:gdLst>
                <a:gd name="T0" fmla="*/ 112868 w 306"/>
                <a:gd name="T1" fmla="*/ 83084 h 321"/>
                <a:gd name="T2" fmla="*/ 109818 w 306"/>
                <a:gd name="T3" fmla="*/ 89835 h 321"/>
                <a:gd name="T4" fmla="*/ 105896 w 306"/>
                <a:gd name="T5" fmla="*/ 94508 h 321"/>
                <a:gd name="T6" fmla="*/ 101538 w 306"/>
                <a:gd name="T7" fmla="*/ 96586 h 321"/>
                <a:gd name="T8" fmla="*/ 97180 w 306"/>
                <a:gd name="T9" fmla="*/ 95547 h 321"/>
                <a:gd name="T10" fmla="*/ 93258 w 306"/>
                <a:gd name="T11" fmla="*/ 92431 h 321"/>
                <a:gd name="T12" fmla="*/ 91079 w 306"/>
                <a:gd name="T13" fmla="*/ 87758 h 321"/>
                <a:gd name="T14" fmla="*/ 89772 w 306"/>
                <a:gd name="T15" fmla="*/ 83084 h 321"/>
                <a:gd name="T16" fmla="*/ 91079 w 306"/>
                <a:gd name="T17" fmla="*/ 76853 h 321"/>
                <a:gd name="T18" fmla="*/ 92822 w 306"/>
                <a:gd name="T19" fmla="*/ 70622 h 321"/>
                <a:gd name="T20" fmla="*/ 100230 w 306"/>
                <a:gd name="T21" fmla="*/ 59198 h 321"/>
                <a:gd name="T22" fmla="*/ 107203 w 306"/>
                <a:gd name="T23" fmla="*/ 48293 h 321"/>
                <a:gd name="T24" fmla="*/ 108946 w 306"/>
                <a:gd name="T25" fmla="*/ 42581 h 321"/>
                <a:gd name="T26" fmla="*/ 110253 w 306"/>
                <a:gd name="T27" fmla="*/ 35830 h 321"/>
                <a:gd name="T28" fmla="*/ 56216 w 306"/>
                <a:gd name="T29" fmla="*/ 35311 h 321"/>
                <a:gd name="T30" fmla="*/ 51858 w 306"/>
                <a:gd name="T31" fmla="*/ 30637 h 321"/>
                <a:gd name="T32" fmla="*/ 48808 w 306"/>
                <a:gd name="T33" fmla="*/ 23367 h 321"/>
                <a:gd name="T34" fmla="*/ 47065 w 306"/>
                <a:gd name="T35" fmla="*/ 14540 h 321"/>
                <a:gd name="T36" fmla="*/ 44014 w 306"/>
                <a:gd name="T37" fmla="*/ 9866 h 321"/>
                <a:gd name="T38" fmla="*/ 39221 w 306"/>
                <a:gd name="T39" fmla="*/ 8828 h 321"/>
                <a:gd name="T40" fmla="*/ 34863 w 306"/>
                <a:gd name="T41" fmla="*/ 6231 h 321"/>
                <a:gd name="T42" fmla="*/ 32684 w 306"/>
                <a:gd name="T43" fmla="*/ 2077 h 321"/>
                <a:gd name="T44" fmla="*/ 28326 w 306"/>
                <a:gd name="T45" fmla="*/ 0 h 321"/>
                <a:gd name="T46" fmla="*/ 21353 w 306"/>
                <a:gd name="T47" fmla="*/ 0 h 321"/>
                <a:gd name="T48" fmla="*/ 14817 w 306"/>
                <a:gd name="T49" fmla="*/ 519 h 321"/>
                <a:gd name="T50" fmla="*/ 9587 w 306"/>
                <a:gd name="T51" fmla="*/ 2596 h 321"/>
                <a:gd name="T52" fmla="*/ 4358 w 306"/>
                <a:gd name="T53" fmla="*/ 7270 h 321"/>
                <a:gd name="T54" fmla="*/ 436 w 306"/>
                <a:gd name="T55" fmla="*/ 12982 h 321"/>
                <a:gd name="T56" fmla="*/ 872 w 306"/>
                <a:gd name="T57" fmla="*/ 18175 h 321"/>
                <a:gd name="T58" fmla="*/ 6537 w 306"/>
                <a:gd name="T59" fmla="*/ 23887 h 321"/>
                <a:gd name="T60" fmla="*/ 15252 w 306"/>
                <a:gd name="T61" fmla="*/ 30118 h 321"/>
                <a:gd name="T62" fmla="*/ 23532 w 306"/>
                <a:gd name="T63" fmla="*/ 34792 h 321"/>
                <a:gd name="T64" fmla="*/ 20482 w 306"/>
                <a:gd name="T65" fmla="*/ 41023 h 321"/>
                <a:gd name="T66" fmla="*/ 10895 w 306"/>
                <a:gd name="T67" fmla="*/ 50370 h 321"/>
                <a:gd name="T68" fmla="*/ 7408 w 306"/>
                <a:gd name="T69" fmla="*/ 55563 h 321"/>
                <a:gd name="T70" fmla="*/ 6101 w 306"/>
                <a:gd name="T71" fmla="*/ 59198 h 321"/>
                <a:gd name="T72" fmla="*/ 6101 w 306"/>
                <a:gd name="T73" fmla="*/ 63352 h 321"/>
                <a:gd name="T74" fmla="*/ 7844 w 306"/>
                <a:gd name="T75" fmla="*/ 66987 h 321"/>
                <a:gd name="T76" fmla="*/ 12202 w 306"/>
                <a:gd name="T77" fmla="*/ 73218 h 321"/>
                <a:gd name="T78" fmla="*/ 20482 w 306"/>
                <a:gd name="T79" fmla="*/ 81007 h 321"/>
                <a:gd name="T80" fmla="*/ 27890 w 306"/>
                <a:gd name="T81" fmla="*/ 85161 h 321"/>
                <a:gd name="T82" fmla="*/ 32684 w 306"/>
                <a:gd name="T83" fmla="*/ 86200 h 321"/>
                <a:gd name="T84" fmla="*/ 46629 w 306"/>
                <a:gd name="T85" fmla="*/ 140724 h 321"/>
                <a:gd name="T86" fmla="*/ 47065 w 306"/>
                <a:gd name="T87" fmla="*/ 136570 h 321"/>
                <a:gd name="T88" fmla="*/ 48808 w 306"/>
                <a:gd name="T89" fmla="*/ 132935 h 321"/>
                <a:gd name="T90" fmla="*/ 55345 w 306"/>
                <a:gd name="T91" fmla="*/ 127742 h 321"/>
                <a:gd name="T92" fmla="*/ 64496 w 306"/>
                <a:gd name="T93" fmla="*/ 124627 h 321"/>
                <a:gd name="T94" fmla="*/ 75826 w 306"/>
                <a:gd name="T95" fmla="*/ 122030 h 321"/>
                <a:gd name="T96" fmla="*/ 75826 w 306"/>
                <a:gd name="T97" fmla="*/ 109048 h 321"/>
                <a:gd name="T98" fmla="*/ 79749 w 306"/>
                <a:gd name="T99" fmla="*/ 110087 h 321"/>
                <a:gd name="T100" fmla="*/ 84106 w 306"/>
                <a:gd name="T101" fmla="*/ 110087 h 321"/>
                <a:gd name="T102" fmla="*/ 92822 w 306"/>
                <a:gd name="T103" fmla="*/ 109048 h 321"/>
                <a:gd name="T104" fmla="*/ 101102 w 306"/>
                <a:gd name="T105" fmla="*/ 135531 h 321"/>
                <a:gd name="T106" fmla="*/ 112868 w 306"/>
                <a:gd name="T107" fmla="*/ 166688 h 321"/>
                <a:gd name="T108" fmla="*/ 118533 w 306"/>
                <a:gd name="T109" fmla="*/ 161495 h 321"/>
                <a:gd name="T110" fmla="*/ 122891 w 306"/>
                <a:gd name="T111" fmla="*/ 156822 h 321"/>
                <a:gd name="T112" fmla="*/ 128556 w 306"/>
                <a:gd name="T113" fmla="*/ 145398 h 321"/>
                <a:gd name="T114" fmla="*/ 133350 w 306"/>
                <a:gd name="T115" fmla="*/ 122030 h 321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306" h="321">
                  <a:moveTo>
                    <a:pt x="306" y="235"/>
                  </a:moveTo>
                  <a:lnTo>
                    <a:pt x="259" y="160"/>
                  </a:lnTo>
                  <a:lnTo>
                    <a:pt x="257" y="164"/>
                  </a:lnTo>
                  <a:lnTo>
                    <a:pt x="252" y="173"/>
                  </a:lnTo>
                  <a:lnTo>
                    <a:pt x="247" y="178"/>
                  </a:lnTo>
                  <a:lnTo>
                    <a:pt x="243" y="182"/>
                  </a:lnTo>
                  <a:lnTo>
                    <a:pt x="238" y="185"/>
                  </a:lnTo>
                  <a:lnTo>
                    <a:pt x="233" y="186"/>
                  </a:lnTo>
                  <a:lnTo>
                    <a:pt x="227" y="185"/>
                  </a:lnTo>
                  <a:lnTo>
                    <a:pt x="223" y="184"/>
                  </a:lnTo>
                  <a:lnTo>
                    <a:pt x="219" y="181"/>
                  </a:lnTo>
                  <a:lnTo>
                    <a:pt x="214" y="178"/>
                  </a:lnTo>
                  <a:lnTo>
                    <a:pt x="211" y="173"/>
                  </a:lnTo>
                  <a:lnTo>
                    <a:pt x="209" y="169"/>
                  </a:lnTo>
                  <a:lnTo>
                    <a:pt x="206" y="165"/>
                  </a:lnTo>
                  <a:lnTo>
                    <a:pt x="206" y="160"/>
                  </a:lnTo>
                  <a:lnTo>
                    <a:pt x="206" y="154"/>
                  </a:lnTo>
                  <a:lnTo>
                    <a:pt x="209" y="148"/>
                  </a:lnTo>
                  <a:lnTo>
                    <a:pt x="211" y="142"/>
                  </a:lnTo>
                  <a:lnTo>
                    <a:pt x="213" y="136"/>
                  </a:lnTo>
                  <a:lnTo>
                    <a:pt x="221" y="125"/>
                  </a:lnTo>
                  <a:lnTo>
                    <a:pt x="230" y="114"/>
                  </a:lnTo>
                  <a:lnTo>
                    <a:pt x="238" y="104"/>
                  </a:lnTo>
                  <a:lnTo>
                    <a:pt x="246" y="93"/>
                  </a:lnTo>
                  <a:lnTo>
                    <a:pt x="248" y="87"/>
                  </a:lnTo>
                  <a:lnTo>
                    <a:pt x="250" y="82"/>
                  </a:lnTo>
                  <a:lnTo>
                    <a:pt x="253" y="75"/>
                  </a:lnTo>
                  <a:lnTo>
                    <a:pt x="253" y="69"/>
                  </a:lnTo>
                  <a:lnTo>
                    <a:pt x="133" y="69"/>
                  </a:lnTo>
                  <a:lnTo>
                    <a:pt x="129" y="68"/>
                  </a:lnTo>
                  <a:lnTo>
                    <a:pt x="123" y="65"/>
                  </a:lnTo>
                  <a:lnTo>
                    <a:pt x="119" y="59"/>
                  </a:lnTo>
                  <a:lnTo>
                    <a:pt x="115" y="53"/>
                  </a:lnTo>
                  <a:lnTo>
                    <a:pt x="112" y="45"/>
                  </a:lnTo>
                  <a:lnTo>
                    <a:pt x="109" y="37"/>
                  </a:lnTo>
                  <a:lnTo>
                    <a:pt x="108" y="28"/>
                  </a:lnTo>
                  <a:lnTo>
                    <a:pt x="107" y="19"/>
                  </a:lnTo>
                  <a:lnTo>
                    <a:pt x="101" y="19"/>
                  </a:lnTo>
                  <a:lnTo>
                    <a:pt x="96" y="18"/>
                  </a:lnTo>
                  <a:lnTo>
                    <a:pt x="90" y="17"/>
                  </a:lnTo>
                  <a:lnTo>
                    <a:pt x="85" y="15"/>
                  </a:lnTo>
                  <a:lnTo>
                    <a:pt x="80" y="12"/>
                  </a:lnTo>
                  <a:lnTo>
                    <a:pt x="77" y="9"/>
                  </a:lnTo>
                  <a:lnTo>
                    <a:pt x="75" y="4"/>
                  </a:lnTo>
                  <a:lnTo>
                    <a:pt x="74" y="0"/>
                  </a:lnTo>
                  <a:lnTo>
                    <a:pt x="65" y="0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0"/>
                  </a:lnTo>
                  <a:lnTo>
                    <a:pt x="34" y="1"/>
                  </a:lnTo>
                  <a:lnTo>
                    <a:pt x="29" y="2"/>
                  </a:lnTo>
                  <a:lnTo>
                    <a:pt x="22" y="5"/>
                  </a:lnTo>
                  <a:lnTo>
                    <a:pt x="15" y="9"/>
                  </a:lnTo>
                  <a:lnTo>
                    <a:pt x="10" y="14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1"/>
                  </a:lnTo>
                  <a:lnTo>
                    <a:pt x="2" y="35"/>
                  </a:lnTo>
                  <a:lnTo>
                    <a:pt x="8" y="40"/>
                  </a:lnTo>
                  <a:lnTo>
                    <a:pt x="15" y="46"/>
                  </a:lnTo>
                  <a:lnTo>
                    <a:pt x="25" y="52"/>
                  </a:lnTo>
                  <a:lnTo>
                    <a:pt x="35" y="58"/>
                  </a:lnTo>
                  <a:lnTo>
                    <a:pt x="45" y="63"/>
                  </a:lnTo>
                  <a:lnTo>
                    <a:pt x="54" y="67"/>
                  </a:lnTo>
                  <a:lnTo>
                    <a:pt x="60" y="69"/>
                  </a:lnTo>
                  <a:lnTo>
                    <a:pt x="47" y="79"/>
                  </a:lnTo>
                  <a:lnTo>
                    <a:pt x="32" y="91"/>
                  </a:lnTo>
                  <a:lnTo>
                    <a:pt x="25" y="97"/>
                  </a:lnTo>
                  <a:lnTo>
                    <a:pt x="19" y="104"/>
                  </a:lnTo>
                  <a:lnTo>
                    <a:pt x="17" y="107"/>
                  </a:lnTo>
                  <a:lnTo>
                    <a:pt x="15" y="110"/>
                  </a:lnTo>
                  <a:lnTo>
                    <a:pt x="14" y="114"/>
                  </a:lnTo>
                  <a:lnTo>
                    <a:pt x="13" y="117"/>
                  </a:lnTo>
                  <a:lnTo>
                    <a:pt x="14" y="122"/>
                  </a:lnTo>
                  <a:lnTo>
                    <a:pt x="15" y="125"/>
                  </a:lnTo>
                  <a:lnTo>
                    <a:pt x="18" y="129"/>
                  </a:lnTo>
                  <a:lnTo>
                    <a:pt x="20" y="133"/>
                  </a:lnTo>
                  <a:lnTo>
                    <a:pt x="28" y="141"/>
                  </a:lnTo>
                  <a:lnTo>
                    <a:pt x="37" y="149"/>
                  </a:lnTo>
                  <a:lnTo>
                    <a:pt x="47" y="156"/>
                  </a:lnTo>
                  <a:lnTo>
                    <a:pt x="58" y="162"/>
                  </a:lnTo>
                  <a:lnTo>
                    <a:pt x="64" y="164"/>
                  </a:lnTo>
                  <a:lnTo>
                    <a:pt x="69" y="165"/>
                  </a:lnTo>
                  <a:lnTo>
                    <a:pt x="75" y="166"/>
                  </a:lnTo>
                  <a:lnTo>
                    <a:pt x="80" y="167"/>
                  </a:lnTo>
                  <a:lnTo>
                    <a:pt x="107" y="271"/>
                  </a:lnTo>
                  <a:lnTo>
                    <a:pt x="107" y="267"/>
                  </a:lnTo>
                  <a:lnTo>
                    <a:pt x="108" y="263"/>
                  </a:lnTo>
                  <a:lnTo>
                    <a:pt x="110" y="260"/>
                  </a:lnTo>
                  <a:lnTo>
                    <a:pt x="112" y="256"/>
                  </a:lnTo>
                  <a:lnTo>
                    <a:pt x="119" y="251"/>
                  </a:lnTo>
                  <a:lnTo>
                    <a:pt x="127" y="246"/>
                  </a:lnTo>
                  <a:lnTo>
                    <a:pt x="137" y="243"/>
                  </a:lnTo>
                  <a:lnTo>
                    <a:pt x="148" y="240"/>
                  </a:lnTo>
                  <a:lnTo>
                    <a:pt x="160" y="237"/>
                  </a:lnTo>
                  <a:lnTo>
                    <a:pt x="174" y="235"/>
                  </a:lnTo>
                  <a:lnTo>
                    <a:pt x="174" y="222"/>
                  </a:lnTo>
                  <a:lnTo>
                    <a:pt x="174" y="210"/>
                  </a:lnTo>
                  <a:lnTo>
                    <a:pt x="178" y="212"/>
                  </a:lnTo>
                  <a:lnTo>
                    <a:pt x="183" y="212"/>
                  </a:lnTo>
                  <a:lnTo>
                    <a:pt x="188" y="213"/>
                  </a:lnTo>
                  <a:lnTo>
                    <a:pt x="193" y="212"/>
                  </a:lnTo>
                  <a:lnTo>
                    <a:pt x="203" y="211"/>
                  </a:lnTo>
                  <a:lnTo>
                    <a:pt x="213" y="210"/>
                  </a:lnTo>
                  <a:lnTo>
                    <a:pt x="220" y="233"/>
                  </a:lnTo>
                  <a:lnTo>
                    <a:pt x="232" y="261"/>
                  </a:lnTo>
                  <a:lnTo>
                    <a:pt x="245" y="292"/>
                  </a:lnTo>
                  <a:lnTo>
                    <a:pt x="259" y="321"/>
                  </a:lnTo>
                  <a:lnTo>
                    <a:pt x="267" y="316"/>
                  </a:lnTo>
                  <a:lnTo>
                    <a:pt x="272" y="311"/>
                  </a:lnTo>
                  <a:lnTo>
                    <a:pt x="278" y="307"/>
                  </a:lnTo>
                  <a:lnTo>
                    <a:pt x="282" y="302"/>
                  </a:lnTo>
                  <a:lnTo>
                    <a:pt x="290" y="291"/>
                  </a:lnTo>
                  <a:lnTo>
                    <a:pt x="295" y="280"/>
                  </a:lnTo>
                  <a:lnTo>
                    <a:pt x="301" y="258"/>
                  </a:lnTo>
                  <a:lnTo>
                    <a:pt x="306" y="23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806" name="Freeform 276"/>
            <p:cNvSpPr>
              <a:spLocks/>
            </p:cNvSpPr>
            <p:nvPr>
              <p:custDataLst>
                <p:tags r:id="rId198"/>
              </p:custDataLst>
            </p:nvPr>
          </p:nvSpPr>
          <p:spPr bwMode="auto">
            <a:xfrm>
              <a:off x="8536508" y="3245715"/>
              <a:ext cx="240360" cy="324084"/>
            </a:xfrm>
            <a:custGeom>
              <a:avLst/>
              <a:gdLst>
                <a:gd name="T0" fmla="*/ 40237 w 471"/>
                <a:gd name="T1" fmla="*/ 6252 h 518"/>
                <a:gd name="T2" fmla="*/ 28679 w 471"/>
                <a:gd name="T3" fmla="*/ 16672 h 518"/>
                <a:gd name="T4" fmla="*/ 17122 w 471"/>
                <a:gd name="T5" fmla="*/ 25529 h 518"/>
                <a:gd name="T6" fmla="*/ 11557 w 471"/>
                <a:gd name="T7" fmla="*/ 42722 h 518"/>
                <a:gd name="T8" fmla="*/ 3424 w 471"/>
                <a:gd name="T9" fmla="*/ 61477 h 518"/>
                <a:gd name="T10" fmla="*/ 2996 w 471"/>
                <a:gd name="T11" fmla="*/ 70855 h 518"/>
                <a:gd name="T12" fmla="*/ 12842 w 471"/>
                <a:gd name="T13" fmla="*/ 79712 h 518"/>
                <a:gd name="T14" fmla="*/ 21403 w 471"/>
                <a:gd name="T15" fmla="*/ 87527 h 518"/>
                <a:gd name="T16" fmla="*/ 26539 w 471"/>
                <a:gd name="T17" fmla="*/ 89611 h 518"/>
                <a:gd name="T18" fmla="*/ 32104 w 471"/>
                <a:gd name="T19" fmla="*/ 109930 h 518"/>
                <a:gd name="T20" fmla="*/ 35956 w 471"/>
                <a:gd name="T21" fmla="*/ 141710 h 518"/>
                <a:gd name="T22" fmla="*/ 40237 w 471"/>
                <a:gd name="T23" fmla="*/ 155777 h 518"/>
                <a:gd name="T24" fmla="*/ 44517 w 471"/>
                <a:gd name="T25" fmla="*/ 157340 h 518"/>
                <a:gd name="T26" fmla="*/ 47942 w 471"/>
                <a:gd name="T27" fmla="*/ 154735 h 518"/>
                <a:gd name="T28" fmla="*/ 54791 w 471"/>
                <a:gd name="T29" fmla="*/ 139626 h 518"/>
                <a:gd name="T30" fmla="*/ 62067 w 471"/>
                <a:gd name="T31" fmla="*/ 136500 h 518"/>
                <a:gd name="T32" fmla="*/ 68488 w 471"/>
                <a:gd name="T33" fmla="*/ 141710 h 518"/>
                <a:gd name="T34" fmla="*/ 74053 w 471"/>
                <a:gd name="T35" fmla="*/ 144315 h 518"/>
                <a:gd name="T36" fmla="*/ 78333 w 471"/>
                <a:gd name="T37" fmla="*/ 142752 h 518"/>
                <a:gd name="T38" fmla="*/ 82186 w 471"/>
                <a:gd name="T39" fmla="*/ 134938 h 518"/>
                <a:gd name="T40" fmla="*/ 86894 w 471"/>
                <a:gd name="T41" fmla="*/ 127123 h 518"/>
                <a:gd name="T42" fmla="*/ 90747 w 471"/>
                <a:gd name="T43" fmla="*/ 125560 h 518"/>
                <a:gd name="T44" fmla="*/ 103160 w 471"/>
                <a:gd name="T45" fmla="*/ 128686 h 518"/>
                <a:gd name="T46" fmla="*/ 110865 w 471"/>
                <a:gd name="T47" fmla="*/ 141189 h 518"/>
                <a:gd name="T48" fmla="*/ 131840 w 471"/>
                <a:gd name="T49" fmla="*/ 175054 h 518"/>
                <a:gd name="T50" fmla="*/ 145965 w 471"/>
                <a:gd name="T51" fmla="*/ 199020 h 518"/>
                <a:gd name="T52" fmla="*/ 153242 w 471"/>
                <a:gd name="T53" fmla="*/ 218297 h 518"/>
                <a:gd name="T54" fmla="*/ 156667 w 471"/>
                <a:gd name="T55" fmla="*/ 238094 h 518"/>
                <a:gd name="T56" fmla="*/ 153670 w 471"/>
                <a:gd name="T57" fmla="*/ 244867 h 518"/>
                <a:gd name="T58" fmla="*/ 145109 w 471"/>
                <a:gd name="T59" fmla="*/ 253724 h 518"/>
                <a:gd name="T60" fmla="*/ 155382 w 471"/>
                <a:gd name="T61" fmla="*/ 258413 h 518"/>
                <a:gd name="T62" fmla="*/ 167796 w 471"/>
                <a:gd name="T63" fmla="*/ 269875 h 518"/>
                <a:gd name="T64" fmla="*/ 171648 w 471"/>
                <a:gd name="T65" fmla="*/ 259976 h 518"/>
                <a:gd name="T66" fmla="*/ 176785 w 471"/>
                <a:gd name="T67" fmla="*/ 254766 h 518"/>
                <a:gd name="T68" fmla="*/ 190055 w 471"/>
                <a:gd name="T69" fmla="*/ 251640 h 518"/>
                <a:gd name="T70" fmla="*/ 200328 w 471"/>
                <a:gd name="T71" fmla="*/ 228195 h 518"/>
                <a:gd name="T72" fmla="*/ 192195 w 471"/>
                <a:gd name="T73" fmla="*/ 201625 h 518"/>
                <a:gd name="T74" fmla="*/ 180209 w 471"/>
                <a:gd name="T75" fmla="*/ 180785 h 518"/>
                <a:gd name="T76" fmla="*/ 147678 w 471"/>
                <a:gd name="T77" fmla="*/ 144315 h 518"/>
                <a:gd name="T78" fmla="*/ 119426 w 471"/>
                <a:gd name="T79" fmla="*/ 113577 h 518"/>
                <a:gd name="T80" fmla="*/ 95883 w 471"/>
                <a:gd name="T81" fmla="*/ 84401 h 518"/>
                <a:gd name="T82" fmla="*/ 76621 w 471"/>
                <a:gd name="T83" fmla="*/ 54704 h 518"/>
                <a:gd name="T84" fmla="*/ 54362 w 471"/>
                <a:gd name="T85" fmla="*/ 20840 h 518"/>
                <a:gd name="T86" fmla="*/ 49226 w 471"/>
                <a:gd name="T87" fmla="*/ 7294 h 51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71" h="518">
                  <a:moveTo>
                    <a:pt x="113" y="0"/>
                  </a:moveTo>
                  <a:lnTo>
                    <a:pt x="104" y="5"/>
                  </a:lnTo>
                  <a:lnTo>
                    <a:pt x="94" y="12"/>
                  </a:lnTo>
                  <a:lnTo>
                    <a:pt x="85" y="18"/>
                  </a:lnTo>
                  <a:lnTo>
                    <a:pt x="76" y="25"/>
                  </a:lnTo>
                  <a:lnTo>
                    <a:pt x="67" y="32"/>
                  </a:lnTo>
                  <a:lnTo>
                    <a:pt x="59" y="38"/>
                  </a:lnTo>
                  <a:lnTo>
                    <a:pt x="50" y="44"/>
                  </a:lnTo>
                  <a:lnTo>
                    <a:pt x="40" y="49"/>
                  </a:lnTo>
                  <a:lnTo>
                    <a:pt x="37" y="59"/>
                  </a:lnTo>
                  <a:lnTo>
                    <a:pt x="32" y="71"/>
                  </a:lnTo>
                  <a:lnTo>
                    <a:pt x="27" y="82"/>
                  </a:lnTo>
                  <a:lnTo>
                    <a:pt x="20" y="93"/>
                  </a:lnTo>
                  <a:lnTo>
                    <a:pt x="14" y="106"/>
                  </a:lnTo>
                  <a:lnTo>
                    <a:pt x="8" y="118"/>
                  </a:lnTo>
                  <a:lnTo>
                    <a:pt x="4" y="131"/>
                  </a:lnTo>
                  <a:lnTo>
                    <a:pt x="0" y="142"/>
                  </a:lnTo>
                  <a:lnTo>
                    <a:pt x="7" y="136"/>
                  </a:lnTo>
                  <a:lnTo>
                    <a:pt x="16" y="141"/>
                  </a:lnTo>
                  <a:lnTo>
                    <a:pt x="23" y="147"/>
                  </a:lnTo>
                  <a:lnTo>
                    <a:pt x="30" y="153"/>
                  </a:lnTo>
                  <a:lnTo>
                    <a:pt x="37" y="159"/>
                  </a:lnTo>
                  <a:lnTo>
                    <a:pt x="43" y="164"/>
                  </a:lnTo>
                  <a:lnTo>
                    <a:pt x="50" y="168"/>
                  </a:lnTo>
                  <a:lnTo>
                    <a:pt x="53" y="170"/>
                  </a:lnTo>
                  <a:lnTo>
                    <a:pt x="57" y="171"/>
                  </a:lnTo>
                  <a:lnTo>
                    <a:pt x="62" y="172"/>
                  </a:lnTo>
                  <a:lnTo>
                    <a:pt x="66" y="172"/>
                  </a:lnTo>
                  <a:lnTo>
                    <a:pt x="71" y="191"/>
                  </a:lnTo>
                  <a:lnTo>
                    <a:pt x="75" y="211"/>
                  </a:lnTo>
                  <a:lnTo>
                    <a:pt x="77" y="233"/>
                  </a:lnTo>
                  <a:lnTo>
                    <a:pt x="80" y="254"/>
                  </a:lnTo>
                  <a:lnTo>
                    <a:pt x="84" y="272"/>
                  </a:lnTo>
                  <a:lnTo>
                    <a:pt x="88" y="289"/>
                  </a:lnTo>
                  <a:lnTo>
                    <a:pt x="90" y="294"/>
                  </a:lnTo>
                  <a:lnTo>
                    <a:pt x="94" y="299"/>
                  </a:lnTo>
                  <a:lnTo>
                    <a:pt x="96" y="302"/>
                  </a:lnTo>
                  <a:lnTo>
                    <a:pt x="100" y="302"/>
                  </a:lnTo>
                  <a:lnTo>
                    <a:pt x="104" y="302"/>
                  </a:lnTo>
                  <a:lnTo>
                    <a:pt x="107" y="301"/>
                  </a:lnTo>
                  <a:lnTo>
                    <a:pt x="110" y="299"/>
                  </a:lnTo>
                  <a:lnTo>
                    <a:pt x="112" y="297"/>
                  </a:lnTo>
                  <a:lnTo>
                    <a:pt x="118" y="291"/>
                  </a:lnTo>
                  <a:lnTo>
                    <a:pt x="121" y="283"/>
                  </a:lnTo>
                  <a:lnTo>
                    <a:pt x="128" y="268"/>
                  </a:lnTo>
                  <a:lnTo>
                    <a:pt x="133" y="259"/>
                  </a:lnTo>
                  <a:lnTo>
                    <a:pt x="140" y="260"/>
                  </a:lnTo>
                  <a:lnTo>
                    <a:pt x="145" y="262"/>
                  </a:lnTo>
                  <a:lnTo>
                    <a:pt x="151" y="265"/>
                  </a:lnTo>
                  <a:lnTo>
                    <a:pt x="155" y="268"/>
                  </a:lnTo>
                  <a:lnTo>
                    <a:pt x="160" y="272"/>
                  </a:lnTo>
                  <a:lnTo>
                    <a:pt x="164" y="274"/>
                  </a:lnTo>
                  <a:lnTo>
                    <a:pt x="168" y="277"/>
                  </a:lnTo>
                  <a:lnTo>
                    <a:pt x="173" y="277"/>
                  </a:lnTo>
                  <a:lnTo>
                    <a:pt x="176" y="277"/>
                  </a:lnTo>
                  <a:lnTo>
                    <a:pt x="179" y="276"/>
                  </a:lnTo>
                  <a:lnTo>
                    <a:pt x="183" y="274"/>
                  </a:lnTo>
                  <a:lnTo>
                    <a:pt x="185" y="272"/>
                  </a:lnTo>
                  <a:lnTo>
                    <a:pt x="189" y="266"/>
                  </a:lnTo>
                  <a:lnTo>
                    <a:pt x="192" y="259"/>
                  </a:lnTo>
                  <a:lnTo>
                    <a:pt x="197" y="252"/>
                  </a:lnTo>
                  <a:lnTo>
                    <a:pt x="201" y="247"/>
                  </a:lnTo>
                  <a:lnTo>
                    <a:pt x="203" y="244"/>
                  </a:lnTo>
                  <a:lnTo>
                    <a:pt x="206" y="243"/>
                  </a:lnTo>
                  <a:lnTo>
                    <a:pt x="209" y="241"/>
                  </a:lnTo>
                  <a:lnTo>
                    <a:pt x="212" y="241"/>
                  </a:lnTo>
                  <a:lnTo>
                    <a:pt x="224" y="242"/>
                  </a:lnTo>
                  <a:lnTo>
                    <a:pt x="233" y="244"/>
                  </a:lnTo>
                  <a:lnTo>
                    <a:pt x="241" y="247"/>
                  </a:lnTo>
                  <a:lnTo>
                    <a:pt x="246" y="252"/>
                  </a:lnTo>
                  <a:lnTo>
                    <a:pt x="254" y="261"/>
                  </a:lnTo>
                  <a:lnTo>
                    <a:pt x="259" y="271"/>
                  </a:lnTo>
                  <a:lnTo>
                    <a:pt x="274" y="293"/>
                  </a:lnTo>
                  <a:lnTo>
                    <a:pt x="290" y="314"/>
                  </a:lnTo>
                  <a:lnTo>
                    <a:pt x="308" y="336"/>
                  </a:lnTo>
                  <a:lnTo>
                    <a:pt x="325" y="359"/>
                  </a:lnTo>
                  <a:lnTo>
                    <a:pt x="333" y="371"/>
                  </a:lnTo>
                  <a:lnTo>
                    <a:pt x="341" y="382"/>
                  </a:lnTo>
                  <a:lnTo>
                    <a:pt x="347" y="394"/>
                  </a:lnTo>
                  <a:lnTo>
                    <a:pt x="354" y="407"/>
                  </a:lnTo>
                  <a:lnTo>
                    <a:pt x="358" y="419"/>
                  </a:lnTo>
                  <a:lnTo>
                    <a:pt x="363" y="431"/>
                  </a:lnTo>
                  <a:lnTo>
                    <a:pt x="365" y="443"/>
                  </a:lnTo>
                  <a:lnTo>
                    <a:pt x="366" y="457"/>
                  </a:lnTo>
                  <a:lnTo>
                    <a:pt x="365" y="461"/>
                  </a:lnTo>
                  <a:lnTo>
                    <a:pt x="363" y="466"/>
                  </a:lnTo>
                  <a:lnTo>
                    <a:pt x="359" y="470"/>
                  </a:lnTo>
                  <a:lnTo>
                    <a:pt x="355" y="474"/>
                  </a:lnTo>
                  <a:lnTo>
                    <a:pt x="346" y="481"/>
                  </a:lnTo>
                  <a:lnTo>
                    <a:pt x="339" y="487"/>
                  </a:lnTo>
                  <a:lnTo>
                    <a:pt x="348" y="490"/>
                  </a:lnTo>
                  <a:lnTo>
                    <a:pt x="356" y="493"/>
                  </a:lnTo>
                  <a:lnTo>
                    <a:pt x="363" y="496"/>
                  </a:lnTo>
                  <a:lnTo>
                    <a:pt x="368" y="500"/>
                  </a:lnTo>
                  <a:lnTo>
                    <a:pt x="379" y="508"/>
                  </a:lnTo>
                  <a:lnTo>
                    <a:pt x="392" y="518"/>
                  </a:lnTo>
                  <a:lnTo>
                    <a:pt x="395" y="511"/>
                  </a:lnTo>
                  <a:lnTo>
                    <a:pt x="398" y="504"/>
                  </a:lnTo>
                  <a:lnTo>
                    <a:pt x="401" y="499"/>
                  </a:lnTo>
                  <a:lnTo>
                    <a:pt x="404" y="495"/>
                  </a:lnTo>
                  <a:lnTo>
                    <a:pt x="409" y="491"/>
                  </a:lnTo>
                  <a:lnTo>
                    <a:pt x="413" y="489"/>
                  </a:lnTo>
                  <a:lnTo>
                    <a:pt x="418" y="487"/>
                  </a:lnTo>
                  <a:lnTo>
                    <a:pt x="422" y="485"/>
                  </a:lnTo>
                  <a:lnTo>
                    <a:pt x="444" y="483"/>
                  </a:lnTo>
                  <a:lnTo>
                    <a:pt x="471" y="481"/>
                  </a:lnTo>
                  <a:lnTo>
                    <a:pt x="471" y="459"/>
                  </a:lnTo>
                  <a:lnTo>
                    <a:pt x="468" y="438"/>
                  </a:lnTo>
                  <a:lnTo>
                    <a:pt x="464" y="420"/>
                  </a:lnTo>
                  <a:lnTo>
                    <a:pt x="457" y="403"/>
                  </a:lnTo>
                  <a:lnTo>
                    <a:pt x="449" y="387"/>
                  </a:lnTo>
                  <a:lnTo>
                    <a:pt x="441" y="372"/>
                  </a:lnTo>
                  <a:lnTo>
                    <a:pt x="431" y="359"/>
                  </a:lnTo>
                  <a:lnTo>
                    <a:pt x="421" y="347"/>
                  </a:lnTo>
                  <a:lnTo>
                    <a:pt x="397" y="322"/>
                  </a:lnTo>
                  <a:lnTo>
                    <a:pt x="371" y="300"/>
                  </a:lnTo>
                  <a:lnTo>
                    <a:pt x="345" y="277"/>
                  </a:lnTo>
                  <a:lnTo>
                    <a:pt x="319" y="253"/>
                  </a:lnTo>
                  <a:lnTo>
                    <a:pt x="299" y="237"/>
                  </a:lnTo>
                  <a:lnTo>
                    <a:pt x="279" y="218"/>
                  </a:lnTo>
                  <a:lnTo>
                    <a:pt x="261" y="200"/>
                  </a:lnTo>
                  <a:lnTo>
                    <a:pt x="242" y="182"/>
                  </a:lnTo>
                  <a:lnTo>
                    <a:pt x="224" y="162"/>
                  </a:lnTo>
                  <a:lnTo>
                    <a:pt x="208" y="143"/>
                  </a:lnTo>
                  <a:lnTo>
                    <a:pt x="192" y="124"/>
                  </a:lnTo>
                  <a:lnTo>
                    <a:pt x="179" y="105"/>
                  </a:lnTo>
                  <a:lnTo>
                    <a:pt x="158" y="79"/>
                  </a:lnTo>
                  <a:lnTo>
                    <a:pt x="136" y="52"/>
                  </a:lnTo>
                  <a:lnTo>
                    <a:pt x="127" y="40"/>
                  </a:lnTo>
                  <a:lnTo>
                    <a:pt x="120" y="27"/>
                  </a:lnTo>
                  <a:lnTo>
                    <a:pt x="117" y="21"/>
                  </a:lnTo>
                  <a:lnTo>
                    <a:pt x="115" y="14"/>
                  </a:lnTo>
                  <a:lnTo>
                    <a:pt x="113" y="7"/>
                  </a:lnTo>
                  <a:lnTo>
                    <a:pt x="11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807" name="Freeform 277"/>
            <p:cNvSpPr>
              <a:spLocks/>
            </p:cNvSpPr>
            <p:nvPr>
              <p:custDataLst>
                <p:tags r:id="rId199"/>
              </p:custDataLst>
            </p:nvPr>
          </p:nvSpPr>
          <p:spPr bwMode="auto">
            <a:xfrm>
              <a:off x="8634923" y="3546922"/>
              <a:ext cx="158978" cy="156323"/>
            </a:xfrm>
            <a:custGeom>
              <a:avLst/>
              <a:gdLst>
                <a:gd name="T0" fmla="*/ 69178 w 293"/>
                <a:gd name="T1" fmla="*/ 10054 h 246"/>
                <a:gd name="T2" fmla="*/ 81466 w 293"/>
                <a:gd name="T3" fmla="*/ 15875 h 246"/>
                <a:gd name="T4" fmla="*/ 89203 w 293"/>
                <a:gd name="T5" fmla="*/ 15875 h 246"/>
                <a:gd name="T6" fmla="*/ 91934 w 293"/>
                <a:gd name="T7" fmla="*/ 9525 h 246"/>
                <a:gd name="T8" fmla="*/ 95575 w 293"/>
                <a:gd name="T9" fmla="*/ 5292 h 246"/>
                <a:gd name="T10" fmla="*/ 99671 w 293"/>
                <a:gd name="T11" fmla="*/ 3175 h 246"/>
                <a:gd name="T12" fmla="*/ 111504 w 293"/>
                <a:gd name="T13" fmla="*/ 1058 h 246"/>
                <a:gd name="T14" fmla="*/ 133350 w 293"/>
                <a:gd name="T15" fmla="*/ 42333 h 246"/>
                <a:gd name="T16" fmla="*/ 121062 w 293"/>
                <a:gd name="T17" fmla="*/ 56621 h 246"/>
                <a:gd name="T18" fmla="*/ 107863 w 293"/>
                <a:gd name="T19" fmla="*/ 74613 h 246"/>
                <a:gd name="T20" fmla="*/ 102402 w 293"/>
                <a:gd name="T21" fmla="*/ 84138 h 246"/>
                <a:gd name="T22" fmla="*/ 97851 w 293"/>
                <a:gd name="T23" fmla="*/ 94192 h 246"/>
                <a:gd name="T24" fmla="*/ 95120 w 293"/>
                <a:gd name="T25" fmla="*/ 104246 h 246"/>
                <a:gd name="T26" fmla="*/ 93755 w 293"/>
                <a:gd name="T27" fmla="*/ 114300 h 246"/>
                <a:gd name="T28" fmla="*/ 89203 w 293"/>
                <a:gd name="T29" fmla="*/ 114829 h 246"/>
                <a:gd name="T30" fmla="*/ 84652 w 293"/>
                <a:gd name="T31" fmla="*/ 116417 h 246"/>
                <a:gd name="T32" fmla="*/ 77370 w 293"/>
                <a:gd name="T33" fmla="*/ 121179 h 246"/>
                <a:gd name="T34" fmla="*/ 70088 w 293"/>
                <a:gd name="T35" fmla="*/ 126471 h 246"/>
                <a:gd name="T36" fmla="*/ 60531 w 293"/>
                <a:gd name="T37" fmla="*/ 130175 h 246"/>
                <a:gd name="T38" fmla="*/ 46422 w 293"/>
                <a:gd name="T39" fmla="*/ 127000 h 246"/>
                <a:gd name="T40" fmla="*/ 32313 w 293"/>
                <a:gd name="T41" fmla="*/ 122767 h 246"/>
                <a:gd name="T42" fmla="*/ 26852 w 293"/>
                <a:gd name="T43" fmla="*/ 119592 h 246"/>
                <a:gd name="T44" fmla="*/ 22301 w 293"/>
                <a:gd name="T45" fmla="*/ 116417 h 246"/>
                <a:gd name="T46" fmla="*/ 19570 w 293"/>
                <a:gd name="T47" fmla="*/ 112183 h 246"/>
                <a:gd name="T48" fmla="*/ 18660 w 293"/>
                <a:gd name="T49" fmla="*/ 107950 h 246"/>
                <a:gd name="T50" fmla="*/ 21391 w 293"/>
                <a:gd name="T51" fmla="*/ 94192 h 246"/>
                <a:gd name="T52" fmla="*/ 20480 w 293"/>
                <a:gd name="T53" fmla="*/ 85725 h 246"/>
                <a:gd name="T54" fmla="*/ 18205 w 293"/>
                <a:gd name="T55" fmla="*/ 77788 h 246"/>
                <a:gd name="T56" fmla="*/ 10923 w 293"/>
                <a:gd name="T57" fmla="*/ 62971 h 246"/>
                <a:gd name="T58" fmla="*/ 3641 w 293"/>
                <a:gd name="T59" fmla="*/ 48154 h 246"/>
                <a:gd name="T60" fmla="*/ 910 w 293"/>
                <a:gd name="T61" fmla="*/ 39158 h 246"/>
                <a:gd name="T62" fmla="*/ 0 w 293"/>
                <a:gd name="T63" fmla="*/ 29104 h 246"/>
                <a:gd name="T64" fmla="*/ 910 w 293"/>
                <a:gd name="T65" fmla="*/ 23813 h 246"/>
                <a:gd name="T66" fmla="*/ 3641 w 293"/>
                <a:gd name="T67" fmla="*/ 19050 h 246"/>
                <a:gd name="T68" fmla="*/ 7737 w 293"/>
                <a:gd name="T69" fmla="*/ 15346 h 246"/>
                <a:gd name="T70" fmla="*/ 11833 w 293"/>
                <a:gd name="T71" fmla="*/ 11642 h 246"/>
                <a:gd name="T72" fmla="*/ 21846 w 293"/>
                <a:gd name="T73" fmla="*/ 7408 h 246"/>
                <a:gd name="T74" fmla="*/ 30493 w 293"/>
                <a:gd name="T75" fmla="*/ 6350 h 246"/>
                <a:gd name="T76" fmla="*/ 43691 w 293"/>
                <a:gd name="T77" fmla="*/ 6350 h 246"/>
                <a:gd name="T78" fmla="*/ 60531 w 293"/>
                <a:gd name="T79" fmla="*/ 6350 h 24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293" h="246">
                  <a:moveTo>
                    <a:pt x="133" y="12"/>
                  </a:moveTo>
                  <a:lnTo>
                    <a:pt x="152" y="19"/>
                  </a:lnTo>
                  <a:lnTo>
                    <a:pt x="166" y="24"/>
                  </a:lnTo>
                  <a:lnTo>
                    <a:pt x="179" y="30"/>
                  </a:lnTo>
                  <a:lnTo>
                    <a:pt x="193" y="37"/>
                  </a:lnTo>
                  <a:lnTo>
                    <a:pt x="196" y="30"/>
                  </a:lnTo>
                  <a:lnTo>
                    <a:pt x="199" y="23"/>
                  </a:lnTo>
                  <a:lnTo>
                    <a:pt x="202" y="18"/>
                  </a:lnTo>
                  <a:lnTo>
                    <a:pt x="205" y="14"/>
                  </a:lnTo>
                  <a:lnTo>
                    <a:pt x="210" y="10"/>
                  </a:lnTo>
                  <a:lnTo>
                    <a:pt x="214" y="8"/>
                  </a:lnTo>
                  <a:lnTo>
                    <a:pt x="219" y="6"/>
                  </a:lnTo>
                  <a:lnTo>
                    <a:pt x="223" y="4"/>
                  </a:lnTo>
                  <a:lnTo>
                    <a:pt x="245" y="2"/>
                  </a:lnTo>
                  <a:lnTo>
                    <a:pt x="272" y="0"/>
                  </a:lnTo>
                  <a:lnTo>
                    <a:pt x="293" y="80"/>
                  </a:lnTo>
                  <a:lnTo>
                    <a:pt x="279" y="93"/>
                  </a:lnTo>
                  <a:lnTo>
                    <a:pt x="266" y="107"/>
                  </a:lnTo>
                  <a:lnTo>
                    <a:pt x="250" y="123"/>
                  </a:lnTo>
                  <a:lnTo>
                    <a:pt x="237" y="141"/>
                  </a:lnTo>
                  <a:lnTo>
                    <a:pt x="231" y="150"/>
                  </a:lnTo>
                  <a:lnTo>
                    <a:pt x="225" y="159"/>
                  </a:lnTo>
                  <a:lnTo>
                    <a:pt x="220" y="169"/>
                  </a:lnTo>
                  <a:lnTo>
                    <a:pt x="215" y="178"/>
                  </a:lnTo>
                  <a:lnTo>
                    <a:pt x="212" y="187"/>
                  </a:lnTo>
                  <a:lnTo>
                    <a:pt x="209" y="197"/>
                  </a:lnTo>
                  <a:lnTo>
                    <a:pt x="206" y="207"/>
                  </a:lnTo>
                  <a:lnTo>
                    <a:pt x="206" y="216"/>
                  </a:lnTo>
                  <a:lnTo>
                    <a:pt x="201" y="216"/>
                  </a:lnTo>
                  <a:lnTo>
                    <a:pt x="196" y="217"/>
                  </a:lnTo>
                  <a:lnTo>
                    <a:pt x="190" y="218"/>
                  </a:lnTo>
                  <a:lnTo>
                    <a:pt x="186" y="220"/>
                  </a:lnTo>
                  <a:lnTo>
                    <a:pt x="178" y="224"/>
                  </a:lnTo>
                  <a:lnTo>
                    <a:pt x="170" y="229"/>
                  </a:lnTo>
                  <a:lnTo>
                    <a:pt x="163" y="234"/>
                  </a:lnTo>
                  <a:lnTo>
                    <a:pt x="154" y="239"/>
                  </a:lnTo>
                  <a:lnTo>
                    <a:pt x="145" y="243"/>
                  </a:lnTo>
                  <a:lnTo>
                    <a:pt x="133" y="246"/>
                  </a:lnTo>
                  <a:lnTo>
                    <a:pt x="118" y="243"/>
                  </a:lnTo>
                  <a:lnTo>
                    <a:pt x="102" y="240"/>
                  </a:lnTo>
                  <a:lnTo>
                    <a:pt x="87" y="236"/>
                  </a:lnTo>
                  <a:lnTo>
                    <a:pt x="71" y="232"/>
                  </a:lnTo>
                  <a:lnTo>
                    <a:pt x="65" y="229"/>
                  </a:lnTo>
                  <a:lnTo>
                    <a:pt x="59" y="226"/>
                  </a:lnTo>
                  <a:lnTo>
                    <a:pt x="54" y="223"/>
                  </a:lnTo>
                  <a:lnTo>
                    <a:pt x="49" y="220"/>
                  </a:lnTo>
                  <a:lnTo>
                    <a:pt x="45" y="216"/>
                  </a:lnTo>
                  <a:lnTo>
                    <a:pt x="43" y="212"/>
                  </a:lnTo>
                  <a:lnTo>
                    <a:pt x="41" y="208"/>
                  </a:lnTo>
                  <a:lnTo>
                    <a:pt x="41" y="204"/>
                  </a:lnTo>
                  <a:lnTo>
                    <a:pt x="44" y="193"/>
                  </a:lnTo>
                  <a:lnTo>
                    <a:pt x="47" y="178"/>
                  </a:lnTo>
                  <a:lnTo>
                    <a:pt x="46" y="170"/>
                  </a:lnTo>
                  <a:lnTo>
                    <a:pt x="45" y="162"/>
                  </a:lnTo>
                  <a:lnTo>
                    <a:pt x="43" y="154"/>
                  </a:lnTo>
                  <a:lnTo>
                    <a:pt x="40" y="147"/>
                  </a:lnTo>
                  <a:lnTo>
                    <a:pt x="32" y="132"/>
                  </a:lnTo>
                  <a:lnTo>
                    <a:pt x="24" y="119"/>
                  </a:lnTo>
                  <a:lnTo>
                    <a:pt x="15" y="106"/>
                  </a:lnTo>
                  <a:lnTo>
                    <a:pt x="8" y="91"/>
                  </a:lnTo>
                  <a:lnTo>
                    <a:pt x="4" y="83"/>
                  </a:lnTo>
                  <a:lnTo>
                    <a:pt x="2" y="74"/>
                  </a:lnTo>
                  <a:lnTo>
                    <a:pt x="1" y="65"/>
                  </a:lnTo>
                  <a:lnTo>
                    <a:pt x="0" y="55"/>
                  </a:lnTo>
                  <a:lnTo>
                    <a:pt x="1" y="50"/>
                  </a:lnTo>
                  <a:lnTo>
                    <a:pt x="2" y="45"/>
                  </a:lnTo>
                  <a:lnTo>
                    <a:pt x="4" y="40"/>
                  </a:lnTo>
                  <a:lnTo>
                    <a:pt x="8" y="36"/>
                  </a:lnTo>
                  <a:lnTo>
                    <a:pt x="12" y="32"/>
                  </a:lnTo>
                  <a:lnTo>
                    <a:pt x="17" y="29"/>
                  </a:lnTo>
                  <a:lnTo>
                    <a:pt x="21" y="25"/>
                  </a:lnTo>
                  <a:lnTo>
                    <a:pt x="26" y="22"/>
                  </a:lnTo>
                  <a:lnTo>
                    <a:pt x="37" y="17"/>
                  </a:lnTo>
                  <a:lnTo>
                    <a:pt x="48" y="14"/>
                  </a:lnTo>
                  <a:lnTo>
                    <a:pt x="58" y="13"/>
                  </a:lnTo>
                  <a:lnTo>
                    <a:pt x="67" y="12"/>
                  </a:lnTo>
                  <a:lnTo>
                    <a:pt x="79" y="12"/>
                  </a:lnTo>
                  <a:lnTo>
                    <a:pt x="96" y="12"/>
                  </a:lnTo>
                  <a:lnTo>
                    <a:pt x="113" y="12"/>
                  </a:lnTo>
                  <a:lnTo>
                    <a:pt x="133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808" name="Freeform 278"/>
            <p:cNvSpPr>
              <a:spLocks/>
            </p:cNvSpPr>
            <p:nvPr>
              <p:custDataLst>
                <p:tags r:id="rId200"/>
              </p:custDataLst>
            </p:nvPr>
          </p:nvSpPr>
          <p:spPr bwMode="auto">
            <a:xfrm>
              <a:off x="9113751" y="2629954"/>
              <a:ext cx="102200" cy="156323"/>
            </a:xfrm>
            <a:custGeom>
              <a:avLst/>
              <a:gdLst>
                <a:gd name="T0" fmla="*/ 7715 w 200"/>
                <a:gd name="T1" fmla="*/ 21696 h 246"/>
                <a:gd name="T2" fmla="*/ 12002 w 200"/>
                <a:gd name="T3" fmla="*/ 13758 h 246"/>
                <a:gd name="T4" fmla="*/ 16288 w 200"/>
                <a:gd name="T5" fmla="*/ 8467 h 246"/>
                <a:gd name="T6" fmla="*/ 21431 w 200"/>
                <a:gd name="T7" fmla="*/ 4763 h 246"/>
                <a:gd name="T8" fmla="*/ 31290 w 200"/>
                <a:gd name="T9" fmla="*/ 529 h 246"/>
                <a:gd name="T10" fmla="*/ 37719 w 200"/>
                <a:gd name="T11" fmla="*/ 6350 h 246"/>
                <a:gd name="T12" fmla="*/ 46292 w 200"/>
                <a:gd name="T13" fmla="*/ 17992 h 246"/>
                <a:gd name="T14" fmla="*/ 53578 w 200"/>
                <a:gd name="T15" fmla="*/ 26458 h 246"/>
                <a:gd name="T16" fmla="*/ 59579 w 200"/>
                <a:gd name="T17" fmla="*/ 30692 h 246"/>
                <a:gd name="T18" fmla="*/ 65151 w 200"/>
                <a:gd name="T19" fmla="*/ 33867 h 246"/>
                <a:gd name="T20" fmla="*/ 71152 w 200"/>
                <a:gd name="T21" fmla="*/ 35454 h 246"/>
                <a:gd name="T22" fmla="*/ 78867 w 200"/>
                <a:gd name="T23" fmla="*/ 50800 h 246"/>
                <a:gd name="T24" fmla="*/ 83582 w 200"/>
                <a:gd name="T25" fmla="*/ 72496 h 246"/>
                <a:gd name="T26" fmla="*/ 85296 w 200"/>
                <a:gd name="T27" fmla="*/ 87313 h 246"/>
                <a:gd name="T28" fmla="*/ 85725 w 200"/>
                <a:gd name="T29" fmla="*/ 97896 h 246"/>
                <a:gd name="T30" fmla="*/ 84868 w 200"/>
                <a:gd name="T31" fmla="*/ 104246 h 246"/>
                <a:gd name="T32" fmla="*/ 83582 w 200"/>
                <a:gd name="T33" fmla="*/ 109537 h 246"/>
                <a:gd name="T34" fmla="*/ 81010 w 200"/>
                <a:gd name="T35" fmla="*/ 113242 h 246"/>
                <a:gd name="T36" fmla="*/ 76724 w 200"/>
                <a:gd name="T37" fmla="*/ 116417 h 246"/>
                <a:gd name="T38" fmla="*/ 70295 w 200"/>
                <a:gd name="T39" fmla="*/ 118533 h 246"/>
                <a:gd name="T40" fmla="*/ 60008 w 200"/>
                <a:gd name="T41" fmla="*/ 118533 h 246"/>
                <a:gd name="T42" fmla="*/ 50578 w 200"/>
                <a:gd name="T43" fmla="*/ 121179 h 246"/>
                <a:gd name="T44" fmla="*/ 47577 w 200"/>
                <a:gd name="T45" fmla="*/ 124354 h 246"/>
                <a:gd name="T46" fmla="*/ 46292 w 200"/>
                <a:gd name="T47" fmla="*/ 128058 h 246"/>
                <a:gd name="T48" fmla="*/ 42005 w 200"/>
                <a:gd name="T49" fmla="*/ 129646 h 246"/>
                <a:gd name="T50" fmla="*/ 36433 w 200"/>
                <a:gd name="T51" fmla="*/ 127000 h 246"/>
                <a:gd name="T52" fmla="*/ 33004 w 200"/>
                <a:gd name="T53" fmla="*/ 121708 h 246"/>
                <a:gd name="T54" fmla="*/ 31290 w 200"/>
                <a:gd name="T55" fmla="*/ 114300 h 246"/>
                <a:gd name="T56" fmla="*/ 30861 w 200"/>
                <a:gd name="T57" fmla="*/ 101600 h 246"/>
                <a:gd name="T58" fmla="*/ 30432 w 200"/>
                <a:gd name="T59" fmla="*/ 88900 h 246"/>
                <a:gd name="T60" fmla="*/ 29575 w 200"/>
                <a:gd name="T61" fmla="*/ 81492 h 246"/>
                <a:gd name="T62" fmla="*/ 27432 w 200"/>
                <a:gd name="T63" fmla="*/ 75142 h 246"/>
                <a:gd name="T64" fmla="*/ 24003 w 200"/>
                <a:gd name="T65" fmla="*/ 70908 h 246"/>
                <a:gd name="T66" fmla="*/ 17145 w 200"/>
                <a:gd name="T67" fmla="*/ 66146 h 246"/>
                <a:gd name="T68" fmla="*/ 7715 w 200"/>
                <a:gd name="T69" fmla="*/ 60854 h 246"/>
                <a:gd name="T70" fmla="*/ 2572 w 200"/>
                <a:gd name="T71" fmla="*/ 56092 h 246"/>
                <a:gd name="T72" fmla="*/ 429 w 200"/>
                <a:gd name="T73" fmla="*/ 51858 h 246"/>
                <a:gd name="T74" fmla="*/ 429 w 200"/>
                <a:gd name="T75" fmla="*/ 46038 h 246"/>
                <a:gd name="T76" fmla="*/ 2143 w 200"/>
                <a:gd name="T77" fmla="*/ 41275 h 246"/>
                <a:gd name="T78" fmla="*/ 4286 w 200"/>
                <a:gd name="T79" fmla="*/ 35983 h 246"/>
                <a:gd name="T80" fmla="*/ 5572 w 200"/>
                <a:gd name="T81" fmla="*/ 29633 h 24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200" h="246">
                  <a:moveTo>
                    <a:pt x="13" y="49"/>
                  </a:moveTo>
                  <a:lnTo>
                    <a:pt x="18" y="41"/>
                  </a:lnTo>
                  <a:lnTo>
                    <a:pt x="22" y="32"/>
                  </a:lnTo>
                  <a:lnTo>
                    <a:pt x="28" y="26"/>
                  </a:lnTo>
                  <a:lnTo>
                    <a:pt x="33" y="20"/>
                  </a:lnTo>
                  <a:lnTo>
                    <a:pt x="38" y="16"/>
                  </a:lnTo>
                  <a:lnTo>
                    <a:pt x="44" y="12"/>
                  </a:lnTo>
                  <a:lnTo>
                    <a:pt x="50" y="9"/>
                  </a:lnTo>
                  <a:lnTo>
                    <a:pt x="54" y="6"/>
                  </a:lnTo>
                  <a:lnTo>
                    <a:pt x="73" y="1"/>
                  </a:lnTo>
                  <a:lnTo>
                    <a:pt x="80" y="0"/>
                  </a:lnTo>
                  <a:lnTo>
                    <a:pt x="88" y="12"/>
                  </a:lnTo>
                  <a:lnTo>
                    <a:pt x="98" y="23"/>
                  </a:lnTo>
                  <a:lnTo>
                    <a:pt x="108" y="34"/>
                  </a:lnTo>
                  <a:lnTo>
                    <a:pt x="119" y="46"/>
                  </a:lnTo>
                  <a:lnTo>
                    <a:pt x="125" y="50"/>
                  </a:lnTo>
                  <a:lnTo>
                    <a:pt x="132" y="54"/>
                  </a:lnTo>
                  <a:lnTo>
                    <a:pt x="139" y="58"/>
                  </a:lnTo>
                  <a:lnTo>
                    <a:pt x="145" y="61"/>
                  </a:lnTo>
                  <a:lnTo>
                    <a:pt x="152" y="64"/>
                  </a:lnTo>
                  <a:lnTo>
                    <a:pt x="158" y="66"/>
                  </a:lnTo>
                  <a:lnTo>
                    <a:pt x="166" y="67"/>
                  </a:lnTo>
                  <a:lnTo>
                    <a:pt x="174" y="67"/>
                  </a:lnTo>
                  <a:lnTo>
                    <a:pt x="184" y="96"/>
                  </a:lnTo>
                  <a:lnTo>
                    <a:pt x="191" y="123"/>
                  </a:lnTo>
                  <a:lnTo>
                    <a:pt x="195" y="137"/>
                  </a:lnTo>
                  <a:lnTo>
                    <a:pt x="198" y="151"/>
                  </a:lnTo>
                  <a:lnTo>
                    <a:pt x="199" y="165"/>
                  </a:lnTo>
                  <a:lnTo>
                    <a:pt x="200" y="178"/>
                  </a:lnTo>
                  <a:lnTo>
                    <a:pt x="200" y="185"/>
                  </a:lnTo>
                  <a:lnTo>
                    <a:pt x="199" y="192"/>
                  </a:lnTo>
                  <a:lnTo>
                    <a:pt x="198" y="197"/>
                  </a:lnTo>
                  <a:lnTo>
                    <a:pt x="196" y="202"/>
                  </a:lnTo>
                  <a:lnTo>
                    <a:pt x="195" y="207"/>
                  </a:lnTo>
                  <a:lnTo>
                    <a:pt x="192" y="211"/>
                  </a:lnTo>
                  <a:lnTo>
                    <a:pt x="189" y="214"/>
                  </a:lnTo>
                  <a:lnTo>
                    <a:pt x="186" y="216"/>
                  </a:lnTo>
                  <a:lnTo>
                    <a:pt x="179" y="220"/>
                  </a:lnTo>
                  <a:lnTo>
                    <a:pt x="173" y="222"/>
                  </a:lnTo>
                  <a:lnTo>
                    <a:pt x="164" y="224"/>
                  </a:lnTo>
                  <a:lnTo>
                    <a:pt x="156" y="224"/>
                  </a:lnTo>
                  <a:lnTo>
                    <a:pt x="140" y="224"/>
                  </a:lnTo>
                  <a:lnTo>
                    <a:pt x="124" y="226"/>
                  </a:lnTo>
                  <a:lnTo>
                    <a:pt x="118" y="229"/>
                  </a:lnTo>
                  <a:lnTo>
                    <a:pt x="112" y="232"/>
                  </a:lnTo>
                  <a:lnTo>
                    <a:pt x="111" y="235"/>
                  </a:lnTo>
                  <a:lnTo>
                    <a:pt x="109" y="238"/>
                  </a:lnTo>
                  <a:lnTo>
                    <a:pt x="108" y="242"/>
                  </a:lnTo>
                  <a:lnTo>
                    <a:pt x="107" y="246"/>
                  </a:lnTo>
                  <a:lnTo>
                    <a:pt x="98" y="245"/>
                  </a:lnTo>
                  <a:lnTo>
                    <a:pt x="90" y="243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7" y="230"/>
                  </a:lnTo>
                  <a:lnTo>
                    <a:pt x="75" y="223"/>
                  </a:lnTo>
                  <a:lnTo>
                    <a:pt x="73" y="216"/>
                  </a:lnTo>
                  <a:lnTo>
                    <a:pt x="72" y="209"/>
                  </a:lnTo>
                  <a:lnTo>
                    <a:pt x="72" y="192"/>
                  </a:lnTo>
                  <a:lnTo>
                    <a:pt x="72" y="176"/>
                  </a:lnTo>
                  <a:lnTo>
                    <a:pt x="71" y="168"/>
                  </a:lnTo>
                  <a:lnTo>
                    <a:pt x="71" y="161"/>
                  </a:lnTo>
                  <a:lnTo>
                    <a:pt x="69" y="154"/>
                  </a:lnTo>
                  <a:lnTo>
                    <a:pt x="67" y="148"/>
                  </a:lnTo>
                  <a:lnTo>
                    <a:pt x="64" y="142"/>
                  </a:lnTo>
                  <a:lnTo>
                    <a:pt x="61" y="137"/>
                  </a:lnTo>
                  <a:lnTo>
                    <a:pt x="56" y="134"/>
                  </a:lnTo>
                  <a:lnTo>
                    <a:pt x="51" y="130"/>
                  </a:lnTo>
                  <a:lnTo>
                    <a:pt x="40" y="125"/>
                  </a:lnTo>
                  <a:lnTo>
                    <a:pt x="29" y="120"/>
                  </a:lnTo>
                  <a:lnTo>
                    <a:pt x="18" y="115"/>
                  </a:lnTo>
                  <a:lnTo>
                    <a:pt x="9" y="110"/>
                  </a:lnTo>
                  <a:lnTo>
                    <a:pt x="6" y="106"/>
                  </a:lnTo>
                  <a:lnTo>
                    <a:pt x="3" y="103"/>
                  </a:lnTo>
                  <a:lnTo>
                    <a:pt x="1" y="98"/>
                  </a:lnTo>
                  <a:lnTo>
                    <a:pt x="0" y="93"/>
                  </a:lnTo>
                  <a:lnTo>
                    <a:pt x="1" y="87"/>
                  </a:lnTo>
                  <a:lnTo>
                    <a:pt x="3" y="83"/>
                  </a:lnTo>
                  <a:lnTo>
                    <a:pt x="5" y="78"/>
                  </a:lnTo>
                  <a:lnTo>
                    <a:pt x="7" y="73"/>
                  </a:lnTo>
                  <a:lnTo>
                    <a:pt x="10" y="68"/>
                  </a:lnTo>
                  <a:lnTo>
                    <a:pt x="12" y="62"/>
                  </a:lnTo>
                  <a:lnTo>
                    <a:pt x="13" y="56"/>
                  </a:lnTo>
                  <a:lnTo>
                    <a:pt x="13" y="4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809" name="Freeform 279"/>
            <p:cNvSpPr>
              <a:spLocks/>
            </p:cNvSpPr>
            <p:nvPr>
              <p:custDataLst>
                <p:tags r:id="rId201"/>
              </p:custDataLst>
            </p:nvPr>
          </p:nvSpPr>
          <p:spPr bwMode="auto">
            <a:xfrm>
              <a:off x="9791303" y="4187464"/>
              <a:ext cx="276320" cy="305020"/>
            </a:xfrm>
            <a:custGeom>
              <a:avLst/>
              <a:gdLst>
                <a:gd name="T0" fmla="*/ 39204 w 538"/>
                <a:gd name="T1" fmla="*/ 10953 h 487"/>
                <a:gd name="T2" fmla="*/ 68929 w 538"/>
                <a:gd name="T3" fmla="*/ 24513 h 487"/>
                <a:gd name="T4" fmla="*/ 87023 w 538"/>
                <a:gd name="T5" fmla="*/ 36509 h 487"/>
                <a:gd name="T6" fmla="*/ 108995 w 538"/>
                <a:gd name="T7" fmla="*/ 57372 h 487"/>
                <a:gd name="T8" fmla="*/ 129243 w 538"/>
                <a:gd name="T9" fmla="*/ 70932 h 487"/>
                <a:gd name="T10" fmla="*/ 128812 w 538"/>
                <a:gd name="T11" fmla="*/ 83971 h 487"/>
                <a:gd name="T12" fmla="*/ 149491 w 538"/>
                <a:gd name="T13" fmla="*/ 106920 h 487"/>
                <a:gd name="T14" fmla="*/ 169308 w 538"/>
                <a:gd name="T15" fmla="*/ 129347 h 487"/>
                <a:gd name="T16" fmla="*/ 163276 w 538"/>
                <a:gd name="T17" fmla="*/ 130390 h 487"/>
                <a:gd name="T18" fmla="*/ 160261 w 538"/>
                <a:gd name="T19" fmla="*/ 133520 h 487"/>
                <a:gd name="T20" fmla="*/ 160261 w 538"/>
                <a:gd name="T21" fmla="*/ 144994 h 487"/>
                <a:gd name="T22" fmla="*/ 162415 w 538"/>
                <a:gd name="T23" fmla="*/ 156990 h 487"/>
                <a:gd name="T24" fmla="*/ 167585 w 538"/>
                <a:gd name="T25" fmla="*/ 169507 h 487"/>
                <a:gd name="T26" fmla="*/ 175339 w 538"/>
                <a:gd name="T27" fmla="*/ 181503 h 487"/>
                <a:gd name="T28" fmla="*/ 184386 w 538"/>
                <a:gd name="T29" fmla="*/ 190891 h 487"/>
                <a:gd name="T30" fmla="*/ 194295 w 538"/>
                <a:gd name="T31" fmla="*/ 196107 h 487"/>
                <a:gd name="T32" fmla="*/ 198603 w 538"/>
                <a:gd name="T33" fmla="*/ 203409 h 487"/>
                <a:gd name="T34" fmla="*/ 203342 w 538"/>
                <a:gd name="T35" fmla="*/ 211754 h 487"/>
                <a:gd name="T36" fmla="*/ 210665 w 538"/>
                <a:gd name="T37" fmla="*/ 217491 h 487"/>
                <a:gd name="T38" fmla="*/ 221005 w 538"/>
                <a:gd name="T39" fmla="*/ 225314 h 487"/>
                <a:gd name="T40" fmla="*/ 223159 w 538"/>
                <a:gd name="T41" fmla="*/ 231573 h 487"/>
                <a:gd name="T42" fmla="*/ 226174 w 538"/>
                <a:gd name="T43" fmla="*/ 234702 h 487"/>
                <a:gd name="T44" fmla="*/ 231775 w 538"/>
                <a:gd name="T45" fmla="*/ 237832 h 487"/>
                <a:gd name="T46" fmla="*/ 230052 w 538"/>
                <a:gd name="T47" fmla="*/ 246177 h 487"/>
                <a:gd name="T48" fmla="*/ 223590 w 538"/>
                <a:gd name="T49" fmla="*/ 252435 h 487"/>
                <a:gd name="T50" fmla="*/ 211096 w 538"/>
                <a:gd name="T51" fmla="*/ 254000 h 487"/>
                <a:gd name="T52" fmla="*/ 193002 w 538"/>
                <a:gd name="T53" fmla="*/ 250349 h 487"/>
                <a:gd name="T54" fmla="*/ 178355 w 538"/>
                <a:gd name="T55" fmla="*/ 243047 h 487"/>
                <a:gd name="T56" fmla="*/ 166292 w 538"/>
                <a:gd name="T57" fmla="*/ 232616 h 487"/>
                <a:gd name="T58" fmla="*/ 152937 w 538"/>
                <a:gd name="T59" fmla="*/ 216448 h 487"/>
                <a:gd name="T60" fmla="*/ 134412 w 538"/>
                <a:gd name="T61" fmla="*/ 190370 h 487"/>
                <a:gd name="T62" fmla="*/ 118042 w 538"/>
                <a:gd name="T63" fmla="*/ 172115 h 487"/>
                <a:gd name="T64" fmla="*/ 105979 w 538"/>
                <a:gd name="T65" fmla="*/ 164813 h 487"/>
                <a:gd name="T66" fmla="*/ 91331 w 538"/>
                <a:gd name="T67" fmla="*/ 161162 h 487"/>
                <a:gd name="T68" fmla="*/ 77546 w 538"/>
                <a:gd name="T69" fmla="*/ 161684 h 487"/>
                <a:gd name="T70" fmla="*/ 65914 w 538"/>
                <a:gd name="T71" fmla="*/ 165335 h 487"/>
                <a:gd name="T72" fmla="*/ 48681 w 538"/>
                <a:gd name="T73" fmla="*/ 179938 h 487"/>
                <a:gd name="T74" fmla="*/ 58590 w 538"/>
                <a:gd name="T75" fmla="*/ 188283 h 487"/>
                <a:gd name="T76" fmla="*/ 60313 w 538"/>
                <a:gd name="T77" fmla="*/ 192977 h 487"/>
                <a:gd name="T78" fmla="*/ 53420 w 538"/>
                <a:gd name="T79" fmla="*/ 209146 h 487"/>
                <a:gd name="T80" fmla="*/ 48681 w 538"/>
                <a:gd name="T81" fmla="*/ 215926 h 487"/>
                <a:gd name="T82" fmla="*/ 20248 w 538"/>
                <a:gd name="T83" fmla="*/ 210189 h 487"/>
                <a:gd name="T84" fmla="*/ 8616 w 538"/>
                <a:gd name="T85" fmla="*/ 135084 h 487"/>
                <a:gd name="T86" fmla="*/ 8616 w 538"/>
                <a:gd name="T87" fmla="*/ 0 h 487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538" h="487">
                  <a:moveTo>
                    <a:pt x="20" y="0"/>
                  </a:moveTo>
                  <a:lnTo>
                    <a:pt x="58" y="10"/>
                  </a:lnTo>
                  <a:lnTo>
                    <a:pt x="91" y="21"/>
                  </a:lnTo>
                  <a:lnTo>
                    <a:pt x="119" y="30"/>
                  </a:lnTo>
                  <a:lnTo>
                    <a:pt x="142" y="38"/>
                  </a:lnTo>
                  <a:lnTo>
                    <a:pt x="160" y="47"/>
                  </a:lnTo>
                  <a:lnTo>
                    <a:pt x="177" y="55"/>
                  </a:lnTo>
                  <a:lnTo>
                    <a:pt x="190" y="62"/>
                  </a:lnTo>
                  <a:lnTo>
                    <a:pt x="202" y="70"/>
                  </a:lnTo>
                  <a:lnTo>
                    <a:pt x="222" y="86"/>
                  </a:lnTo>
                  <a:lnTo>
                    <a:pt x="242" y="102"/>
                  </a:lnTo>
                  <a:lnTo>
                    <a:pt x="253" y="110"/>
                  </a:lnTo>
                  <a:lnTo>
                    <a:pt x="266" y="118"/>
                  </a:lnTo>
                  <a:lnTo>
                    <a:pt x="281" y="127"/>
                  </a:lnTo>
                  <a:lnTo>
                    <a:pt x="300" y="136"/>
                  </a:lnTo>
                  <a:lnTo>
                    <a:pt x="297" y="152"/>
                  </a:lnTo>
                  <a:lnTo>
                    <a:pt x="297" y="158"/>
                  </a:lnTo>
                  <a:lnTo>
                    <a:pt x="299" y="161"/>
                  </a:lnTo>
                  <a:lnTo>
                    <a:pt x="300" y="167"/>
                  </a:lnTo>
                  <a:lnTo>
                    <a:pt x="314" y="178"/>
                  </a:lnTo>
                  <a:lnTo>
                    <a:pt x="347" y="205"/>
                  </a:lnTo>
                  <a:lnTo>
                    <a:pt x="381" y="231"/>
                  </a:lnTo>
                  <a:lnTo>
                    <a:pt x="399" y="247"/>
                  </a:lnTo>
                  <a:lnTo>
                    <a:pt x="393" y="248"/>
                  </a:lnTo>
                  <a:lnTo>
                    <a:pt x="386" y="250"/>
                  </a:lnTo>
                  <a:lnTo>
                    <a:pt x="382" y="250"/>
                  </a:lnTo>
                  <a:lnTo>
                    <a:pt x="379" y="250"/>
                  </a:lnTo>
                  <a:lnTo>
                    <a:pt x="376" y="249"/>
                  </a:lnTo>
                  <a:lnTo>
                    <a:pt x="372" y="247"/>
                  </a:lnTo>
                  <a:lnTo>
                    <a:pt x="372" y="256"/>
                  </a:lnTo>
                  <a:lnTo>
                    <a:pt x="372" y="265"/>
                  </a:lnTo>
                  <a:lnTo>
                    <a:pt x="372" y="272"/>
                  </a:lnTo>
                  <a:lnTo>
                    <a:pt x="372" y="278"/>
                  </a:lnTo>
                  <a:lnTo>
                    <a:pt x="373" y="285"/>
                  </a:lnTo>
                  <a:lnTo>
                    <a:pt x="375" y="292"/>
                  </a:lnTo>
                  <a:lnTo>
                    <a:pt x="377" y="301"/>
                  </a:lnTo>
                  <a:lnTo>
                    <a:pt x="380" y="309"/>
                  </a:lnTo>
                  <a:lnTo>
                    <a:pt x="384" y="317"/>
                  </a:lnTo>
                  <a:lnTo>
                    <a:pt x="389" y="325"/>
                  </a:lnTo>
                  <a:lnTo>
                    <a:pt x="394" y="333"/>
                  </a:lnTo>
                  <a:lnTo>
                    <a:pt x="401" y="341"/>
                  </a:lnTo>
                  <a:lnTo>
                    <a:pt x="407" y="348"/>
                  </a:lnTo>
                  <a:lnTo>
                    <a:pt x="414" y="355"/>
                  </a:lnTo>
                  <a:lnTo>
                    <a:pt x="421" y="361"/>
                  </a:lnTo>
                  <a:lnTo>
                    <a:pt x="428" y="366"/>
                  </a:lnTo>
                  <a:lnTo>
                    <a:pt x="436" y="371"/>
                  </a:lnTo>
                  <a:lnTo>
                    <a:pt x="444" y="374"/>
                  </a:lnTo>
                  <a:lnTo>
                    <a:pt x="451" y="376"/>
                  </a:lnTo>
                  <a:lnTo>
                    <a:pt x="459" y="376"/>
                  </a:lnTo>
                  <a:lnTo>
                    <a:pt x="459" y="384"/>
                  </a:lnTo>
                  <a:lnTo>
                    <a:pt x="461" y="390"/>
                  </a:lnTo>
                  <a:lnTo>
                    <a:pt x="465" y="396"/>
                  </a:lnTo>
                  <a:lnTo>
                    <a:pt x="468" y="401"/>
                  </a:lnTo>
                  <a:lnTo>
                    <a:pt x="472" y="406"/>
                  </a:lnTo>
                  <a:lnTo>
                    <a:pt x="478" y="411"/>
                  </a:lnTo>
                  <a:lnTo>
                    <a:pt x="483" y="414"/>
                  </a:lnTo>
                  <a:lnTo>
                    <a:pt x="489" y="417"/>
                  </a:lnTo>
                  <a:lnTo>
                    <a:pt x="500" y="423"/>
                  </a:lnTo>
                  <a:lnTo>
                    <a:pt x="510" y="429"/>
                  </a:lnTo>
                  <a:lnTo>
                    <a:pt x="513" y="432"/>
                  </a:lnTo>
                  <a:lnTo>
                    <a:pt x="516" y="436"/>
                  </a:lnTo>
                  <a:lnTo>
                    <a:pt x="518" y="440"/>
                  </a:lnTo>
                  <a:lnTo>
                    <a:pt x="518" y="444"/>
                  </a:lnTo>
                  <a:lnTo>
                    <a:pt x="519" y="446"/>
                  </a:lnTo>
                  <a:lnTo>
                    <a:pt x="522" y="448"/>
                  </a:lnTo>
                  <a:lnTo>
                    <a:pt x="525" y="450"/>
                  </a:lnTo>
                  <a:lnTo>
                    <a:pt x="528" y="452"/>
                  </a:lnTo>
                  <a:lnTo>
                    <a:pt x="536" y="455"/>
                  </a:lnTo>
                  <a:lnTo>
                    <a:pt x="538" y="456"/>
                  </a:lnTo>
                  <a:lnTo>
                    <a:pt x="538" y="461"/>
                  </a:lnTo>
                  <a:lnTo>
                    <a:pt x="536" y="467"/>
                  </a:lnTo>
                  <a:lnTo>
                    <a:pt x="534" y="472"/>
                  </a:lnTo>
                  <a:lnTo>
                    <a:pt x="529" y="477"/>
                  </a:lnTo>
                  <a:lnTo>
                    <a:pt x="525" y="481"/>
                  </a:lnTo>
                  <a:lnTo>
                    <a:pt x="519" y="484"/>
                  </a:lnTo>
                  <a:lnTo>
                    <a:pt x="513" y="487"/>
                  </a:lnTo>
                  <a:lnTo>
                    <a:pt x="505" y="487"/>
                  </a:lnTo>
                  <a:lnTo>
                    <a:pt x="490" y="487"/>
                  </a:lnTo>
                  <a:lnTo>
                    <a:pt x="474" y="485"/>
                  </a:lnTo>
                  <a:lnTo>
                    <a:pt x="461" y="483"/>
                  </a:lnTo>
                  <a:lnTo>
                    <a:pt x="448" y="480"/>
                  </a:lnTo>
                  <a:lnTo>
                    <a:pt x="436" y="476"/>
                  </a:lnTo>
                  <a:lnTo>
                    <a:pt x="425" y="471"/>
                  </a:lnTo>
                  <a:lnTo>
                    <a:pt x="414" y="466"/>
                  </a:lnTo>
                  <a:lnTo>
                    <a:pt x="404" y="459"/>
                  </a:lnTo>
                  <a:lnTo>
                    <a:pt x="395" y="453"/>
                  </a:lnTo>
                  <a:lnTo>
                    <a:pt x="386" y="446"/>
                  </a:lnTo>
                  <a:lnTo>
                    <a:pt x="378" y="438"/>
                  </a:lnTo>
                  <a:lnTo>
                    <a:pt x="369" y="431"/>
                  </a:lnTo>
                  <a:lnTo>
                    <a:pt x="355" y="415"/>
                  </a:lnTo>
                  <a:lnTo>
                    <a:pt x="341" y="398"/>
                  </a:lnTo>
                  <a:lnTo>
                    <a:pt x="326" y="381"/>
                  </a:lnTo>
                  <a:lnTo>
                    <a:pt x="312" y="365"/>
                  </a:lnTo>
                  <a:lnTo>
                    <a:pt x="298" y="350"/>
                  </a:lnTo>
                  <a:lnTo>
                    <a:pt x="282" y="336"/>
                  </a:lnTo>
                  <a:lnTo>
                    <a:pt x="274" y="330"/>
                  </a:lnTo>
                  <a:lnTo>
                    <a:pt x="265" y="325"/>
                  </a:lnTo>
                  <a:lnTo>
                    <a:pt x="256" y="320"/>
                  </a:lnTo>
                  <a:lnTo>
                    <a:pt x="246" y="316"/>
                  </a:lnTo>
                  <a:lnTo>
                    <a:pt x="235" y="313"/>
                  </a:lnTo>
                  <a:lnTo>
                    <a:pt x="224" y="311"/>
                  </a:lnTo>
                  <a:lnTo>
                    <a:pt x="212" y="309"/>
                  </a:lnTo>
                  <a:lnTo>
                    <a:pt x="200" y="309"/>
                  </a:lnTo>
                  <a:lnTo>
                    <a:pt x="189" y="309"/>
                  </a:lnTo>
                  <a:lnTo>
                    <a:pt x="180" y="310"/>
                  </a:lnTo>
                  <a:lnTo>
                    <a:pt x="171" y="311"/>
                  </a:lnTo>
                  <a:lnTo>
                    <a:pt x="165" y="313"/>
                  </a:lnTo>
                  <a:lnTo>
                    <a:pt x="153" y="317"/>
                  </a:lnTo>
                  <a:lnTo>
                    <a:pt x="144" y="322"/>
                  </a:lnTo>
                  <a:lnTo>
                    <a:pt x="130" y="334"/>
                  </a:lnTo>
                  <a:lnTo>
                    <a:pt x="113" y="345"/>
                  </a:lnTo>
                  <a:lnTo>
                    <a:pt x="126" y="352"/>
                  </a:lnTo>
                  <a:lnTo>
                    <a:pt x="134" y="358"/>
                  </a:lnTo>
                  <a:lnTo>
                    <a:pt x="136" y="361"/>
                  </a:lnTo>
                  <a:lnTo>
                    <a:pt x="138" y="363"/>
                  </a:lnTo>
                  <a:lnTo>
                    <a:pt x="140" y="366"/>
                  </a:lnTo>
                  <a:lnTo>
                    <a:pt x="140" y="370"/>
                  </a:lnTo>
                  <a:lnTo>
                    <a:pt x="136" y="380"/>
                  </a:lnTo>
                  <a:lnTo>
                    <a:pt x="130" y="394"/>
                  </a:lnTo>
                  <a:lnTo>
                    <a:pt x="124" y="401"/>
                  </a:lnTo>
                  <a:lnTo>
                    <a:pt x="120" y="407"/>
                  </a:lnTo>
                  <a:lnTo>
                    <a:pt x="117" y="412"/>
                  </a:lnTo>
                  <a:lnTo>
                    <a:pt x="113" y="414"/>
                  </a:lnTo>
                  <a:lnTo>
                    <a:pt x="93" y="395"/>
                  </a:lnTo>
                  <a:lnTo>
                    <a:pt x="70" y="399"/>
                  </a:lnTo>
                  <a:lnTo>
                    <a:pt x="47" y="403"/>
                  </a:lnTo>
                  <a:lnTo>
                    <a:pt x="28" y="406"/>
                  </a:lnTo>
                  <a:lnTo>
                    <a:pt x="20" y="407"/>
                  </a:lnTo>
                  <a:lnTo>
                    <a:pt x="20" y="259"/>
                  </a:lnTo>
                  <a:lnTo>
                    <a:pt x="0" y="234"/>
                  </a:lnTo>
                  <a:lnTo>
                    <a:pt x="20" y="222"/>
                  </a:lnTo>
                  <a:lnTo>
                    <a:pt x="2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810" name="Freeform 280"/>
            <p:cNvSpPr>
              <a:spLocks/>
            </p:cNvSpPr>
            <p:nvPr>
              <p:custDataLst>
                <p:tags r:id="rId202"/>
              </p:custDataLst>
            </p:nvPr>
          </p:nvSpPr>
          <p:spPr bwMode="auto">
            <a:xfrm>
              <a:off x="10020307" y="4168402"/>
              <a:ext cx="126804" cy="154416"/>
            </a:xfrm>
            <a:custGeom>
              <a:avLst/>
              <a:gdLst>
                <a:gd name="T0" fmla="*/ 57175 w 253"/>
                <a:gd name="T1" fmla="*/ 523 h 246"/>
                <a:gd name="T2" fmla="*/ 66003 w 253"/>
                <a:gd name="T3" fmla="*/ 4182 h 246"/>
                <a:gd name="T4" fmla="*/ 75252 w 253"/>
                <a:gd name="T5" fmla="*/ 10977 h 246"/>
                <a:gd name="T6" fmla="*/ 83660 w 253"/>
                <a:gd name="T7" fmla="*/ 19340 h 246"/>
                <a:gd name="T8" fmla="*/ 91648 w 253"/>
                <a:gd name="T9" fmla="*/ 29795 h 246"/>
                <a:gd name="T10" fmla="*/ 98374 w 253"/>
                <a:gd name="T11" fmla="*/ 39726 h 246"/>
                <a:gd name="T12" fmla="*/ 102999 w 253"/>
                <a:gd name="T13" fmla="*/ 49135 h 246"/>
                <a:gd name="T14" fmla="*/ 105942 w 253"/>
                <a:gd name="T15" fmla="*/ 58021 h 246"/>
                <a:gd name="T16" fmla="*/ 105942 w 253"/>
                <a:gd name="T17" fmla="*/ 66907 h 246"/>
                <a:gd name="T18" fmla="*/ 102158 w 253"/>
                <a:gd name="T19" fmla="*/ 78929 h 246"/>
                <a:gd name="T20" fmla="*/ 96272 w 253"/>
                <a:gd name="T21" fmla="*/ 90952 h 246"/>
                <a:gd name="T22" fmla="*/ 87864 w 253"/>
                <a:gd name="T23" fmla="*/ 101929 h 246"/>
                <a:gd name="T24" fmla="*/ 77354 w 253"/>
                <a:gd name="T25" fmla="*/ 111860 h 246"/>
                <a:gd name="T26" fmla="*/ 66003 w 253"/>
                <a:gd name="T27" fmla="*/ 119701 h 246"/>
                <a:gd name="T28" fmla="*/ 54232 w 253"/>
                <a:gd name="T29" fmla="*/ 125451 h 246"/>
                <a:gd name="T30" fmla="*/ 42040 w 253"/>
                <a:gd name="T31" fmla="*/ 128064 h 246"/>
                <a:gd name="T32" fmla="*/ 31110 w 253"/>
                <a:gd name="T33" fmla="*/ 128064 h 246"/>
                <a:gd name="T34" fmla="*/ 22281 w 253"/>
                <a:gd name="T35" fmla="*/ 125451 h 246"/>
                <a:gd name="T36" fmla="*/ 13873 w 253"/>
                <a:gd name="T37" fmla="*/ 122314 h 246"/>
                <a:gd name="T38" fmla="*/ 4624 w 253"/>
                <a:gd name="T39" fmla="*/ 119701 h 246"/>
                <a:gd name="T40" fmla="*/ 1261 w 253"/>
                <a:gd name="T41" fmla="*/ 114474 h 246"/>
                <a:gd name="T42" fmla="*/ 4204 w 253"/>
                <a:gd name="T43" fmla="*/ 107156 h 246"/>
                <a:gd name="T44" fmla="*/ 9249 w 253"/>
                <a:gd name="T45" fmla="*/ 102451 h 246"/>
                <a:gd name="T46" fmla="*/ 15555 w 253"/>
                <a:gd name="T47" fmla="*/ 99838 h 246"/>
                <a:gd name="T48" fmla="*/ 21020 w 253"/>
                <a:gd name="T49" fmla="*/ 102974 h 246"/>
                <a:gd name="T50" fmla="*/ 25224 w 253"/>
                <a:gd name="T51" fmla="*/ 108201 h 246"/>
                <a:gd name="T52" fmla="*/ 28587 w 253"/>
                <a:gd name="T53" fmla="*/ 105065 h 246"/>
                <a:gd name="T54" fmla="*/ 31530 w 253"/>
                <a:gd name="T55" fmla="*/ 99315 h 246"/>
                <a:gd name="T56" fmla="*/ 35314 w 253"/>
                <a:gd name="T57" fmla="*/ 94088 h 246"/>
                <a:gd name="T58" fmla="*/ 38257 w 253"/>
                <a:gd name="T59" fmla="*/ 94611 h 246"/>
                <a:gd name="T60" fmla="*/ 41200 w 253"/>
                <a:gd name="T61" fmla="*/ 93565 h 246"/>
                <a:gd name="T62" fmla="*/ 44563 w 253"/>
                <a:gd name="T63" fmla="*/ 93043 h 246"/>
                <a:gd name="T64" fmla="*/ 50448 w 253"/>
                <a:gd name="T65" fmla="*/ 90952 h 246"/>
                <a:gd name="T66" fmla="*/ 62640 w 253"/>
                <a:gd name="T67" fmla="*/ 85725 h 246"/>
                <a:gd name="T68" fmla="*/ 75252 w 253"/>
                <a:gd name="T69" fmla="*/ 76839 h 246"/>
                <a:gd name="T70" fmla="*/ 82819 w 253"/>
                <a:gd name="T71" fmla="*/ 70566 h 246"/>
                <a:gd name="T72" fmla="*/ 88285 w 253"/>
                <a:gd name="T73" fmla="*/ 64294 h 246"/>
                <a:gd name="T74" fmla="*/ 91648 w 253"/>
                <a:gd name="T75" fmla="*/ 58021 h 246"/>
                <a:gd name="T76" fmla="*/ 92068 w 253"/>
                <a:gd name="T77" fmla="*/ 51226 h 246"/>
                <a:gd name="T78" fmla="*/ 89966 w 253"/>
                <a:gd name="T79" fmla="*/ 45999 h 246"/>
                <a:gd name="T80" fmla="*/ 88285 w 253"/>
                <a:gd name="T81" fmla="*/ 41817 h 246"/>
                <a:gd name="T82" fmla="*/ 87023 w 253"/>
                <a:gd name="T83" fmla="*/ 37635 h 246"/>
                <a:gd name="T84" fmla="*/ 84501 w 253"/>
                <a:gd name="T85" fmla="*/ 35022 h 246"/>
                <a:gd name="T86" fmla="*/ 80297 w 253"/>
                <a:gd name="T87" fmla="*/ 33976 h 246"/>
                <a:gd name="T88" fmla="*/ 77354 w 253"/>
                <a:gd name="T89" fmla="*/ 31885 h 246"/>
                <a:gd name="T90" fmla="*/ 75673 w 253"/>
                <a:gd name="T91" fmla="*/ 28226 h 246"/>
                <a:gd name="T92" fmla="*/ 58856 w 253"/>
                <a:gd name="T93" fmla="*/ 25613 h 246"/>
                <a:gd name="T94" fmla="*/ 57175 w 253"/>
                <a:gd name="T95" fmla="*/ 22999 h 246"/>
                <a:gd name="T96" fmla="*/ 57175 w 253"/>
                <a:gd name="T97" fmla="*/ 18818 h 246"/>
                <a:gd name="T98" fmla="*/ 58856 w 253"/>
                <a:gd name="T99" fmla="*/ 9409 h 246"/>
                <a:gd name="T100" fmla="*/ 46244 w 253"/>
                <a:gd name="T101" fmla="*/ 5750 h 246"/>
                <a:gd name="T102" fmla="*/ 40779 w 253"/>
                <a:gd name="T103" fmla="*/ 6273 h 246"/>
                <a:gd name="T104" fmla="*/ 36155 w 253"/>
                <a:gd name="T105" fmla="*/ 9409 h 246"/>
                <a:gd name="T106" fmla="*/ 43722 w 253"/>
                <a:gd name="T107" fmla="*/ 2614 h 246"/>
                <a:gd name="T108" fmla="*/ 47506 w 253"/>
                <a:gd name="T109" fmla="*/ 523 h 246"/>
                <a:gd name="T110" fmla="*/ 53391 w 253"/>
                <a:gd name="T111" fmla="*/ 0 h 24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253" h="246">
                  <a:moveTo>
                    <a:pt x="127" y="0"/>
                  </a:moveTo>
                  <a:lnTo>
                    <a:pt x="136" y="1"/>
                  </a:lnTo>
                  <a:lnTo>
                    <a:pt x="146" y="4"/>
                  </a:lnTo>
                  <a:lnTo>
                    <a:pt x="157" y="8"/>
                  </a:lnTo>
                  <a:lnTo>
                    <a:pt x="168" y="14"/>
                  </a:lnTo>
                  <a:lnTo>
                    <a:pt x="179" y="21"/>
                  </a:lnTo>
                  <a:lnTo>
                    <a:pt x="189" y="28"/>
                  </a:lnTo>
                  <a:lnTo>
                    <a:pt x="199" y="37"/>
                  </a:lnTo>
                  <a:lnTo>
                    <a:pt x="209" y="47"/>
                  </a:lnTo>
                  <a:lnTo>
                    <a:pt x="218" y="57"/>
                  </a:lnTo>
                  <a:lnTo>
                    <a:pt x="227" y="66"/>
                  </a:lnTo>
                  <a:lnTo>
                    <a:pt x="234" y="76"/>
                  </a:lnTo>
                  <a:lnTo>
                    <a:pt x="240" y="85"/>
                  </a:lnTo>
                  <a:lnTo>
                    <a:pt x="245" y="94"/>
                  </a:lnTo>
                  <a:lnTo>
                    <a:pt x="250" y="103"/>
                  </a:lnTo>
                  <a:lnTo>
                    <a:pt x="252" y="111"/>
                  </a:lnTo>
                  <a:lnTo>
                    <a:pt x="253" y="117"/>
                  </a:lnTo>
                  <a:lnTo>
                    <a:pt x="252" y="128"/>
                  </a:lnTo>
                  <a:lnTo>
                    <a:pt x="248" y="140"/>
                  </a:lnTo>
                  <a:lnTo>
                    <a:pt x="243" y="151"/>
                  </a:lnTo>
                  <a:lnTo>
                    <a:pt x="236" y="163"/>
                  </a:lnTo>
                  <a:lnTo>
                    <a:pt x="229" y="174"/>
                  </a:lnTo>
                  <a:lnTo>
                    <a:pt x="219" y="185"/>
                  </a:lnTo>
                  <a:lnTo>
                    <a:pt x="209" y="195"/>
                  </a:lnTo>
                  <a:lnTo>
                    <a:pt x="197" y="204"/>
                  </a:lnTo>
                  <a:lnTo>
                    <a:pt x="184" y="214"/>
                  </a:lnTo>
                  <a:lnTo>
                    <a:pt x="171" y="222"/>
                  </a:lnTo>
                  <a:lnTo>
                    <a:pt x="157" y="229"/>
                  </a:lnTo>
                  <a:lnTo>
                    <a:pt x="143" y="235"/>
                  </a:lnTo>
                  <a:lnTo>
                    <a:pt x="129" y="240"/>
                  </a:lnTo>
                  <a:lnTo>
                    <a:pt x="115" y="243"/>
                  </a:lnTo>
                  <a:lnTo>
                    <a:pt x="100" y="245"/>
                  </a:lnTo>
                  <a:lnTo>
                    <a:pt x="86" y="246"/>
                  </a:lnTo>
                  <a:lnTo>
                    <a:pt x="74" y="245"/>
                  </a:lnTo>
                  <a:lnTo>
                    <a:pt x="64" y="243"/>
                  </a:lnTo>
                  <a:lnTo>
                    <a:pt x="53" y="240"/>
                  </a:lnTo>
                  <a:lnTo>
                    <a:pt x="43" y="237"/>
                  </a:lnTo>
                  <a:lnTo>
                    <a:pt x="33" y="234"/>
                  </a:lnTo>
                  <a:lnTo>
                    <a:pt x="22" y="231"/>
                  </a:lnTo>
                  <a:lnTo>
                    <a:pt x="11" y="229"/>
                  </a:lnTo>
                  <a:lnTo>
                    <a:pt x="0" y="228"/>
                  </a:lnTo>
                  <a:lnTo>
                    <a:pt x="3" y="219"/>
                  </a:lnTo>
                  <a:lnTo>
                    <a:pt x="6" y="212"/>
                  </a:lnTo>
                  <a:lnTo>
                    <a:pt x="10" y="205"/>
                  </a:lnTo>
                  <a:lnTo>
                    <a:pt x="16" y="200"/>
                  </a:lnTo>
                  <a:lnTo>
                    <a:pt x="22" y="196"/>
                  </a:lnTo>
                  <a:lnTo>
                    <a:pt x="29" y="193"/>
                  </a:lnTo>
                  <a:lnTo>
                    <a:pt x="37" y="191"/>
                  </a:lnTo>
                  <a:lnTo>
                    <a:pt x="46" y="191"/>
                  </a:lnTo>
                  <a:lnTo>
                    <a:pt x="50" y="197"/>
                  </a:lnTo>
                  <a:lnTo>
                    <a:pt x="53" y="209"/>
                  </a:lnTo>
                  <a:lnTo>
                    <a:pt x="60" y="207"/>
                  </a:lnTo>
                  <a:lnTo>
                    <a:pt x="65" y="204"/>
                  </a:lnTo>
                  <a:lnTo>
                    <a:pt x="68" y="201"/>
                  </a:lnTo>
                  <a:lnTo>
                    <a:pt x="72" y="198"/>
                  </a:lnTo>
                  <a:lnTo>
                    <a:pt x="75" y="190"/>
                  </a:lnTo>
                  <a:lnTo>
                    <a:pt x="79" y="179"/>
                  </a:lnTo>
                  <a:lnTo>
                    <a:pt x="84" y="180"/>
                  </a:lnTo>
                  <a:lnTo>
                    <a:pt x="88" y="181"/>
                  </a:lnTo>
                  <a:lnTo>
                    <a:pt x="91" y="181"/>
                  </a:lnTo>
                  <a:lnTo>
                    <a:pt x="95" y="181"/>
                  </a:lnTo>
                  <a:lnTo>
                    <a:pt x="98" y="179"/>
                  </a:lnTo>
                  <a:lnTo>
                    <a:pt x="99" y="179"/>
                  </a:lnTo>
                  <a:lnTo>
                    <a:pt x="106" y="178"/>
                  </a:lnTo>
                  <a:lnTo>
                    <a:pt x="112" y="177"/>
                  </a:lnTo>
                  <a:lnTo>
                    <a:pt x="120" y="174"/>
                  </a:lnTo>
                  <a:lnTo>
                    <a:pt x="130" y="171"/>
                  </a:lnTo>
                  <a:lnTo>
                    <a:pt x="149" y="164"/>
                  </a:lnTo>
                  <a:lnTo>
                    <a:pt x="169" y="153"/>
                  </a:lnTo>
                  <a:lnTo>
                    <a:pt x="179" y="147"/>
                  </a:lnTo>
                  <a:lnTo>
                    <a:pt x="188" y="141"/>
                  </a:lnTo>
                  <a:lnTo>
                    <a:pt x="197" y="135"/>
                  </a:lnTo>
                  <a:lnTo>
                    <a:pt x="205" y="129"/>
                  </a:lnTo>
                  <a:lnTo>
                    <a:pt x="210" y="123"/>
                  </a:lnTo>
                  <a:lnTo>
                    <a:pt x="216" y="117"/>
                  </a:lnTo>
                  <a:lnTo>
                    <a:pt x="218" y="111"/>
                  </a:lnTo>
                  <a:lnTo>
                    <a:pt x="219" y="105"/>
                  </a:lnTo>
                  <a:lnTo>
                    <a:pt x="219" y="98"/>
                  </a:lnTo>
                  <a:lnTo>
                    <a:pt x="217" y="92"/>
                  </a:lnTo>
                  <a:lnTo>
                    <a:pt x="214" y="88"/>
                  </a:lnTo>
                  <a:lnTo>
                    <a:pt x="212" y="84"/>
                  </a:lnTo>
                  <a:lnTo>
                    <a:pt x="210" y="80"/>
                  </a:lnTo>
                  <a:lnTo>
                    <a:pt x="208" y="76"/>
                  </a:lnTo>
                  <a:lnTo>
                    <a:pt x="207" y="72"/>
                  </a:lnTo>
                  <a:lnTo>
                    <a:pt x="206" y="68"/>
                  </a:lnTo>
                  <a:lnTo>
                    <a:pt x="201" y="67"/>
                  </a:lnTo>
                  <a:lnTo>
                    <a:pt x="196" y="67"/>
                  </a:lnTo>
                  <a:lnTo>
                    <a:pt x="191" y="65"/>
                  </a:lnTo>
                  <a:lnTo>
                    <a:pt x="188" y="63"/>
                  </a:lnTo>
                  <a:lnTo>
                    <a:pt x="184" y="61"/>
                  </a:lnTo>
                  <a:lnTo>
                    <a:pt x="182" y="57"/>
                  </a:lnTo>
                  <a:lnTo>
                    <a:pt x="180" y="54"/>
                  </a:lnTo>
                  <a:lnTo>
                    <a:pt x="179" y="49"/>
                  </a:lnTo>
                  <a:lnTo>
                    <a:pt x="140" y="49"/>
                  </a:lnTo>
                  <a:lnTo>
                    <a:pt x="138" y="47"/>
                  </a:lnTo>
                  <a:lnTo>
                    <a:pt x="136" y="44"/>
                  </a:lnTo>
                  <a:lnTo>
                    <a:pt x="136" y="39"/>
                  </a:lnTo>
                  <a:lnTo>
                    <a:pt x="136" y="36"/>
                  </a:lnTo>
                  <a:lnTo>
                    <a:pt x="139" y="27"/>
                  </a:lnTo>
                  <a:lnTo>
                    <a:pt x="140" y="18"/>
                  </a:lnTo>
                  <a:lnTo>
                    <a:pt x="124" y="14"/>
                  </a:lnTo>
                  <a:lnTo>
                    <a:pt x="110" y="11"/>
                  </a:lnTo>
                  <a:lnTo>
                    <a:pt x="104" y="11"/>
                  </a:lnTo>
                  <a:lnTo>
                    <a:pt x="97" y="12"/>
                  </a:lnTo>
                  <a:lnTo>
                    <a:pt x="91" y="15"/>
                  </a:lnTo>
                  <a:lnTo>
                    <a:pt x="86" y="18"/>
                  </a:lnTo>
                  <a:lnTo>
                    <a:pt x="96" y="10"/>
                  </a:lnTo>
                  <a:lnTo>
                    <a:pt x="104" y="5"/>
                  </a:lnTo>
                  <a:lnTo>
                    <a:pt x="108" y="3"/>
                  </a:lnTo>
                  <a:lnTo>
                    <a:pt x="113" y="1"/>
                  </a:lnTo>
                  <a:lnTo>
                    <a:pt x="119" y="0"/>
                  </a:lnTo>
                  <a:lnTo>
                    <a:pt x="127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811" name="Freeform 281"/>
            <p:cNvSpPr>
              <a:spLocks/>
            </p:cNvSpPr>
            <p:nvPr>
              <p:custDataLst>
                <p:tags r:id="rId203"/>
              </p:custDataLst>
            </p:nvPr>
          </p:nvSpPr>
          <p:spPr bwMode="auto">
            <a:xfrm>
              <a:off x="7964942" y="3728028"/>
              <a:ext cx="75704" cy="142979"/>
            </a:xfrm>
            <a:custGeom>
              <a:avLst/>
              <a:gdLst>
                <a:gd name="T0" fmla="*/ 18465 w 141"/>
                <a:gd name="T1" fmla="*/ 119063 h 228"/>
                <a:gd name="T2" fmla="*/ 16213 w 141"/>
                <a:gd name="T3" fmla="*/ 114885 h 228"/>
                <a:gd name="T4" fmla="*/ 13060 w 141"/>
                <a:gd name="T5" fmla="*/ 108619 h 228"/>
                <a:gd name="T6" fmla="*/ 9908 w 141"/>
                <a:gd name="T7" fmla="*/ 101308 h 228"/>
                <a:gd name="T8" fmla="*/ 7206 w 141"/>
                <a:gd name="T9" fmla="*/ 92953 h 228"/>
                <a:gd name="T10" fmla="*/ 4504 w 141"/>
                <a:gd name="T11" fmla="*/ 85120 h 228"/>
                <a:gd name="T12" fmla="*/ 2252 w 141"/>
                <a:gd name="T13" fmla="*/ 77287 h 228"/>
                <a:gd name="T14" fmla="*/ 901 w 141"/>
                <a:gd name="T15" fmla="*/ 70498 h 228"/>
                <a:gd name="T16" fmla="*/ 0 w 141"/>
                <a:gd name="T17" fmla="*/ 64231 h 228"/>
                <a:gd name="T18" fmla="*/ 901 w 141"/>
                <a:gd name="T19" fmla="*/ 54309 h 228"/>
                <a:gd name="T20" fmla="*/ 1801 w 141"/>
                <a:gd name="T21" fmla="*/ 45432 h 228"/>
                <a:gd name="T22" fmla="*/ 2702 w 141"/>
                <a:gd name="T23" fmla="*/ 36554 h 228"/>
                <a:gd name="T24" fmla="*/ 4053 w 141"/>
                <a:gd name="T25" fmla="*/ 28721 h 228"/>
                <a:gd name="T26" fmla="*/ 8106 w 141"/>
                <a:gd name="T27" fmla="*/ 14622 h 228"/>
                <a:gd name="T28" fmla="*/ 12610 w 141"/>
                <a:gd name="T29" fmla="*/ 0 h 228"/>
                <a:gd name="T30" fmla="*/ 20266 w 141"/>
                <a:gd name="T31" fmla="*/ 8355 h 228"/>
                <a:gd name="T32" fmla="*/ 27922 w 141"/>
                <a:gd name="T33" fmla="*/ 14622 h 228"/>
                <a:gd name="T34" fmla="*/ 34227 w 141"/>
                <a:gd name="T35" fmla="*/ 19322 h 228"/>
                <a:gd name="T36" fmla="*/ 40082 w 141"/>
                <a:gd name="T37" fmla="*/ 25066 h 228"/>
                <a:gd name="T38" fmla="*/ 42784 w 141"/>
                <a:gd name="T39" fmla="*/ 28721 h 228"/>
                <a:gd name="T40" fmla="*/ 45486 w 141"/>
                <a:gd name="T41" fmla="*/ 32899 h 228"/>
                <a:gd name="T42" fmla="*/ 48188 w 141"/>
                <a:gd name="T43" fmla="*/ 38643 h 228"/>
                <a:gd name="T44" fmla="*/ 51340 w 141"/>
                <a:gd name="T45" fmla="*/ 44910 h 228"/>
                <a:gd name="T46" fmla="*/ 54043 w 141"/>
                <a:gd name="T47" fmla="*/ 52221 h 228"/>
                <a:gd name="T48" fmla="*/ 57195 w 141"/>
                <a:gd name="T49" fmla="*/ 61098 h 228"/>
                <a:gd name="T50" fmla="*/ 59897 w 141"/>
                <a:gd name="T51" fmla="*/ 72064 h 228"/>
                <a:gd name="T52" fmla="*/ 63500 w 141"/>
                <a:gd name="T53" fmla="*/ 84075 h 228"/>
                <a:gd name="T54" fmla="*/ 63050 w 141"/>
                <a:gd name="T55" fmla="*/ 88253 h 228"/>
                <a:gd name="T56" fmla="*/ 62149 w 141"/>
                <a:gd name="T57" fmla="*/ 92430 h 228"/>
                <a:gd name="T58" fmla="*/ 60798 w 141"/>
                <a:gd name="T59" fmla="*/ 97130 h 228"/>
                <a:gd name="T60" fmla="*/ 58996 w 141"/>
                <a:gd name="T61" fmla="*/ 100264 h 228"/>
                <a:gd name="T62" fmla="*/ 57195 w 141"/>
                <a:gd name="T63" fmla="*/ 103919 h 228"/>
                <a:gd name="T64" fmla="*/ 54493 w 141"/>
                <a:gd name="T65" fmla="*/ 106530 h 228"/>
                <a:gd name="T66" fmla="*/ 51791 w 141"/>
                <a:gd name="T67" fmla="*/ 109141 h 228"/>
                <a:gd name="T68" fmla="*/ 48638 w 141"/>
                <a:gd name="T69" fmla="*/ 111230 h 228"/>
                <a:gd name="T70" fmla="*/ 45035 w 141"/>
                <a:gd name="T71" fmla="*/ 113319 h 228"/>
                <a:gd name="T72" fmla="*/ 41883 w 141"/>
                <a:gd name="T73" fmla="*/ 114885 h 228"/>
                <a:gd name="T74" fmla="*/ 38280 w 141"/>
                <a:gd name="T75" fmla="*/ 116452 h 228"/>
                <a:gd name="T76" fmla="*/ 34227 w 141"/>
                <a:gd name="T77" fmla="*/ 117496 h 228"/>
                <a:gd name="T78" fmla="*/ 26571 w 141"/>
                <a:gd name="T79" fmla="*/ 118541 h 228"/>
                <a:gd name="T80" fmla="*/ 18465 w 141"/>
                <a:gd name="T81" fmla="*/ 119063 h 22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41" h="228">
                  <a:moveTo>
                    <a:pt x="41" y="228"/>
                  </a:moveTo>
                  <a:lnTo>
                    <a:pt x="36" y="220"/>
                  </a:lnTo>
                  <a:lnTo>
                    <a:pt x="29" y="208"/>
                  </a:lnTo>
                  <a:lnTo>
                    <a:pt x="22" y="194"/>
                  </a:lnTo>
                  <a:lnTo>
                    <a:pt x="16" y="178"/>
                  </a:lnTo>
                  <a:lnTo>
                    <a:pt x="10" y="163"/>
                  </a:lnTo>
                  <a:lnTo>
                    <a:pt x="5" y="148"/>
                  </a:lnTo>
                  <a:lnTo>
                    <a:pt x="2" y="135"/>
                  </a:lnTo>
                  <a:lnTo>
                    <a:pt x="0" y="123"/>
                  </a:lnTo>
                  <a:lnTo>
                    <a:pt x="2" y="104"/>
                  </a:lnTo>
                  <a:lnTo>
                    <a:pt x="4" y="87"/>
                  </a:lnTo>
                  <a:lnTo>
                    <a:pt x="6" y="70"/>
                  </a:lnTo>
                  <a:lnTo>
                    <a:pt x="9" y="55"/>
                  </a:lnTo>
                  <a:lnTo>
                    <a:pt x="18" y="28"/>
                  </a:lnTo>
                  <a:lnTo>
                    <a:pt x="28" y="0"/>
                  </a:lnTo>
                  <a:lnTo>
                    <a:pt x="45" y="16"/>
                  </a:lnTo>
                  <a:lnTo>
                    <a:pt x="62" y="28"/>
                  </a:lnTo>
                  <a:lnTo>
                    <a:pt x="76" y="37"/>
                  </a:lnTo>
                  <a:lnTo>
                    <a:pt x="89" y="48"/>
                  </a:lnTo>
                  <a:lnTo>
                    <a:pt x="95" y="55"/>
                  </a:lnTo>
                  <a:lnTo>
                    <a:pt x="101" y="63"/>
                  </a:lnTo>
                  <a:lnTo>
                    <a:pt x="107" y="74"/>
                  </a:lnTo>
                  <a:lnTo>
                    <a:pt x="114" y="86"/>
                  </a:lnTo>
                  <a:lnTo>
                    <a:pt x="120" y="100"/>
                  </a:lnTo>
                  <a:lnTo>
                    <a:pt x="127" y="117"/>
                  </a:lnTo>
                  <a:lnTo>
                    <a:pt x="133" y="138"/>
                  </a:lnTo>
                  <a:lnTo>
                    <a:pt x="141" y="161"/>
                  </a:lnTo>
                  <a:lnTo>
                    <a:pt x="140" y="169"/>
                  </a:lnTo>
                  <a:lnTo>
                    <a:pt x="138" y="177"/>
                  </a:lnTo>
                  <a:lnTo>
                    <a:pt x="135" y="186"/>
                  </a:lnTo>
                  <a:lnTo>
                    <a:pt x="131" y="192"/>
                  </a:lnTo>
                  <a:lnTo>
                    <a:pt x="127" y="199"/>
                  </a:lnTo>
                  <a:lnTo>
                    <a:pt x="121" y="204"/>
                  </a:lnTo>
                  <a:lnTo>
                    <a:pt x="115" y="209"/>
                  </a:lnTo>
                  <a:lnTo>
                    <a:pt x="108" y="213"/>
                  </a:lnTo>
                  <a:lnTo>
                    <a:pt x="100" y="217"/>
                  </a:lnTo>
                  <a:lnTo>
                    <a:pt x="93" y="220"/>
                  </a:lnTo>
                  <a:lnTo>
                    <a:pt x="85" y="223"/>
                  </a:lnTo>
                  <a:lnTo>
                    <a:pt x="76" y="225"/>
                  </a:lnTo>
                  <a:lnTo>
                    <a:pt x="59" y="227"/>
                  </a:lnTo>
                  <a:lnTo>
                    <a:pt x="41" y="22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grpSp>
          <p:nvGrpSpPr>
            <p:cNvPr id="812" name="Group 282"/>
            <p:cNvGrpSpPr>
              <a:grpSpLocks/>
            </p:cNvGrpSpPr>
            <p:nvPr>
              <p:custDataLst>
                <p:tags r:id="rId204"/>
              </p:custDataLst>
            </p:nvPr>
          </p:nvGrpSpPr>
          <p:grpSpPr bwMode="auto">
            <a:xfrm>
              <a:off x="9085362" y="3381066"/>
              <a:ext cx="278212" cy="528067"/>
              <a:chOff x="5062" y="2295"/>
              <a:chExt cx="177" cy="279"/>
            </a:xfrm>
            <a:grpFill/>
          </p:grpSpPr>
          <p:sp>
            <p:nvSpPr>
              <p:cNvPr id="1058" name="Freeform 283"/>
              <p:cNvSpPr>
                <a:spLocks/>
              </p:cNvSpPr>
              <p:nvPr/>
            </p:nvSpPr>
            <p:spPr bwMode="auto">
              <a:xfrm>
                <a:off x="5154" y="2449"/>
                <a:ext cx="19" cy="37"/>
              </a:xfrm>
              <a:custGeom>
                <a:avLst/>
                <a:gdLst>
                  <a:gd name="T0" fmla="*/ 12 w 60"/>
                  <a:gd name="T1" fmla="*/ 37 h 110"/>
                  <a:gd name="T2" fmla="*/ 13 w 60"/>
                  <a:gd name="T3" fmla="*/ 37 h 110"/>
                  <a:gd name="T4" fmla="*/ 15 w 60"/>
                  <a:gd name="T5" fmla="*/ 36 h 110"/>
                  <a:gd name="T6" fmla="*/ 16 w 60"/>
                  <a:gd name="T7" fmla="*/ 34 h 110"/>
                  <a:gd name="T8" fmla="*/ 16 w 60"/>
                  <a:gd name="T9" fmla="*/ 32 h 110"/>
                  <a:gd name="T10" fmla="*/ 17 w 60"/>
                  <a:gd name="T11" fmla="*/ 30 h 110"/>
                  <a:gd name="T12" fmla="*/ 18 w 60"/>
                  <a:gd name="T13" fmla="*/ 28 h 110"/>
                  <a:gd name="T14" fmla="*/ 19 w 60"/>
                  <a:gd name="T15" fmla="*/ 26 h 110"/>
                  <a:gd name="T16" fmla="*/ 19 w 60"/>
                  <a:gd name="T17" fmla="*/ 25 h 110"/>
                  <a:gd name="T18" fmla="*/ 19 w 60"/>
                  <a:gd name="T19" fmla="*/ 20 h 110"/>
                  <a:gd name="T20" fmla="*/ 18 w 60"/>
                  <a:gd name="T21" fmla="*/ 16 h 110"/>
                  <a:gd name="T22" fmla="*/ 18 w 60"/>
                  <a:gd name="T23" fmla="*/ 13 h 110"/>
                  <a:gd name="T24" fmla="*/ 17 w 60"/>
                  <a:gd name="T25" fmla="*/ 10 h 110"/>
                  <a:gd name="T26" fmla="*/ 16 w 60"/>
                  <a:gd name="T27" fmla="*/ 7 h 110"/>
                  <a:gd name="T28" fmla="*/ 15 w 60"/>
                  <a:gd name="T29" fmla="*/ 4 h 110"/>
                  <a:gd name="T30" fmla="*/ 14 w 60"/>
                  <a:gd name="T31" fmla="*/ 2 h 110"/>
                  <a:gd name="T32" fmla="*/ 12 w 60"/>
                  <a:gd name="T33" fmla="*/ 0 h 110"/>
                  <a:gd name="T34" fmla="*/ 11 w 60"/>
                  <a:gd name="T35" fmla="*/ 1 h 110"/>
                  <a:gd name="T36" fmla="*/ 10 w 60"/>
                  <a:gd name="T37" fmla="*/ 3 h 110"/>
                  <a:gd name="T38" fmla="*/ 9 w 60"/>
                  <a:gd name="T39" fmla="*/ 4 h 110"/>
                  <a:gd name="T40" fmla="*/ 8 w 60"/>
                  <a:gd name="T41" fmla="*/ 6 h 110"/>
                  <a:gd name="T42" fmla="*/ 6 w 60"/>
                  <a:gd name="T43" fmla="*/ 10 h 110"/>
                  <a:gd name="T44" fmla="*/ 5 w 60"/>
                  <a:gd name="T45" fmla="*/ 13 h 110"/>
                  <a:gd name="T46" fmla="*/ 3 w 60"/>
                  <a:gd name="T47" fmla="*/ 17 h 110"/>
                  <a:gd name="T48" fmla="*/ 2 w 60"/>
                  <a:gd name="T49" fmla="*/ 21 h 110"/>
                  <a:gd name="T50" fmla="*/ 2 w 60"/>
                  <a:gd name="T51" fmla="*/ 22 h 110"/>
                  <a:gd name="T52" fmla="*/ 1 w 60"/>
                  <a:gd name="T53" fmla="*/ 23 h 110"/>
                  <a:gd name="T54" fmla="*/ 1 w 60"/>
                  <a:gd name="T55" fmla="*/ 24 h 110"/>
                  <a:gd name="T56" fmla="*/ 0 w 60"/>
                  <a:gd name="T57" fmla="*/ 25 h 110"/>
                  <a:gd name="T58" fmla="*/ 0 w 60"/>
                  <a:gd name="T59" fmla="*/ 26 h 110"/>
                  <a:gd name="T60" fmla="*/ 1 w 60"/>
                  <a:gd name="T61" fmla="*/ 28 h 110"/>
                  <a:gd name="T62" fmla="*/ 2 w 60"/>
                  <a:gd name="T63" fmla="*/ 30 h 110"/>
                  <a:gd name="T64" fmla="*/ 4 w 60"/>
                  <a:gd name="T65" fmla="*/ 32 h 110"/>
                  <a:gd name="T66" fmla="*/ 6 w 60"/>
                  <a:gd name="T67" fmla="*/ 34 h 110"/>
                  <a:gd name="T68" fmla="*/ 8 w 60"/>
                  <a:gd name="T69" fmla="*/ 36 h 110"/>
                  <a:gd name="T70" fmla="*/ 10 w 60"/>
                  <a:gd name="T71" fmla="*/ 37 h 110"/>
                  <a:gd name="T72" fmla="*/ 12 w 60"/>
                  <a:gd name="T73" fmla="*/ 37 h 110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0" t="0" r="r" b="b"/>
                <a:pathLst>
                  <a:path w="60" h="110">
                    <a:moveTo>
                      <a:pt x="39" y="110"/>
                    </a:moveTo>
                    <a:lnTo>
                      <a:pt x="42" y="109"/>
                    </a:lnTo>
                    <a:lnTo>
                      <a:pt x="46" y="106"/>
                    </a:lnTo>
                    <a:lnTo>
                      <a:pt x="49" y="101"/>
                    </a:lnTo>
                    <a:lnTo>
                      <a:pt x="52" y="96"/>
                    </a:lnTo>
                    <a:lnTo>
                      <a:pt x="54" y="90"/>
                    </a:lnTo>
                    <a:lnTo>
                      <a:pt x="57" y="84"/>
                    </a:lnTo>
                    <a:lnTo>
                      <a:pt x="59" y="78"/>
                    </a:lnTo>
                    <a:lnTo>
                      <a:pt x="60" y="73"/>
                    </a:lnTo>
                    <a:lnTo>
                      <a:pt x="59" y="60"/>
                    </a:lnTo>
                    <a:lnTo>
                      <a:pt x="58" y="48"/>
                    </a:lnTo>
                    <a:lnTo>
                      <a:pt x="57" y="38"/>
                    </a:lnTo>
                    <a:lnTo>
                      <a:pt x="54" y="29"/>
                    </a:lnTo>
                    <a:lnTo>
                      <a:pt x="51" y="21"/>
                    </a:lnTo>
                    <a:lnTo>
                      <a:pt x="48" y="13"/>
                    </a:lnTo>
                    <a:lnTo>
                      <a:pt x="45" y="6"/>
                    </a:lnTo>
                    <a:lnTo>
                      <a:pt x="39" y="0"/>
                    </a:lnTo>
                    <a:lnTo>
                      <a:pt x="35" y="3"/>
                    </a:lnTo>
                    <a:lnTo>
                      <a:pt x="30" y="8"/>
                    </a:lnTo>
                    <a:lnTo>
                      <a:pt x="27" y="13"/>
                    </a:lnTo>
                    <a:lnTo>
                      <a:pt x="24" y="18"/>
                    </a:lnTo>
                    <a:lnTo>
                      <a:pt x="18" y="29"/>
                    </a:lnTo>
                    <a:lnTo>
                      <a:pt x="15" y="40"/>
                    </a:lnTo>
                    <a:lnTo>
                      <a:pt x="10" y="51"/>
                    </a:lnTo>
                    <a:lnTo>
                      <a:pt x="7" y="62"/>
                    </a:lnTo>
                    <a:lnTo>
                      <a:pt x="6" y="66"/>
                    </a:lnTo>
                    <a:lnTo>
                      <a:pt x="4" y="69"/>
                    </a:lnTo>
                    <a:lnTo>
                      <a:pt x="2" y="72"/>
                    </a:lnTo>
                    <a:lnTo>
                      <a:pt x="0" y="73"/>
                    </a:lnTo>
                    <a:lnTo>
                      <a:pt x="1" y="78"/>
                    </a:lnTo>
                    <a:lnTo>
                      <a:pt x="3" y="84"/>
                    </a:lnTo>
                    <a:lnTo>
                      <a:pt x="7" y="90"/>
                    </a:lnTo>
                    <a:lnTo>
                      <a:pt x="12" y="96"/>
                    </a:lnTo>
                    <a:lnTo>
                      <a:pt x="18" y="101"/>
                    </a:lnTo>
                    <a:lnTo>
                      <a:pt x="25" y="106"/>
                    </a:lnTo>
                    <a:lnTo>
                      <a:pt x="32" y="109"/>
                    </a:lnTo>
                    <a:lnTo>
                      <a:pt x="39" y="11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059" name="Freeform 284"/>
              <p:cNvSpPr>
                <a:spLocks/>
              </p:cNvSpPr>
              <p:nvPr/>
            </p:nvSpPr>
            <p:spPr bwMode="auto">
              <a:xfrm>
                <a:off x="5189" y="2422"/>
                <a:ext cx="24" cy="25"/>
              </a:xfrm>
              <a:custGeom>
                <a:avLst/>
                <a:gdLst>
                  <a:gd name="T0" fmla="*/ 0 w 72"/>
                  <a:gd name="T1" fmla="*/ 4 h 75"/>
                  <a:gd name="T2" fmla="*/ 3 w 72"/>
                  <a:gd name="T3" fmla="*/ 6 h 75"/>
                  <a:gd name="T4" fmla="*/ 5 w 72"/>
                  <a:gd name="T5" fmla="*/ 8 h 75"/>
                  <a:gd name="T6" fmla="*/ 8 w 72"/>
                  <a:gd name="T7" fmla="*/ 11 h 75"/>
                  <a:gd name="T8" fmla="*/ 10 w 72"/>
                  <a:gd name="T9" fmla="*/ 13 h 75"/>
                  <a:gd name="T10" fmla="*/ 12 w 72"/>
                  <a:gd name="T11" fmla="*/ 16 h 75"/>
                  <a:gd name="T12" fmla="*/ 14 w 72"/>
                  <a:gd name="T13" fmla="*/ 19 h 75"/>
                  <a:gd name="T14" fmla="*/ 15 w 72"/>
                  <a:gd name="T15" fmla="*/ 22 h 75"/>
                  <a:gd name="T16" fmla="*/ 15 w 72"/>
                  <a:gd name="T17" fmla="*/ 25 h 75"/>
                  <a:gd name="T18" fmla="*/ 24 w 72"/>
                  <a:gd name="T19" fmla="*/ 25 h 75"/>
                  <a:gd name="T20" fmla="*/ 22 w 72"/>
                  <a:gd name="T21" fmla="*/ 17 h 75"/>
                  <a:gd name="T22" fmla="*/ 20 w 72"/>
                  <a:gd name="T23" fmla="*/ 11 h 75"/>
                  <a:gd name="T24" fmla="*/ 20 w 72"/>
                  <a:gd name="T25" fmla="*/ 9 h 75"/>
                  <a:gd name="T26" fmla="*/ 21 w 72"/>
                  <a:gd name="T27" fmla="*/ 6 h 75"/>
                  <a:gd name="T28" fmla="*/ 22 w 72"/>
                  <a:gd name="T29" fmla="*/ 4 h 75"/>
                  <a:gd name="T30" fmla="*/ 24 w 72"/>
                  <a:gd name="T31" fmla="*/ 0 h 75"/>
                  <a:gd name="T32" fmla="*/ 17 w 72"/>
                  <a:gd name="T33" fmla="*/ 0 h 75"/>
                  <a:gd name="T34" fmla="*/ 11 w 72"/>
                  <a:gd name="T35" fmla="*/ 0 h 75"/>
                  <a:gd name="T36" fmla="*/ 7 w 72"/>
                  <a:gd name="T37" fmla="*/ 0 h 75"/>
                  <a:gd name="T38" fmla="*/ 4 w 72"/>
                  <a:gd name="T39" fmla="*/ 1 h 75"/>
                  <a:gd name="T40" fmla="*/ 3 w 72"/>
                  <a:gd name="T41" fmla="*/ 2 h 75"/>
                  <a:gd name="T42" fmla="*/ 2 w 72"/>
                  <a:gd name="T43" fmla="*/ 2 h 75"/>
                  <a:gd name="T44" fmla="*/ 1 w 72"/>
                  <a:gd name="T45" fmla="*/ 3 h 75"/>
                  <a:gd name="T46" fmla="*/ 0 w 72"/>
                  <a:gd name="T47" fmla="*/ 4 h 75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72" h="75">
                    <a:moveTo>
                      <a:pt x="0" y="13"/>
                    </a:moveTo>
                    <a:lnTo>
                      <a:pt x="8" y="18"/>
                    </a:lnTo>
                    <a:lnTo>
                      <a:pt x="15" y="25"/>
                    </a:lnTo>
                    <a:lnTo>
                      <a:pt x="23" y="32"/>
                    </a:lnTo>
                    <a:lnTo>
                      <a:pt x="31" y="40"/>
                    </a:lnTo>
                    <a:lnTo>
                      <a:pt x="37" y="48"/>
                    </a:lnTo>
                    <a:lnTo>
                      <a:pt x="42" y="57"/>
                    </a:lnTo>
                    <a:lnTo>
                      <a:pt x="45" y="65"/>
                    </a:lnTo>
                    <a:lnTo>
                      <a:pt x="46" y="75"/>
                    </a:lnTo>
                    <a:lnTo>
                      <a:pt x="72" y="75"/>
                    </a:lnTo>
                    <a:lnTo>
                      <a:pt x="65" y="50"/>
                    </a:lnTo>
                    <a:lnTo>
                      <a:pt x="60" y="34"/>
                    </a:lnTo>
                    <a:lnTo>
                      <a:pt x="60" y="27"/>
                    </a:lnTo>
                    <a:lnTo>
                      <a:pt x="63" y="19"/>
                    </a:lnTo>
                    <a:lnTo>
                      <a:pt x="67" y="11"/>
                    </a:lnTo>
                    <a:lnTo>
                      <a:pt x="72" y="1"/>
                    </a:lnTo>
                    <a:lnTo>
                      <a:pt x="52" y="0"/>
                    </a:lnTo>
                    <a:lnTo>
                      <a:pt x="32" y="0"/>
                    </a:lnTo>
                    <a:lnTo>
                      <a:pt x="22" y="1"/>
                    </a:lnTo>
                    <a:lnTo>
                      <a:pt x="13" y="3"/>
                    </a:lnTo>
                    <a:lnTo>
                      <a:pt x="9" y="5"/>
                    </a:lnTo>
                    <a:lnTo>
                      <a:pt x="6" y="7"/>
                    </a:lnTo>
                    <a:lnTo>
                      <a:pt x="2" y="10"/>
                    </a:lnTo>
                    <a:lnTo>
                      <a:pt x="0" y="13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060" name="Freeform 285"/>
              <p:cNvSpPr>
                <a:spLocks/>
              </p:cNvSpPr>
              <p:nvPr/>
            </p:nvSpPr>
            <p:spPr bwMode="auto">
              <a:xfrm>
                <a:off x="5160" y="2389"/>
                <a:ext cx="5" cy="16"/>
              </a:xfrm>
              <a:custGeom>
                <a:avLst/>
                <a:gdLst>
                  <a:gd name="T0" fmla="*/ 5 w 15"/>
                  <a:gd name="T1" fmla="*/ 16 h 49"/>
                  <a:gd name="T2" fmla="*/ 5 w 15"/>
                  <a:gd name="T3" fmla="*/ 11 h 49"/>
                  <a:gd name="T4" fmla="*/ 5 w 15"/>
                  <a:gd name="T5" fmla="*/ 6 h 49"/>
                  <a:gd name="T6" fmla="*/ 5 w 15"/>
                  <a:gd name="T7" fmla="*/ 4 h 49"/>
                  <a:gd name="T8" fmla="*/ 4 w 15"/>
                  <a:gd name="T9" fmla="*/ 2 h 49"/>
                  <a:gd name="T10" fmla="*/ 4 w 15"/>
                  <a:gd name="T11" fmla="*/ 1 h 49"/>
                  <a:gd name="T12" fmla="*/ 3 w 15"/>
                  <a:gd name="T13" fmla="*/ 0 h 49"/>
                  <a:gd name="T14" fmla="*/ 1 w 15"/>
                  <a:gd name="T15" fmla="*/ 2 h 49"/>
                  <a:gd name="T16" fmla="*/ 1 w 15"/>
                  <a:gd name="T17" fmla="*/ 5 h 49"/>
                  <a:gd name="T18" fmla="*/ 0 w 15"/>
                  <a:gd name="T19" fmla="*/ 8 h 49"/>
                  <a:gd name="T20" fmla="*/ 0 w 15"/>
                  <a:gd name="T21" fmla="*/ 10 h 49"/>
                  <a:gd name="T22" fmla="*/ 0 w 15"/>
                  <a:gd name="T23" fmla="*/ 12 h 49"/>
                  <a:gd name="T24" fmla="*/ 1 w 15"/>
                  <a:gd name="T25" fmla="*/ 14 h 49"/>
                  <a:gd name="T26" fmla="*/ 2 w 15"/>
                  <a:gd name="T27" fmla="*/ 14 h 49"/>
                  <a:gd name="T28" fmla="*/ 3 w 15"/>
                  <a:gd name="T29" fmla="*/ 15 h 49"/>
                  <a:gd name="T30" fmla="*/ 4 w 15"/>
                  <a:gd name="T31" fmla="*/ 16 h 49"/>
                  <a:gd name="T32" fmla="*/ 5 w 15"/>
                  <a:gd name="T33" fmla="*/ 16 h 4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15" h="49">
                    <a:moveTo>
                      <a:pt x="15" y="49"/>
                    </a:moveTo>
                    <a:lnTo>
                      <a:pt x="15" y="33"/>
                    </a:lnTo>
                    <a:lnTo>
                      <a:pt x="15" y="19"/>
                    </a:lnTo>
                    <a:lnTo>
                      <a:pt x="14" y="13"/>
                    </a:lnTo>
                    <a:lnTo>
                      <a:pt x="13" y="7"/>
                    </a:lnTo>
                    <a:lnTo>
                      <a:pt x="11" y="3"/>
                    </a:lnTo>
                    <a:lnTo>
                      <a:pt x="9" y="0"/>
                    </a:lnTo>
                    <a:lnTo>
                      <a:pt x="4" y="7"/>
                    </a:lnTo>
                    <a:lnTo>
                      <a:pt x="2" y="15"/>
                    </a:lnTo>
                    <a:lnTo>
                      <a:pt x="0" y="23"/>
                    </a:lnTo>
                    <a:lnTo>
                      <a:pt x="0" y="30"/>
                    </a:lnTo>
                    <a:lnTo>
                      <a:pt x="1" y="36"/>
                    </a:lnTo>
                    <a:lnTo>
                      <a:pt x="4" y="42"/>
                    </a:lnTo>
                    <a:lnTo>
                      <a:pt x="7" y="44"/>
                    </a:lnTo>
                    <a:lnTo>
                      <a:pt x="9" y="46"/>
                    </a:lnTo>
                    <a:lnTo>
                      <a:pt x="12" y="48"/>
                    </a:lnTo>
                    <a:lnTo>
                      <a:pt x="15" y="49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061" name="Freeform 286"/>
              <p:cNvSpPr>
                <a:spLocks/>
              </p:cNvSpPr>
              <p:nvPr/>
            </p:nvSpPr>
            <p:spPr bwMode="auto">
              <a:xfrm>
                <a:off x="5139" y="2387"/>
                <a:ext cx="15" cy="13"/>
              </a:xfrm>
              <a:custGeom>
                <a:avLst/>
                <a:gdLst>
                  <a:gd name="T0" fmla="*/ 6 w 47"/>
                  <a:gd name="T1" fmla="*/ 2 h 40"/>
                  <a:gd name="T2" fmla="*/ 0 w 47"/>
                  <a:gd name="T3" fmla="*/ 12 h 40"/>
                  <a:gd name="T4" fmla="*/ 2 w 47"/>
                  <a:gd name="T5" fmla="*/ 13 h 40"/>
                  <a:gd name="T6" fmla="*/ 4 w 47"/>
                  <a:gd name="T7" fmla="*/ 13 h 40"/>
                  <a:gd name="T8" fmla="*/ 6 w 47"/>
                  <a:gd name="T9" fmla="*/ 13 h 40"/>
                  <a:gd name="T10" fmla="*/ 8 w 47"/>
                  <a:gd name="T11" fmla="*/ 12 h 40"/>
                  <a:gd name="T12" fmla="*/ 10 w 47"/>
                  <a:gd name="T13" fmla="*/ 12 h 40"/>
                  <a:gd name="T14" fmla="*/ 12 w 47"/>
                  <a:gd name="T15" fmla="*/ 11 h 40"/>
                  <a:gd name="T16" fmla="*/ 14 w 47"/>
                  <a:gd name="T17" fmla="*/ 10 h 40"/>
                  <a:gd name="T18" fmla="*/ 15 w 47"/>
                  <a:gd name="T19" fmla="*/ 8 h 40"/>
                  <a:gd name="T20" fmla="*/ 15 w 47"/>
                  <a:gd name="T21" fmla="*/ 0 h 40"/>
                  <a:gd name="T22" fmla="*/ 13 w 47"/>
                  <a:gd name="T23" fmla="*/ 0 h 40"/>
                  <a:gd name="T24" fmla="*/ 11 w 47"/>
                  <a:gd name="T25" fmla="*/ 0 h 40"/>
                  <a:gd name="T26" fmla="*/ 8 w 47"/>
                  <a:gd name="T27" fmla="*/ 1 h 40"/>
                  <a:gd name="T28" fmla="*/ 6 w 47"/>
                  <a:gd name="T29" fmla="*/ 2 h 40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47" h="40">
                    <a:moveTo>
                      <a:pt x="20" y="6"/>
                    </a:moveTo>
                    <a:lnTo>
                      <a:pt x="0" y="37"/>
                    </a:lnTo>
                    <a:lnTo>
                      <a:pt x="6" y="39"/>
                    </a:lnTo>
                    <a:lnTo>
                      <a:pt x="12" y="40"/>
                    </a:lnTo>
                    <a:lnTo>
                      <a:pt x="19" y="39"/>
                    </a:lnTo>
                    <a:lnTo>
                      <a:pt x="26" y="38"/>
                    </a:lnTo>
                    <a:lnTo>
                      <a:pt x="32" y="36"/>
                    </a:lnTo>
                    <a:lnTo>
                      <a:pt x="39" y="33"/>
                    </a:lnTo>
                    <a:lnTo>
                      <a:pt x="43" y="30"/>
                    </a:lnTo>
                    <a:lnTo>
                      <a:pt x="47" y="25"/>
                    </a:lnTo>
                    <a:lnTo>
                      <a:pt x="47" y="0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6" y="3"/>
                    </a:lnTo>
                    <a:lnTo>
                      <a:pt x="20" y="6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062" name="Freeform 287"/>
              <p:cNvSpPr>
                <a:spLocks/>
              </p:cNvSpPr>
              <p:nvPr/>
            </p:nvSpPr>
            <p:spPr bwMode="auto">
              <a:xfrm>
                <a:off x="5184" y="2465"/>
                <a:ext cx="13" cy="10"/>
              </a:xfrm>
              <a:custGeom>
                <a:avLst/>
                <a:gdLst>
                  <a:gd name="T0" fmla="*/ 0 w 39"/>
                  <a:gd name="T1" fmla="*/ 0 h 31"/>
                  <a:gd name="T2" fmla="*/ 1 w 39"/>
                  <a:gd name="T3" fmla="*/ 3 h 31"/>
                  <a:gd name="T4" fmla="*/ 2 w 39"/>
                  <a:gd name="T5" fmla="*/ 4 h 31"/>
                  <a:gd name="T6" fmla="*/ 4 w 39"/>
                  <a:gd name="T7" fmla="*/ 6 h 31"/>
                  <a:gd name="T8" fmla="*/ 6 w 39"/>
                  <a:gd name="T9" fmla="*/ 7 h 31"/>
                  <a:gd name="T10" fmla="*/ 8 w 39"/>
                  <a:gd name="T11" fmla="*/ 8 h 31"/>
                  <a:gd name="T12" fmla="*/ 9 w 39"/>
                  <a:gd name="T13" fmla="*/ 9 h 31"/>
                  <a:gd name="T14" fmla="*/ 11 w 39"/>
                  <a:gd name="T15" fmla="*/ 10 h 31"/>
                  <a:gd name="T16" fmla="*/ 13 w 39"/>
                  <a:gd name="T17" fmla="*/ 10 h 31"/>
                  <a:gd name="T18" fmla="*/ 11 w 39"/>
                  <a:gd name="T19" fmla="*/ 7 h 31"/>
                  <a:gd name="T20" fmla="*/ 8 w 39"/>
                  <a:gd name="T21" fmla="*/ 5 h 31"/>
                  <a:gd name="T22" fmla="*/ 5 w 39"/>
                  <a:gd name="T23" fmla="*/ 2 h 31"/>
                  <a:gd name="T24" fmla="*/ 2 w 39"/>
                  <a:gd name="T25" fmla="*/ 0 h 3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9" h="31">
                    <a:moveTo>
                      <a:pt x="0" y="0"/>
                    </a:moveTo>
                    <a:lnTo>
                      <a:pt x="3" y="8"/>
                    </a:lnTo>
                    <a:lnTo>
                      <a:pt x="6" y="13"/>
                    </a:lnTo>
                    <a:lnTo>
                      <a:pt x="12" y="19"/>
                    </a:lnTo>
                    <a:lnTo>
                      <a:pt x="17" y="23"/>
                    </a:lnTo>
                    <a:lnTo>
                      <a:pt x="23" y="26"/>
                    </a:lnTo>
                    <a:lnTo>
                      <a:pt x="28" y="29"/>
                    </a:lnTo>
                    <a:lnTo>
                      <a:pt x="34" y="31"/>
                    </a:lnTo>
                    <a:lnTo>
                      <a:pt x="39" y="31"/>
                    </a:lnTo>
                    <a:lnTo>
                      <a:pt x="33" y="22"/>
                    </a:lnTo>
                    <a:lnTo>
                      <a:pt x="25" y="14"/>
                    </a:lnTo>
                    <a:lnTo>
                      <a:pt x="16" y="7"/>
                    </a:lnTo>
                    <a:lnTo>
                      <a:pt x="6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063" name="Freeform 288"/>
              <p:cNvSpPr>
                <a:spLocks/>
              </p:cNvSpPr>
              <p:nvPr/>
            </p:nvSpPr>
            <p:spPr bwMode="auto">
              <a:xfrm>
                <a:off x="5172" y="2410"/>
                <a:ext cx="10" cy="6"/>
              </a:xfrm>
              <a:custGeom>
                <a:avLst/>
                <a:gdLst>
                  <a:gd name="T0" fmla="*/ 0 w 34"/>
                  <a:gd name="T1" fmla="*/ 0 h 19"/>
                  <a:gd name="T2" fmla="*/ 10 w 34"/>
                  <a:gd name="T3" fmla="*/ 6 h 19"/>
                  <a:gd name="T4" fmla="*/ 10 w 34"/>
                  <a:gd name="T5" fmla="*/ 0 h 19"/>
                  <a:gd name="T6" fmla="*/ 7 w 34"/>
                  <a:gd name="T7" fmla="*/ 0 h 19"/>
                  <a:gd name="T8" fmla="*/ 4 w 34"/>
                  <a:gd name="T9" fmla="*/ 0 h 19"/>
                  <a:gd name="T10" fmla="*/ 2 w 34"/>
                  <a:gd name="T11" fmla="*/ 0 h 19"/>
                  <a:gd name="T12" fmla="*/ 0 w 34"/>
                  <a:gd name="T13" fmla="*/ 0 h 1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4" h="19">
                    <a:moveTo>
                      <a:pt x="0" y="0"/>
                    </a:moveTo>
                    <a:lnTo>
                      <a:pt x="34" y="19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4" y="0"/>
                    </a:lnTo>
                    <a:lnTo>
                      <a:pt x="7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064" name="Freeform 289"/>
              <p:cNvSpPr>
                <a:spLocks/>
              </p:cNvSpPr>
              <p:nvPr/>
            </p:nvSpPr>
            <p:spPr bwMode="auto">
              <a:xfrm>
                <a:off x="5180" y="2471"/>
                <a:ext cx="6" cy="4"/>
              </a:xfrm>
              <a:custGeom>
                <a:avLst/>
                <a:gdLst>
                  <a:gd name="T0" fmla="*/ 0 w 19"/>
                  <a:gd name="T1" fmla="*/ 0 h 12"/>
                  <a:gd name="T2" fmla="*/ 6 w 19"/>
                  <a:gd name="T3" fmla="*/ 4 h 12"/>
                  <a:gd name="T4" fmla="*/ 4 w 19"/>
                  <a:gd name="T5" fmla="*/ 2 h 12"/>
                  <a:gd name="T6" fmla="*/ 2 w 19"/>
                  <a:gd name="T7" fmla="*/ 2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0" y="0"/>
                    </a:moveTo>
                    <a:lnTo>
                      <a:pt x="19" y="12"/>
                    </a:lnTo>
                    <a:lnTo>
                      <a:pt x="13" y="6"/>
                    </a:lnTo>
                    <a:lnTo>
                      <a:pt x="6" y="6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065" name="Freeform 290"/>
              <p:cNvSpPr>
                <a:spLocks/>
              </p:cNvSpPr>
              <p:nvPr/>
            </p:nvSpPr>
            <p:spPr bwMode="auto">
              <a:xfrm>
                <a:off x="5062" y="2447"/>
                <a:ext cx="42" cy="55"/>
              </a:xfrm>
              <a:custGeom>
                <a:avLst/>
                <a:gdLst>
                  <a:gd name="T0" fmla="*/ 38 w 126"/>
                  <a:gd name="T1" fmla="*/ 0 h 166"/>
                  <a:gd name="T2" fmla="*/ 39 w 126"/>
                  <a:gd name="T3" fmla="*/ 2 h 166"/>
                  <a:gd name="T4" fmla="*/ 40 w 126"/>
                  <a:gd name="T5" fmla="*/ 3 h 166"/>
                  <a:gd name="T6" fmla="*/ 41 w 126"/>
                  <a:gd name="T7" fmla="*/ 4 h 166"/>
                  <a:gd name="T8" fmla="*/ 42 w 126"/>
                  <a:gd name="T9" fmla="*/ 6 h 166"/>
                  <a:gd name="T10" fmla="*/ 42 w 126"/>
                  <a:gd name="T11" fmla="*/ 7 h 166"/>
                  <a:gd name="T12" fmla="*/ 42 w 126"/>
                  <a:gd name="T13" fmla="*/ 8 h 166"/>
                  <a:gd name="T14" fmla="*/ 41 w 126"/>
                  <a:gd name="T15" fmla="*/ 11 h 166"/>
                  <a:gd name="T16" fmla="*/ 39 w 126"/>
                  <a:gd name="T17" fmla="*/ 14 h 166"/>
                  <a:gd name="T18" fmla="*/ 38 w 126"/>
                  <a:gd name="T19" fmla="*/ 17 h 166"/>
                  <a:gd name="T20" fmla="*/ 35 w 126"/>
                  <a:gd name="T21" fmla="*/ 20 h 166"/>
                  <a:gd name="T22" fmla="*/ 30 w 126"/>
                  <a:gd name="T23" fmla="*/ 28 h 166"/>
                  <a:gd name="T24" fmla="*/ 24 w 126"/>
                  <a:gd name="T25" fmla="*/ 34 h 166"/>
                  <a:gd name="T26" fmla="*/ 18 w 126"/>
                  <a:gd name="T27" fmla="*/ 42 h 166"/>
                  <a:gd name="T28" fmla="*/ 11 w 126"/>
                  <a:gd name="T29" fmla="*/ 48 h 166"/>
                  <a:gd name="T30" fmla="*/ 8 w 126"/>
                  <a:gd name="T31" fmla="*/ 50 h 166"/>
                  <a:gd name="T32" fmla="*/ 5 w 126"/>
                  <a:gd name="T33" fmla="*/ 52 h 166"/>
                  <a:gd name="T34" fmla="*/ 2 w 126"/>
                  <a:gd name="T35" fmla="*/ 54 h 166"/>
                  <a:gd name="T36" fmla="*/ 0 w 126"/>
                  <a:gd name="T37" fmla="*/ 55 h 166"/>
                  <a:gd name="T38" fmla="*/ 0 w 126"/>
                  <a:gd name="T39" fmla="*/ 53 h 166"/>
                  <a:gd name="T40" fmla="*/ 0 w 126"/>
                  <a:gd name="T41" fmla="*/ 51 h 166"/>
                  <a:gd name="T42" fmla="*/ 0 w 126"/>
                  <a:gd name="T43" fmla="*/ 48 h 166"/>
                  <a:gd name="T44" fmla="*/ 0 w 126"/>
                  <a:gd name="T45" fmla="*/ 45 h 166"/>
                  <a:gd name="T46" fmla="*/ 1 w 126"/>
                  <a:gd name="T47" fmla="*/ 43 h 166"/>
                  <a:gd name="T48" fmla="*/ 2 w 126"/>
                  <a:gd name="T49" fmla="*/ 42 h 166"/>
                  <a:gd name="T50" fmla="*/ 4 w 126"/>
                  <a:gd name="T51" fmla="*/ 41 h 166"/>
                  <a:gd name="T52" fmla="*/ 5 w 126"/>
                  <a:gd name="T53" fmla="*/ 40 h 166"/>
                  <a:gd name="T54" fmla="*/ 9 w 126"/>
                  <a:gd name="T55" fmla="*/ 38 h 166"/>
                  <a:gd name="T56" fmla="*/ 11 w 126"/>
                  <a:gd name="T57" fmla="*/ 36 h 166"/>
                  <a:gd name="T58" fmla="*/ 13 w 126"/>
                  <a:gd name="T59" fmla="*/ 34 h 166"/>
                  <a:gd name="T60" fmla="*/ 16 w 126"/>
                  <a:gd name="T61" fmla="*/ 32 h 166"/>
                  <a:gd name="T62" fmla="*/ 18 w 126"/>
                  <a:gd name="T63" fmla="*/ 29 h 166"/>
                  <a:gd name="T64" fmla="*/ 19 w 126"/>
                  <a:gd name="T65" fmla="*/ 27 h 166"/>
                  <a:gd name="T66" fmla="*/ 22 w 126"/>
                  <a:gd name="T67" fmla="*/ 22 h 166"/>
                  <a:gd name="T68" fmla="*/ 24 w 126"/>
                  <a:gd name="T69" fmla="*/ 17 h 166"/>
                  <a:gd name="T70" fmla="*/ 26 w 126"/>
                  <a:gd name="T71" fmla="*/ 12 h 166"/>
                  <a:gd name="T72" fmla="*/ 29 w 126"/>
                  <a:gd name="T73" fmla="*/ 8 h 166"/>
                  <a:gd name="T74" fmla="*/ 31 w 126"/>
                  <a:gd name="T75" fmla="*/ 5 h 166"/>
                  <a:gd name="T76" fmla="*/ 32 w 126"/>
                  <a:gd name="T77" fmla="*/ 4 h 166"/>
                  <a:gd name="T78" fmla="*/ 35 w 126"/>
                  <a:gd name="T79" fmla="*/ 2 h 166"/>
                  <a:gd name="T80" fmla="*/ 38 w 126"/>
                  <a:gd name="T81" fmla="*/ 0 h 16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0" t="0" r="r" b="b"/>
                <a:pathLst>
                  <a:path w="126" h="166">
                    <a:moveTo>
                      <a:pt x="113" y="0"/>
                    </a:moveTo>
                    <a:lnTo>
                      <a:pt x="117" y="5"/>
                    </a:lnTo>
                    <a:lnTo>
                      <a:pt x="121" y="10"/>
                    </a:lnTo>
                    <a:lnTo>
                      <a:pt x="124" y="13"/>
                    </a:lnTo>
                    <a:lnTo>
                      <a:pt x="125" y="17"/>
                    </a:lnTo>
                    <a:lnTo>
                      <a:pt x="126" y="20"/>
                    </a:lnTo>
                    <a:lnTo>
                      <a:pt x="126" y="25"/>
                    </a:lnTo>
                    <a:lnTo>
                      <a:pt x="123" y="32"/>
                    </a:lnTo>
                    <a:lnTo>
                      <a:pt x="118" y="41"/>
                    </a:lnTo>
                    <a:lnTo>
                      <a:pt x="113" y="50"/>
                    </a:lnTo>
                    <a:lnTo>
                      <a:pt x="106" y="61"/>
                    </a:lnTo>
                    <a:lnTo>
                      <a:pt x="91" y="83"/>
                    </a:lnTo>
                    <a:lnTo>
                      <a:pt x="72" y="104"/>
                    </a:lnTo>
                    <a:lnTo>
                      <a:pt x="53" y="126"/>
                    </a:lnTo>
                    <a:lnTo>
                      <a:pt x="34" y="144"/>
                    </a:lnTo>
                    <a:lnTo>
                      <a:pt x="25" y="152"/>
                    </a:lnTo>
                    <a:lnTo>
                      <a:pt x="16" y="158"/>
                    </a:lnTo>
                    <a:lnTo>
                      <a:pt x="7" y="163"/>
                    </a:lnTo>
                    <a:lnTo>
                      <a:pt x="0" y="166"/>
                    </a:lnTo>
                    <a:lnTo>
                      <a:pt x="0" y="160"/>
                    </a:lnTo>
                    <a:lnTo>
                      <a:pt x="0" y="153"/>
                    </a:lnTo>
                    <a:lnTo>
                      <a:pt x="0" y="145"/>
                    </a:lnTo>
                    <a:lnTo>
                      <a:pt x="0" y="136"/>
                    </a:lnTo>
                    <a:lnTo>
                      <a:pt x="3" y="131"/>
                    </a:lnTo>
                    <a:lnTo>
                      <a:pt x="6" y="128"/>
                    </a:lnTo>
                    <a:lnTo>
                      <a:pt x="12" y="124"/>
                    </a:lnTo>
                    <a:lnTo>
                      <a:pt x="16" y="121"/>
                    </a:lnTo>
                    <a:lnTo>
                      <a:pt x="26" y="116"/>
                    </a:lnTo>
                    <a:lnTo>
                      <a:pt x="33" y="110"/>
                    </a:lnTo>
                    <a:lnTo>
                      <a:pt x="40" y="104"/>
                    </a:lnTo>
                    <a:lnTo>
                      <a:pt x="48" y="96"/>
                    </a:lnTo>
                    <a:lnTo>
                      <a:pt x="53" y="89"/>
                    </a:lnTo>
                    <a:lnTo>
                      <a:pt x="58" y="82"/>
                    </a:lnTo>
                    <a:lnTo>
                      <a:pt x="67" y="66"/>
                    </a:lnTo>
                    <a:lnTo>
                      <a:pt x="72" y="50"/>
                    </a:lnTo>
                    <a:lnTo>
                      <a:pt x="79" y="36"/>
                    </a:lnTo>
                    <a:lnTo>
                      <a:pt x="87" y="23"/>
                    </a:lnTo>
                    <a:lnTo>
                      <a:pt x="92" y="16"/>
                    </a:lnTo>
                    <a:lnTo>
                      <a:pt x="97" y="11"/>
                    </a:lnTo>
                    <a:lnTo>
                      <a:pt x="104" y="5"/>
                    </a:lnTo>
                    <a:lnTo>
                      <a:pt x="113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066" name="Freeform 291"/>
              <p:cNvSpPr>
                <a:spLocks/>
              </p:cNvSpPr>
              <p:nvPr/>
            </p:nvSpPr>
            <p:spPr bwMode="auto">
              <a:xfrm>
                <a:off x="5154" y="2465"/>
                <a:ext cx="85" cy="86"/>
              </a:xfrm>
              <a:custGeom>
                <a:avLst/>
                <a:gdLst>
                  <a:gd name="T0" fmla="*/ 3 w 259"/>
                  <a:gd name="T1" fmla="*/ 60 h 259"/>
                  <a:gd name="T2" fmla="*/ 0 w 259"/>
                  <a:gd name="T3" fmla="*/ 54 h 259"/>
                  <a:gd name="T4" fmla="*/ 0 w 259"/>
                  <a:gd name="T5" fmla="*/ 47 h 259"/>
                  <a:gd name="T6" fmla="*/ 2 w 259"/>
                  <a:gd name="T7" fmla="*/ 43 h 259"/>
                  <a:gd name="T8" fmla="*/ 6 w 259"/>
                  <a:gd name="T9" fmla="*/ 42 h 259"/>
                  <a:gd name="T10" fmla="*/ 11 w 259"/>
                  <a:gd name="T11" fmla="*/ 39 h 259"/>
                  <a:gd name="T12" fmla="*/ 16 w 259"/>
                  <a:gd name="T13" fmla="*/ 33 h 259"/>
                  <a:gd name="T14" fmla="*/ 20 w 259"/>
                  <a:gd name="T15" fmla="*/ 30 h 259"/>
                  <a:gd name="T16" fmla="*/ 22 w 259"/>
                  <a:gd name="T17" fmla="*/ 29 h 259"/>
                  <a:gd name="T18" fmla="*/ 27 w 259"/>
                  <a:gd name="T19" fmla="*/ 29 h 259"/>
                  <a:gd name="T20" fmla="*/ 31 w 259"/>
                  <a:gd name="T21" fmla="*/ 31 h 259"/>
                  <a:gd name="T22" fmla="*/ 33 w 259"/>
                  <a:gd name="T23" fmla="*/ 35 h 259"/>
                  <a:gd name="T24" fmla="*/ 35 w 259"/>
                  <a:gd name="T25" fmla="*/ 37 h 259"/>
                  <a:gd name="T26" fmla="*/ 39 w 259"/>
                  <a:gd name="T27" fmla="*/ 37 h 259"/>
                  <a:gd name="T28" fmla="*/ 44 w 259"/>
                  <a:gd name="T29" fmla="*/ 35 h 259"/>
                  <a:gd name="T30" fmla="*/ 49 w 259"/>
                  <a:gd name="T31" fmla="*/ 31 h 259"/>
                  <a:gd name="T32" fmla="*/ 53 w 259"/>
                  <a:gd name="T33" fmla="*/ 26 h 259"/>
                  <a:gd name="T34" fmla="*/ 57 w 259"/>
                  <a:gd name="T35" fmla="*/ 17 h 259"/>
                  <a:gd name="T36" fmla="*/ 62 w 259"/>
                  <a:gd name="T37" fmla="*/ 5 h 259"/>
                  <a:gd name="T38" fmla="*/ 64 w 259"/>
                  <a:gd name="T39" fmla="*/ 1 h 259"/>
                  <a:gd name="T40" fmla="*/ 66 w 259"/>
                  <a:gd name="T41" fmla="*/ 4 h 259"/>
                  <a:gd name="T42" fmla="*/ 70 w 259"/>
                  <a:gd name="T43" fmla="*/ 6 h 259"/>
                  <a:gd name="T44" fmla="*/ 72 w 259"/>
                  <a:gd name="T45" fmla="*/ 11 h 259"/>
                  <a:gd name="T46" fmla="*/ 72 w 259"/>
                  <a:gd name="T47" fmla="*/ 17 h 259"/>
                  <a:gd name="T48" fmla="*/ 74 w 259"/>
                  <a:gd name="T49" fmla="*/ 20 h 259"/>
                  <a:gd name="T50" fmla="*/ 77 w 259"/>
                  <a:gd name="T51" fmla="*/ 23 h 259"/>
                  <a:gd name="T52" fmla="*/ 77 w 259"/>
                  <a:gd name="T53" fmla="*/ 29 h 259"/>
                  <a:gd name="T54" fmla="*/ 77 w 259"/>
                  <a:gd name="T55" fmla="*/ 35 h 259"/>
                  <a:gd name="T56" fmla="*/ 78 w 259"/>
                  <a:gd name="T57" fmla="*/ 37 h 259"/>
                  <a:gd name="T58" fmla="*/ 80 w 259"/>
                  <a:gd name="T59" fmla="*/ 40 h 259"/>
                  <a:gd name="T60" fmla="*/ 82 w 259"/>
                  <a:gd name="T61" fmla="*/ 45 h 259"/>
                  <a:gd name="T62" fmla="*/ 83 w 259"/>
                  <a:gd name="T63" fmla="*/ 53 h 259"/>
                  <a:gd name="T64" fmla="*/ 80 w 259"/>
                  <a:gd name="T65" fmla="*/ 78 h 259"/>
                  <a:gd name="T66" fmla="*/ 78 w 259"/>
                  <a:gd name="T67" fmla="*/ 74 h 259"/>
                  <a:gd name="T68" fmla="*/ 78 w 259"/>
                  <a:gd name="T69" fmla="*/ 69 h 259"/>
                  <a:gd name="T70" fmla="*/ 78 w 259"/>
                  <a:gd name="T71" fmla="*/ 64 h 259"/>
                  <a:gd name="T72" fmla="*/ 73 w 259"/>
                  <a:gd name="T73" fmla="*/ 62 h 259"/>
                  <a:gd name="T74" fmla="*/ 68 w 259"/>
                  <a:gd name="T75" fmla="*/ 59 h 259"/>
                  <a:gd name="T76" fmla="*/ 64 w 259"/>
                  <a:gd name="T77" fmla="*/ 66 h 259"/>
                  <a:gd name="T78" fmla="*/ 62 w 259"/>
                  <a:gd name="T79" fmla="*/ 73 h 259"/>
                  <a:gd name="T80" fmla="*/ 61 w 259"/>
                  <a:gd name="T81" fmla="*/ 86 h 259"/>
                  <a:gd name="T82" fmla="*/ 41 w 259"/>
                  <a:gd name="T83" fmla="*/ 80 h 259"/>
                  <a:gd name="T84" fmla="*/ 36 w 259"/>
                  <a:gd name="T85" fmla="*/ 73 h 259"/>
                  <a:gd name="T86" fmla="*/ 32 w 259"/>
                  <a:gd name="T87" fmla="*/ 69 h 259"/>
                  <a:gd name="T88" fmla="*/ 32 w 259"/>
                  <a:gd name="T89" fmla="*/ 65 h 259"/>
                  <a:gd name="T90" fmla="*/ 34 w 259"/>
                  <a:gd name="T91" fmla="*/ 62 h 259"/>
                  <a:gd name="T92" fmla="*/ 37 w 259"/>
                  <a:gd name="T93" fmla="*/ 60 h 259"/>
                  <a:gd name="T94" fmla="*/ 38 w 259"/>
                  <a:gd name="T95" fmla="*/ 57 h 259"/>
                  <a:gd name="T96" fmla="*/ 31 w 259"/>
                  <a:gd name="T97" fmla="*/ 51 h 259"/>
                  <a:gd name="T98" fmla="*/ 9 w 259"/>
                  <a:gd name="T99" fmla="*/ 51 h 259"/>
                  <a:gd name="T100" fmla="*/ 7 w 259"/>
                  <a:gd name="T101" fmla="*/ 54 h 259"/>
                  <a:gd name="T102" fmla="*/ 5 w 259"/>
                  <a:gd name="T103" fmla="*/ 58 h 259"/>
                  <a:gd name="T104" fmla="*/ 4 w 259"/>
                  <a:gd name="T105" fmla="*/ 62 h 259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259" h="259">
                    <a:moveTo>
                      <a:pt x="13" y="192"/>
                    </a:moveTo>
                    <a:lnTo>
                      <a:pt x="8" y="182"/>
                    </a:lnTo>
                    <a:lnTo>
                      <a:pt x="4" y="173"/>
                    </a:lnTo>
                    <a:lnTo>
                      <a:pt x="1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6" y="130"/>
                    </a:lnTo>
                    <a:lnTo>
                      <a:pt x="13" y="128"/>
                    </a:lnTo>
                    <a:lnTo>
                      <a:pt x="19" y="126"/>
                    </a:lnTo>
                    <a:lnTo>
                      <a:pt x="24" y="123"/>
                    </a:lnTo>
                    <a:lnTo>
                      <a:pt x="34" y="117"/>
                    </a:lnTo>
                    <a:lnTo>
                      <a:pt x="41" y="108"/>
                    </a:lnTo>
                    <a:lnTo>
                      <a:pt x="48" y="100"/>
                    </a:lnTo>
                    <a:lnTo>
                      <a:pt x="56" y="93"/>
                    </a:lnTo>
                    <a:lnTo>
                      <a:pt x="60" y="91"/>
                    </a:lnTo>
                    <a:lnTo>
                      <a:pt x="63" y="89"/>
                    </a:lnTo>
                    <a:lnTo>
                      <a:pt x="68" y="87"/>
                    </a:lnTo>
                    <a:lnTo>
                      <a:pt x="73" y="87"/>
                    </a:lnTo>
                    <a:lnTo>
                      <a:pt x="83" y="87"/>
                    </a:lnTo>
                    <a:lnTo>
                      <a:pt x="93" y="87"/>
                    </a:lnTo>
                    <a:lnTo>
                      <a:pt x="94" y="93"/>
                    </a:lnTo>
                    <a:lnTo>
                      <a:pt x="97" y="101"/>
                    </a:lnTo>
                    <a:lnTo>
                      <a:pt x="101" y="105"/>
                    </a:lnTo>
                    <a:lnTo>
                      <a:pt x="104" y="108"/>
                    </a:lnTo>
                    <a:lnTo>
                      <a:pt x="108" y="110"/>
                    </a:lnTo>
                    <a:lnTo>
                      <a:pt x="113" y="111"/>
                    </a:lnTo>
                    <a:lnTo>
                      <a:pt x="120" y="110"/>
                    </a:lnTo>
                    <a:lnTo>
                      <a:pt x="127" y="108"/>
                    </a:lnTo>
                    <a:lnTo>
                      <a:pt x="135" y="104"/>
                    </a:lnTo>
                    <a:lnTo>
                      <a:pt x="141" y="99"/>
                    </a:lnTo>
                    <a:lnTo>
                      <a:pt x="148" y="93"/>
                    </a:lnTo>
                    <a:lnTo>
                      <a:pt x="153" y="86"/>
                    </a:lnTo>
                    <a:lnTo>
                      <a:pt x="160" y="78"/>
                    </a:lnTo>
                    <a:lnTo>
                      <a:pt x="165" y="70"/>
                    </a:lnTo>
                    <a:lnTo>
                      <a:pt x="174" y="51"/>
                    </a:lnTo>
                    <a:lnTo>
                      <a:pt x="183" y="33"/>
                    </a:lnTo>
                    <a:lnTo>
                      <a:pt x="188" y="16"/>
                    </a:lnTo>
                    <a:lnTo>
                      <a:pt x="193" y="0"/>
                    </a:lnTo>
                    <a:lnTo>
                      <a:pt x="195" y="4"/>
                    </a:lnTo>
                    <a:lnTo>
                      <a:pt x="198" y="9"/>
                    </a:lnTo>
                    <a:lnTo>
                      <a:pt x="202" y="12"/>
                    </a:lnTo>
                    <a:lnTo>
                      <a:pt x="206" y="15"/>
                    </a:lnTo>
                    <a:lnTo>
                      <a:pt x="213" y="18"/>
                    </a:lnTo>
                    <a:lnTo>
                      <a:pt x="219" y="19"/>
                    </a:lnTo>
                    <a:lnTo>
                      <a:pt x="219" y="32"/>
                    </a:lnTo>
                    <a:lnTo>
                      <a:pt x="219" y="44"/>
                    </a:lnTo>
                    <a:lnTo>
                      <a:pt x="219" y="52"/>
                    </a:lnTo>
                    <a:lnTo>
                      <a:pt x="219" y="55"/>
                    </a:lnTo>
                    <a:lnTo>
                      <a:pt x="227" y="61"/>
                    </a:lnTo>
                    <a:lnTo>
                      <a:pt x="231" y="66"/>
                    </a:lnTo>
                    <a:lnTo>
                      <a:pt x="234" y="70"/>
                    </a:lnTo>
                    <a:lnTo>
                      <a:pt x="239" y="75"/>
                    </a:lnTo>
                    <a:lnTo>
                      <a:pt x="234" y="88"/>
                    </a:lnTo>
                    <a:lnTo>
                      <a:pt x="233" y="100"/>
                    </a:lnTo>
                    <a:lnTo>
                      <a:pt x="234" y="104"/>
                    </a:lnTo>
                    <a:lnTo>
                      <a:pt x="234" y="108"/>
                    </a:lnTo>
                    <a:lnTo>
                      <a:pt x="237" y="110"/>
                    </a:lnTo>
                    <a:lnTo>
                      <a:pt x="239" y="111"/>
                    </a:lnTo>
                    <a:lnTo>
                      <a:pt x="243" y="121"/>
                    </a:lnTo>
                    <a:lnTo>
                      <a:pt x="247" y="129"/>
                    </a:lnTo>
                    <a:lnTo>
                      <a:pt x="249" y="137"/>
                    </a:lnTo>
                    <a:lnTo>
                      <a:pt x="251" y="145"/>
                    </a:lnTo>
                    <a:lnTo>
                      <a:pt x="254" y="161"/>
                    </a:lnTo>
                    <a:lnTo>
                      <a:pt x="259" y="179"/>
                    </a:lnTo>
                    <a:lnTo>
                      <a:pt x="245" y="235"/>
                    </a:lnTo>
                    <a:lnTo>
                      <a:pt x="241" y="230"/>
                    </a:lnTo>
                    <a:lnTo>
                      <a:pt x="239" y="222"/>
                    </a:lnTo>
                    <a:lnTo>
                      <a:pt x="238" y="215"/>
                    </a:lnTo>
                    <a:lnTo>
                      <a:pt x="237" y="208"/>
                    </a:lnTo>
                    <a:lnTo>
                      <a:pt x="238" y="196"/>
                    </a:lnTo>
                    <a:lnTo>
                      <a:pt x="239" y="192"/>
                    </a:lnTo>
                    <a:lnTo>
                      <a:pt x="231" y="191"/>
                    </a:lnTo>
                    <a:lnTo>
                      <a:pt x="222" y="188"/>
                    </a:lnTo>
                    <a:lnTo>
                      <a:pt x="213" y="184"/>
                    </a:lnTo>
                    <a:lnTo>
                      <a:pt x="206" y="179"/>
                    </a:lnTo>
                    <a:lnTo>
                      <a:pt x="199" y="189"/>
                    </a:lnTo>
                    <a:lnTo>
                      <a:pt x="194" y="199"/>
                    </a:lnTo>
                    <a:lnTo>
                      <a:pt x="191" y="209"/>
                    </a:lnTo>
                    <a:lnTo>
                      <a:pt x="188" y="219"/>
                    </a:lnTo>
                    <a:lnTo>
                      <a:pt x="186" y="240"/>
                    </a:lnTo>
                    <a:lnTo>
                      <a:pt x="185" y="259"/>
                    </a:lnTo>
                    <a:lnTo>
                      <a:pt x="132" y="259"/>
                    </a:lnTo>
                    <a:lnTo>
                      <a:pt x="124" y="242"/>
                    </a:lnTo>
                    <a:lnTo>
                      <a:pt x="115" y="226"/>
                    </a:lnTo>
                    <a:lnTo>
                      <a:pt x="110" y="220"/>
                    </a:lnTo>
                    <a:lnTo>
                      <a:pt x="105" y="214"/>
                    </a:lnTo>
                    <a:lnTo>
                      <a:pt x="99" y="209"/>
                    </a:lnTo>
                    <a:lnTo>
                      <a:pt x="93" y="204"/>
                    </a:lnTo>
                    <a:lnTo>
                      <a:pt x="97" y="196"/>
                    </a:lnTo>
                    <a:lnTo>
                      <a:pt x="102" y="190"/>
                    </a:lnTo>
                    <a:lnTo>
                      <a:pt x="105" y="186"/>
                    </a:lnTo>
                    <a:lnTo>
                      <a:pt x="108" y="183"/>
                    </a:lnTo>
                    <a:lnTo>
                      <a:pt x="112" y="180"/>
                    </a:lnTo>
                    <a:lnTo>
                      <a:pt x="114" y="177"/>
                    </a:lnTo>
                    <a:lnTo>
                      <a:pt x="117" y="173"/>
                    </a:lnTo>
                    <a:lnTo>
                      <a:pt x="119" y="166"/>
                    </a:lnTo>
                    <a:lnTo>
                      <a:pt x="93" y="154"/>
                    </a:lnTo>
                    <a:lnTo>
                      <a:pt x="32" y="154"/>
                    </a:lnTo>
                    <a:lnTo>
                      <a:pt x="28" y="155"/>
                    </a:lnTo>
                    <a:lnTo>
                      <a:pt x="24" y="158"/>
                    </a:lnTo>
                    <a:lnTo>
                      <a:pt x="20" y="163"/>
                    </a:lnTo>
                    <a:lnTo>
                      <a:pt x="18" y="168"/>
                    </a:lnTo>
                    <a:lnTo>
                      <a:pt x="16" y="175"/>
                    </a:lnTo>
                    <a:lnTo>
                      <a:pt x="14" y="181"/>
                    </a:lnTo>
                    <a:lnTo>
                      <a:pt x="13" y="187"/>
                    </a:lnTo>
                    <a:lnTo>
                      <a:pt x="13" y="192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067" name="Freeform 292"/>
              <p:cNvSpPr>
                <a:spLocks/>
              </p:cNvSpPr>
              <p:nvPr/>
            </p:nvSpPr>
            <p:spPr bwMode="auto">
              <a:xfrm>
                <a:off x="5104" y="2395"/>
                <a:ext cx="23" cy="31"/>
              </a:xfrm>
              <a:custGeom>
                <a:avLst/>
                <a:gdLst>
                  <a:gd name="T0" fmla="*/ 23 w 72"/>
                  <a:gd name="T1" fmla="*/ 14 h 92"/>
                  <a:gd name="T2" fmla="*/ 23 w 72"/>
                  <a:gd name="T3" fmla="*/ 31 h 92"/>
                  <a:gd name="T4" fmla="*/ 21 w 72"/>
                  <a:gd name="T5" fmla="*/ 29 h 92"/>
                  <a:gd name="T6" fmla="*/ 19 w 72"/>
                  <a:gd name="T7" fmla="*/ 27 h 92"/>
                  <a:gd name="T8" fmla="*/ 16 w 72"/>
                  <a:gd name="T9" fmla="*/ 25 h 92"/>
                  <a:gd name="T10" fmla="*/ 15 w 72"/>
                  <a:gd name="T11" fmla="*/ 23 h 92"/>
                  <a:gd name="T12" fmla="*/ 12 w 72"/>
                  <a:gd name="T13" fmla="*/ 20 h 92"/>
                  <a:gd name="T14" fmla="*/ 10 w 72"/>
                  <a:gd name="T15" fmla="*/ 16 h 92"/>
                  <a:gd name="T16" fmla="*/ 8 w 72"/>
                  <a:gd name="T17" fmla="*/ 11 h 92"/>
                  <a:gd name="T18" fmla="*/ 6 w 72"/>
                  <a:gd name="T19" fmla="*/ 8 h 92"/>
                  <a:gd name="T20" fmla="*/ 4 w 72"/>
                  <a:gd name="T21" fmla="*/ 4 h 92"/>
                  <a:gd name="T22" fmla="*/ 0 w 72"/>
                  <a:gd name="T23" fmla="*/ 0 h 92"/>
                  <a:gd name="T24" fmla="*/ 8 w 72"/>
                  <a:gd name="T25" fmla="*/ 4 h 92"/>
                  <a:gd name="T26" fmla="*/ 14 w 72"/>
                  <a:gd name="T27" fmla="*/ 7 h 92"/>
                  <a:gd name="T28" fmla="*/ 16 w 72"/>
                  <a:gd name="T29" fmla="*/ 9 h 92"/>
                  <a:gd name="T30" fmla="*/ 19 w 72"/>
                  <a:gd name="T31" fmla="*/ 10 h 92"/>
                  <a:gd name="T32" fmla="*/ 21 w 72"/>
                  <a:gd name="T33" fmla="*/ 12 h 92"/>
                  <a:gd name="T34" fmla="*/ 23 w 72"/>
                  <a:gd name="T35" fmla="*/ 14 h 9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72" h="92">
                    <a:moveTo>
                      <a:pt x="72" y="43"/>
                    </a:moveTo>
                    <a:lnTo>
                      <a:pt x="72" y="92"/>
                    </a:lnTo>
                    <a:lnTo>
                      <a:pt x="65" y="86"/>
                    </a:lnTo>
                    <a:lnTo>
                      <a:pt x="58" y="81"/>
                    </a:lnTo>
                    <a:lnTo>
                      <a:pt x="51" y="75"/>
                    </a:lnTo>
                    <a:lnTo>
                      <a:pt x="46" y="69"/>
                    </a:lnTo>
                    <a:lnTo>
                      <a:pt x="38" y="58"/>
                    </a:lnTo>
                    <a:lnTo>
                      <a:pt x="32" y="46"/>
                    </a:lnTo>
                    <a:lnTo>
                      <a:pt x="25" y="34"/>
                    </a:lnTo>
                    <a:lnTo>
                      <a:pt x="19" y="23"/>
                    </a:lnTo>
                    <a:lnTo>
                      <a:pt x="11" y="12"/>
                    </a:lnTo>
                    <a:lnTo>
                      <a:pt x="0" y="0"/>
                    </a:lnTo>
                    <a:lnTo>
                      <a:pt x="25" y="12"/>
                    </a:lnTo>
                    <a:lnTo>
                      <a:pt x="44" y="21"/>
                    </a:lnTo>
                    <a:lnTo>
                      <a:pt x="51" y="26"/>
                    </a:lnTo>
                    <a:lnTo>
                      <a:pt x="58" y="31"/>
                    </a:lnTo>
                    <a:lnTo>
                      <a:pt x="66" y="36"/>
                    </a:lnTo>
                    <a:lnTo>
                      <a:pt x="72" y="43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068" name="Freeform 293"/>
              <p:cNvSpPr>
                <a:spLocks/>
              </p:cNvSpPr>
              <p:nvPr/>
            </p:nvSpPr>
            <p:spPr bwMode="auto">
              <a:xfrm>
                <a:off x="5143" y="2436"/>
                <a:ext cx="16" cy="21"/>
              </a:xfrm>
              <a:custGeom>
                <a:avLst/>
                <a:gdLst>
                  <a:gd name="T0" fmla="*/ 2 w 46"/>
                  <a:gd name="T1" fmla="*/ 2 h 62"/>
                  <a:gd name="T2" fmla="*/ 7 w 46"/>
                  <a:gd name="T3" fmla="*/ 2 h 62"/>
                  <a:gd name="T4" fmla="*/ 11 w 46"/>
                  <a:gd name="T5" fmla="*/ 1 h 62"/>
                  <a:gd name="T6" fmla="*/ 14 w 46"/>
                  <a:gd name="T7" fmla="*/ 0 h 62"/>
                  <a:gd name="T8" fmla="*/ 16 w 46"/>
                  <a:gd name="T9" fmla="*/ 0 h 62"/>
                  <a:gd name="T10" fmla="*/ 16 w 46"/>
                  <a:gd name="T11" fmla="*/ 3 h 62"/>
                  <a:gd name="T12" fmla="*/ 16 w 46"/>
                  <a:gd name="T13" fmla="*/ 6 h 62"/>
                  <a:gd name="T14" fmla="*/ 16 w 46"/>
                  <a:gd name="T15" fmla="*/ 9 h 62"/>
                  <a:gd name="T16" fmla="*/ 16 w 46"/>
                  <a:gd name="T17" fmla="*/ 13 h 62"/>
                  <a:gd name="T18" fmla="*/ 16 w 46"/>
                  <a:gd name="T19" fmla="*/ 16 h 62"/>
                  <a:gd name="T20" fmla="*/ 14 w 46"/>
                  <a:gd name="T21" fmla="*/ 18 h 62"/>
                  <a:gd name="T22" fmla="*/ 14 w 46"/>
                  <a:gd name="T23" fmla="*/ 19 h 62"/>
                  <a:gd name="T24" fmla="*/ 13 w 46"/>
                  <a:gd name="T25" fmla="*/ 20 h 62"/>
                  <a:gd name="T26" fmla="*/ 12 w 46"/>
                  <a:gd name="T27" fmla="*/ 21 h 62"/>
                  <a:gd name="T28" fmla="*/ 11 w 46"/>
                  <a:gd name="T29" fmla="*/ 21 h 62"/>
                  <a:gd name="T30" fmla="*/ 9 w 46"/>
                  <a:gd name="T31" fmla="*/ 21 h 62"/>
                  <a:gd name="T32" fmla="*/ 8 w 46"/>
                  <a:gd name="T33" fmla="*/ 20 h 62"/>
                  <a:gd name="T34" fmla="*/ 6 w 46"/>
                  <a:gd name="T35" fmla="*/ 20 h 62"/>
                  <a:gd name="T36" fmla="*/ 5 w 46"/>
                  <a:gd name="T37" fmla="*/ 19 h 62"/>
                  <a:gd name="T38" fmla="*/ 4 w 46"/>
                  <a:gd name="T39" fmla="*/ 18 h 62"/>
                  <a:gd name="T40" fmla="*/ 2 w 46"/>
                  <a:gd name="T41" fmla="*/ 17 h 62"/>
                  <a:gd name="T42" fmla="*/ 2 w 46"/>
                  <a:gd name="T43" fmla="*/ 16 h 62"/>
                  <a:gd name="T44" fmla="*/ 1 w 46"/>
                  <a:gd name="T45" fmla="*/ 15 h 62"/>
                  <a:gd name="T46" fmla="*/ 0 w 46"/>
                  <a:gd name="T47" fmla="*/ 12 h 62"/>
                  <a:gd name="T48" fmla="*/ 0 w 46"/>
                  <a:gd name="T49" fmla="*/ 8 h 62"/>
                  <a:gd name="T50" fmla="*/ 0 w 46"/>
                  <a:gd name="T51" fmla="*/ 5 h 62"/>
                  <a:gd name="T52" fmla="*/ 0 w 46"/>
                  <a:gd name="T53" fmla="*/ 2 h 62"/>
                  <a:gd name="T54" fmla="*/ 2 w 46"/>
                  <a:gd name="T55" fmla="*/ 2 h 62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46" h="62">
                    <a:moveTo>
                      <a:pt x="6" y="6"/>
                    </a:moveTo>
                    <a:lnTo>
                      <a:pt x="19" y="5"/>
                    </a:lnTo>
                    <a:lnTo>
                      <a:pt x="31" y="3"/>
                    </a:lnTo>
                    <a:lnTo>
                      <a:pt x="39" y="1"/>
                    </a:lnTo>
                    <a:lnTo>
                      <a:pt x="46" y="0"/>
                    </a:lnTo>
                    <a:lnTo>
                      <a:pt x="46" y="9"/>
                    </a:lnTo>
                    <a:lnTo>
                      <a:pt x="46" y="18"/>
                    </a:lnTo>
                    <a:lnTo>
                      <a:pt x="46" y="27"/>
                    </a:lnTo>
                    <a:lnTo>
                      <a:pt x="46" y="38"/>
                    </a:lnTo>
                    <a:lnTo>
                      <a:pt x="45" y="46"/>
                    </a:lnTo>
                    <a:lnTo>
                      <a:pt x="41" y="54"/>
                    </a:lnTo>
                    <a:lnTo>
                      <a:pt x="39" y="57"/>
                    </a:lnTo>
                    <a:lnTo>
                      <a:pt x="37" y="60"/>
                    </a:lnTo>
                    <a:lnTo>
                      <a:pt x="35" y="61"/>
                    </a:lnTo>
                    <a:lnTo>
                      <a:pt x="33" y="62"/>
                    </a:lnTo>
                    <a:lnTo>
                      <a:pt x="27" y="61"/>
                    </a:lnTo>
                    <a:lnTo>
                      <a:pt x="22" y="60"/>
                    </a:lnTo>
                    <a:lnTo>
                      <a:pt x="17" y="59"/>
                    </a:lnTo>
                    <a:lnTo>
                      <a:pt x="14" y="57"/>
                    </a:lnTo>
                    <a:lnTo>
                      <a:pt x="11" y="54"/>
                    </a:lnTo>
                    <a:lnTo>
                      <a:pt x="7" y="51"/>
                    </a:lnTo>
                    <a:lnTo>
                      <a:pt x="5" y="47"/>
                    </a:lnTo>
                    <a:lnTo>
                      <a:pt x="4" y="44"/>
                    </a:lnTo>
                    <a:lnTo>
                      <a:pt x="1" y="34"/>
                    </a:lnTo>
                    <a:lnTo>
                      <a:pt x="0" y="25"/>
                    </a:lnTo>
                    <a:lnTo>
                      <a:pt x="0" y="16"/>
                    </a:lnTo>
                    <a:lnTo>
                      <a:pt x="0" y="6"/>
                    </a:lnTo>
                    <a:lnTo>
                      <a:pt x="6" y="6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069" name="Freeform 294"/>
              <p:cNvSpPr>
                <a:spLocks/>
              </p:cNvSpPr>
              <p:nvPr/>
            </p:nvSpPr>
            <p:spPr bwMode="auto">
              <a:xfrm>
                <a:off x="5089" y="2295"/>
                <a:ext cx="50" cy="98"/>
              </a:xfrm>
              <a:custGeom>
                <a:avLst/>
                <a:gdLst>
                  <a:gd name="T0" fmla="*/ 19 w 152"/>
                  <a:gd name="T1" fmla="*/ 0 h 296"/>
                  <a:gd name="T2" fmla="*/ 22 w 152"/>
                  <a:gd name="T3" fmla="*/ 3 h 296"/>
                  <a:gd name="T4" fmla="*/ 25 w 152"/>
                  <a:gd name="T5" fmla="*/ 6 h 296"/>
                  <a:gd name="T6" fmla="*/ 29 w 152"/>
                  <a:gd name="T7" fmla="*/ 8 h 296"/>
                  <a:gd name="T8" fmla="*/ 33 w 152"/>
                  <a:gd name="T9" fmla="*/ 8 h 296"/>
                  <a:gd name="T10" fmla="*/ 36 w 152"/>
                  <a:gd name="T11" fmla="*/ 7 h 296"/>
                  <a:gd name="T12" fmla="*/ 39 w 152"/>
                  <a:gd name="T13" fmla="*/ 4 h 296"/>
                  <a:gd name="T14" fmla="*/ 40 w 152"/>
                  <a:gd name="T15" fmla="*/ 12 h 296"/>
                  <a:gd name="T16" fmla="*/ 43 w 152"/>
                  <a:gd name="T17" fmla="*/ 21 h 296"/>
                  <a:gd name="T18" fmla="*/ 46 w 152"/>
                  <a:gd name="T19" fmla="*/ 28 h 296"/>
                  <a:gd name="T20" fmla="*/ 48 w 152"/>
                  <a:gd name="T21" fmla="*/ 31 h 296"/>
                  <a:gd name="T22" fmla="*/ 50 w 152"/>
                  <a:gd name="T23" fmla="*/ 33 h 296"/>
                  <a:gd name="T24" fmla="*/ 47 w 152"/>
                  <a:gd name="T25" fmla="*/ 40 h 296"/>
                  <a:gd name="T26" fmla="*/ 42 w 152"/>
                  <a:gd name="T27" fmla="*/ 46 h 296"/>
                  <a:gd name="T28" fmla="*/ 38 w 152"/>
                  <a:gd name="T29" fmla="*/ 52 h 296"/>
                  <a:gd name="T30" fmla="*/ 37 w 152"/>
                  <a:gd name="T31" fmla="*/ 57 h 296"/>
                  <a:gd name="T32" fmla="*/ 38 w 152"/>
                  <a:gd name="T33" fmla="*/ 65 h 296"/>
                  <a:gd name="T34" fmla="*/ 38 w 152"/>
                  <a:gd name="T35" fmla="*/ 68 h 296"/>
                  <a:gd name="T36" fmla="*/ 37 w 152"/>
                  <a:gd name="T37" fmla="*/ 72 h 296"/>
                  <a:gd name="T38" fmla="*/ 41 w 152"/>
                  <a:gd name="T39" fmla="*/ 72 h 296"/>
                  <a:gd name="T40" fmla="*/ 48 w 152"/>
                  <a:gd name="T41" fmla="*/ 72 h 296"/>
                  <a:gd name="T42" fmla="*/ 45 w 152"/>
                  <a:gd name="T43" fmla="*/ 83 h 296"/>
                  <a:gd name="T44" fmla="*/ 45 w 152"/>
                  <a:gd name="T45" fmla="*/ 88 h 296"/>
                  <a:gd name="T46" fmla="*/ 48 w 152"/>
                  <a:gd name="T47" fmla="*/ 94 h 296"/>
                  <a:gd name="T48" fmla="*/ 41 w 152"/>
                  <a:gd name="T49" fmla="*/ 96 h 296"/>
                  <a:gd name="T50" fmla="*/ 35 w 152"/>
                  <a:gd name="T51" fmla="*/ 98 h 296"/>
                  <a:gd name="T52" fmla="*/ 28 w 152"/>
                  <a:gd name="T53" fmla="*/ 97 h 296"/>
                  <a:gd name="T54" fmla="*/ 24 w 152"/>
                  <a:gd name="T55" fmla="*/ 95 h 296"/>
                  <a:gd name="T56" fmla="*/ 22 w 152"/>
                  <a:gd name="T57" fmla="*/ 93 h 296"/>
                  <a:gd name="T58" fmla="*/ 22 w 152"/>
                  <a:gd name="T59" fmla="*/ 90 h 296"/>
                  <a:gd name="T60" fmla="*/ 28 w 152"/>
                  <a:gd name="T61" fmla="*/ 84 h 296"/>
                  <a:gd name="T62" fmla="*/ 23 w 152"/>
                  <a:gd name="T63" fmla="*/ 82 h 296"/>
                  <a:gd name="T64" fmla="*/ 17 w 152"/>
                  <a:gd name="T65" fmla="*/ 80 h 296"/>
                  <a:gd name="T66" fmla="*/ 13 w 152"/>
                  <a:gd name="T67" fmla="*/ 76 h 296"/>
                  <a:gd name="T68" fmla="*/ 8 w 152"/>
                  <a:gd name="T69" fmla="*/ 73 h 296"/>
                  <a:gd name="T70" fmla="*/ 5 w 152"/>
                  <a:gd name="T71" fmla="*/ 68 h 296"/>
                  <a:gd name="T72" fmla="*/ 2 w 152"/>
                  <a:gd name="T73" fmla="*/ 63 h 296"/>
                  <a:gd name="T74" fmla="*/ 0 w 152"/>
                  <a:gd name="T75" fmla="*/ 57 h 296"/>
                  <a:gd name="T76" fmla="*/ 0 w 152"/>
                  <a:gd name="T77" fmla="*/ 51 h 296"/>
                  <a:gd name="T78" fmla="*/ 0 w 152"/>
                  <a:gd name="T79" fmla="*/ 43 h 296"/>
                  <a:gd name="T80" fmla="*/ 9 w 152"/>
                  <a:gd name="T81" fmla="*/ 35 h 296"/>
                  <a:gd name="T82" fmla="*/ 11 w 152"/>
                  <a:gd name="T83" fmla="*/ 15 h 296"/>
                  <a:gd name="T84" fmla="*/ 10 w 152"/>
                  <a:gd name="T85" fmla="*/ 6 h 296"/>
                  <a:gd name="T86" fmla="*/ 9 w 152"/>
                  <a:gd name="T87" fmla="*/ 1 h 29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152" h="296">
                    <a:moveTo>
                      <a:pt x="26" y="0"/>
                    </a:moveTo>
                    <a:lnTo>
                      <a:pt x="59" y="0"/>
                    </a:lnTo>
                    <a:lnTo>
                      <a:pt x="62" y="4"/>
                    </a:lnTo>
                    <a:lnTo>
                      <a:pt x="66" y="9"/>
                    </a:lnTo>
                    <a:lnTo>
                      <a:pt x="71" y="13"/>
                    </a:lnTo>
                    <a:lnTo>
                      <a:pt x="77" y="17"/>
                    </a:lnTo>
                    <a:lnTo>
                      <a:pt x="82" y="21"/>
                    </a:lnTo>
                    <a:lnTo>
                      <a:pt x="88" y="23"/>
                    </a:lnTo>
                    <a:lnTo>
                      <a:pt x="93" y="24"/>
                    </a:lnTo>
                    <a:lnTo>
                      <a:pt x="99" y="25"/>
                    </a:lnTo>
                    <a:lnTo>
                      <a:pt x="104" y="24"/>
                    </a:lnTo>
                    <a:lnTo>
                      <a:pt x="108" y="21"/>
                    </a:lnTo>
                    <a:lnTo>
                      <a:pt x="114" y="17"/>
                    </a:lnTo>
                    <a:lnTo>
                      <a:pt x="118" y="12"/>
                    </a:lnTo>
                    <a:lnTo>
                      <a:pt x="119" y="23"/>
                    </a:lnTo>
                    <a:lnTo>
                      <a:pt x="122" y="35"/>
                    </a:lnTo>
                    <a:lnTo>
                      <a:pt x="126" y="49"/>
                    </a:lnTo>
                    <a:lnTo>
                      <a:pt x="130" y="62"/>
                    </a:lnTo>
                    <a:lnTo>
                      <a:pt x="136" y="76"/>
                    </a:lnTo>
                    <a:lnTo>
                      <a:pt x="141" y="86"/>
                    </a:lnTo>
                    <a:lnTo>
                      <a:pt x="144" y="91"/>
                    </a:lnTo>
                    <a:lnTo>
                      <a:pt x="147" y="94"/>
                    </a:lnTo>
                    <a:lnTo>
                      <a:pt x="149" y="97"/>
                    </a:lnTo>
                    <a:lnTo>
                      <a:pt x="152" y="99"/>
                    </a:lnTo>
                    <a:lnTo>
                      <a:pt x="148" y="110"/>
                    </a:lnTo>
                    <a:lnTo>
                      <a:pt x="143" y="120"/>
                    </a:lnTo>
                    <a:lnTo>
                      <a:pt x="137" y="131"/>
                    </a:lnTo>
                    <a:lnTo>
                      <a:pt x="129" y="140"/>
                    </a:lnTo>
                    <a:lnTo>
                      <a:pt x="123" y="149"/>
                    </a:lnTo>
                    <a:lnTo>
                      <a:pt x="117" y="157"/>
                    </a:lnTo>
                    <a:lnTo>
                      <a:pt x="114" y="165"/>
                    </a:lnTo>
                    <a:lnTo>
                      <a:pt x="112" y="172"/>
                    </a:lnTo>
                    <a:lnTo>
                      <a:pt x="113" y="187"/>
                    </a:lnTo>
                    <a:lnTo>
                      <a:pt x="115" y="197"/>
                    </a:lnTo>
                    <a:lnTo>
                      <a:pt x="115" y="201"/>
                    </a:lnTo>
                    <a:lnTo>
                      <a:pt x="115" y="205"/>
                    </a:lnTo>
                    <a:lnTo>
                      <a:pt x="114" y="210"/>
                    </a:lnTo>
                    <a:lnTo>
                      <a:pt x="112" y="216"/>
                    </a:lnTo>
                    <a:lnTo>
                      <a:pt x="118" y="216"/>
                    </a:lnTo>
                    <a:lnTo>
                      <a:pt x="126" y="216"/>
                    </a:lnTo>
                    <a:lnTo>
                      <a:pt x="136" y="216"/>
                    </a:lnTo>
                    <a:lnTo>
                      <a:pt x="146" y="216"/>
                    </a:lnTo>
                    <a:lnTo>
                      <a:pt x="139" y="235"/>
                    </a:lnTo>
                    <a:lnTo>
                      <a:pt x="136" y="252"/>
                    </a:lnTo>
                    <a:lnTo>
                      <a:pt x="135" y="259"/>
                    </a:lnTo>
                    <a:lnTo>
                      <a:pt x="136" y="267"/>
                    </a:lnTo>
                    <a:lnTo>
                      <a:pt x="139" y="275"/>
                    </a:lnTo>
                    <a:lnTo>
                      <a:pt x="146" y="283"/>
                    </a:lnTo>
                    <a:lnTo>
                      <a:pt x="136" y="288"/>
                    </a:lnTo>
                    <a:lnTo>
                      <a:pt x="125" y="291"/>
                    </a:lnTo>
                    <a:lnTo>
                      <a:pt x="115" y="295"/>
                    </a:lnTo>
                    <a:lnTo>
                      <a:pt x="105" y="296"/>
                    </a:lnTo>
                    <a:lnTo>
                      <a:pt x="94" y="296"/>
                    </a:lnTo>
                    <a:lnTo>
                      <a:pt x="85" y="294"/>
                    </a:lnTo>
                    <a:lnTo>
                      <a:pt x="79" y="291"/>
                    </a:lnTo>
                    <a:lnTo>
                      <a:pt x="73" y="288"/>
                    </a:lnTo>
                    <a:lnTo>
                      <a:pt x="70" y="284"/>
                    </a:lnTo>
                    <a:lnTo>
                      <a:pt x="67" y="280"/>
                    </a:lnTo>
                    <a:lnTo>
                      <a:pt x="66" y="276"/>
                    </a:lnTo>
                    <a:lnTo>
                      <a:pt x="66" y="271"/>
                    </a:lnTo>
                    <a:lnTo>
                      <a:pt x="76" y="262"/>
                    </a:lnTo>
                    <a:lnTo>
                      <a:pt x="85" y="253"/>
                    </a:lnTo>
                    <a:lnTo>
                      <a:pt x="77" y="251"/>
                    </a:lnTo>
                    <a:lnTo>
                      <a:pt x="69" y="249"/>
                    </a:lnTo>
                    <a:lnTo>
                      <a:pt x="60" y="246"/>
                    </a:lnTo>
                    <a:lnTo>
                      <a:pt x="52" y="242"/>
                    </a:lnTo>
                    <a:lnTo>
                      <a:pt x="45" y="236"/>
                    </a:lnTo>
                    <a:lnTo>
                      <a:pt x="38" y="231"/>
                    </a:lnTo>
                    <a:lnTo>
                      <a:pt x="32" y="226"/>
                    </a:lnTo>
                    <a:lnTo>
                      <a:pt x="25" y="219"/>
                    </a:lnTo>
                    <a:lnTo>
                      <a:pt x="20" y="213"/>
                    </a:lnTo>
                    <a:lnTo>
                      <a:pt x="14" y="205"/>
                    </a:lnTo>
                    <a:lnTo>
                      <a:pt x="10" y="198"/>
                    </a:lnTo>
                    <a:lnTo>
                      <a:pt x="6" y="190"/>
                    </a:lnTo>
                    <a:lnTo>
                      <a:pt x="3" y="180"/>
                    </a:lnTo>
                    <a:lnTo>
                      <a:pt x="1" y="172"/>
                    </a:lnTo>
                    <a:lnTo>
                      <a:pt x="0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26" y="130"/>
                    </a:lnTo>
                    <a:lnTo>
                      <a:pt x="27" y="106"/>
                    </a:lnTo>
                    <a:lnTo>
                      <a:pt x="31" y="67"/>
                    </a:lnTo>
                    <a:lnTo>
                      <a:pt x="32" y="46"/>
                    </a:lnTo>
                    <a:lnTo>
                      <a:pt x="32" y="27"/>
                    </a:lnTo>
                    <a:lnTo>
                      <a:pt x="31" y="18"/>
                    </a:lnTo>
                    <a:lnTo>
                      <a:pt x="29" y="10"/>
                    </a:lnTo>
                    <a:lnTo>
                      <a:pt x="28" y="4"/>
                    </a:lnTo>
                    <a:lnTo>
                      <a:pt x="26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070" name="Freeform 295"/>
              <p:cNvSpPr>
                <a:spLocks/>
              </p:cNvSpPr>
              <p:nvPr/>
            </p:nvSpPr>
            <p:spPr bwMode="auto">
              <a:xfrm>
                <a:off x="5189" y="2442"/>
                <a:ext cx="8" cy="13"/>
              </a:xfrm>
              <a:custGeom>
                <a:avLst/>
                <a:gdLst>
                  <a:gd name="T0" fmla="*/ 8 w 26"/>
                  <a:gd name="T1" fmla="*/ 13 h 38"/>
                  <a:gd name="T2" fmla="*/ 8 w 26"/>
                  <a:gd name="T3" fmla="*/ 0 h 38"/>
                  <a:gd name="T4" fmla="*/ 6 w 26"/>
                  <a:gd name="T5" fmla="*/ 0 h 38"/>
                  <a:gd name="T6" fmla="*/ 4 w 26"/>
                  <a:gd name="T7" fmla="*/ 1 h 38"/>
                  <a:gd name="T8" fmla="*/ 2 w 26"/>
                  <a:gd name="T9" fmla="*/ 3 h 38"/>
                  <a:gd name="T10" fmla="*/ 0 w 26"/>
                  <a:gd name="T11" fmla="*/ 4 h 38"/>
                  <a:gd name="T12" fmla="*/ 6 w 26"/>
                  <a:gd name="T13" fmla="*/ 10 h 38"/>
                  <a:gd name="T14" fmla="*/ 8 w 26"/>
                  <a:gd name="T15" fmla="*/ 13 h 3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6" h="38">
                    <a:moveTo>
                      <a:pt x="26" y="38"/>
                    </a:moveTo>
                    <a:lnTo>
                      <a:pt x="26" y="0"/>
                    </a:lnTo>
                    <a:lnTo>
                      <a:pt x="21" y="1"/>
                    </a:lnTo>
                    <a:lnTo>
                      <a:pt x="13" y="4"/>
                    </a:lnTo>
                    <a:lnTo>
                      <a:pt x="6" y="8"/>
                    </a:lnTo>
                    <a:lnTo>
                      <a:pt x="0" y="13"/>
                    </a:lnTo>
                    <a:lnTo>
                      <a:pt x="18" y="30"/>
                    </a:lnTo>
                    <a:lnTo>
                      <a:pt x="26" y="38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071" name="Freeform 296"/>
              <p:cNvSpPr>
                <a:spLocks/>
              </p:cNvSpPr>
              <p:nvPr/>
            </p:nvSpPr>
            <p:spPr bwMode="auto">
              <a:xfrm>
                <a:off x="5165" y="2420"/>
                <a:ext cx="10" cy="10"/>
              </a:xfrm>
              <a:custGeom>
                <a:avLst/>
                <a:gdLst>
                  <a:gd name="T0" fmla="*/ 0 w 34"/>
                  <a:gd name="T1" fmla="*/ 6 h 31"/>
                  <a:gd name="T2" fmla="*/ 2 w 34"/>
                  <a:gd name="T3" fmla="*/ 7 h 31"/>
                  <a:gd name="T4" fmla="*/ 5 w 34"/>
                  <a:gd name="T5" fmla="*/ 8 h 31"/>
                  <a:gd name="T6" fmla="*/ 8 w 34"/>
                  <a:gd name="T7" fmla="*/ 10 h 31"/>
                  <a:gd name="T8" fmla="*/ 10 w 34"/>
                  <a:gd name="T9" fmla="*/ 10 h 31"/>
                  <a:gd name="T10" fmla="*/ 10 w 34"/>
                  <a:gd name="T11" fmla="*/ 8 h 31"/>
                  <a:gd name="T12" fmla="*/ 9 w 34"/>
                  <a:gd name="T13" fmla="*/ 5 h 31"/>
                  <a:gd name="T14" fmla="*/ 8 w 34"/>
                  <a:gd name="T15" fmla="*/ 2 h 31"/>
                  <a:gd name="T16" fmla="*/ 6 w 34"/>
                  <a:gd name="T17" fmla="*/ 0 h 31"/>
                  <a:gd name="T18" fmla="*/ 5 w 34"/>
                  <a:gd name="T19" fmla="*/ 2 h 31"/>
                  <a:gd name="T20" fmla="*/ 3 w 34"/>
                  <a:gd name="T21" fmla="*/ 4 h 31"/>
                  <a:gd name="T22" fmla="*/ 2 w 34"/>
                  <a:gd name="T23" fmla="*/ 5 h 31"/>
                  <a:gd name="T24" fmla="*/ 2 w 34"/>
                  <a:gd name="T25" fmla="*/ 5 h 31"/>
                  <a:gd name="T26" fmla="*/ 1 w 34"/>
                  <a:gd name="T27" fmla="*/ 6 h 31"/>
                  <a:gd name="T28" fmla="*/ 0 w 34"/>
                  <a:gd name="T29" fmla="*/ 6 h 31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34" h="31">
                    <a:moveTo>
                      <a:pt x="0" y="18"/>
                    </a:moveTo>
                    <a:lnTo>
                      <a:pt x="8" y="22"/>
                    </a:lnTo>
                    <a:lnTo>
                      <a:pt x="17" y="26"/>
                    </a:lnTo>
                    <a:lnTo>
                      <a:pt x="27" y="30"/>
                    </a:lnTo>
                    <a:lnTo>
                      <a:pt x="34" y="31"/>
                    </a:lnTo>
                    <a:lnTo>
                      <a:pt x="33" y="24"/>
                    </a:lnTo>
                    <a:lnTo>
                      <a:pt x="30" y="15"/>
                    </a:lnTo>
                    <a:lnTo>
                      <a:pt x="26" y="6"/>
                    </a:lnTo>
                    <a:lnTo>
                      <a:pt x="20" y="0"/>
                    </a:lnTo>
                    <a:lnTo>
                      <a:pt x="16" y="5"/>
                    </a:lnTo>
                    <a:lnTo>
                      <a:pt x="10" y="11"/>
                    </a:lnTo>
                    <a:lnTo>
                      <a:pt x="8" y="14"/>
                    </a:lnTo>
                    <a:lnTo>
                      <a:pt x="6" y="16"/>
                    </a:lnTo>
                    <a:lnTo>
                      <a:pt x="4" y="18"/>
                    </a:lnTo>
                    <a:lnTo>
                      <a:pt x="0" y="18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072" name="Freeform 297"/>
              <p:cNvSpPr>
                <a:spLocks/>
              </p:cNvSpPr>
              <p:nvPr/>
            </p:nvSpPr>
            <p:spPr bwMode="auto">
              <a:xfrm>
                <a:off x="5139" y="2418"/>
                <a:ext cx="6" cy="12"/>
              </a:xfrm>
              <a:custGeom>
                <a:avLst/>
                <a:gdLst>
                  <a:gd name="T0" fmla="*/ 0 w 20"/>
                  <a:gd name="T1" fmla="*/ 2 h 37"/>
                  <a:gd name="T2" fmla="*/ 0 w 20"/>
                  <a:gd name="T3" fmla="*/ 12 h 37"/>
                  <a:gd name="T4" fmla="*/ 2 w 20"/>
                  <a:gd name="T5" fmla="*/ 11 h 37"/>
                  <a:gd name="T6" fmla="*/ 6 w 20"/>
                  <a:gd name="T7" fmla="*/ 10 h 37"/>
                  <a:gd name="T8" fmla="*/ 6 w 20"/>
                  <a:gd name="T9" fmla="*/ 0 h 37"/>
                  <a:gd name="T10" fmla="*/ 0 w 20"/>
                  <a:gd name="T11" fmla="*/ 2 h 3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0" h="37">
                    <a:moveTo>
                      <a:pt x="0" y="6"/>
                    </a:moveTo>
                    <a:lnTo>
                      <a:pt x="0" y="37"/>
                    </a:lnTo>
                    <a:lnTo>
                      <a:pt x="7" y="33"/>
                    </a:lnTo>
                    <a:lnTo>
                      <a:pt x="20" y="30"/>
                    </a:lnTo>
                    <a:lnTo>
                      <a:pt x="20" y="0"/>
                    </a:lnTo>
                    <a:lnTo>
                      <a:pt x="0" y="6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073" name="Line 298"/>
              <p:cNvSpPr>
                <a:spLocks noChangeShapeType="1"/>
              </p:cNvSpPr>
              <p:nvPr/>
            </p:nvSpPr>
            <p:spPr bwMode="auto">
              <a:xfrm>
                <a:off x="5180" y="2449"/>
                <a:ext cx="1" cy="10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074" name="Freeform 299"/>
              <p:cNvSpPr>
                <a:spLocks/>
              </p:cNvSpPr>
              <p:nvPr/>
            </p:nvSpPr>
            <p:spPr bwMode="auto">
              <a:xfrm>
                <a:off x="5180" y="2453"/>
                <a:ext cx="4" cy="6"/>
              </a:xfrm>
              <a:custGeom>
                <a:avLst/>
                <a:gdLst>
                  <a:gd name="T0" fmla="*/ 0 w 13"/>
                  <a:gd name="T1" fmla="*/ 6 h 18"/>
                  <a:gd name="T2" fmla="*/ 0 w 13"/>
                  <a:gd name="T3" fmla="*/ 4 h 18"/>
                  <a:gd name="T4" fmla="*/ 1 w 13"/>
                  <a:gd name="T5" fmla="*/ 3 h 18"/>
                  <a:gd name="T6" fmla="*/ 2 w 13"/>
                  <a:gd name="T7" fmla="*/ 1 h 18"/>
                  <a:gd name="T8" fmla="*/ 4 w 13"/>
                  <a:gd name="T9" fmla="*/ 0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" y="13"/>
                    </a:lnTo>
                    <a:lnTo>
                      <a:pt x="3" y="9"/>
                    </a:lnTo>
                    <a:lnTo>
                      <a:pt x="7" y="4"/>
                    </a:lnTo>
                    <a:lnTo>
                      <a:pt x="13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075" name="Line 300"/>
              <p:cNvSpPr>
                <a:spLocks noChangeShapeType="1"/>
              </p:cNvSpPr>
              <p:nvPr/>
            </p:nvSpPr>
            <p:spPr bwMode="auto">
              <a:xfrm flipH="1" flipV="1">
                <a:off x="5178" y="2447"/>
                <a:ext cx="6" cy="6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076" name="Freeform 301"/>
              <p:cNvSpPr>
                <a:spLocks/>
              </p:cNvSpPr>
              <p:nvPr/>
            </p:nvSpPr>
            <p:spPr bwMode="auto">
              <a:xfrm>
                <a:off x="5116" y="2564"/>
                <a:ext cx="9" cy="10"/>
              </a:xfrm>
              <a:custGeom>
                <a:avLst/>
                <a:gdLst>
                  <a:gd name="T0" fmla="*/ 0 w 27"/>
                  <a:gd name="T1" fmla="*/ 0 h 31"/>
                  <a:gd name="T2" fmla="*/ 7 w 27"/>
                  <a:gd name="T3" fmla="*/ 10 h 31"/>
                  <a:gd name="T4" fmla="*/ 9 w 27"/>
                  <a:gd name="T5" fmla="*/ 4 h 31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7" h="31">
                    <a:moveTo>
                      <a:pt x="0" y="0"/>
                    </a:moveTo>
                    <a:lnTo>
                      <a:pt x="20" y="31"/>
                    </a:lnTo>
                    <a:lnTo>
                      <a:pt x="27" y="13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077" name="Freeform 302"/>
              <p:cNvSpPr>
                <a:spLocks/>
              </p:cNvSpPr>
              <p:nvPr/>
            </p:nvSpPr>
            <p:spPr bwMode="auto">
              <a:xfrm>
                <a:off x="5119" y="2568"/>
                <a:ext cx="6" cy="1"/>
              </a:xfrm>
              <a:custGeom>
                <a:avLst/>
                <a:gdLst>
                  <a:gd name="T0" fmla="*/ 6 w 20"/>
                  <a:gd name="T1" fmla="*/ 0 h 1"/>
                  <a:gd name="T2" fmla="*/ 3 w 20"/>
                  <a:gd name="T3" fmla="*/ 0 h 1"/>
                  <a:gd name="T4" fmla="*/ 0 w 20"/>
                  <a:gd name="T5" fmla="*/ 0 h 1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0" h="1">
                    <a:moveTo>
                      <a:pt x="20" y="0"/>
                    </a:move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078" name="Freeform 303"/>
              <p:cNvSpPr>
                <a:spLocks/>
              </p:cNvSpPr>
              <p:nvPr/>
            </p:nvSpPr>
            <p:spPr bwMode="auto">
              <a:xfrm>
                <a:off x="5127" y="2557"/>
                <a:ext cx="12" cy="5"/>
              </a:xfrm>
              <a:custGeom>
                <a:avLst/>
                <a:gdLst>
                  <a:gd name="T0" fmla="*/ 0 w 34"/>
                  <a:gd name="T1" fmla="*/ 5 h 13"/>
                  <a:gd name="T2" fmla="*/ 2 w 34"/>
                  <a:gd name="T3" fmla="*/ 5 h 13"/>
                  <a:gd name="T4" fmla="*/ 4 w 34"/>
                  <a:gd name="T5" fmla="*/ 4 h 13"/>
                  <a:gd name="T6" fmla="*/ 6 w 34"/>
                  <a:gd name="T7" fmla="*/ 4 h 13"/>
                  <a:gd name="T8" fmla="*/ 7 w 34"/>
                  <a:gd name="T9" fmla="*/ 3 h 13"/>
                  <a:gd name="T10" fmla="*/ 10 w 34"/>
                  <a:gd name="T11" fmla="*/ 1 h 13"/>
                  <a:gd name="T12" fmla="*/ 12 w 34"/>
                  <a:gd name="T13" fmla="*/ 0 h 13"/>
                  <a:gd name="T14" fmla="*/ 9 w 34"/>
                  <a:gd name="T15" fmla="*/ 0 h 13"/>
                  <a:gd name="T16" fmla="*/ 5 w 34"/>
                  <a:gd name="T17" fmla="*/ 0 h 1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4" h="13">
                    <a:moveTo>
                      <a:pt x="0" y="13"/>
                    </a:moveTo>
                    <a:lnTo>
                      <a:pt x="6" y="13"/>
                    </a:lnTo>
                    <a:lnTo>
                      <a:pt x="10" y="11"/>
                    </a:lnTo>
                    <a:lnTo>
                      <a:pt x="16" y="10"/>
                    </a:lnTo>
                    <a:lnTo>
                      <a:pt x="20" y="7"/>
                    </a:lnTo>
                    <a:lnTo>
                      <a:pt x="28" y="2"/>
                    </a:lnTo>
                    <a:lnTo>
                      <a:pt x="34" y="0"/>
                    </a:lnTo>
                    <a:lnTo>
                      <a:pt x="25" y="0"/>
                    </a:lnTo>
                    <a:lnTo>
                      <a:pt x="15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079" name="Freeform 304"/>
              <p:cNvSpPr>
                <a:spLocks/>
              </p:cNvSpPr>
              <p:nvPr/>
            </p:nvSpPr>
            <p:spPr bwMode="auto">
              <a:xfrm>
                <a:off x="5127" y="2547"/>
                <a:ext cx="12" cy="6"/>
              </a:xfrm>
              <a:custGeom>
                <a:avLst/>
                <a:gdLst>
                  <a:gd name="T0" fmla="*/ 12 w 34"/>
                  <a:gd name="T1" fmla="*/ 6 h 18"/>
                  <a:gd name="T2" fmla="*/ 12 w 34"/>
                  <a:gd name="T3" fmla="*/ 0 h 18"/>
                  <a:gd name="T4" fmla="*/ 10 w 34"/>
                  <a:gd name="T5" fmla="*/ 0 h 18"/>
                  <a:gd name="T6" fmla="*/ 7 w 34"/>
                  <a:gd name="T7" fmla="*/ 0 h 18"/>
                  <a:gd name="T8" fmla="*/ 4 w 34"/>
                  <a:gd name="T9" fmla="*/ 0 h 18"/>
                  <a:gd name="T10" fmla="*/ 0 w 34"/>
                  <a:gd name="T11" fmla="*/ 0 h 18"/>
                  <a:gd name="T12" fmla="*/ 12 w 34"/>
                  <a:gd name="T13" fmla="*/ 6 h 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4" h="18">
                    <a:moveTo>
                      <a:pt x="34" y="18"/>
                    </a:moveTo>
                    <a:lnTo>
                      <a:pt x="34" y="0"/>
                    </a:lnTo>
                    <a:lnTo>
                      <a:pt x="28" y="0"/>
                    </a:lnTo>
                    <a:lnTo>
                      <a:pt x="20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34" y="18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080" name="Freeform 305"/>
              <p:cNvSpPr>
                <a:spLocks/>
              </p:cNvSpPr>
              <p:nvPr/>
            </p:nvSpPr>
            <p:spPr bwMode="auto">
              <a:xfrm>
                <a:off x="5141" y="2535"/>
                <a:ext cx="20" cy="8"/>
              </a:xfrm>
              <a:custGeom>
                <a:avLst/>
                <a:gdLst>
                  <a:gd name="T0" fmla="*/ 18 w 59"/>
                  <a:gd name="T1" fmla="*/ 8 h 25"/>
                  <a:gd name="T2" fmla="*/ 19 w 59"/>
                  <a:gd name="T3" fmla="*/ 4 h 25"/>
                  <a:gd name="T4" fmla="*/ 20 w 59"/>
                  <a:gd name="T5" fmla="*/ 0 h 25"/>
                  <a:gd name="T6" fmla="*/ 15 w 59"/>
                  <a:gd name="T7" fmla="*/ 0 h 25"/>
                  <a:gd name="T8" fmla="*/ 9 w 59"/>
                  <a:gd name="T9" fmla="*/ 0 h 25"/>
                  <a:gd name="T10" fmla="*/ 6 w 59"/>
                  <a:gd name="T11" fmla="*/ 0 h 25"/>
                  <a:gd name="T12" fmla="*/ 4 w 59"/>
                  <a:gd name="T13" fmla="*/ 1 h 25"/>
                  <a:gd name="T14" fmla="*/ 2 w 59"/>
                  <a:gd name="T15" fmla="*/ 1 h 25"/>
                  <a:gd name="T16" fmla="*/ 0 w 59"/>
                  <a:gd name="T17" fmla="*/ 2 h 25"/>
                  <a:gd name="T18" fmla="*/ 4 w 59"/>
                  <a:gd name="T19" fmla="*/ 4 h 25"/>
                  <a:gd name="T20" fmla="*/ 9 w 59"/>
                  <a:gd name="T21" fmla="*/ 6 h 25"/>
                  <a:gd name="T22" fmla="*/ 11 w 59"/>
                  <a:gd name="T23" fmla="*/ 7 h 25"/>
                  <a:gd name="T24" fmla="*/ 13 w 59"/>
                  <a:gd name="T25" fmla="*/ 8 h 25"/>
                  <a:gd name="T26" fmla="*/ 16 w 59"/>
                  <a:gd name="T27" fmla="*/ 8 h 25"/>
                  <a:gd name="T28" fmla="*/ 18 w 59"/>
                  <a:gd name="T29" fmla="*/ 8 h 2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59" h="25">
                    <a:moveTo>
                      <a:pt x="53" y="25"/>
                    </a:moveTo>
                    <a:lnTo>
                      <a:pt x="56" y="12"/>
                    </a:lnTo>
                    <a:lnTo>
                      <a:pt x="59" y="0"/>
                    </a:lnTo>
                    <a:lnTo>
                      <a:pt x="44" y="0"/>
                    </a:lnTo>
                    <a:lnTo>
                      <a:pt x="27" y="0"/>
                    </a:lnTo>
                    <a:lnTo>
                      <a:pt x="19" y="1"/>
                    </a:lnTo>
                    <a:lnTo>
                      <a:pt x="12" y="2"/>
                    </a:lnTo>
                    <a:lnTo>
                      <a:pt x="5" y="4"/>
                    </a:lnTo>
                    <a:lnTo>
                      <a:pt x="0" y="6"/>
                    </a:lnTo>
                    <a:lnTo>
                      <a:pt x="13" y="14"/>
                    </a:lnTo>
                    <a:lnTo>
                      <a:pt x="26" y="20"/>
                    </a:lnTo>
                    <a:lnTo>
                      <a:pt x="33" y="22"/>
                    </a:lnTo>
                    <a:lnTo>
                      <a:pt x="38" y="24"/>
                    </a:lnTo>
                    <a:lnTo>
                      <a:pt x="46" y="25"/>
                    </a:lnTo>
                    <a:lnTo>
                      <a:pt x="53" y="25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081" name="Line 306"/>
              <p:cNvSpPr>
                <a:spLocks noChangeShapeType="1"/>
              </p:cNvSpPr>
              <p:nvPr/>
            </p:nvSpPr>
            <p:spPr bwMode="auto">
              <a:xfrm flipV="1">
                <a:off x="5191" y="2516"/>
                <a:ext cx="6" cy="2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813" name="Freeform 307"/>
            <p:cNvSpPr>
              <a:spLocks/>
            </p:cNvSpPr>
            <p:nvPr>
              <p:custDataLst>
                <p:tags r:id="rId205"/>
              </p:custDataLst>
            </p:nvPr>
          </p:nvSpPr>
          <p:spPr bwMode="auto">
            <a:xfrm>
              <a:off x="9496056" y="4364758"/>
              <a:ext cx="17034" cy="66724"/>
            </a:xfrm>
            <a:custGeom>
              <a:avLst/>
              <a:gdLst>
                <a:gd name="T0" fmla="*/ 0 w 33"/>
                <a:gd name="T1" fmla="*/ 55563 h 43"/>
                <a:gd name="T2" fmla="*/ 433 w 33"/>
                <a:gd name="T3" fmla="*/ 43934 h 43"/>
                <a:gd name="T4" fmla="*/ 866 w 33"/>
                <a:gd name="T5" fmla="*/ 34888 h 43"/>
                <a:gd name="T6" fmla="*/ 2165 w 33"/>
                <a:gd name="T7" fmla="*/ 27135 h 43"/>
                <a:gd name="T8" fmla="*/ 3897 w 33"/>
                <a:gd name="T9" fmla="*/ 19382 h 43"/>
                <a:gd name="T10" fmla="*/ 6062 w 33"/>
                <a:gd name="T11" fmla="*/ 11629 h 43"/>
                <a:gd name="T12" fmla="*/ 8659 w 33"/>
                <a:gd name="T13" fmla="*/ 6461 h 43"/>
                <a:gd name="T14" fmla="*/ 11257 w 33"/>
                <a:gd name="T15" fmla="*/ 2584 h 43"/>
                <a:gd name="T16" fmla="*/ 14288 w 33"/>
                <a:gd name="T17" fmla="*/ 0 h 43"/>
                <a:gd name="T18" fmla="*/ 14288 w 33"/>
                <a:gd name="T19" fmla="*/ 32304 h 43"/>
                <a:gd name="T20" fmla="*/ 9958 w 33"/>
                <a:gd name="T21" fmla="*/ 34888 h 43"/>
                <a:gd name="T22" fmla="*/ 7793 w 33"/>
                <a:gd name="T23" fmla="*/ 37473 h 43"/>
                <a:gd name="T24" fmla="*/ 6928 w 33"/>
                <a:gd name="T25" fmla="*/ 41349 h 43"/>
                <a:gd name="T26" fmla="*/ 6928 w 33"/>
                <a:gd name="T27" fmla="*/ 43934 h 43"/>
                <a:gd name="T28" fmla="*/ 6928 w 33"/>
                <a:gd name="T29" fmla="*/ 46518 h 43"/>
                <a:gd name="T30" fmla="*/ 6062 w 33"/>
                <a:gd name="T31" fmla="*/ 49102 h 43"/>
                <a:gd name="T32" fmla="*/ 4330 w 33"/>
                <a:gd name="T33" fmla="*/ 52979 h 43"/>
                <a:gd name="T34" fmla="*/ 0 w 33"/>
                <a:gd name="T35" fmla="*/ 55563 h 4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33" h="43">
                  <a:moveTo>
                    <a:pt x="0" y="43"/>
                  </a:moveTo>
                  <a:lnTo>
                    <a:pt x="1" y="34"/>
                  </a:lnTo>
                  <a:lnTo>
                    <a:pt x="2" y="27"/>
                  </a:lnTo>
                  <a:lnTo>
                    <a:pt x="5" y="21"/>
                  </a:lnTo>
                  <a:lnTo>
                    <a:pt x="9" y="15"/>
                  </a:lnTo>
                  <a:lnTo>
                    <a:pt x="14" y="9"/>
                  </a:lnTo>
                  <a:lnTo>
                    <a:pt x="20" y="5"/>
                  </a:lnTo>
                  <a:lnTo>
                    <a:pt x="26" y="2"/>
                  </a:lnTo>
                  <a:lnTo>
                    <a:pt x="33" y="0"/>
                  </a:lnTo>
                  <a:lnTo>
                    <a:pt x="33" y="25"/>
                  </a:lnTo>
                  <a:lnTo>
                    <a:pt x="23" y="27"/>
                  </a:lnTo>
                  <a:lnTo>
                    <a:pt x="18" y="29"/>
                  </a:lnTo>
                  <a:lnTo>
                    <a:pt x="16" y="32"/>
                  </a:lnTo>
                  <a:lnTo>
                    <a:pt x="16" y="34"/>
                  </a:lnTo>
                  <a:lnTo>
                    <a:pt x="16" y="36"/>
                  </a:lnTo>
                  <a:lnTo>
                    <a:pt x="14" y="38"/>
                  </a:lnTo>
                  <a:lnTo>
                    <a:pt x="10" y="41"/>
                  </a:lnTo>
                  <a:lnTo>
                    <a:pt x="0" y="4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814" name="Freeform 308"/>
            <p:cNvSpPr>
              <a:spLocks/>
            </p:cNvSpPr>
            <p:nvPr>
              <p:custDataLst>
                <p:tags r:id="rId206"/>
              </p:custDataLst>
            </p:nvPr>
          </p:nvSpPr>
          <p:spPr bwMode="auto">
            <a:xfrm>
              <a:off x="9586902" y="4292314"/>
              <a:ext cx="26496" cy="70537"/>
            </a:xfrm>
            <a:custGeom>
              <a:avLst/>
              <a:gdLst>
                <a:gd name="T0" fmla="*/ 0 w 54"/>
                <a:gd name="T1" fmla="*/ 35115 h 92"/>
                <a:gd name="T2" fmla="*/ 412 w 54"/>
                <a:gd name="T3" fmla="*/ 32561 h 92"/>
                <a:gd name="T4" fmla="*/ 823 w 54"/>
                <a:gd name="T5" fmla="*/ 29369 h 92"/>
                <a:gd name="T6" fmla="*/ 1235 w 54"/>
                <a:gd name="T7" fmla="*/ 26815 h 92"/>
                <a:gd name="T8" fmla="*/ 2469 w 54"/>
                <a:gd name="T9" fmla="*/ 23623 h 92"/>
                <a:gd name="T10" fmla="*/ 4527 w 54"/>
                <a:gd name="T11" fmla="*/ 18515 h 92"/>
                <a:gd name="T12" fmla="*/ 7408 w 54"/>
                <a:gd name="T13" fmla="*/ 13408 h 92"/>
                <a:gd name="T14" fmla="*/ 12759 w 54"/>
                <a:gd name="T15" fmla="*/ 4469 h 92"/>
                <a:gd name="T16" fmla="*/ 16875 w 54"/>
                <a:gd name="T17" fmla="*/ 0 h 92"/>
                <a:gd name="T18" fmla="*/ 22225 w 54"/>
                <a:gd name="T19" fmla="*/ 7661 h 92"/>
                <a:gd name="T20" fmla="*/ 20990 w 54"/>
                <a:gd name="T21" fmla="*/ 13408 h 92"/>
                <a:gd name="T22" fmla="*/ 19344 w 54"/>
                <a:gd name="T23" fmla="*/ 18515 h 92"/>
                <a:gd name="T24" fmla="*/ 18109 w 54"/>
                <a:gd name="T25" fmla="*/ 22346 h 92"/>
                <a:gd name="T26" fmla="*/ 16875 w 54"/>
                <a:gd name="T27" fmla="*/ 26177 h 92"/>
                <a:gd name="T28" fmla="*/ 13582 w 54"/>
                <a:gd name="T29" fmla="*/ 31284 h 92"/>
                <a:gd name="T30" fmla="*/ 11524 w 54"/>
                <a:gd name="T31" fmla="*/ 35115 h 92"/>
                <a:gd name="T32" fmla="*/ 10701 w 54"/>
                <a:gd name="T33" fmla="*/ 40861 h 92"/>
                <a:gd name="T34" fmla="*/ 10701 w 54"/>
                <a:gd name="T35" fmla="*/ 47246 h 92"/>
                <a:gd name="T36" fmla="*/ 9878 w 54"/>
                <a:gd name="T37" fmla="*/ 52992 h 92"/>
                <a:gd name="T38" fmla="*/ 8231 w 54"/>
                <a:gd name="T39" fmla="*/ 58738 h 92"/>
                <a:gd name="T40" fmla="*/ 5762 w 54"/>
                <a:gd name="T41" fmla="*/ 52992 h 92"/>
                <a:gd name="T42" fmla="*/ 3293 w 54"/>
                <a:gd name="T43" fmla="*/ 47246 h 92"/>
                <a:gd name="T44" fmla="*/ 2058 w 54"/>
                <a:gd name="T45" fmla="*/ 44692 h 92"/>
                <a:gd name="T46" fmla="*/ 823 w 54"/>
                <a:gd name="T47" fmla="*/ 40861 h 92"/>
                <a:gd name="T48" fmla="*/ 412 w 54"/>
                <a:gd name="T49" fmla="*/ 38307 h 92"/>
                <a:gd name="T50" fmla="*/ 0 w 54"/>
                <a:gd name="T51" fmla="*/ 35115 h 9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54" h="92">
                  <a:moveTo>
                    <a:pt x="0" y="55"/>
                  </a:moveTo>
                  <a:lnTo>
                    <a:pt x="1" y="51"/>
                  </a:lnTo>
                  <a:lnTo>
                    <a:pt x="2" y="46"/>
                  </a:lnTo>
                  <a:lnTo>
                    <a:pt x="3" y="42"/>
                  </a:lnTo>
                  <a:lnTo>
                    <a:pt x="6" y="37"/>
                  </a:lnTo>
                  <a:lnTo>
                    <a:pt x="11" y="29"/>
                  </a:lnTo>
                  <a:lnTo>
                    <a:pt x="18" y="21"/>
                  </a:lnTo>
                  <a:lnTo>
                    <a:pt x="31" y="7"/>
                  </a:lnTo>
                  <a:lnTo>
                    <a:pt x="41" y="0"/>
                  </a:lnTo>
                  <a:lnTo>
                    <a:pt x="54" y="12"/>
                  </a:lnTo>
                  <a:lnTo>
                    <a:pt x="51" y="21"/>
                  </a:lnTo>
                  <a:lnTo>
                    <a:pt x="47" y="29"/>
                  </a:lnTo>
                  <a:lnTo>
                    <a:pt x="44" y="35"/>
                  </a:lnTo>
                  <a:lnTo>
                    <a:pt x="41" y="41"/>
                  </a:lnTo>
                  <a:lnTo>
                    <a:pt x="33" y="49"/>
                  </a:lnTo>
                  <a:lnTo>
                    <a:pt x="28" y="55"/>
                  </a:lnTo>
                  <a:lnTo>
                    <a:pt x="26" y="64"/>
                  </a:lnTo>
                  <a:lnTo>
                    <a:pt x="26" y="74"/>
                  </a:lnTo>
                  <a:lnTo>
                    <a:pt x="24" y="83"/>
                  </a:lnTo>
                  <a:lnTo>
                    <a:pt x="20" y="92"/>
                  </a:lnTo>
                  <a:lnTo>
                    <a:pt x="14" y="83"/>
                  </a:lnTo>
                  <a:lnTo>
                    <a:pt x="8" y="74"/>
                  </a:lnTo>
                  <a:lnTo>
                    <a:pt x="5" y="70"/>
                  </a:lnTo>
                  <a:lnTo>
                    <a:pt x="2" y="64"/>
                  </a:lnTo>
                  <a:lnTo>
                    <a:pt x="1" y="60"/>
                  </a:lnTo>
                  <a:lnTo>
                    <a:pt x="0" y="5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815" name="Freeform 309"/>
            <p:cNvSpPr>
              <a:spLocks/>
            </p:cNvSpPr>
            <p:nvPr>
              <p:custDataLst>
                <p:tags r:id="rId207"/>
              </p:custDataLst>
            </p:nvPr>
          </p:nvSpPr>
          <p:spPr bwMode="auto">
            <a:xfrm>
              <a:off x="9643680" y="4147430"/>
              <a:ext cx="28390" cy="68630"/>
            </a:xfrm>
            <a:custGeom>
              <a:avLst/>
              <a:gdLst>
                <a:gd name="T0" fmla="*/ 0 w 60"/>
                <a:gd name="T1" fmla="*/ 0 h 18"/>
                <a:gd name="T2" fmla="*/ 7541 w 60"/>
                <a:gd name="T3" fmla="*/ 12700 h 18"/>
                <a:gd name="T4" fmla="*/ 14685 w 60"/>
                <a:gd name="T5" fmla="*/ 28575 h 18"/>
                <a:gd name="T6" fmla="*/ 17860 w 60"/>
                <a:gd name="T7" fmla="*/ 34925 h 18"/>
                <a:gd name="T8" fmla="*/ 20241 w 60"/>
                <a:gd name="T9" fmla="*/ 41275 h 18"/>
                <a:gd name="T10" fmla="*/ 22225 w 60"/>
                <a:gd name="T11" fmla="*/ 50800 h 18"/>
                <a:gd name="T12" fmla="*/ 23813 w 60"/>
                <a:gd name="T13" fmla="*/ 57150 h 18"/>
                <a:gd name="T14" fmla="*/ 15082 w 60"/>
                <a:gd name="T15" fmla="*/ 57150 h 18"/>
                <a:gd name="T16" fmla="*/ 9128 w 60"/>
                <a:gd name="T17" fmla="*/ 57150 h 18"/>
                <a:gd name="T18" fmla="*/ 3969 w 60"/>
                <a:gd name="T19" fmla="*/ 57150 h 18"/>
                <a:gd name="T20" fmla="*/ 0 w 60"/>
                <a:gd name="T21" fmla="*/ 57150 h 18"/>
                <a:gd name="T22" fmla="*/ 0 w 60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60" h="18">
                  <a:moveTo>
                    <a:pt x="0" y="0"/>
                  </a:moveTo>
                  <a:lnTo>
                    <a:pt x="19" y="4"/>
                  </a:lnTo>
                  <a:lnTo>
                    <a:pt x="37" y="9"/>
                  </a:lnTo>
                  <a:lnTo>
                    <a:pt x="45" y="11"/>
                  </a:lnTo>
                  <a:lnTo>
                    <a:pt x="51" y="13"/>
                  </a:lnTo>
                  <a:lnTo>
                    <a:pt x="56" y="16"/>
                  </a:lnTo>
                  <a:lnTo>
                    <a:pt x="60" y="18"/>
                  </a:lnTo>
                  <a:lnTo>
                    <a:pt x="38" y="18"/>
                  </a:lnTo>
                  <a:lnTo>
                    <a:pt x="23" y="18"/>
                  </a:lnTo>
                  <a:lnTo>
                    <a:pt x="10" y="18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816" name="Freeform 310"/>
            <p:cNvSpPr>
              <a:spLocks/>
            </p:cNvSpPr>
            <p:nvPr>
              <p:custDataLst>
                <p:tags r:id="rId208"/>
              </p:custDataLst>
            </p:nvPr>
          </p:nvSpPr>
          <p:spPr bwMode="auto">
            <a:xfrm>
              <a:off x="9624753" y="4111209"/>
              <a:ext cx="30282" cy="68630"/>
            </a:xfrm>
            <a:custGeom>
              <a:avLst/>
              <a:gdLst>
                <a:gd name="T0" fmla="*/ 0 w 66"/>
                <a:gd name="T1" fmla="*/ 57150 h 18"/>
                <a:gd name="T2" fmla="*/ 25400 w 66"/>
                <a:gd name="T3" fmla="*/ 57150 h 18"/>
                <a:gd name="T4" fmla="*/ 20012 w 66"/>
                <a:gd name="T5" fmla="*/ 41275 h 18"/>
                <a:gd name="T6" fmla="*/ 15394 w 66"/>
                <a:gd name="T7" fmla="*/ 22225 h 18"/>
                <a:gd name="T8" fmla="*/ 13470 w 66"/>
                <a:gd name="T9" fmla="*/ 12700 h 18"/>
                <a:gd name="T10" fmla="*/ 11161 w 66"/>
                <a:gd name="T11" fmla="*/ 6350 h 18"/>
                <a:gd name="T12" fmla="*/ 9621 w 66"/>
                <a:gd name="T13" fmla="*/ 3175 h 18"/>
                <a:gd name="T14" fmla="*/ 7312 w 66"/>
                <a:gd name="T15" fmla="*/ 0 h 18"/>
                <a:gd name="T16" fmla="*/ 0 w 66"/>
                <a:gd name="T17" fmla="*/ 57150 h 1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66" h="18">
                  <a:moveTo>
                    <a:pt x="0" y="18"/>
                  </a:moveTo>
                  <a:lnTo>
                    <a:pt x="66" y="18"/>
                  </a:lnTo>
                  <a:lnTo>
                    <a:pt x="52" y="13"/>
                  </a:lnTo>
                  <a:lnTo>
                    <a:pt x="40" y="7"/>
                  </a:lnTo>
                  <a:lnTo>
                    <a:pt x="35" y="4"/>
                  </a:lnTo>
                  <a:lnTo>
                    <a:pt x="29" y="2"/>
                  </a:lnTo>
                  <a:lnTo>
                    <a:pt x="25" y="1"/>
                  </a:lnTo>
                  <a:lnTo>
                    <a:pt x="19" y="0"/>
                  </a:lnTo>
                  <a:lnTo>
                    <a:pt x="0" y="1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817" name="Freeform 311"/>
            <p:cNvSpPr>
              <a:spLocks/>
            </p:cNvSpPr>
            <p:nvPr>
              <p:custDataLst>
                <p:tags r:id="rId209"/>
              </p:custDataLst>
            </p:nvPr>
          </p:nvSpPr>
          <p:spPr bwMode="auto">
            <a:xfrm>
              <a:off x="9416566" y="3987294"/>
              <a:ext cx="9464" cy="68630"/>
            </a:xfrm>
            <a:custGeom>
              <a:avLst/>
              <a:gdLst>
                <a:gd name="T0" fmla="*/ 0 w 17"/>
                <a:gd name="T1" fmla="*/ 48986 h 42"/>
                <a:gd name="T2" fmla="*/ 6070 w 17"/>
                <a:gd name="T3" fmla="*/ 57150 h 42"/>
                <a:gd name="T4" fmla="*/ 6537 w 17"/>
                <a:gd name="T5" fmla="*/ 44904 h 42"/>
                <a:gd name="T6" fmla="*/ 7471 w 17"/>
                <a:gd name="T7" fmla="*/ 31296 h 42"/>
                <a:gd name="T8" fmla="*/ 7938 w 17"/>
                <a:gd name="T9" fmla="*/ 24493 h 42"/>
                <a:gd name="T10" fmla="*/ 7471 w 17"/>
                <a:gd name="T11" fmla="*/ 16329 h 42"/>
                <a:gd name="T12" fmla="*/ 7471 w 17"/>
                <a:gd name="T13" fmla="*/ 8164 h 42"/>
                <a:gd name="T14" fmla="*/ 6070 w 17"/>
                <a:gd name="T15" fmla="*/ 0 h 42"/>
                <a:gd name="T16" fmla="*/ 0 w 17"/>
                <a:gd name="T17" fmla="*/ 48986 h 4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7" h="42">
                  <a:moveTo>
                    <a:pt x="0" y="36"/>
                  </a:moveTo>
                  <a:lnTo>
                    <a:pt x="13" y="42"/>
                  </a:lnTo>
                  <a:lnTo>
                    <a:pt x="14" y="33"/>
                  </a:lnTo>
                  <a:lnTo>
                    <a:pt x="16" y="23"/>
                  </a:lnTo>
                  <a:lnTo>
                    <a:pt x="17" y="18"/>
                  </a:lnTo>
                  <a:lnTo>
                    <a:pt x="16" y="12"/>
                  </a:lnTo>
                  <a:lnTo>
                    <a:pt x="16" y="6"/>
                  </a:lnTo>
                  <a:lnTo>
                    <a:pt x="13" y="0"/>
                  </a:lnTo>
                  <a:lnTo>
                    <a:pt x="0" y="3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818" name="Freeform 312"/>
            <p:cNvSpPr>
              <a:spLocks/>
            </p:cNvSpPr>
            <p:nvPr>
              <p:custDataLst>
                <p:tags r:id="rId210"/>
              </p:custDataLst>
            </p:nvPr>
          </p:nvSpPr>
          <p:spPr bwMode="auto">
            <a:xfrm>
              <a:off x="9329508" y="4149338"/>
              <a:ext cx="35960" cy="70535"/>
            </a:xfrm>
            <a:custGeom>
              <a:avLst/>
              <a:gdLst>
                <a:gd name="T0" fmla="*/ 2514 w 72"/>
                <a:gd name="T1" fmla="*/ 58737 h 29"/>
                <a:gd name="T2" fmla="*/ 6284 w 72"/>
                <a:gd name="T3" fmla="*/ 52661 h 29"/>
                <a:gd name="T4" fmla="*/ 10054 w 72"/>
                <a:gd name="T5" fmla="*/ 48610 h 29"/>
                <a:gd name="T6" fmla="*/ 13406 w 72"/>
                <a:gd name="T7" fmla="*/ 48610 h 29"/>
                <a:gd name="T8" fmla="*/ 16338 w 72"/>
                <a:gd name="T9" fmla="*/ 48610 h 29"/>
                <a:gd name="T10" fmla="*/ 23041 w 72"/>
                <a:gd name="T11" fmla="*/ 54686 h 29"/>
                <a:gd name="T12" fmla="*/ 30163 w 72"/>
                <a:gd name="T13" fmla="*/ 58737 h 29"/>
                <a:gd name="T14" fmla="*/ 30163 w 72"/>
                <a:gd name="T15" fmla="*/ 8102 h 29"/>
                <a:gd name="T16" fmla="*/ 24298 w 72"/>
                <a:gd name="T17" fmla="*/ 2025 h 29"/>
                <a:gd name="T18" fmla="*/ 19690 w 72"/>
                <a:gd name="T19" fmla="*/ 0 h 29"/>
                <a:gd name="T20" fmla="*/ 16338 w 72"/>
                <a:gd name="T21" fmla="*/ 0 h 29"/>
                <a:gd name="T22" fmla="*/ 14244 w 72"/>
                <a:gd name="T23" fmla="*/ 4051 h 29"/>
                <a:gd name="T24" fmla="*/ 11311 w 72"/>
                <a:gd name="T25" fmla="*/ 6076 h 29"/>
                <a:gd name="T26" fmla="*/ 8798 w 72"/>
                <a:gd name="T27" fmla="*/ 10127 h 29"/>
                <a:gd name="T28" fmla="*/ 5027 w 72"/>
                <a:gd name="T29" fmla="*/ 10127 h 29"/>
                <a:gd name="T30" fmla="*/ 0 w 72"/>
                <a:gd name="T31" fmla="*/ 8102 h 29"/>
                <a:gd name="T32" fmla="*/ 1257 w 72"/>
                <a:gd name="T33" fmla="*/ 32407 h 29"/>
                <a:gd name="T34" fmla="*/ 2514 w 72"/>
                <a:gd name="T35" fmla="*/ 58737 h 2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72" h="29">
                  <a:moveTo>
                    <a:pt x="6" y="29"/>
                  </a:moveTo>
                  <a:lnTo>
                    <a:pt x="15" y="26"/>
                  </a:lnTo>
                  <a:lnTo>
                    <a:pt x="24" y="24"/>
                  </a:lnTo>
                  <a:lnTo>
                    <a:pt x="32" y="24"/>
                  </a:lnTo>
                  <a:lnTo>
                    <a:pt x="39" y="24"/>
                  </a:lnTo>
                  <a:lnTo>
                    <a:pt x="55" y="27"/>
                  </a:lnTo>
                  <a:lnTo>
                    <a:pt x="72" y="29"/>
                  </a:lnTo>
                  <a:lnTo>
                    <a:pt x="72" y="4"/>
                  </a:lnTo>
                  <a:lnTo>
                    <a:pt x="58" y="1"/>
                  </a:lnTo>
                  <a:lnTo>
                    <a:pt x="47" y="0"/>
                  </a:lnTo>
                  <a:lnTo>
                    <a:pt x="39" y="0"/>
                  </a:lnTo>
                  <a:lnTo>
                    <a:pt x="34" y="2"/>
                  </a:lnTo>
                  <a:lnTo>
                    <a:pt x="27" y="3"/>
                  </a:lnTo>
                  <a:lnTo>
                    <a:pt x="21" y="5"/>
                  </a:lnTo>
                  <a:lnTo>
                    <a:pt x="12" y="5"/>
                  </a:lnTo>
                  <a:lnTo>
                    <a:pt x="0" y="4"/>
                  </a:lnTo>
                  <a:lnTo>
                    <a:pt x="3" y="16"/>
                  </a:lnTo>
                  <a:lnTo>
                    <a:pt x="6" y="2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819" name="Freeform 313"/>
            <p:cNvSpPr>
              <a:spLocks/>
            </p:cNvSpPr>
            <p:nvPr>
              <p:custDataLst>
                <p:tags r:id="rId211"/>
              </p:custDataLst>
            </p:nvPr>
          </p:nvSpPr>
          <p:spPr bwMode="auto">
            <a:xfrm>
              <a:off x="9338970" y="4372383"/>
              <a:ext cx="22711" cy="66724"/>
            </a:xfrm>
            <a:custGeom>
              <a:avLst/>
              <a:gdLst>
                <a:gd name="T0" fmla="*/ 0 w 46"/>
                <a:gd name="T1" fmla="*/ 0 h 37"/>
                <a:gd name="T2" fmla="*/ 3727 w 46"/>
                <a:gd name="T3" fmla="*/ 13515 h 37"/>
                <a:gd name="T4" fmla="*/ 8283 w 46"/>
                <a:gd name="T5" fmla="*/ 22526 h 37"/>
                <a:gd name="T6" fmla="*/ 12838 w 46"/>
                <a:gd name="T7" fmla="*/ 30034 h 37"/>
                <a:gd name="T8" fmla="*/ 19050 w 46"/>
                <a:gd name="T9" fmla="*/ 37543 h 37"/>
                <a:gd name="T10" fmla="*/ 15323 w 46"/>
                <a:gd name="T11" fmla="*/ 43549 h 37"/>
                <a:gd name="T12" fmla="*/ 12010 w 46"/>
                <a:gd name="T13" fmla="*/ 49556 h 37"/>
                <a:gd name="T14" fmla="*/ 8697 w 46"/>
                <a:gd name="T15" fmla="*/ 54061 h 37"/>
                <a:gd name="T16" fmla="*/ 5384 w 46"/>
                <a:gd name="T17" fmla="*/ 55563 h 37"/>
                <a:gd name="T18" fmla="*/ 3727 w 46"/>
                <a:gd name="T19" fmla="*/ 54061 h 37"/>
                <a:gd name="T20" fmla="*/ 2899 w 46"/>
                <a:gd name="T21" fmla="*/ 49556 h 37"/>
                <a:gd name="T22" fmla="*/ 2071 w 46"/>
                <a:gd name="T23" fmla="*/ 43549 h 37"/>
                <a:gd name="T24" fmla="*/ 1242 w 46"/>
                <a:gd name="T25" fmla="*/ 34539 h 37"/>
                <a:gd name="T26" fmla="*/ 414 w 46"/>
                <a:gd name="T27" fmla="*/ 18020 h 37"/>
                <a:gd name="T28" fmla="*/ 0 w 46"/>
                <a:gd name="T29" fmla="*/ 0 h 3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6" h="37">
                  <a:moveTo>
                    <a:pt x="0" y="0"/>
                  </a:moveTo>
                  <a:lnTo>
                    <a:pt x="9" y="9"/>
                  </a:lnTo>
                  <a:lnTo>
                    <a:pt x="20" y="15"/>
                  </a:lnTo>
                  <a:lnTo>
                    <a:pt x="31" y="20"/>
                  </a:lnTo>
                  <a:lnTo>
                    <a:pt x="46" y="25"/>
                  </a:lnTo>
                  <a:lnTo>
                    <a:pt x="37" y="29"/>
                  </a:lnTo>
                  <a:lnTo>
                    <a:pt x="29" y="33"/>
                  </a:lnTo>
                  <a:lnTo>
                    <a:pt x="21" y="36"/>
                  </a:lnTo>
                  <a:lnTo>
                    <a:pt x="13" y="37"/>
                  </a:lnTo>
                  <a:lnTo>
                    <a:pt x="9" y="36"/>
                  </a:lnTo>
                  <a:lnTo>
                    <a:pt x="7" y="33"/>
                  </a:lnTo>
                  <a:lnTo>
                    <a:pt x="5" y="29"/>
                  </a:lnTo>
                  <a:lnTo>
                    <a:pt x="3" y="23"/>
                  </a:lnTo>
                  <a:lnTo>
                    <a:pt x="1" y="12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820" name="Freeform 314"/>
            <p:cNvSpPr>
              <a:spLocks/>
            </p:cNvSpPr>
            <p:nvPr>
              <p:custDataLst>
                <p:tags r:id="rId212"/>
              </p:custDataLst>
            </p:nvPr>
          </p:nvSpPr>
          <p:spPr bwMode="auto">
            <a:xfrm>
              <a:off x="9473346" y="4155055"/>
              <a:ext cx="13249" cy="68630"/>
            </a:xfrm>
            <a:custGeom>
              <a:avLst/>
              <a:gdLst>
                <a:gd name="T0" fmla="*/ 0 w 26"/>
                <a:gd name="T1" fmla="*/ 0 h 19"/>
                <a:gd name="T2" fmla="*/ 11113 w 26"/>
                <a:gd name="T3" fmla="*/ 57150 h 19"/>
                <a:gd name="T4" fmla="*/ 11113 w 26"/>
                <a:gd name="T5" fmla="*/ 27071 h 19"/>
                <a:gd name="T6" fmla="*/ 11113 w 26"/>
                <a:gd name="T7" fmla="*/ 0 h 19"/>
                <a:gd name="T8" fmla="*/ 6411 w 26"/>
                <a:gd name="T9" fmla="*/ 0 h 19"/>
                <a:gd name="T10" fmla="*/ 0 w 26"/>
                <a:gd name="T11" fmla="*/ 0 h 1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6" h="19">
                  <a:moveTo>
                    <a:pt x="0" y="0"/>
                  </a:moveTo>
                  <a:lnTo>
                    <a:pt x="26" y="19"/>
                  </a:lnTo>
                  <a:lnTo>
                    <a:pt x="26" y="9"/>
                  </a:lnTo>
                  <a:lnTo>
                    <a:pt x="26" y="0"/>
                  </a:lnTo>
                  <a:lnTo>
                    <a:pt x="15" y="0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821" name="Freeform 315"/>
            <p:cNvSpPr>
              <a:spLocks/>
            </p:cNvSpPr>
            <p:nvPr>
              <p:custDataLst>
                <p:tags r:id="rId213"/>
              </p:custDataLst>
            </p:nvPr>
          </p:nvSpPr>
          <p:spPr bwMode="auto">
            <a:xfrm>
              <a:off x="9306796" y="4149338"/>
              <a:ext cx="22711" cy="70535"/>
            </a:xfrm>
            <a:custGeom>
              <a:avLst/>
              <a:gdLst>
                <a:gd name="T0" fmla="*/ 886 w 43"/>
                <a:gd name="T1" fmla="*/ 0 h 31"/>
                <a:gd name="T2" fmla="*/ 443 w 43"/>
                <a:gd name="T3" fmla="*/ 22737 h 31"/>
                <a:gd name="T4" fmla="*/ 0 w 43"/>
                <a:gd name="T5" fmla="*/ 43579 h 31"/>
                <a:gd name="T6" fmla="*/ 0 w 43"/>
                <a:gd name="T7" fmla="*/ 49263 h 31"/>
                <a:gd name="T8" fmla="*/ 0 w 43"/>
                <a:gd name="T9" fmla="*/ 54948 h 31"/>
                <a:gd name="T10" fmla="*/ 0 w 43"/>
                <a:gd name="T11" fmla="*/ 58737 h 31"/>
                <a:gd name="T12" fmla="*/ 886 w 43"/>
                <a:gd name="T13" fmla="*/ 58737 h 31"/>
                <a:gd name="T14" fmla="*/ 5759 w 43"/>
                <a:gd name="T15" fmla="*/ 41684 h 31"/>
                <a:gd name="T16" fmla="*/ 11076 w 43"/>
                <a:gd name="T17" fmla="*/ 24632 h 31"/>
                <a:gd name="T18" fmla="*/ 15506 w 43"/>
                <a:gd name="T19" fmla="*/ 9474 h 31"/>
                <a:gd name="T20" fmla="*/ 19050 w 43"/>
                <a:gd name="T21" fmla="*/ 0 h 31"/>
                <a:gd name="T22" fmla="*/ 886 w 43"/>
                <a:gd name="T23" fmla="*/ 0 h 3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3" h="31">
                  <a:moveTo>
                    <a:pt x="2" y="0"/>
                  </a:moveTo>
                  <a:lnTo>
                    <a:pt x="1" y="12"/>
                  </a:lnTo>
                  <a:lnTo>
                    <a:pt x="0" y="23"/>
                  </a:lnTo>
                  <a:lnTo>
                    <a:pt x="0" y="26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2" y="31"/>
                  </a:lnTo>
                  <a:lnTo>
                    <a:pt x="13" y="22"/>
                  </a:lnTo>
                  <a:lnTo>
                    <a:pt x="25" y="13"/>
                  </a:lnTo>
                  <a:lnTo>
                    <a:pt x="35" y="5"/>
                  </a:lnTo>
                  <a:lnTo>
                    <a:pt x="43" y="0"/>
                  </a:lnTo>
                  <a:lnTo>
                    <a:pt x="2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822" name="Freeform 316"/>
            <p:cNvSpPr>
              <a:spLocks/>
            </p:cNvSpPr>
            <p:nvPr>
              <p:custDataLst>
                <p:tags r:id="rId214"/>
              </p:custDataLst>
            </p:nvPr>
          </p:nvSpPr>
          <p:spPr bwMode="auto">
            <a:xfrm>
              <a:off x="9359790" y="4206528"/>
              <a:ext cx="35960" cy="68630"/>
            </a:xfrm>
            <a:custGeom>
              <a:avLst/>
              <a:gdLst>
                <a:gd name="T0" fmla="*/ 1699 w 71"/>
                <a:gd name="T1" fmla="*/ 13996 h 49"/>
                <a:gd name="T2" fmla="*/ 1699 w 71"/>
                <a:gd name="T3" fmla="*/ 20994 h 49"/>
                <a:gd name="T4" fmla="*/ 2124 w 71"/>
                <a:gd name="T5" fmla="*/ 29158 h 49"/>
                <a:gd name="T6" fmla="*/ 2974 w 71"/>
                <a:gd name="T7" fmla="*/ 36156 h 49"/>
                <a:gd name="T8" fmla="*/ 3823 w 71"/>
                <a:gd name="T9" fmla="*/ 43154 h 49"/>
                <a:gd name="T10" fmla="*/ 5948 w 71"/>
                <a:gd name="T11" fmla="*/ 47819 h 49"/>
                <a:gd name="T12" fmla="*/ 7647 w 71"/>
                <a:gd name="T13" fmla="*/ 53651 h 49"/>
                <a:gd name="T14" fmla="*/ 9771 w 71"/>
                <a:gd name="T15" fmla="*/ 55984 h 49"/>
                <a:gd name="T16" fmla="*/ 12745 w 71"/>
                <a:gd name="T17" fmla="*/ 57150 h 49"/>
                <a:gd name="T18" fmla="*/ 14869 w 71"/>
                <a:gd name="T19" fmla="*/ 55984 h 49"/>
                <a:gd name="T20" fmla="*/ 16993 w 71"/>
                <a:gd name="T21" fmla="*/ 53651 h 49"/>
                <a:gd name="T22" fmla="*/ 19117 w 71"/>
                <a:gd name="T23" fmla="*/ 48986 h 49"/>
                <a:gd name="T24" fmla="*/ 21242 w 71"/>
                <a:gd name="T25" fmla="*/ 43154 h 49"/>
                <a:gd name="T26" fmla="*/ 25490 w 71"/>
                <a:gd name="T27" fmla="*/ 32657 h 49"/>
                <a:gd name="T28" fmla="*/ 30163 w 71"/>
                <a:gd name="T29" fmla="*/ 20994 h 49"/>
                <a:gd name="T30" fmla="*/ 25915 w 71"/>
                <a:gd name="T31" fmla="*/ 13996 h 49"/>
                <a:gd name="T32" fmla="*/ 22091 w 71"/>
                <a:gd name="T33" fmla="*/ 10497 h 49"/>
                <a:gd name="T34" fmla="*/ 18693 w 71"/>
                <a:gd name="T35" fmla="*/ 8164 h 49"/>
                <a:gd name="T36" fmla="*/ 15719 w 71"/>
                <a:gd name="T37" fmla="*/ 6998 h 49"/>
                <a:gd name="T38" fmla="*/ 12320 w 71"/>
                <a:gd name="T39" fmla="*/ 6998 h 49"/>
                <a:gd name="T40" fmla="*/ 8921 w 71"/>
                <a:gd name="T41" fmla="*/ 5832 h 49"/>
                <a:gd name="T42" fmla="*/ 5948 w 71"/>
                <a:gd name="T43" fmla="*/ 3499 h 49"/>
                <a:gd name="T44" fmla="*/ 1699 w 71"/>
                <a:gd name="T45" fmla="*/ 0 h 49"/>
                <a:gd name="T46" fmla="*/ 1274 w 71"/>
                <a:gd name="T47" fmla="*/ 1166 h 49"/>
                <a:gd name="T48" fmla="*/ 425 w 71"/>
                <a:gd name="T49" fmla="*/ 6998 h 49"/>
                <a:gd name="T50" fmla="*/ 0 w 71"/>
                <a:gd name="T51" fmla="*/ 9331 h 49"/>
                <a:gd name="T52" fmla="*/ 0 w 71"/>
                <a:gd name="T53" fmla="*/ 11663 h 49"/>
                <a:gd name="T54" fmla="*/ 425 w 71"/>
                <a:gd name="T55" fmla="*/ 12830 h 49"/>
                <a:gd name="T56" fmla="*/ 1699 w 71"/>
                <a:gd name="T57" fmla="*/ 13996 h 4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71" h="49">
                  <a:moveTo>
                    <a:pt x="4" y="12"/>
                  </a:moveTo>
                  <a:lnTo>
                    <a:pt x="4" y="18"/>
                  </a:lnTo>
                  <a:lnTo>
                    <a:pt x="5" y="25"/>
                  </a:lnTo>
                  <a:lnTo>
                    <a:pt x="7" y="31"/>
                  </a:lnTo>
                  <a:lnTo>
                    <a:pt x="9" y="37"/>
                  </a:lnTo>
                  <a:lnTo>
                    <a:pt x="14" y="41"/>
                  </a:lnTo>
                  <a:lnTo>
                    <a:pt x="18" y="46"/>
                  </a:lnTo>
                  <a:lnTo>
                    <a:pt x="23" y="48"/>
                  </a:lnTo>
                  <a:lnTo>
                    <a:pt x="30" y="49"/>
                  </a:lnTo>
                  <a:lnTo>
                    <a:pt x="35" y="48"/>
                  </a:lnTo>
                  <a:lnTo>
                    <a:pt x="40" y="46"/>
                  </a:lnTo>
                  <a:lnTo>
                    <a:pt x="45" y="42"/>
                  </a:lnTo>
                  <a:lnTo>
                    <a:pt x="50" y="37"/>
                  </a:lnTo>
                  <a:lnTo>
                    <a:pt x="60" y="28"/>
                  </a:lnTo>
                  <a:lnTo>
                    <a:pt x="71" y="18"/>
                  </a:lnTo>
                  <a:lnTo>
                    <a:pt x="61" y="12"/>
                  </a:lnTo>
                  <a:lnTo>
                    <a:pt x="52" y="9"/>
                  </a:lnTo>
                  <a:lnTo>
                    <a:pt x="44" y="7"/>
                  </a:lnTo>
                  <a:lnTo>
                    <a:pt x="37" y="6"/>
                  </a:lnTo>
                  <a:lnTo>
                    <a:pt x="29" y="6"/>
                  </a:lnTo>
                  <a:lnTo>
                    <a:pt x="21" y="5"/>
                  </a:lnTo>
                  <a:lnTo>
                    <a:pt x="14" y="3"/>
                  </a:lnTo>
                  <a:lnTo>
                    <a:pt x="4" y="0"/>
                  </a:lnTo>
                  <a:lnTo>
                    <a:pt x="3" y="1"/>
                  </a:lnTo>
                  <a:lnTo>
                    <a:pt x="1" y="6"/>
                  </a:lnTo>
                  <a:lnTo>
                    <a:pt x="0" y="8"/>
                  </a:lnTo>
                  <a:lnTo>
                    <a:pt x="0" y="10"/>
                  </a:lnTo>
                  <a:lnTo>
                    <a:pt x="1" y="11"/>
                  </a:lnTo>
                  <a:lnTo>
                    <a:pt x="4" y="1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823" name="Freeform 317"/>
            <p:cNvSpPr>
              <a:spLocks/>
            </p:cNvSpPr>
            <p:nvPr>
              <p:custDataLst>
                <p:tags r:id="rId215"/>
              </p:custDataLst>
            </p:nvPr>
          </p:nvSpPr>
          <p:spPr bwMode="auto">
            <a:xfrm>
              <a:off x="9123215" y="4450546"/>
              <a:ext cx="54885" cy="70535"/>
            </a:xfrm>
            <a:custGeom>
              <a:avLst/>
              <a:gdLst>
                <a:gd name="T0" fmla="*/ 18908 w 112"/>
                <a:gd name="T1" fmla="*/ 4518 h 26"/>
                <a:gd name="T2" fmla="*/ 23019 w 112"/>
                <a:gd name="T3" fmla="*/ 4518 h 26"/>
                <a:gd name="T4" fmla="*/ 27129 w 112"/>
                <a:gd name="T5" fmla="*/ 6777 h 26"/>
                <a:gd name="T6" fmla="*/ 30417 w 112"/>
                <a:gd name="T7" fmla="*/ 9036 h 26"/>
                <a:gd name="T8" fmla="*/ 34528 w 112"/>
                <a:gd name="T9" fmla="*/ 13555 h 26"/>
                <a:gd name="T10" fmla="*/ 37816 w 112"/>
                <a:gd name="T11" fmla="*/ 20332 h 26"/>
                <a:gd name="T12" fmla="*/ 41104 w 112"/>
                <a:gd name="T13" fmla="*/ 27109 h 26"/>
                <a:gd name="T14" fmla="*/ 43571 w 112"/>
                <a:gd name="T15" fmla="*/ 36146 h 26"/>
                <a:gd name="T16" fmla="*/ 46037 w 112"/>
                <a:gd name="T17" fmla="*/ 45182 h 26"/>
                <a:gd name="T18" fmla="*/ 45215 w 112"/>
                <a:gd name="T19" fmla="*/ 49701 h 26"/>
                <a:gd name="T20" fmla="*/ 43160 w 112"/>
                <a:gd name="T21" fmla="*/ 51960 h 26"/>
                <a:gd name="T22" fmla="*/ 41516 w 112"/>
                <a:gd name="T23" fmla="*/ 56478 h 26"/>
                <a:gd name="T24" fmla="*/ 39049 w 112"/>
                <a:gd name="T25" fmla="*/ 56478 h 26"/>
                <a:gd name="T26" fmla="*/ 35761 w 112"/>
                <a:gd name="T27" fmla="*/ 58737 h 26"/>
                <a:gd name="T28" fmla="*/ 32473 w 112"/>
                <a:gd name="T29" fmla="*/ 58737 h 26"/>
                <a:gd name="T30" fmla="*/ 27129 w 112"/>
                <a:gd name="T31" fmla="*/ 54219 h 26"/>
                <a:gd name="T32" fmla="*/ 16853 w 112"/>
                <a:gd name="T33" fmla="*/ 42923 h 26"/>
                <a:gd name="T34" fmla="*/ 6577 w 112"/>
                <a:gd name="T35" fmla="*/ 29369 h 26"/>
                <a:gd name="T36" fmla="*/ 0 w 112"/>
                <a:gd name="T37" fmla="*/ 18073 h 26"/>
                <a:gd name="T38" fmla="*/ 2055 w 112"/>
                <a:gd name="T39" fmla="*/ 9036 h 26"/>
                <a:gd name="T40" fmla="*/ 4521 w 112"/>
                <a:gd name="T41" fmla="*/ 4518 h 26"/>
                <a:gd name="T42" fmla="*/ 7399 w 112"/>
                <a:gd name="T43" fmla="*/ 2259 h 26"/>
                <a:gd name="T44" fmla="*/ 10276 w 112"/>
                <a:gd name="T45" fmla="*/ 0 h 26"/>
                <a:gd name="T46" fmla="*/ 15209 w 112"/>
                <a:gd name="T47" fmla="*/ 2259 h 26"/>
                <a:gd name="T48" fmla="*/ 18908 w 112"/>
                <a:gd name="T49" fmla="*/ 4518 h 2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12" h="26">
                  <a:moveTo>
                    <a:pt x="46" y="2"/>
                  </a:moveTo>
                  <a:lnTo>
                    <a:pt x="56" y="2"/>
                  </a:lnTo>
                  <a:lnTo>
                    <a:pt x="66" y="3"/>
                  </a:lnTo>
                  <a:lnTo>
                    <a:pt x="74" y="4"/>
                  </a:lnTo>
                  <a:lnTo>
                    <a:pt x="84" y="6"/>
                  </a:lnTo>
                  <a:lnTo>
                    <a:pt x="92" y="9"/>
                  </a:lnTo>
                  <a:lnTo>
                    <a:pt x="100" y="12"/>
                  </a:lnTo>
                  <a:lnTo>
                    <a:pt x="106" y="16"/>
                  </a:lnTo>
                  <a:lnTo>
                    <a:pt x="112" y="20"/>
                  </a:lnTo>
                  <a:lnTo>
                    <a:pt x="110" y="22"/>
                  </a:lnTo>
                  <a:lnTo>
                    <a:pt x="105" y="23"/>
                  </a:lnTo>
                  <a:lnTo>
                    <a:pt x="101" y="25"/>
                  </a:lnTo>
                  <a:lnTo>
                    <a:pt x="95" y="25"/>
                  </a:lnTo>
                  <a:lnTo>
                    <a:pt x="87" y="26"/>
                  </a:lnTo>
                  <a:lnTo>
                    <a:pt x="79" y="26"/>
                  </a:lnTo>
                  <a:lnTo>
                    <a:pt x="66" y="24"/>
                  </a:lnTo>
                  <a:lnTo>
                    <a:pt x="41" y="19"/>
                  </a:lnTo>
                  <a:lnTo>
                    <a:pt x="16" y="13"/>
                  </a:lnTo>
                  <a:lnTo>
                    <a:pt x="0" y="8"/>
                  </a:lnTo>
                  <a:lnTo>
                    <a:pt x="5" y="4"/>
                  </a:lnTo>
                  <a:lnTo>
                    <a:pt x="11" y="2"/>
                  </a:lnTo>
                  <a:lnTo>
                    <a:pt x="18" y="1"/>
                  </a:lnTo>
                  <a:lnTo>
                    <a:pt x="25" y="0"/>
                  </a:lnTo>
                  <a:lnTo>
                    <a:pt x="37" y="1"/>
                  </a:lnTo>
                  <a:lnTo>
                    <a:pt x="46" y="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824" name="Freeform 318"/>
            <p:cNvSpPr>
              <a:spLocks/>
            </p:cNvSpPr>
            <p:nvPr>
              <p:custDataLst>
                <p:tags r:id="rId216"/>
              </p:custDataLst>
            </p:nvPr>
          </p:nvSpPr>
          <p:spPr bwMode="auto">
            <a:xfrm>
              <a:off x="9240556" y="4496299"/>
              <a:ext cx="17033" cy="70535"/>
            </a:xfrm>
            <a:custGeom>
              <a:avLst/>
              <a:gdLst>
                <a:gd name="T0" fmla="*/ 0 w 41"/>
                <a:gd name="T1" fmla="*/ 0 h 25"/>
                <a:gd name="T2" fmla="*/ 14287 w 41"/>
                <a:gd name="T3" fmla="*/ 0 h 25"/>
                <a:gd name="T4" fmla="*/ 9757 w 41"/>
                <a:gd name="T5" fmla="*/ 18796 h 25"/>
                <a:gd name="T6" fmla="*/ 6272 w 41"/>
                <a:gd name="T7" fmla="*/ 35242 h 25"/>
                <a:gd name="T8" fmla="*/ 3136 w 41"/>
                <a:gd name="T9" fmla="*/ 46990 h 25"/>
                <a:gd name="T10" fmla="*/ 0 w 41"/>
                <a:gd name="T11" fmla="*/ 58737 h 25"/>
                <a:gd name="T12" fmla="*/ 0 w 41"/>
                <a:gd name="T13" fmla="*/ 0 h 2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41" h="25">
                  <a:moveTo>
                    <a:pt x="0" y="0"/>
                  </a:moveTo>
                  <a:lnTo>
                    <a:pt x="41" y="0"/>
                  </a:lnTo>
                  <a:lnTo>
                    <a:pt x="28" y="8"/>
                  </a:lnTo>
                  <a:lnTo>
                    <a:pt x="18" y="15"/>
                  </a:lnTo>
                  <a:lnTo>
                    <a:pt x="9" y="20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825" name="Freeform 319"/>
            <p:cNvSpPr>
              <a:spLocks/>
            </p:cNvSpPr>
            <p:nvPr>
              <p:custDataLst>
                <p:tags r:id="rId217"/>
              </p:custDataLst>
            </p:nvPr>
          </p:nvSpPr>
          <p:spPr bwMode="auto">
            <a:xfrm>
              <a:off x="9041833" y="4414324"/>
              <a:ext cx="43530" cy="66724"/>
            </a:xfrm>
            <a:custGeom>
              <a:avLst/>
              <a:gdLst>
                <a:gd name="T0" fmla="*/ 0 w 81"/>
                <a:gd name="T1" fmla="*/ 55563 h 31"/>
                <a:gd name="T2" fmla="*/ 0 w 81"/>
                <a:gd name="T3" fmla="*/ 39432 h 31"/>
                <a:gd name="T4" fmla="*/ 0 w 81"/>
                <a:gd name="T5" fmla="*/ 23301 h 31"/>
                <a:gd name="T6" fmla="*/ 0 w 81"/>
                <a:gd name="T7" fmla="*/ 17924 h 31"/>
                <a:gd name="T8" fmla="*/ 902 w 81"/>
                <a:gd name="T9" fmla="*/ 14339 h 31"/>
                <a:gd name="T10" fmla="*/ 1352 w 81"/>
                <a:gd name="T11" fmla="*/ 10754 h 31"/>
                <a:gd name="T12" fmla="*/ 1803 w 81"/>
                <a:gd name="T13" fmla="*/ 7169 h 31"/>
                <a:gd name="T14" fmla="*/ 3606 w 81"/>
                <a:gd name="T15" fmla="*/ 3585 h 31"/>
                <a:gd name="T16" fmla="*/ 6311 w 81"/>
                <a:gd name="T17" fmla="*/ 0 h 31"/>
                <a:gd name="T18" fmla="*/ 11720 w 81"/>
                <a:gd name="T19" fmla="*/ 1792 h 31"/>
                <a:gd name="T20" fmla="*/ 18482 w 81"/>
                <a:gd name="T21" fmla="*/ 1792 h 31"/>
                <a:gd name="T22" fmla="*/ 25244 w 81"/>
                <a:gd name="T23" fmla="*/ 1792 h 31"/>
                <a:gd name="T24" fmla="*/ 29301 w 81"/>
                <a:gd name="T25" fmla="*/ 1792 h 31"/>
                <a:gd name="T26" fmla="*/ 32907 w 81"/>
                <a:gd name="T27" fmla="*/ 1792 h 31"/>
                <a:gd name="T28" fmla="*/ 36513 w 81"/>
                <a:gd name="T29" fmla="*/ 1792 h 31"/>
                <a:gd name="T30" fmla="*/ 32907 w 81"/>
                <a:gd name="T31" fmla="*/ 10754 h 31"/>
                <a:gd name="T32" fmla="*/ 30202 w 81"/>
                <a:gd name="T33" fmla="*/ 17924 h 31"/>
                <a:gd name="T34" fmla="*/ 28850 w 81"/>
                <a:gd name="T35" fmla="*/ 25093 h 31"/>
                <a:gd name="T36" fmla="*/ 27948 w 81"/>
                <a:gd name="T37" fmla="*/ 32262 h 31"/>
                <a:gd name="T38" fmla="*/ 26596 w 81"/>
                <a:gd name="T39" fmla="*/ 37639 h 31"/>
                <a:gd name="T40" fmla="*/ 24342 w 81"/>
                <a:gd name="T41" fmla="*/ 41224 h 31"/>
                <a:gd name="T42" fmla="*/ 21187 w 81"/>
                <a:gd name="T43" fmla="*/ 44809 h 31"/>
                <a:gd name="T44" fmla="*/ 15326 w 81"/>
                <a:gd name="T45" fmla="*/ 44809 h 31"/>
                <a:gd name="T46" fmla="*/ 0 w 81"/>
                <a:gd name="T47" fmla="*/ 55563 h 3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81" h="31">
                  <a:moveTo>
                    <a:pt x="0" y="31"/>
                  </a:moveTo>
                  <a:lnTo>
                    <a:pt x="0" y="22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2" y="8"/>
                  </a:lnTo>
                  <a:lnTo>
                    <a:pt x="3" y="6"/>
                  </a:lnTo>
                  <a:lnTo>
                    <a:pt x="4" y="4"/>
                  </a:lnTo>
                  <a:lnTo>
                    <a:pt x="8" y="2"/>
                  </a:lnTo>
                  <a:lnTo>
                    <a:pt x="14" y="0"/>
                  </a:lnTo>
                  <a:lnTo>
                    <a:pt x="26" y="1"/>
                  </a:lnTo>
                  <a:lnTo>
                    <a:pt x="41" y="1"/>
                  </a:lnTo>
                  <a:lnTo>
                    <a:pt x="56" y="1"/>
                  </a:lnTo>
                  <a:lnTo>
                    <a:pt x="65" y="1"/>
                  </a:lnTo>
                  <a:lnTo>
                    <a:pt x="73" y="1"/>
                  </a:lnTo>
                  <a:lnTo>
                    <a:pt x="81" y="1"/>
                  </a:lnTo>
                  <a:lnTo>
                    <a:pt x="73" y="6"/>
                  </a:lnTo>
                  <a:lnTo>
                    <a:pt x="67" y="10"/>
                  </a:lnTo>
                  <a:lnTo>
                    <a:pt x="64" y="14"/>
                  </a:lnTo>
                  <a:lnTo>
                    <a:pt x="62" y="18"/>
                  </a:lnTo>
                  <a:lnTo>
                    <a:pt x="59" y="21"/>
                  </a:lnTo>
                  <a:lnTo>
                    <a:pt x="54" y="23"/>
                  </a:lnTo>
                  <a:lnTo>
                    <a:pt x="47" y="25"/>
                  </a:lnTo>
                  <a:lnTo>
                    <a:pt x="34" y="25"/>
                  </a:lnTo>
                  <a:lnTo>
                    <a:pt x="0" y="3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826" name="Freeform 320"/>
            <p:cNvSpPr>
              <a:spLocks/>
            </p:cNvSpPr>
            <p:nvPr>
              <p:custDataLst>
                <p:tags r:id="rId218"/>
              </p:custDataLst>
            </p:nvPr>
          </p:nvSpPr>
          <p:spPr bwMode="auto">
            <a:xfrm>
              <a:off x="9094824" y="4397166"/>
              <a:ext cx="47316" cy="66723"/>
            </a:xfrm>
            <a:custGeom>
              <a:avLst/>
              <a:gdLst>
                <a:gd name="T0" fmla="*/ 892 w 89"/>
                <a:gd name="T1" fmla="*/ 55562 h 49"/>
                <a:gd name="T2" fmla="*/ 39688 w 89"/>
                <a:gd name="T3" fmla="*/ 55562 h 49"/>
                <a:gd name="T4" fmla="*/ 34783 w 89"/>
                <a:gd name="T5" fmla="*/ 46491 h 49"/>
                <a:gd name="T6" fmla="*/ 30323 w 89"/>
                <a:gd name="T7" fmla="*/ 39687 h 49"/>
                <a:gd name="T8" fmla="*/ 25418 w 89"/>
                <a:gd name="T9" fmla="*/ 34018 h 49"/>
                <a:gd name="T10" fmla="*/ 20513 w 89"/>
                <a:gd name="T11" fmla="*/ 28348 h 49"/>
                <a:gd name="T12" fmla="*/ 16054 w 89"/>
                <a:gd name="T13" fmla="*/ 23812 h 49"/>
                <a:gd name="T14" fmla="*/ 11594 w 89"/>
                <a:gd name="T15" fmla="*/ 15875 h 49"/>
                <a:gd name="T16" fmla="*/ 7135 w 89"/>
                <a:gd name="T17" fmla="*/ 9071 h 49"/>
                <a:gd name="T18" fmla="*/ 4013 w 89"/>
                <a:gd name="T19" fmla="*/ 0 h 49"/>
                <a:gd name="T20" fmla="*/ 1784 w 89"/>
                <a:gd name="T21" fmla="*/ 11339 h 49"/>
                <a:gd name="T22" fmla="*/ 446 w 89"/>
                <a:gd name="T23" fmla="*/ 26080 h 49"/>
                <a:gd name="T24" fmla="*/ 0 w 89"/>
                <a:gd name="T25" fmla="*/ 32884 h 49"/>
                <a:gd name="T26" fmla="*/ 0 w 89"/>
                <a:gd name="T27" fmla="*/ 40821 h 49"/>
                <a:gd name="T28" fmla="*/ 0 w 89"/>
                <a:gd name="T29" fmla="*/ 48758 h 49"/>
                <a:gd name="T30" fmla="*/ 892 w 89"/>
                <a:gd name="T31" fmla="*/ 55562 h 49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89" h="49">
                  <a:moveTo>
                    <a:pt x="2" y="49"/>
                  </a:moveTo>
                  <a:lnTo>
                    <a:pt x="89" y="49"/>
                  </a:lnTo>
                  <a:lnTo>
                    <a:pt x="78" y="41"/>
                  </a:lnTo>
                  <a:lnTo>
                    <a:pt x="68" y="35"/>
                  </a:lnTo>
                  <a:lnTo>
                    <a:pt x="57" y="30"/>
                  </a:lnTo>
                  <a:lnTo>
                    <a:pt x="46" y="25"/>
                  </a:lnTo>
                  <a:lnTo>
                    <a:pt x="36" y="21"/>
                  </a:lnTo>
                  <a:lnTo>
                    <a:pt x="26" y="14"/>
                  </a:lnTo>
                  <a:lnTo>
                    <a:pt x="16" y="8"/>
                  </a:lnTo>
                  <a:lnTo>
                    <a:pt x="9" y="0"/>
                  </a:lnTo>
                  <a:lnTo>
                    <a:pt x="4" y="10"/>
                  </a:lnTo>
                  <a:lnTo>
                    <a:pt x="1" y="23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2" y="4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827" name="Freeform 321"/>
            <p:cNvSpPr>
              <a:spLocks/>
            </p:cNvSpPr>
            <p:nvPr>
              <p:custDataLst>
                <p:tags r:id="rId219"/>
              </p:custDataLst>
            </p:nvPr>
          </p:nvSpPr>
          <p:spPr bwMode="auto">
            <a:xfrm>
              <a:off x="9157281" y="4408605"/>
              <a:ext cx="43529" cy="70535"/>
            </a:xfrm>
            <a:custGeom>
              <a:avLst/>
              <a:gdLst>
                <a:gd name="T0" fmla="*/ 0 w 86"/>
                <a:gd name="T1" fmla="*/ 26815 h 46"/>
                <a:gd name="T2" fmla="*/ 5944 w 86"/>
                <a:gd name="T3" fmla="*/ 33199 h 46"/>
                <a:gd name="T4" fmla="*/ 10614 w 86"/>
                <a:gd name="T5" fmla="*/ 37030 h 46"/>
                <a:gd name="T6" fmla="*/ 12737 w 86"/>
                <a:gd name="T7" fmla="*/ 38307 h 46"/>
                <a:gd name="T8" fmla="*/ 15284 w 86"/>
                <a:gd name="T9" fmla="*/ 38307 h 46"/>
                <a:gd name="T10" fmla="*/ 17407 w 86"/>
                <a:gd name="T11" fmla="*/ 37030 h 46"/>
                <a:gd name="T12" fmla="*/ 19530 w 86"/>
                <a:gd name="T13" fmla="*/ 34476 h 46"/>
                <a:gd name="T14" fmla="*/ 19530 w 86"/>
                <a:gd name="T15" fmla="*/ 45968 h 46"/>
                <a:gd name="T16" fmla="*/ 19530 w 86"/>
                <a:gd name="T17" fmla="*/ 58737 h 46"/>
                <a:gd name="T18" fmla="*/ 23775 w 86"/>
                <a:gd name="T19" fmla="*/ 57460 h 46"/>
                <a:gd name="T20" fmla="*/ 28445 w 86"/>
                <a:gd name="T21" fmla="*/ 54906 h 46"/>
                <a:gd name="T22" fmla="*/ 32691 w 86"/>
                <a:gd name="T23" fmla="*/ 51076 h 46"/>
                <a:gd name="T24" fmla="*/ 36512 w 86"/>
                <a:gd name="T25" fmla="*/ 51076 h 46"/>
                <a:gd name="T26" fmla="*/ 35238 w 86"/>
                <a:gd name="T27" fmla="*/ 40861 h 46"/>
                <a:gd name="T28" fmla="*/ 33965 w 86"/>
                <a:gd name="T29" fmla="*/ 31922 h 46"/>
                <a:gd name="T30" fmla="*/ 31417 w 86"/>
                <a:gd name="T31" fmla="*/ 24261 h 46"/>
                <a:gd name="T32" fmla="*/ 29719 w 86"/>
                <a:gd name="T33" fmla="*/ 17876 h 46"/>
                <a:gd name="T34" fmla="*/ 27172 w 86"/>
                <a:gd name="T35" fmla="*/ 11492 h 46"/>
                <a:gd name="T36" fmla="*/ 24624 w 86"/>
                <a:gd name="T37" fmla="*/ 7661 h 46"/>
                <a:gd name="T38" fmla="*/ 21652 w 86"/>
                <a:gd name="T39" fmla="*/ 3831 h 46"/>
                <a:gd name="T40" fmla="*/ 19530 w 86"/>
                <a:gd name="T41" fmla="*/ 1277 h 46"/>
                <a:gd name="T42" fmla="*/ 16558 w 86"/>
                <a:gd name="T43" fmla="*/ 0 h 46"/>
                <a:gd name="T44" fmla="*/ 14010 w 86"/>
                <a:gd name="T45" fmla="*/ 0 h 46"/>
                <a:gd name="T46" fmla="*/ 11039 w 86"/>
                <a:gd name="T47" fmla="*/ 1277 h 46"/>
                <a:gd name="T48" fmla="*/ 8067 w 86"/>
                <a:gd name="T49" fmla="*/ 3831 h 46"/>
                <a:gd name="T50" fmla="*/ 5944 w 86"/>
                <a:gd name="T51" fmla="*/ 7661 h 46"/>
                <a:gd name="T52" fmla="*/ 3396 w 86"/>
                <a:gd name="T53" fmla="*/ 12769 h 46"/>
                <a:gd name="T54" fmla="*/ 1698 w 86"/>
                <a:gd name="T55" fmla="*/ 19153 h 46"/>
                <a:gd name="T56" fmla="*/ 0 w 86"/>
                <a:gd name="T57" fmla="*/ 26815 h 4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86" h="46">
                  <a:moveTo>
                    <a:pt x="0" y="21"/>
                  </a:moveTo>
                  <a:lnTo>
                    <a:pt x="14" y="26"/>
                  </a:lnTo>
                  <a:lnTo>
                    <a:pt x="25" y="29"/>
                  </a:lnTo>
                  <a:lnTo>
                    <a:pt x="30" y="30"/>
                  </a:lnTo>
                  <a:lnTo>
                    <a:pt x="36" y="30"/>
                  </a:lnTo>
                  <a:lnTo>
                    <a:pt x="41" y="29"/>
                  </a:lnTo>
                  <a:lnTo>
                    <a:pt x="46" y="27"/>
                  </a:lnTo>
                  <a:lnTo>
                    <a:pt x="46" y="36"/>
                  </a:lnTo>
                  <a:lnTo>
                    <a:pt x="46" y="46"/>
                  </a:lnTo>
                  <a:lnTo>
                    <a:pt x="56" y="45"/>
                  </a:lnTo>
                  <a:lnTo>
                    <a:pt x="67" y="43"/>
                  </a:lnTo>
                  <a:lnTo>
                    <a:pt x="77" y="40"/>
                  </a:lnTo>
                  <a:lnTo>
                    <a:pt x="86" y="40"/>
                  </a:lnTo>
                  <a:lnTo>
                    <a:pt x="83" y="32"/>
                  </a:lnTo>
                  <a:lnTo>
                    <a:pt x="80" y="25"/>
                  </a:lnTo>
                  <a:lnTo>
                    <a:pt x="74" y="19"/>
                  </a:lnTo>
                  <a:lnTo>
                    <a:pt x="70" y="14"/>
                  </a:lnTo>
                  <a:lnTo>
                    <a:pt x="64" y="9"/>
                  </a:lnTo>
                  <a:lnTo>
                    <a:pt x="58" y="6"/>
                  </a:lnTo>
                  <a:lnTo>
                    <a:pt x="51" y="3"/>
                  </a:lnTo>
                  <a:lnTo>
                    <a:pt x="46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6" y="1"/>
                  </a:lnTo>
                  <a:lnTo>
                    <a:pt x="19" y="3"/>
                  </a:lnTo>
                  <a:lnTo>
                    <a:pt x="14" y="6"/>
                  </a:lnTo>
                  <a:lnTo>
                    <a:pt x="8" y="10"/>
                  </a:lnTo>
                  <a:lnTo>
                    <a:pt x="4" y="15"/>
                  </a:lnTo>
                  <a:lnTo>
                    <a:pt x="0" y="2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828" name="Freeform 322"/>
            <p:cNvSpPr>
              <a:spLocks/>
            </p:cNvSpPr>
            <p:nvPr>
              <p:custDataLst>
                <p:tags r:id="rId220"/>
              </p:custDataLst>
            </p:nvPr>
          </p:nvSpPr>
          <p:spPr bwMode="auto">
            <a:xfrm>
              <a:off x="9219736" y="4414324"/>
              <a:ext cx="30282" cy="66724"/>
            </a:xfrm>
            <a:custGeom>
              <a:avLst/>
              <a:gdLst>
                <a:gd name="T0" fmla="*/ 0 w 59"/>
                <a:gd name="T1" fmla="*/ 0 h 18"/>
                <a:gd name="T2" fmla="*/ 0 w 59"/>
                <a:gd name="T3" fmla="*/ 55563 h 18"/>
                <a:gd name="T4" fmla="*/ 16790 w 59"/>
                <a:gd name="T5" fmla="*/ 55563 h 18"/>
                <a:gd name="T6" fmla="*/ 25400 w 59"/>
                <a:gd name="T7" fmla="*/ 18521 h 18"/>
                <a:gd name="T8" fmla="*/ 21956 w 59"/>
                <a:gd name="T9" fmla="*/ 15434 h 18"/>
                <a:gd name="T10" fmla="*/ 19373 w 59"/>
                <a:gd name="T11" fmla="*/ 12347 h 18"/>
                <a:gd name="T12" fmla="*/ 15929 w 59"/>
                <a:gd name="T13" fmla="*/ 15434 h 18"/>
                <a:gd name="T14" fmla="*/ 12485 w 59"/>
                <a:gd name="T15" fmla="*/ 18521 h 18"/>
                <a:gd name="T16" fmla="*/ 9471 w 59"/>
                <a:gd name="T17" fmla="*/ 18521 h 18"/>
                <a:gd name="T18" fmla="*/ 6027 w 59"/>
                <a:gd name="T19" fmla="*/ 15434 h 18"/>
                <a:gd name="T20" fmla="*/ 3014 w 59"/>
                <a:gd name="T21" fmla="*/ 12347 h 18"/>
                <a:gd name="T22" fmla="*/ 0 w 59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59" h="18">
                  <a:moveTo>
                    <a:pt x="0" y="0"/>
                  </a:moveTo>
                  <a:lnTo>
                    <a:pt x="0" y="18"/>
                  </a:lnTo>
                  <a:lnTo>
                    <a:pt x="39" y="18"/>
                  </a:lnTo>
                  <a:lnTo>
                    <a:pt x="59" y="6"/>
                  </a:lnTo>
                  <a:lnTo>
                    <a:pt x="51" y="5"/>
                  </a:lnTo>
                  <a:lnTo>
                    <a:pt x="45" y="4"/>
                  </a:lnTo>
                  <a:lnTo>
                    <a:pt x="37" y="5"/>
                  </a:lnTo>
                  <a:lnTo>
                    <a:pt x="29" y="6"/>
                  </a:lnTo>
                  <a:lnTo>
                    <a:pt x="22" y="6"/>
                  </a:lnTo>
                  <a:lnTo>
                    <a:pt x="14" y="5"/>
                  </a:lnTo>
                  <a:lnTo>
                    <a:pt x="7" y="4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829" name="Freeform 323"/>
            <p:cNvSpPr>
              <a:spLocks/>
            </p:cNvSpPr>
            <p:nvPr>
              <p:custDataLst>
                <p:tags r:id="rId221"/>
              </p:custDataLst>
            </p:nvPr>
          </p:nvSpPr>
          <p:spPr bwMode="auto">
            <a:xfrm>
              <a:off x="9306796" y="4404791"/>
              <a:ext cx="1893" cy="66723"/>
            </a:xfrm>
            <a:custGeom>
              <a:avLst/>
              <a:gdLst>
                <a:gd name="T0" fmla="*/ 1588 w 4"/>
                <a:gd name="T1" fmla="*/ 55562 h 19"/>
                <a:gd name="T2" fmla="*/ 1588 w 4"/>
                <a:gd name="T3" fmla="*/ 0 h 19"/>
                <a:gd name="T4" fmla="*/ 794 w 4"/>
                <a:gd name="T5" fmla="*/ 2924 h 19"/>
                <a:gd name="T6" fmla="*/ 397 w 4"/>
                <a:gd name="T7" fmla="*/ 8773 h 19"/>
                <a:gd name="T8" fmla="*/ 0 w 4"/>
                <a:gd name="T9" fmla="*/ 17546 h 19"/>
                <a:gd name="T10" fmla="*/ 0 w 4"/>
                <a:gd name="T11" fmla="*/ 29243 h 19"/>
                <a:gd name="T12" fmla="*/ 0 w 4"/>
                <a:gd name="T13" fmla="*/ 40940 h 19"/>
                <a:gd name="T14" fmla="*/ 397 w 4"/>
                <a:gd name="T15" fmla="*/ 46789 h 19"/>
                <a:gd name="T16" fmla="*/ 794 w 4"/>
                <a:gd name="T17" fmla="*/ 55562 h 19"/>
                <a:gd name="T18" fmla="*/ 1588 w 4"/>
                <a:gd name="T19" fmla="*/ 55562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" h="19">
                  <a:moveTo>
                    <a:pt x="4" y="19"/>
                  </a:moveTo>
                  <a:lnTo>
                    <a:pt x="4" y="0"/>
                  </a:lnTo>
                  <a:lnTo>
                    <a:pt x="2" y="1"/>
                  </a:lnTo>
                  <a:lnTo>
                    <a:pt x="1" y="3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4"/>
                  </a:lnTo>
                  <a:lnTo>
                    <a:pt x="1" y="16"/>
                  </a:lnTo>
                  <a:lnTo>
                    <a:pt x="2" y="19"/>
                  </a:lnTo>
                  <a:lnTo>
                    <a:pt x="4" y="1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830" name="Freeform 324"/>
            <p:cNvSpPr>
              <a:spLocks/>
            </p:cNvSpPr>
            <p:nvPr>
              <p:custDataLst>
                <p:tags r:id="rId222"/>
              </p:custDataLst>
            </p:nvPr>
          </p:nvSpPr>
          <p:spPr bwMode="auto">
            <a:xfrm>
              <a:off x="8799578" y="4181744"/>
              <a:ext cx="24604" cy="70537"/>
            </a:xfrm>
            <a:custGeom>
              <a:avLst/>
              <a:gdLst>
                <a:gd name="T0" fmla="*/ 0 w 46"/>
                <a:gd name="T1" fmla="*/ 58738 h 50"/>
                <a:gd name="T2" fmla="*/ 3141 w 46"/>
                <a:gd name="T3" fmla="*/ 0 h 50"/>
                <a:gd name="T4" fmla="*/ 10319 w 46"/>
                <a:gd name="T5" fmla="*/ 9398 h 50"/>
                <a:gd name="T6" fmla="*/ 15254 w 46"/>
                <a:gd name="T7" fmla="*/ 16447 h 50"/>
                <a:gd name="T8" fmla="*/ 16600 w 46"/>
                <a:gd name="T9" fmla="*/ 21146 h 50"/>
                <a:gd name="T10" fmla="*/ 18395 w 46"/>
                <a:gd name="T11" fmla="*/ 25845 h 50"/>
                <a:gd name="T12" fmla="*/ 19741 w 46"/>
                <a:gd name="T13" fmla="*/ 35243 h 50"/>
                <a:gd name="T14" fmla="*/ 20638 w 46"/>
                <a:gd name="T15" fmla="*/ 44641 h 50"/>
                <a:gd name="T16" fmla="*/ 15254 w 46"/>
                <a:gd name="T17" fmla="*/ 49340 h 50"/>
                <a:gd name="T18" fmla="*/ 9422 w 46"/>
                <a:gd name="T19" fmla="*/ 54039 h 50"/>
                <a:gd name="T20" fmla="*/ 3589 w 46"/>
                <a:gd name="T21" fmla="*/ 57563 h 50"/>
                <a:gd name="T22" fmla="*/ 0 w 46"/>
                <a:gd name="T23" fmla="*/ 58738 h 5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6" h="50">
                  <a:moveTo>
                    <a:pt x="0" y="50"/>
                  </a:moveTo>
                  <a:lnTo>
                    <a:pt x="7" y="0"/>
                  </a:lnTo>
                  <a:lnTo>
                    <a:pt x="23" y="8"/>
                  </a:lnTo>
                  <a:lnTo>
                    <a:pt x="34" y="14"/>
                  </a:lnTo>
                  <a:lnTo>
                    <a:pt x="37" y="18"/>
                  </a:lnTo>
                  <a:lnTo>
                    <a:pt x="41" y="22"/>
                  </a:lnTo>
                  <a:lnTo>
                    <a:pt x="44" y="30"/>
                  </a:lnTo>
                  <a:lnTo>
                    <a:pt x="46" y="38"/>
                  </a:lnTo>
                  <a:lnTo>
                    <a:pt x="34" y="42"/>
                  </a:lnTo>
                  <a:lnTo>
                    <a:pt x="21" y="46"/>
                  </a:lnTo>
                  <a:lnTo>
                    <a:pt x="8" y="49"/>
                  </a:lnTo>
                  <a:lnTo>
                    <a:pt x="0" y="5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831" name="Freeform 325"/>
            <p:cNvSpPr>
              <a:spLocks/>
            </p:cNvSpPr>
            <p:nvPr>
              <p:custDataLst>
                <p:tags r:id="rId223"/>
              </p:custDataLst>
            </p:nvPr>
          </p:nvSpPr>
          <p:spPr bwMode="auto">
            <a:xfrm>
              <a:off x="8735231" y="4149338"/>
              <a:ext cx="35960" cy="70535"/>
            </a:xfrm>
            <a:custGeom>
              <a:avLst/>
              <a:gdLst>
                <a:gd name="T0" fmla="*/ 0 w 66"/>
                <a:gd name="T1" fmla="*/ 0 h 80"/>
                <a:gd name="T2" fmla="*/ 4570 w 66"/>
                <a:gd name="T3" fmla="*/ 0 h 80"/>
                <a:gd name="T4" fmla="*/ 8226 w 66"/>
                <a:gd name="T5" fmla="*/ 0 h 80"/>
                <a:gd name="T6" fmla="*/ 11882 w 66"/>
                <a:gd name="T7" fmla="*/ 0 h 80"/>
                <a:gd name="T8" fmla="*/ 15082 w 66"/>
                <a:gd name="T9" fmla="*/ 0 h 80"/>
                <a:gd name="T10" fmla="*/ 15082 w 66"/>
                <a:gd name="T11" fmla="*/ 5139 h 80"/>
                <a:gd name="T12" fmla="*/ 15539 w 66"/>
                <a:gd name="T13" fmla="*/ 10279 h 80"/>
                <a:gd name="T14" fmla="*/ 16453 w 66"/>
                <a:gd name="T15" fmla="*/ 15418 h 80"/>
                <a:gd name="T16" fmla="*/ 17367 w 66"/>
                <a:gd name="T17" fmla="*/ 19824 h 80"/>
                <a:gd name="T18" fmla="*/ 20109 w 66"/>
                <a:gd name="T19" fmla="*/ 26432 h 80"/>
                <a:gd name="T20" fmla="*/ 22394 w 66"/>
                <a:gd name="T21" fmla="*/ 33040 h 80"/>
                <a:gd name="T22" fmla="*/ 25593 w 66"/>
                <a:gd name="T23" fmla="*/ 38179 h 80"/>
                <a:gd name="T24" fmla="*/ 27878 w 66"/>
                <a:gd name="T25" fmla="*/ 44053 h 80"/>
                <a:gd name="T26" fmla="*/ 28335 w 66"/>
                <a:gd name="T27" fmla="*/ 47724 h 80"/>
                <a:gd name="T28" fmla="*/ 29706 w 66"/>
                <a:gd name="T29" fmla="*/ 50661 h 80"/>
                <a:gd name="T30" fmla="*/ 30163 w 66"/>
                <a:gd name="T31" fmla="*/ 55066 h 80"/>
                <a:gd name="T32" fmla="*/ 30163 w 66"/>
                <a:gd name="T33" fmla="*/ 58737 h 80"/>
                <a:gd name="T34" fmla="*/ 0 w 66"/>
                <a:gd name="T35" fmla="*/ 13216 h 80"/>
                <a:gd name="T36" fmla="*/ 0 w 66"/>
                <a:gd name="T37" fmla="*/ 0 h 80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6" h="80">
                  <a:moveTo>
                    <a:pt x="0" y="0"/>
                  </a:moveTo>
                  <a:lnTo>
                    <a:pt x="10" y="0"/>
                  </a:lnTo>
                  <a:lnTo>
                    <a:pt x="18" y="0"/>
                  </a:lnTo>
                  <a:lnTo>
                    <a:pt x="26" y="0"/>
                  </a:lnTo>
                  <a:lnTo>
                    <a:pt x="33" y="0"/>
                  </a:lnTo>
                  <a:lnTo>
                    <a:pt x="33" y="7"/>
                  </a:lnTo>
                  <a:lnTo>
                    <a:pt x="34" y="14"/>
                  </a:lnTo>
                  <a:lnTo>
                    <a:pt x="36" y="21"/>
                  </a:lnTo>
                  <a:lnTo>
                    <a:pt x="38" y="27"/>
                  </a:lnTo>
                  <a:lnTo>
                    <a:pt x="44" y="36"/>
                  </a:lnTo>
                  <a:lnTo>
                    <a:pt x="49" y="45"/>
                  </a:lnTo>
                  <a:lnTo>
                    <a:pt x="56" y="52"/>
                  </a:lnTo>
                  <a:lnTo>
                    <a:pt x="61" y="60"/>
                  </a:lnTo>
                  <a:lnTo>
                    <a:pt x="62" y="65"/>
                  </a:lnTo>
                  <a:lnTo>
                    <a:pt x="65" y="69"/>
                  </a:lnTo>
                  <a:lnTo>
                    <a:pt x="66" y="75"/>
                  </a:lnTo>
                  <a:lnTo>
                    <a:pt x="66" y="80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832" name="Freeform 326"/>
            <p:cNvSpPr>
              <a:spLocks/>
            </p:cNvSpPr>
            <p:nvPr>
              <p:custDataLst>
                <p:tags r:id="rId224"/>
              </p:custDataLst>
            </p:nvPr>
          </p:nvSpPr>
          <p:spPr bwMode="auto">
            <a:xfrm>
              <a:off x="8538400" y="4130273"/>
              <a:ext cx="9464" cy="68630"/>
            </a:xfrm>
            <a:custGeom>
              <a:avLst/>
              <a:gdLst>
                <a:gd name="T0" fmla="*/ 7938 w 20"/>
                <a:gd name="T1" fmla="*/ 57150 h 48"/>
                <a:gd name="T2" fmla="*/ 7938 w 20"/>
                <a:gd name="T3" fmla="*/ 46434 h 48"/>
                <a:gd name="T4" fmla="*/ 7541 w 20"/>
                <a:gd name="T5" fmla="*/ 38100 h 48"/>
                <a:gd name="T6" fmla="*/ 6350 w 20"/>
                <a:gd name="T7" fmla="*/ 29766 h 48"/>
                <a:gd name="T8" fmla="*/ 5557 w 20"/>
                <a:gd name="T9" fmla="*/ 22622 h 48"/>
                <a:gd name="T10" fmla="*/ 4763 w 20"/>
                <a:gd name="T11" fmla="*/ 16669 h 48"/>
                <a:gd name="T12" fmla="*/ 3572 w 20"/>
                <a:gd name="T13" fmla="*/ 10716 h 48"/>
                <a:gd name="T14" fmla="*/ 1588 w 20"/>
                <a:gd name="T15" fmla="*/ 4763 h 48"/>
                <a:gd name="T16" fmla="*/ 0 w 20"/>
                <a:gd name="T17" fmla="*/ 0 h 48"/>
                <a:gd name="T18" fmla="*/ 0 w 20"/>
                <a:gd name="T19" fmla="*/ 9525 h 48"/>
                <a:gd name="T20" fmla="*/ 794 w 20"/>
                <a:gd name="T21" fmla="*/ 20241 h 48"/>
                <a:gd name="T22" fmla="*/ 1588 w 20"/>
                <a:gd name="T23" fmla="*/ 28575 h 48"/>
                <a:gd name="T24" fmla="*/ 3175 w 20"/>
                <a:gd name="T25" fmla="*/ 36909 h 48"/>
                <a:gd name="T26" fmla="*/ 5557 w 20"/>
                <a:gd name="T27" fmla="*/ 48816 h 48"/>
                <a:gd name="T28" fmla="*/ 7938 w 20"/>
                <a:gd name="T29" fmla="*/ 57150 h 4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0" h="48">
                  <a:moveTo>
                    <a:pt x="20" y="48"/>
                  </a:moveTo>
                  <a:lnTo>
                    <a:pt x="20" y="39"/>
                  </a:lnTo>
                  <a:lnTo>
                    <a:pt x="19" y="32"/>
                  </a:lnTo>
                  <a:lnTo>
                    <a:pt x="16" y="25"/>
                  </a:lnTo>
                  <a:lnTo>
                    <a:pt x="14" y="19"/>
                  </a:lnTo>
                  <a:lnTo>
                    <a:pt x="12" y="14"/>
                  </a:lnTo>
                  <a:lnTo>
                    <a:pt x="9" y="9"/>
                  </a:lnTo>
                  <a:lnTo>
                    <a:pt x="4" y="4"/>
                  </a:lnTo>
                  <a:lnTo>
                    <a:pt x="0" y="0"/>
                  </a:lnTo>
                  <a:lnTo>
                    <a:pt x="0" y="8"/>
                  </a:lnTo>
                  <a:lnTo>
                    <a:pt x="2" y="17"/>
                  </a:lnTo>
                  <a:lnTo>
                    <a:pt x="4" y="24"/>
                  </a:lnTo>
                  <a:lnTo>
                    <a:pt x="8" y="31"/>
                  </a:lnTo>
                  <a:lnTo>
                    <a:pt x="14" y="41"/>
                  </a:lnTo>
                  <a:lnTo>
                    <a:pt x="20" y="4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833" name="Line 327" descr="Horizontal dunkel"/>
            <p:cNvSpPr>
              <a:spLocks noChangeShapeType="1"/>
            </p:cNvSpPr>
            <p:nvPr>
              <p:custDataLst>
                <p:tags r:id="rId225"/>
              </p:custDataLst>
            </p:nvPr>
          </p:nvSpPr>
          <p:spPr bwMode="auto">
            <a:xfrm>
              <a:off x="8568682" y="4174119"/>
              <a:ext cx="5678" cy="7626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834" name="Freeform 328"/>
            <p:cNvSpPr>
              <a:spLocks/>
            </p:cNvSpPr>
            <p:nvPr>
              <p:custDataLst>
                <p:tags r:id="rId226"/>
              </p:custDataLst>
            </p:nvPr>
          </p:nvSpPr>
          <p:spPr bwMode="auto">
            <a:xfrm>
              <a:off x="8564896" y="4174119"/>
              <a:ext cx="9464" cy="68630"/>
            </a:xfrm>
            <a:custGeom>
              <a:avLst/>
              <a:gdLst>
                <a:gd name="T0" fmla="*/ 7938 w 20"/>
                <a:gd name="T1" fmla="*/ 57150 h 12"/>
                <a:gd name="T2" fmla="*/ 7938 w 20"/>
                <a:gd name="T3" fmla="*/ 38100 h 12"/>
                <a:gd name="T4" fmla="*/ 7144 w 20"/>
                <a:gd name="T5" fmla="*/ 23813 h 12"/>
                <a:gd name="T6" fmla="*/ 5954 w 20"/>
                <a:gd name="T7" fmla="*/ 14288 h 12"/>
                <a:gd name="T8" fmla="*/ 5160 w 20"/>
                <a:gd name="T9" fmla="*/ 9525 h 12"/>
                <a:gd name="T10" fmla="*/ 2778 w 20"/>
                <a:gd name="T11" fmla="*/ 0 h 12"/>
                <a:gd name="T12" fmla="*/ 0 w 20"/>
                <a:gd name="T13" fmla="*/ 0 h 1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" h="12">
                  <a:moveTo>
                    <a:pt x="20" y="12"/>
                  </a:moveTo>
                  <a:lnTo>
                    <a:pt x="20" y="8"/>
                  </a:lnTo>
                  <a:lnTo>
                    <a:pt x="18" y="5"/>
                  </a:lnTo>
                  <a:lnTo>
                    <a:pt x="15" y="3"/>
                  </a:lnTo>
                  <a:lnTo>
                    <a:pt x="13" y="2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835" name="Freeform 329"/>
            <p:cNvSpPr>
              <a:spLocks/>
            </p:cNvSpPr>
            <p:nvPr>
              <p:custDataLst>
                <p:tags r:id="rId227"/>
              </p:custDataLst>
            </p:nvPr>
          </p:nvSpPr>
          <p:spPr bwMode="auto">
            <a:xfrm>
              <a:off x="8447556" y="3987294"/>
              <a:ext cx="26496" cy="68630"/>
            </a:xfrm>
            <a:custGeom>
              <a:avLst/>
              <a:gdLst>
                <a:gd name="T0" fmla="*/ 2935 w 53"/>
                <a:gd name="T1" fmla="*/ 0 h 30"/>
                <a:gd name="T2" fmla="*/ 4613 w 53"/>
                <a:gd name="T3" fmla="*/ 7620 h 30"/>
                <a:gd name="T4" fmla="*/ 9645 w 53"/>
                <a:gd name="T5" fmla="*/ 24765 h 30"/>
                <a:gd name="T6" fmla="*/ 15516 w 53"/>
                <a:gd name="T7" fmla="*/ 43815 h 30"/>
                <a:gd name="T8" fmla="*/ 19290 w 53"/>
                <a:gd name="T9" fmla="*/ 57150 h 30"/>
                <a:gd name="T10" fmla="*/ 20548 w 53"/>
                <a:gd name="T11" fmla="*/ 34290 h 30"/>
                <a:gd name="T12" fmla="*/ 22225 w 53"/>
                <a:gd name="T13" fmla="*/ 11430 h 30"/>
                <a:gd name="T14" fmla="*/ 15516 w 53"/>
                <a:gd name="T15" fmla="*/ 9525 h 30"/>
                <a:gd name="T16" fmla="*/ 10903 w 53"/>
                <a:gd name="T17" fmla="*/ 5715 h 30"/>
                <a:gd name="T18" fmla="*/ 8806 w 53"/>
                <a:gd name="T19" fmla="*/ 5715 h 30"/>
                <a:gd name="T20" fmla="*/ 6290 w 53"/>
                <a:gd name="T21" fmla="*/ 5715 h 30"/>
                <a:gd name="T22" fmla="*/ 3774 w 53"/>
                <a:gd name="T23" fmla="*/ 7620 h 30"/>
                <a:gd name="T24" fmla="*/ 0 w 53"/>
                <a:gd name="T25" fmla="*/ 11430 h 30"/>
                <a:gd name="T26" fmla="*/ 2935 w 53"/>
                <a:gd name="T27" fmla="*/ 0 h 3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53" h="30">
                  <a:moveTo>
                    <a:pt x="7" y="0"/>
                  </a:moveTo>
                  <a:lnTo>
                    <a:pt x="11" y="4"/>
                  </a:lnTo>
                  <a:lnTo>
                    <a:pt x="23" y="13"/>
                  </a:lnTo>
                  <a:lnTo>
                    <a:pt x="37" y="23"/>
                  </a:lnTo>
                  <a:lnTo>
                    <a:pt x="46" y="30"/>
                  </a:lnTo>
                  <a:lnTo>
                    <a:pt x="49" y="18"/>
                  </a:lnTo>
                  <a:lnTo>
                    <a:pt x="53" y="6"/>
                  </a:lnTo>
                  <a:lnTo>
                    <a:pt x="37" y="5"/>
                  </a:lnTo>
                  <a:lnTo>
                    <a:pt x="26" y="3"/>
                  </a:lnTo>
                  <a:lnTo>
                    <a:pt x="21" y="3"/>
                  </a:lnTo>
                  <a:lnTo>
                    <a:pt x="15" y="3"/>
                  </a:lnTo>
                  <a:lnTo>
                    <a:pt x="9" y="4"/>
                  </a:lnTo>
                  <a:lnTo>
                    <a:pt x="0" y="6"/>
                  </a:lnTo>
                  <a:lnTo>
                    <a:pt x="7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836" name="Freeform 330"/>
            <p:cNvSpPr>
              <a:spLocks/>
            </p:cNvSpPr>
            <p:nvPr>
              <p:custDataLst>
                <p:tags r:id="rId228"/>
              </p:custDataLst>
            </p:nvPr>
          </p:nvSpPr>
          <p:spPr bwMode="auto">
            <a:xfrm>
              <a:off x="9077791" y="4423855"/>
              <a:ext cx="13248" cy="68630"/>
            </a:xfrm>
            <a:custGeom>
              <a:avLst/>
              <a:gdLst>
                <a:gd name="T0" fmla="*/ 0 w 33"/>
                <a:gd name="T1" fmla="*/ 11061 h 31"/>
                <a:gd name="T2" fmla="*/ 1347 w 33"/>
                <a:gd name="T3" fmla="*/ 38715 h 31"/>
                <a:gd name="T4" fmla="*/ 2357 w 33"/>
                <a:gd name="T5" fmla="*/ 57150 h 31"/>
                <a:gd name="T6" fmla="*/ 7408 w 33"/>
                <a:gd name="T7" fmla="*/ 57150 h 31"/>
                <a:gd name="T8" fmla="*/ 11112 w 33"/>
                <a:gd name="T9" fmla="*/ 57150 h 31"/>
                <a:gd name="T10" fmla="*/ 11112 w 33"/>
                <a:gd name="T11" fmla="*/ 0 h 31"/>
                <a:gd name="T12" fmla="*/ 9092 w 33"/>
                <a:gd name="T13" fmla="*/ 0 h 31"/>
                <a:gd name="T14" fmla="*/ 6398 w 33"/>
                <a:gd name="T15" fmla="*/ 0 h 31"/>
                <a:gd name="T16" fmla="*/ 3367 w 33"/>
                <a:gd name="T17" fmla="*/ 0 h 31"/>
                <a:gd name="T18" fmla="*/ 0 w 33"/>
                <a:gd name="T19" fmla="*/ 0 h 31"/>
                <a:gd name="T20" fmla="*/ 0 w 33"/>
                <a:gd name="T21" fmla="*/ 11061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31">
                  <a:moveTo>
                    <a:pt x="0" y="6"/>
                  </a:moveTo>
                  <a:lnTo>
                    <a:pt x="4" y="21"/>
                  </a:lnTo>
                  <a:lnTo>
                    <a:pt x="7" y="31"/>
                  </a:lnTo>
                  <a:lnTo>
                    <a:pt x="22" y="31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837" name="Freeform 331"/>
            <p:cNvSpPr>
              <a:spLocks/>
            </p:cNvSpPr>
            <p:nvPr>
              <p:custDataLst>
                <p:tags r:id="rId229"/>
              </p:custDataLst>
            </p:nvPr>
          </p:nvSpPr>
          <p:spPr bwMode="auto">
            <a:xfrm>
              <a:off x="9692887" y="4372383"/>
              <a:ext cx="34067" cy="66724"/>
            </a:xfrm>
            <a:custGeom>
              <a:avLst/>
              <a:gdLst>
                <a:gd name="T0" fmla="*/ 8353 w 65"/>
                <a:gd name="T1" fmla="*/ 55563 h 68"/>
                <a:gd name="T2" fmla="*/ 7034 w 65"/>
                <a:gd name="T3" fmla="*/ 55563 h 68"/>
                <a:gd name="T4" fmla="*/ 6155 w 65"/>
                <a:gd name="T5" fmla="*/ 53929 h 68"/>
                <a:gd name="T6" fmla="*/ 4836 w 65"/>
                <a:gd name="T7" fmla="*/ 52295 h 68"/>
                <a:gd name="T8" fmla="*/ 3077 w 65"/>
                <a:gd name="T9" fmla="*/ 49843 h 68"/>
                <a:gd name="T10" fmla="*/ 1758 w 65"/>
                <a:gd name="T11" fmla="*/ 48209 h 68"/>
                <a:gd name="T12" fmla="*/ 879 w 65"/>
                <a:gd name="T13" fmla="*/ 44941 h 68"/>
                <a:gd name="T14" fmla="*/ 0 w 65"/>
                <a:gd name="T15" fmla="*/ 42489 h 68"/>
                <a:gd name="T16" fmla="*/ 0 w 65"/>
                <a:gd name="T17" fmla="*/ 40038 h 68"/>
                <a:gd name="T18" fmla="*/ 0 w 65"/>
                <a:gd name="T19" fmla="*/ 31050 h 68"/>
                <a:gd name="T20" fmla="*/ 879 w 65"/>
                <a:gd name="T21" fmla="*/ 23696 h 68"/>
                <a:gd name="T22" fmla="*/ 2198 w 65"/>
                <a:gd name="T23" fmla="*/ 17159 h 68"/>
                <a:gd name="T24" fmla="*/ 3957 w 65"/>
                <a:gd name="T25" fmla="*/ 11439 h 68"/>
                <a:gd name="T26" fmla="*/ 6594 w 65"/>
                <a:gd name="T27" fmla="*/ 6537 h 68"/>
                <a:gd name="T28" fmla="*/ 9672 w 65"/>
                <a:gd name="T29" fmla="*/ 3268 h 68"/>
                <a:gd name="T30" fmla="*/ 13188 w 65"/>
                <a:gd name="T31" fmla="*/ 1634 h 68"/>
                <a:gd name="T32" fmla="*/ 17145 w 65"/>
                <a:gd name="T33" fmla="*/ 0 h 68"/>
                <a:gd name="T34" fmla="*/ 22860 w 65"/>
                <a:gd name="T35" fmla="*/ 0 h 68"/>
                <a:gd name="T36" fmla="*/ 28575 w 65"/>
                <a:gd name="T37" fmla="*/ 0 h 68"/>
                <a:gd name="T38" fmla="*/ 28575 w 65"/>
                <a:gd name="T39" fmla="*/ 35135 h 68"/>
                <a:gd name="T40" fmla="*/ 24618 w 65"/>
                <a:gd name="T41" fmla="*/ 42489 h 68"/>
                <a:gd name="T42" fmla="*/ 19783 w 65"/>
                <a:gd name="T43" fmla="*/ 49843 h 68"/>
                <a:gd name="T44" fmla="*/ 17145 w 65"/>
                <a:gd name="T45" fmla="*/ 52295 h 68"/>
                <a:gd name="T46" fmla="*/ 14947 w 65"/>
                <a:gd name="T47" fmla="*/ 53929 h 68"/>
                <a:gd name="T48" fmla="*/ 11870 w 65"/>
                <a:gd name="T49" fmla="*/ 55563 h 68"/>
                <a:gd name="T50" fmla="*/ 8353 w 65"/>
                <a:gd name="T51" fmla="*/ 55563 h 68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65" h="68">
                  <a:moveTo>
                    <a:pt x="19" y="68"/>
                  </a:moveTo>
                  <a:lnTo>
                    <a:pt x="16" y="68"/>
                  </a:lnTo>
                  <a:lnTo>
                    <a:pt x="14" y="66"/>
                  </a:lnTo>
                  <a:lnTo>
                    <a:pt x="11" y="64"/>
                  </a:lnTo>
                  <a:lnTo>
                    <a:pt x="7" y="61"/>
                  </a:lnTo>
                  <a:lnTo>
                    <a:pt x="4" y="59"/>
                  </a:lnTo>
                  <a:lnTo>
                    <a:pt x="2" y="55"/>
                  </a:lnTo>
                  <a:lnTo>
                    <a:pt x="0" y="52"/>
                  </a:lnTo>
                  <a:lnTo>
                    <a:pt x="0" y="49"/>
                  </a:lnTo>
                  <a:lnTo>
                    <a:pt x="0" y="38"/>
                  </a:lnTo>
                  <a:lnTo>
                    <a:pt x="2" y="29"/>
                  </a:lnTo>
                  <a:lnTo>
                    <a:pt x="5" y="21"/>
                  </a:lnTo>
                  <a:lnTo>
                    <a:pt x="9" y="14"/>
                  </a:lnTo>
                  <a:lnTo>
                    <a:pt x="15" y="8"/>
                  </a:lnTo>
                  <a:lnTo>
                    <a:pt x="22" y="4"/>
                  </a:lnTo>
                  <a:lnTo>
                    <a:pt x="30" y="2"/>
                  </a:lnTo>
                  <a:lnTo>
                    <a:pt x="39" y="0"/>
                  </a:lnTo>
                  <a:lnTo>
                    <a:pt x="52" y="0"/>
                  </a:lnTo>
                  <a:lnTo>
                    <a:pt x="65" y="0"/>
                  </a:lnTo>
                  <a:lnTo>
                    <a:pt x="65" y="43"/>
                  </a:lnTo>
                  <a:lnTo>
                    <a:pt x="56" y="52"/>
                  </a:lnTo>
                  <a:lnTo>
                    <a:pt x="45" y="61"/>
                  </a:lnTo>
                  <a:lnTo>
                    <a:pt x="39" y="64"/>
                  </a:lnTo>
                  <a:lnTo>
                    <a:pt x="34" y="66"/>
                  </a:lnTo>
                  <a:lnTo>
                    <a:pt x="27" y="68"/>
                  </a:lnTo>
                  <a:lnTo>
                    <a:pt x="19" y="6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838" name="Freeform 332"/>
            <p:cNvSpPr>
              <a:spLocks/>
            </p:cNvSpPr>
            <p:nvPr>
              <p:custDataLst>
                <p:tags r:id="rId230"/>
              </p:custDataLst>
            </p:nvPr>
          </p:nvSpPr>
          <p:spPr bwMode="auto">
            <a:xfrm>
              <a:off x="8426738" y="3871005"/>
              <a:ext cx="327419" cy="442280"/>
            </a:xfrm>
            <a:custGeom>
              <a:avLst/>
              <a:gdLst>
                <a:gd name="T0" fmla="*/ 220588 w 625"/>
                <a:gd name="T1" fmla="*/ 178843 h 694"/>
                <a:gd name="T2" fmla="*/ 212679 w 625"/>
                <a:gd name="T3" fmla="*/ 180966 h 694"/>
                <a:gd name="T4" fmla="*/ 210482 w 625"/>
                <a:gd name="T5" fmla="*/ 202724 h 694"/>
                <a:gd name="T6" fmla="*/ 226301 w 625"/>
                <a:gd name="T7" fmla="*/ 214399 h 694"/>
                <a:gd name="T8" fmla="*/ 234650 w 625"/>
                <a:gd name="T9" fmla="*/ 214930 h 694"/>
                <a:gd name="T10" fmla="*/ 241681 w 625"/>
                <a:gd name="T11" fmla="*/ 225013 h 694"/>
                <a:gd name="T12" fmla="*/ 246075 w 625"/>
                <a:gd name="T13" fmla="*/ 243587 h 694"/>
                <a:gd name="T14" fmla="*/ 251348 w 625"/>
                <a:gd name="T15" fmla="*/ 251548 h 694"/>
                <a:gd name="T16" fmla="*/ 258378 w 625"/>
                <a:gd name="T17" fmla="*/ 256324 h 694"/>
                <a:gd name="T18" fmla="*/ 269803 w 625"/>
                <a:gd name="T19" fmla="*/ 258447 h 694"/>
                <a:gd name="T20" fmla="*/ 274637 w 625"/>
                <a:gd name="T21" fmla="*/ 267999 h 694"/>
                <a:gd name="T22" fmla="*/ 274637 w 625"/>
                <a:gd name="T23" fmla="*/ 286043 h 694"/>
                <a:gd name="T24" fmla="*/ 271561 w 625"/>
                <a:gd name="T25" fmla="*/ 320007 h 694"/>
                <a:gd name="T26" fmla="*/ 268485 w 625"/>
                <a:gd name="T27" fmla="*/ 356625 h 694"/>
                <a:gd name="T28" fmla="*/ 246954 w 625"/>
                <a:gd name="T29" fmla="*/ 367769 h 694"/>
                <a:gd name="T30" fmla="*/ 236847 w 625"/>
                <a:gd name="T31" fmla="*/ 367769 h 694"/>
                <a:gd name="T32" fmla="*/ 173131 w 625"/>
                <a:gd name="T33" fmla="*/ 299310 h 694"/>
                <a:gd name="T34" fmla="*/ 174449 w 625"/>
                <a:gd name="T35" fmla="*/ 292942 h 694"/>
                <a:gd name="T36" fmla="*/ 173131 w 625"/>
                <a:gd name="T37" fmla="*/ 286043 h 694"/>
                <a:gd name="T38" fmla="*/ 148524 w 625"/>
                <a:gd name="T39" fmla="*/ 258978 h 694"/>
                <a:gd name="T40" fmla="*/ 134023 w 625"/>
                <a:gd name="T41" fmla="*/ 240403 h 694"/>
                <a:gd name="T42" fmla="*/ 128750 w 625"/>
                <a:gd name="T43" fmla="*/ 222360 h 694"/>
                <a:gd name="T44" fmla="*/ 127871 w 625"/>
                <a:gd name="T45" fmla="*/ 202194 h 694"/>
                <a:gd name="T46" fmla="*/ 125234 w 625"/>
                <a:gd name="T47" fmla="*/ 191049 h 694"/>
                <a:gd name="T48" fmla="*/ 117764 w 625"/>
                <a:gd name="T49" fmla="*/ 181497 h 694"/>
                <a:gd name="T50" fmla="*/ 105900 w 625"/>
                <a:gd name="T51" fmla="*/ 164514 h 694"/>
                <a:gd name="T52" fmla="*/ 98430 w 625"/>
                <a:gd name="T53" fmla="*/ 142756 h 694"/>
                <a:gd name="T54" fmla="*/ 93596 w 625"/>
                <a:gd name="T55" fmla="*/ 126305 h 694"/>
                <a:gd name="T56" fmla="*/ 83490 w 625"/>
                <a:gd name="T57" fmla="*/ 112507 h 694"/>
                <a:gd name="T58" fmla="*/ 65913 w 625"/>
                <a:gd name="T59" fmla="*/ 90748 h 694"/>
                <a:gd name="T60" fmla="*/ 59761 w 625"/>
                <a:gd name="T61" fmla="*/ 77481 h 694"/>
                <a:gd name="T62" fmla="*/ 49215 w 625"/>
                <a:gd name="T63" fmla="*/ 70051 h 694"/>
                <a:gd name="T64" fmla="*/ 35154 w 625"/>
                <a:gd name="T65" fmla="*/ 59968 h 694"/>
                <a:gd name="T66" fmla="*/ 21532 w 625"/>
                <a:gd name="T67" fmla="*/ 45109 h 694"/>
                <a:gd name="T68" fmla="*/ 10107 w 625"/>
                <a:gd name="T69" fmla="*/ 27065 h 694"/>
                <a:gd name="T70" fmla="*/ 2197 w 625"/>
                <a:gd name="T71" fmla="*/ 10083 h 694"/>
                <a:gd name="T72" fmla="*/ 4394 w 625"/>
                <a:gd name="T73" fmla="*/ 2123 h 694"/>
                <a:gd name="T74" fmla="*/ 16259 w 625"/>
                <a:gd name="T75" fmla="*/ 6899 h 694"/>
                <a:gd name="T76" fmla="*/ 36911 w 625"/>
                <a:gd name="T77" fmla="*/ 8491 h 694"/>
                <a:gd name="T78" fmla="*/ 50973 w 625"/>
                <a:gd name="T79" fmla="*/ 10614 h 694"/>
                <a:gd name="T80" fmla="*/ 60640 w 625"/>
                <a:gd name="T81" fmla="*/ 14329 h 694"/>
                <a:gd name="T82" fmla="*/ 68549 w 625"/>
                <a:gd name="T83" fmla="*/ 22289 h 694"/>
                <a:gd name="T84" fmla="*/ 89642 w 625"/>
                <a:gd name="T85" fmla="*/ 57845 h 694"/>
                <a:gd name="T86" fmla="*/ 111612 w 625"/>
                <a:gd name="T87" fmla="*/ 86503 h 694"/>
                <a:gd name="T88" fmla="*/ 131386 w 625"/>
                <a:gd name="T89" fmla="*/ 107200 h 694"/>
                <a:gd name="T90" fmla="*/ 144569 w 625"/>
                <a:gd name="T91" fmla="*/ 116221 h 694"/>
                <a:gd name="T92" fmla="*/ 160827 w 625"/>
                <a:gd name="T93" fmla="*/ 120467 h 694"/>
                <a:gd name="T94" fmla="*/ 170495 w 625"/>
                <a:gd name="T95" fmla="*/ 122059 h 694"/>
                <a:gd name="T96" fmla="*/ 176207 w 625"/>
                <a:gd name="T97" fmla="*/ 127897 h 694"/>
                <a:gd name="T98" fmla="*/ 182798 w 625"/>
                <a:gd name="T99" fmla="*/ 137980 h 694"/>
                <a:gd name="T100" fmla="*/ 187632 w 625"/>
                <a:gd name="T101" fmla="*/ 140633 h 69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625" h="694">
                  <a:moveTo>
                    <a:pt x="433" y="265"/>
                  </a:moveTo>
                  <a:lnTo>
                    <a:pt x="512" y="333"/>
                  </a:lnTo>
                  <a:lnTo>
                    <a:pt x="502" y="337"/>
                  </a:lnTo>
                  <a:lnTo>
                    <a:pt x="493" y="341"/>
                  </a:lnTo>
                  <a:lnTo>
                    <a:pt x="489" y="341"/>
                  </a:lnTo>
                  <a:lnTo>
                    <a:pt x="484" y="341"/>
                  </a:lnTo>
                  <a:lnTo>
                    <a:pt x="481" y="341"/>
                  </a:lnTo>
                  <a:lnTo>
                    <a:pt x="479" y="339"/>
                  </a:lnTo>
                  <a:lnTo>
                    <a:pt x="479" y="382"/>
                  </a:lnTo>
                  <a:lnTo>
                    <a:pt x="493" y="392"/>
                  </a:lnTo>
                  <a:lnTo>
                    <a:pt x="507" y="402"/>
                  </a:lnTo>
                  <a:lnTo>
                    <a:pt x="515" y="404"/>
                  </a:lnTo>
                  <a:lnTo>
                    <a:pt x="524" y="406"/>
                  </a:lnTo>
                  <a:lnTo>
                    <a:pt x="528" y="405"/>
                  </a:lnTo>
                  <a:lnTo>
                    <a:pt x="534" y="405"/>
                  </a:lnTo>
                  <a:lnTo>
                    <a:pt x="539" y="403"/>
                  </a:lnTo>
                  <a:lnTo>
                    <a:pt x="545" y="402"/>
                  </a:lnTo>
                  <a:lnTo>
                    <a:pt x="550" y="424"/>
                  </a:lnTo>
                  <a:lnTo>
                    <a:pt x="554" y="443"/>
                  </a:lnTo>
                  <a:lnTo>
                    <a:pt x="558" y="451"/>
                  </a:lnTo>
                  <a:lnTo>
                    <a:pt x="560" y="459"/>
                  </a:lnTo>
                  <a:lnTo>
                    <a:pt x="563" y="465"/>
                  </a:lnTo>
                  <a:lnTo>
                    <a:pt x="568" y="470"/>
                  </a:lnTo>
                  <a:lnTo>
                    <a:pt x="572" y="474"/>
                  </a:lnTo>
                  <a:lnTo>
                    <a:pt x="576" y="478"/>
                  </a:lnTo>
                  <a:lnTo>
                    <a:pt x="582" y="481"/>
                  </a:lnTo>
                  <a:lnTo>
                    <a:pt x="588" y="483"/>
                  </a:lnTo>
                  <a:lnTo>
                    <a:pt x="596" y="485"/>
                  </a:lnTo>
                  <a:lnTo>
                    <a:pt x="605" y="486"/>
                  </a:lnTo>
                  <a:lnTo>
                    <a:pt x="614" y="487"/>
                  </a:lnTo>
                  <a:lnTo>
                    <a:pt x="625" y="487"/>
                  </a:lnTo>
                  <a:lnTo>
                    <a:pt x="625" y="496"/>
                  </a:lnTo>
                  <a:lnTo>
                    <a:pt x="625" y="505"/>
                  </a:lnTo>
                  <a:lnTo>
                    <a:pt x="625" y="515"/>
                  </a:lnTo>
                  <a:lnTo>
                    <a:pt x="625" y="525"/>
                  </a:lnTo>
                  <a:lnTo>
                    <a:pt x="625" y="539"/>
                  </a:lnTo>
                  <a:lnTo>
                    <a:pt x="622" y="557"/>
                  </a:lnTo>
                  <a:lnTo>
                    <a:pt x="620" y="579"/>
                  </a:lnTo>
                  <a:lnTo>
                    <a:pt x="618" y="603"/>
                  </a:lnTo>
                  <a:lnTo>
                    <a:pt x="616" y="628"/>
                  </a:lnTo>
                  <a:lnTo>
                    <a:pt x="614" y="651"/>
                  </a:lnTo>
                  <a:lnTo>
                    <a:pt x="611" y="672"/>
                  </a:lnTo>
                  <a:lnTo>
                    <a:pt x="611" y="691"/>
                  </a:lnTo>
                  <a:lnTo>
                    <a:pt x="582" y="692"/>
                  </a:lnTo>
                  <a:lnTo>
                    <a:pt x="562" y="693"/>
                  </a:lnTo>
                  <a:lnTo>
                    <a:pt x="553" y="694"/>
                  </a:lnTo>
                  <a:lnTo>
                    <a:pt x="546" y="693"/>
                  </a:lnTo>
                  <a:lnTo>
                    <a:pt x="539" y="693"/>
                  </a:lnTo>
                  <a:lnTo>
                    <a:pt x="531" y="691"/>
                  </a:lnTo>
                  <a:lnTo>
                    <a:pt x="392" y="567"/>
                  </a:lnTo>
                  <a:lnTo>
                    <a:pt x="394" y="564"/>
                  </a:lnTo>
                  <a:lnTo>
                    <a:pt x="396" y="560"/>
                  </a:lnTo>
                  <a:lnTo>
                    <a:pt x="397" y="556"/>
                  </a:lnTo>
                  <a:lnTo>
                    <a:pt x="397" y="552"/>
                  </a:lnTo>
                  <a:lnTo>
                    <a:pt x="397" y="547"/>
                  </a:lnTo>
                  <a:lnTo>
                    <a:pt x="396" y="543"/>
                  </a:lnTo>
                  <a:lnTo>
                    <a:pt x="394" y="539"/>
                  </a:lnTo>
                  <a:lnTo>
                    <a:pt x="392" y="537"/>
                  </a:lnTo>
                  <a:lnTo>
                    <a:pt x="366" y="513"/>
                  </a:lnTo>
                  <a:lnTo>
                    <a:pt x="338" y="488"/>
                  </a:lnTo>
                  <a:lnTo>
                    <a:pt x="326" y="476"/>
                  </a:lnTo>
                  <a:lnTo>
                    <a:pt x="315" y="465"/>
                  </a:lnTo>
                  <a:lnTo>
                    <a:pt x="305" y="453"/>
                  </a:lnTo>
                  <a:lnTo>
                    <a:pt x="300" y="444"/>
                  </a:lnTo>
                  <a:lnTo>
                    <a:pt x="295" y="432"/>
                  </a:lnTo>
                  <a:lnTo>
                    <a:pt x="293" y="419"/>
                  </a:lnTo>
                  <a:lnTo>
                    <a:pt x="292" y="407"/>
                  </a:lnTo>
                  <a:lnTo>
                    <a:pt x="292" y="393"/>
                  </a:lnTo>
                  <a:lnTo>
                    <a:pt x="291" y="381"/>
                  </a:lnTo>
                  <a:lnTo>
                    <a:pt x="289" y="370"/>
                  </a:lnTo>
                  <a:lnTo>
                    <a:pt x="288" y="365"/>
                  </a:lnTo>
                  <a:lnTo>
                    <a:pt x="285" y="360"/>
                  </a:lnTo>
                  <a:lnTo>
                    <a:pt x="282" y="356"/>
                  </a:lnTo>
                  <a:lnTo>
                    <a:pt x="279" y="352"/>
                  </a:lnTo>
                  <a:lnTo>
                    <a:pt x="268" y="342"/>
                  </a:lnTo>
                  <a:lnTo>
                    <a:pt x="258" y="332"/>
                  </a:lnTo>
                  <a:lnTo>
                    <a:pt x="249" y="321"/>
                  </a:lnTo>
                  <a:lnTo>
                    <a:pt x="241" y="310"/>
                  </a:lnTo>
                  <a:lnTo>
                    <a:pt x="235" y="297"/>
                  </a:lnTo>
                  <a:lnTo>
                    <a:pt x="229" y="283"/>
                  </a:lnTo>
                  <a:lnTo>
                    <a:pt x="224" y="269"/>
                  </a:lnTo>
                  <a:lnTo>
                    <a:pt x="220" y="253"/>
                  </a:lnTo>
                  <a:lnTo>
                    <a:pt x="216" y="246"/>
                  </a:lnTo>
                  <a:lnTo>
                    <a:pt x="213" y="238"/>
                  </a:lnTo>
                  <a:lnTo>
                    <a:pt x="207" y="231"/>
                  </a:lnTo>
                  <a:lnTo>
                    <a:pt x="202" y="224"/>
                  </a:lnTo>
                  <a:lnTo>
                    <a:pt x="190" y="212"/>
                  </a:lnTo>
                  <a:lnTo>
                    <a:pt x="177" y="199"/>
                  </a:lnTo>
                  <a:lnTo>
                    <a:pt x="162" y="187"/>
                  </a:lnTo>
                  <a:lnTo>
                    <a:pt x="150" y="171"/>
                  </a:lnTo>
                  <a:lnTo>
                    <a:pt x="145" y="164"/>
                  </a:lnTo>
                  <a:lnTo>
                    <a:pt x="140" y="155"/>
                  </a:lnTo>
                  <a:lnTo>
                    <a:pt x="136" y="146"/>
                  </a:lnTo>
                  <a:lnTo>
                    <a:pt x="133" y="136"/>
                  </a:lnTo>
                  <a:lnTo>
                    <a:pt x="123" y="135"/>
                  </a:lnTo>
                  <a:lnTo>
                    <a:pt x="112" y="132"/>
                  </a:lnTo>
                  <a:lnTo>
                    <a:pt x="102" y="128"/>
                  </a:lnTo>
                  <a:lnTo>
                    <a:pt x="91" y="121"/>
                  </a:lnTo>
                  <a:lnTo>
                    <a:pt x="80" y="113"/>
                  </a:lnTo>
                  <a:lnTo>
                    <a:pt x="69" y="104"/>
                  </a:lnTo>
                  <a:lnTo>
                    <a:pt x="59" y="95"/>
                  </a:lnTo>
                  <a:lnTo>
                    <a:pt x="49" y="85"/>
                  </a:lnTo>
                  <a:lnTo>
                    <a:pt x="39" y="74"/>
                  </a:lnTo>
                  <a:lnTo>
                    <a:pt x="31" y="62"/>
                  </a:lnTo>
                  <a:lnTo>
                    <a:pt x="23" y="51"/>
                  </a:lnTo>
                  <a:lnTo>
                    <a:pt x="16" y="40"/>
                  </a:lnTo>
                  <a:lnTo>
                    <a:pt x="10" y="29"/>
                  </a:lnTo>
                  <a:lnTo>
                    <a:pt x="5" y="19"/>
                  </a:lnTo>
                  <a:lnTo>
                    <a:pt x="2" y="9"/>
                  </a:lnTo>
                  <a:lnTo>
                    <a:pt x="0" y="0"/>
                  </a:lnTo>
                  <a:lnTo>
                    <a:pt x="10" y="4"/>
                  </a:lnTo>
                  <a:lnTo>
                    <a:pt x="20" y="7"/>
                  </a:lnTo>
                  <a:lnTo>
                    <a:pt x="28" y="10"/>
                  </a:lnTo>
                  <a:lnTo>
                    <a:pt x="37" y="13"/>
                  </a:lnTo>
                  <a:lnTo>
                    <a:pt x="54" y="15"/>
                  </a:lnTo>
                  <a:lnTo>
                    <a:pt x="69" y="16"/>
                  </a:lnTo>
                  <a:lnTo>
                    <a:pt x="84" y="16"/>
                  </a:lnTo>
                  <a:lnTo>
                    <a:pt x="100" y="17"/>
                  </a:lnTo>
                  <a:lnTo>
                    <a:pt x="108" y="19"/>
                  </a:lnTo>
                  <a:lnTo>
                    <a:pt x="116" y="20"/>
                  </a:lnTo>
                  <a:lnTo>
                    <a:pt x="124" y="22"/>
                  </a:lnTo>
                  <a:lnTo>
                    <a:pt x="133" y="25"/>
                  </a:lnTo>
                  <a:lnTo>
                    <a:pt x="138" y="27"/>
                  </a:lnTo>
                  <a:lnTo>
                    <a:pt x="144" y="31"/>
                  </a:lnTo>
                  <a:lnTo>
                    <a:pt x="149" y="36"/>
                  </a:lnTo>
                  <a:lnTo>
                    <a:pt x="156" y="42"/>
                  </a:lnTo>
                  <a:lnTo>
                    <a:pt x="169" y="57"/>
                  </a:lnTo>
                  <a:lnTo>
                    <a:pt x="181" y="76"/>
                  </a:lnTo>
                  <a:lnTo>
                    <a:pt x="204" y="109"/>
                  </a:lnTo>
                  <a:lnTo>
                    <a:pt x="220" y="130"/>
                  </a:lnTo>
                  <a:lnTo>
                    <a:pt x="237" y="147"/>
                  </a:lnTo>
                  <a:lnTo>
                    <a:pt x="254" y="163"/>
                  </a:lnTo>
                  <a:lnTo>
                    <a:pt x="271" y="181"/>
                  </a:lnTo>
                  <a:lnTo>
                    <a:pt x="289" y="196"/>
                  </a:lnTo>
                  <a:lnTo>
                    <a:pt x="299" y="202"/>
                  </a:lnTo>
                  <a:lnTo>
                    <a:pt x="308" y="209"/>
                  </a:lnTo>
                  <a:lnTo>
                    <a:pt x="318" y="214"/>
                  </a:lnTo>
                  <a:lnTo>
                    <a:pt x="329" y="219"/>
                  </a:lnTo>
                  <a:lnTo>
                    <a:pt x="341" y="223"/>
                  </a:lnTo>
                  <a:lnTo>
                    <a:pt x="353" y="226"/>
                  </a:lnTo>
                  <a:lnTo>
                    <a:pt x="366" y="227"/>
                  </a:lnTo>
                  <a:lnTo>
                    <a:pt x="379" y="228"/>
                  </a:lnTo>
                  <a:lnTo>
                    <a:pt x="383" y="229"/>
                  </a:lnTo>
                  <a:lnTo>
                    <a:pt x="388" y="230"/>
                  </a:lnTo>
                  <a:lnTo>
                    <a:pt x="392" y="231"/>
                  </a:lnTo>
                  <a:lnTo>
                    <a:pt x="395" y="235"/>
                  </a:lnTo>
                  <a:lnTo>
                    <a:pt x="401" y="241"/>
                  </a:lnTo>
                  <a:lnTo>
                    <a:pt x="405" y="247"/>
                  </a:lnTo>
                  <a:lnTo>
                    <a:pt x="411" y="254"/>
                  </a:lnTo>
                  <a:lnTo>
                    <a:pt x="416" y="260"/>
                  </a:lnTo>
                  <a:lnTo>
                    <a:pt x="419" y="262"/>
                  </a:lnTo>
                  <a:lnTo>
                    <a:pt x="423" y="264"/>
                  </a:lnTo>
                  <a:lnTo>
                    <a:pt x="427" y="265"/>
                  </a:lnTo>
                  <a:lnTo>
                    <a:pt x="433" y="26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839" name="Freeform 333"/>
            <p:cNvSpPr>
              <a:spLocks/>
            </p:cNvSpPr>
            <p:nvPr>
              <p:custDataLst>
                <p:tags r:id="rId231"/>
              </p:custDataLst>
            </p:nvPr>
          </p:nvSpPr>
          <p:spPr bwMode="auto">
            <a:xfrm>
              <a:off x="8833645" y="3930104"/>
              <a:ext cx="302816" cy="308833"/>
            </a:xfrm>
            <a:custGeom>
              <a:avLst/>
              <a:gdLst>
                <a:gd name="T0" fmla="*/ 224041 w 585"/>
                <a:gd name="T1" fmla="*/ 14606 h 493"/>
                <a:gd name="T2" fmla="*/ 214923 w 585"/>
                <a:gd name="T3" fmla="*/ 28691 h 493"/>
                <a:gd name="T4" fmla="*/ 222304 w 585"/>
                <a:gd name="T5" fmla="*/ 48514 h 493"/>
                <a:gd name="T6" fmla="*/ 231856 w 585"/>
                <a:gd name="T7" fmla="*/ 67815 h 493"/>
                <a:gd name="T8" fmla="*/ 248790 w 585"/>
                <a:gd name="T9" fmla="*/ 92333 h 493"/>
                <a:gd name="T10" fmla="*/ 251829 w 585"/>
                <a:gd name="T11" fmla="*/ 106939 h 493"/>
                <a:gd name="T12" fmla="*/ 237501 w 585"/>
                <a:gd name="T13" fmla="*/ 106417 h 493"/>
                <a:gd name="T14" fmla="*/ 224041 w 585"/>
                <a:gd name="T15" fmla="*/ 121545 h 493"/>
                <a:gd name="T16" fmla="*/ 219699 w 585"/>
                <a:gd name="T17" fmla="*/ 128327 h 493"/>
                <a:gd name="T18" fmla="*/ 224909 w 585"/>
                <a:gd name="T19" fmla="*/ 141368 h 493"/>
                <a:gd name="T20" fmla="*/ 227949 w 585"/>
                <a:gd name="T21" fmla="*/ 153366 h 493"/>
                <a:gd name="T22" fmla="*/ 219265 w 585"/>
                <a:gd name="T23" fmla="*/ 160669 h 493"/>
                <a:gd name="T24" fmla="*/ 199292 w 585"/>
                <a:gd name="T25" fmla="*/ 168494 h 493"/>
                <a:gd name="T26" fmla="*/ 192345 w 585"/>
                <a:gd name="T27" fmla="*/ 184665 h 493"/>
                <a:gd name="T28" fmla="*/ 193214 w 585"/>
                <a:gd name="T29" fmla="*/ 216486 h 493"/>
                <a:gd name="T30" fmla="*/ 186701 w 585"/>
                <a:gd name="T31" fmla="*/ 236831 h 493"/>
                <a:gd name="T32" fmla="*/ 173675 w 585"/>
                <a:gd name="T33" fmla="*/ 246220 h 493"/>
                <a:gd name="T34" fmla="*/ 160650 w 585"/>
                <a:gd name="T35" fmla="*/ 254567 h 493"/>
                <a:gd name="T36" fmla="*/ 148058 w 585"/>
                <a:gd name="T37" fmla="*/ 257175 h 493"/>
                <a:gd name="T38" fmla="*/ 142848 w 585"/>
                <a:gd name="T39" fmla="*/ 254045 h 493"/>
                <a:gd name="T40" fmla="*/ 141979 w 585"/>
                <a:gd name="T41" fmla="*/ 245699 h 493"/>
                <a:gd name="T42" fmla="*/ 131993 w 585"/>
                <a:gd name="T43" fmla="*/ 235266 h 493"/>
                <a:gd name="T44" fmla="*/ 108981 w 585"/>
                <a:gd name="T45" fmla="*/ 236831 h 493"/>
                <a:gd name="T46" fmla="*/ 95087 w 585"/>
                <a:gd name="T47" fmla="*/ 241004 h 493"/>
                <a:gd name="T48" fmla="*/ 76417 w 585"/>
                <a:gd name="T49" fmla="*/ 229527 h 493"/>
                <a:gd name="T50" fmla="*/ 52971 w 585"/>
                <a:gd name="T51" fmla="*/ 227441 h 493"/>
                <a:gd name="T52" fmla="*/ 41248 w 585"/>
                <a:gd name="T53" fmla="*/ 223789 h 493"/>
                <a:gd name="T54" fmla="*/ 35169 w 585"/>
                <a:gd name="T55" fmla="*/ 190925 h 493"/>
                <a:gd name="T56" fmla="*/ 25183 w 585"/>
                <a:gd name="T57" fmla="*/ 161712 h 493"/>
                <a:gd name="T58" fmla="*/ 15197 w 585"/>
                <a:gd name="T59" fmla="*/ 152323 h 493"/>
                <a:gd name="T60" fmla="*/ 5210 w 585"/>
                <a:gd name="T61" fmla="*/ 135630 h 493"/>
                <a:gd name="T62" fmla="*/ 2171 w 585"/>
                <a:gd name="T63" fmla="*/ 106417 h 493"/>
                <a:gd name="T64" fmla="*/ 13460 w 585"/>
                <a:gd name="T65" fmla="*/ 79813 h 493"/>
                <a:gd name="T66" fmla="*/ 23446 w 585"/>
                <a:gd name="T67" fmla="*/ 73553 h 493"/>
                <a:gd name="T68" fmla="*/ 32564 w 585"/>
                <a:gd name="T69" fmla="*/ 79291 h 493"/>
                <a:gd name="T70" fmla="*/ 42116 w 585"/>
                <a:gd name="T71" fmla="*/ 97549 h 493"/>
                <a:gd name="T72" fmla="*/ 56010 w 585"/>
                <a:gd name="T73" fmla="*/ 111634 h 493"/>
                <a:gd name="T74" fmla="*/ 73812 w 585"/>
                <a:gd name="T75" fmla="*/ 111112 h 493"/>
                <a:gd name="T76" fmla="*/ 95956 w 585"/>
                <a:gd name="T77" fmla="*/ 98592 h 493"/>
                <a:gd name="T78" fmla="*/ 101166 w 585"/>
                <a:gd name="T79" fmla="*/ 89724 h 493"/>
                <a:gd name="T80" fmla="*/ 125046 w 585"/>
                <a:gd name="T81" fmla="*/ 92854 h 493"/>
                <a:gd name="T82" fmla="*/ 141545 w 585"/>
                <a:gd name="T83" fmla="*/ 94419 h 493"/>
                <a:gd name="T84" fmla="*/ 146321 w 585"/>
                <a:gd name="T85" fmla="*/ 88681 h 493"/>
                <a:gd name="T86" fmla="*/ 157176 w 585"/>
                <a:gd name="T87" fmla="*/ 82421 h 493"/>
                <a:gd name="T88" fmla="*/ 166294 w 585"/>
                <a:gd name="T89" fmla="*/ 70945 h 493"/>
                <a:gd name="T90" fmla="*/ 180188 w 585"/>
                <a:gd name="T91" fmla="*/ 41211 h 493"/>
                <a:gd name="T92" fmla="*/ 185398 w 585"/>
                <a:gd name="T93" fmla="*/ 13041 h 493"/>
                <a:gd name="T94" fmla="*/ 194082 w 585"/>
                <a:gd name="T95" fmla="*/ 3130 h 493"/>
                <a:gd name="T96" fmla="*/ 207976 w 585"/>
                <a:gd name="T97" fmla="*/ 1043 h 49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585" h="493">
                  <a:moveTo>
                    <a:pt x="525" y="12"/>
                  </a:moveTo>
                  <a:lnTo>
                    <a:pt x="524" y="17"/>
                  </a:lnTo>
                  <a:lnTo>
                    <a:pt x="520" y="22"/>
                  </a:lnTo>
                  <a:lnTo>
                    <a:pt x="516" y="28"/>
                  </a:lnTo>
                  <a:lnTo>
                    <a:pt x="510" y="33"/>
                  </a:lnTo>
                  <a:lnTo>
                    <a:pt x="497" y="45"/>
                  </a:lnTo>
                  <a:lnTo>
                    <a:pt x="485" y="55"/>
                  </a:lnTo>
                  <a:lnTo>
                    <a:pt x="495" y="55"/>
                  </a:lnTo>
                  <a:lnTo>
                    <a:pt x="505" y="55"/>
                  </a:lnTo>
                  <a:lnTo>
                    <a:pt x="506" y="68"/>
                  </a:lnTo>
                  <a:lnTo>
                    <a:pt x="508" y="81"/>
                  </a:lnTo>
                  <a:lnTo>
                    <a:pt x="512" y="93"/>
                  </a:lnTo>
                  <a:lnTo>
                    <a:pt x="516" y="103"/>
                  </a:lnTo>
                  <a:lnTo>
                    <a:pt x="520" y="112"/>
                  </a:lnTo>
                  <a:lnTo>
                    <a:pt x="527" y="121"/>
                  </a:lnTo>
                  <a:lnTo>
                    <a:pt x="534" y="130"/>
                  </a:lnTo>
                  <a:lnTo>
                    <a:pt x="540" y="138"/>
                  </a:lnTo>
                  <a:lnTo>
                    <a:pt x="553" y="155"/>
                  </a:lnTo>
                  <a:lnTo>
                    <a:pt x="566" y="170"/>
                  </a:lnTo>
                  <a:lnTo>
                    <a:pt x="573" y="177"/>
                  </a:lnTo>
                  <a:lnTo>
                    <a:pt x="577" y="185"/>
                  </a:lnTo>
                  <a:lnTo>
                    <a:pt x="582" y="194"/>
                  </a:lnTo>
                  <a:lnTo>
                    <a:pt x="585" y="204"/>
                  </a:lnTo>
                  <a:lnTo>
                    <a:pt x="580" y="205"/>
                  </a:lnTo>
                  <a:lnTo>
                    <a:pt x="574" y="206"/>
                  </a:lnTo>
                  <a:lnTo>
                    <a:pt x="568" y="206"/>
                  </a:lnTo>
                  <a:lnTo>
                    <a:pt x="561" y="206"/>
                  </a:lnTo>
                  <a:lnTo>
                    <a:pt x="547" y="204"/>
                  </a:lnTo>
                  <a:lnTo>
                    <a:pt x="531" y="204"/>
                  </a:lnTo>
                  <a:lnTo>
                    <a:pt x="524" y="217"/>
                  </a:lnTo>
                  <a:lnTo>
                    <a:pt x="518" y="229"/>
                  </a:lnTo>
                  <a:lnTo>
                    <a:pt x="516" y="233"/>
                  </a:lnTo>
                  <a:lnTo>
                    <a:pt x="513" y="237"/>
                  </a:lnTo>
                  <a:lnTo>
                    <a:pt x="509" y="239"/>
                  </a:lnTo>
                  <a:lnTo>
                    <a:pt x="505" y="240"/>
                  </a:lnTo>
                  <a:lnTo>
                    <a:pt x="506" y="246"/>
                  </a:lnTo>
                  <a:lnTo>
                    <a:pt x="508" y="253"/>
                  </a:lnTo>
                  <a:lnTo>
                    <a:pt x="512" y="259"/>
                  </a:lnTo>
                  <a:lnTo>
                    <a:pt x="515" y="265"/>
                  </a:lnTo>
                  <a:lnTo>
                    <a:pt x="518" y="271"/>
                  </a:lnTo>
                  <a:lnTo>
                    <a:pt x="521" y="277"/>
                  </a:lnTo>
                  <a:lnTo>
                    <a:pt x="524" y="283"/>
                  </a:lnTo>
                  <a:lnTo>
                    <a:pt x="525" y="289"/>
                  </a:lnTo>
                  <a:lnTo>
                    <a:pt x="525" y="294"/>
                  </a:lnTo>
                  <a:lnTo>
                    <a:pt x="523" y="297"/>
                  </a:lnTo>
                  <a:lnTo>
                    <a:pt x="519" y="301"/>
                  </a:lnTo>
                  <a:lnTo>
                    <a:pt x="516" y="304"/>
                  </a:lnTo>
                  <a:lnTo>
                    <a:pt x="505" y="308"/>
                  </a:lnTo>
                  <a:lnTo>
                    <a:pt x="494" y="312"/>
                  </a:lnTo>
                  <a:lnTo>
                    <a:pt x="481" y="316"/>
                  </a:lnTo>
                  <a:lnTo>
                    <a:pt x="469" y="319"/>
                  </a:lnTo>
                  <a:lnTo>
                    <a:pt x="459" y="323"/>
                  </a:lnTo>
                  <a:lnTo>
                    <a:pt x="452" y="327"/>
                  </a:lnTo>
                  <a:lnTo>
                    <a:pt x="448" y="334"/>
                  </a:lnTo>
                  <a:lnTo>
                    <a:pt x="446" y="344"/>
                  </a:lnTo>
                  <a:lnTo>
                    <a:pt x="443" y="354"/>
                  </a:lnTo>
                  <a:lnTo>
                    <a:pt x="443" y="365"/>
                  </a:lnTo>
                  <a:lnTo>
                    <a:pt x="445" y="386"/>
                  </a:lnTo>
                  <a:lnTo>
                    <a:pt x="446" y="400"/>
                  </a:lnTo>
                  <a:lnTo>
                    <a:pt x="445" y="415"/>
                  </a:lnTo>
                  <a:lnTo>
                    <a:pt x="442" y="428"/>
                  </a:lnTo>
                  <a:lnTo>
                    <a:pt x="439" y="439"/>
                  </a:lnTo>
                  <a:lnTo>
                    <a:pt x="436" y="447"/>
                  </a:lnTo>
                  <a:lnTo>
                    <a:pt x="430" y="454"/>
                  </a:lnTo>
                  <a:lnTo>
                    <a:pt x="425" y="459"/>
                  </a:lnTo>
                  <a:lnTo>
                    <a:pt x="419" y="464"/>
                  </a:lnTo>
                  <a:lnTo>
                    <a:pt x="413" y="467"/>
                  </a:lnTo>
                  <a:lnTo>
                    <a:pt x="400" y="472"/>
                  </a:lnTo>
                  <a:lnTo>
                    <a:pt x="386" y="477"/>
                  </a:lnTo>
                  <a:lnTo>
                    <a:pt x="380" y="480"/>
                  </a:lnTo>
                  <a:lnTo>
                    <a:pt x="374" y="484"/>
                  </a:lnTo>
                  <a:lnTo>
                    <a:pt x="370" y="488"/>
                  </a:lnTo>
                  <a:lnTo>
                    <a:pt x="366" y="493"/>
                  </a:lnTo>
                  <a:lnTo>
                    <a:pt x="356" y="493"/>
                  </a:lnTo>
                  <a:lnTo>
                    <a:pt x="346" y="493"/>
                  </a:lnTo>
                  <a:lnTo>
                    <a:pt x="341" y="493"/>
                  </a:lnTo>
                  <a:lnTo>
                    <a:pt x="337" y="492"/>
                  </a:lnTo>
                  <a:lnTo>
                    <a:pt x="334" y="491"/>
                  </a:lnTo>
                  <a:lnTo>
                    <a:pt x="331" y="489"/>
                  </a:lnTo>
                  <a:lnTo>
                    <a:pt x="329" y="487"/>
                  </a:lnTo>
                  <a:lnTo>
                    <a:pt x="328" y="484"/>
                  </a:lnTo>
                  <a:lnTo>
                    <a:pt x="327" y="482"/>
                  </a:lnTo>
                  <a:lnTo>
                    <a:pt x="326" y="478"/>
                  </a:lnTo>
                  <a:lnTo>
                    <a:pt x="327" y="471"/>
                  </a:lnTo>
                  <a:lnTo>
                    <a:pt x="328" y="464"/>
                  </a:lnTo>
                  <a:lnTo>
                    <a:pt x="330" y="457"/>
                  </a:lnTo>
                  <a:lnTo>
                    <a:pt x="333" y="450"/>
                  </a:lnTo>
                  <a:lnTo>
                    <a:pt x="304" y="451"/>
                  </a:lnTo>
                  <a:lnTo>
                    <a:pt x="279" y="454"/>
                  </a:lnTo>
                  <a:lnTo>
                    <a:pt x="267" y="455"/>
                  </a:lnTo>
                  <a:lnTo>
                    <a:pt x="257" y="455"/>
                  </a:lnTo>
                  <a:lnTo>
                    <a:pt x="251" y="454"/>
                  </a:lnTo>
                  <a:lnTo>
                    <a:pt x="247" y="453"/>
                  </a:lnTo>
                  <a:lnTo>
                    <a:pt x="244" y="452"/>
                  </a:lnTo>
                  <a:lnTo>
                    <a:pt x="239" y="450"/>
                  </a:lnTo>
                  <a:lnTo>
                    <a:pt x="219" y="462"/>
                  </a:lnTo>
                  <a:lnTo>
                    <a:pt x="207" y="455"/>
                  </a:lnTo>
                  <a:lnTo>
                    <a:pt x="192" y="447"/>
                  </a:lnTo>
                  <a:lnTo>
                    <a:pt x="183" y="444"/>
                  </a:lnTo>
                  <a:lnTo>
                    <a:pt x="176" y="440"/>
                  </a:lnTo>
                  <a:lnTo>
                    <a:pt x="168" y="438"/>
                  </a:lnTo>
                  <a:lnTo>
                    <a:pt x="159" y="438"/>
                  </a:lnTo>
                  <a:lnTo>
                    <a:pt x="144" y="437"/>
                  </a:lnTo>
                  <a:lnTo>
                    <a:pt x="122" y="436"/>
                  </a:lnTo>
                  <a:lnTo>
                    <a:pt x="111" y="435"/>
                  </a:lnTo>
                  <a:lnTo>
                    <a:pt x="102" y="432"/>
                  </a:lnTo>
                  <a:lnTo>
                    <a:pt x="98" y="431"/>
                  </a:lnTo>
                  <a:lnTo>
                    <a:pt x="95" y="429"/>
                  </a:lnTo>
                  <a:lnTo>
                    <a:pt x="93" y="428"/>
                  </a:lnTo>
                  <a:lnTo>
                    <a:pt x="93" y="424"/>
                  </a:lnTo>
                  <a:lnTo>
                    <a:pt x="87" y="393"/>
                  </a:lnTo>
                  <a:lnTo>
                    <a:pt x="81" y="366"/>
                  </a:lnTo>
                  <a:lnTo>
                    <a:pt x="75" y="346"/>
                  </a:lnTo>
                  <a:lnTo>
                    <a:pt x="69" y="331"/>
                  </a:lnTo>
                  <a:lnTo>
                    <a:pt x="64" y="320"/>
                  </a:lnTo>
                  <a:lnTo>
                    <a:pt x="58" y="310"/>
                  </a:lnTo>
                  <a:lnTo>
                    <a:pt x="53" y="304"/>
                  </a:lnTo>
                  <a:lnTo>
                    <a:pt x="47" y="300"/>
                  </a:lnTo>
                  <a:lnTo>
                    <a:pt x="41" y="296"/>
                  </a:lnTo>
                  <a:lnTo>
                    <a:pt x="35" y="292"/>
                  </a:lnTo>
                  <a:lnTo>
                    <a:pt x="30" y="288"/>
                  </a:lnTo>
                  <a:lnTo>
                    <a:pt x="24" y="281"/>
                  </a:lnTo>
                  <a:lnTo>
                    <a:pt x="19" y="272"/>
                  </a:lnTo>
                  <a:lnTo>
                    <a:pt x="12" y="260"/>
                  </a:lnTo>
                  <a:lnTo>
                    <a:pt x="6" y="243"/>
                  </a:lnTo>
                  <a:lnTo>
                    <a:pt x="0" y="222"/>
                  </a:lnTo>
                  <a:lnTo>
                    <a:pt x="2" y="215"/>
                  </a:lnTo>
                  <a:lnTo>
                    <a:pt x="5" y="204"/>
                  </a:lnTo>
                  <a:lnTo>
                    <a:pt x="11" y="191"/>
                  </a:lnTo>
                  <a:lnTo>
                    <a:pt x="17" y="177"/>
                  </a:lnTo>
                  <a:lnTo>
                    <a:pt x="24" y="164"/>
                  </a:lnTo>
                  <a:lnTo>
                    <a:pt x="31" y="153"/>
                  </a:lnTo>
                  <a:lnTo>
                    <a:pt x="36" y="144"/>
                  </a:lnTo>
                  <a:lnTo>
                    <a:pt x="41" y="141"/>
                  </a:lnTo>
                  <a:lnTo>
                    <a:pt x="46" y="141"/>
                  </a:lnTo>
                  <a:lnTo>
                    <a:pt x="54" y="141"/>
                  </a:lnTo>
                  <a:lnTo>
                    <a:pt x="64" y="141"/>
                  </a:lnTo>
                  <a:lnTo>
                    <a:pt x="73" y="141"/>
                  </a:lnTo>
                  <a:lnTo>
                    <a:pt x="73" y="146"/>
                  </a:lnTo>
                  <a:lnTo>
                    <a:pt x="75" y="152"/>
                  </a:lnTo>
                  <a:lnTo>
                    <a:pt x="77" y="158"/>
                  </a:lnTo>
                  <a:lnTo>
                    <a:pt x="80" y="164"/>
                  </a:lnTo>
                  <a:lnTo>
                    <a:pt x="88" y="176"/>
                  </a:lnTo>
                  <a:lnTo>
                    <a:pt x="97" y="187"/>
                  </a:lnTo>
                  <a:lnTo>
                    <a:pt x="107" y="198"/>
                  </a:lnTo>
                  <a:lnTo>
                    <a:pt x="118" y="208"/>
                  </a:lnTo>
                  <a:lnTo>
                    <a:pt x="124" y="211"/>
                  </a:lnTo>
                  <a:lnTo>
                    <a:pt x="129" y="214"/>
                  </a:lnTo>
                  <a:lnTo>
                    <a:pt x="135" y="215"/>
                  </a:lnTo>
                  <a:lnTo>
                    <a:pt x="139" y="216"/>
                  </a:lnTo>
                  <a:lnTo>
                    <a:pt x="155" y="215"/>
                  </a:lnTo>
                  <a:lnTo>
                    <a:pt x="170" y="213"/>
                  </a:lnTo>
                  <a:lnTo>
                    <a:pt x="184" y="209"/>
                  </a:lnTo>
                  <a:lnTo>
                    <a:pt x="199" y="204"/>
                  </a:lnTo>
                  <a:lnTo>
                    <a:pt x="211" y="196"/>
                  </a:lnTo>
                  <a:lnTo>
                    <a:pt x="221" y="189"/>
                  </a:lnTo>
                  <a:lnTo>
                    <a:pt x="225" y="185"/>
                  </a:lnTo>
                  <a:lnTo>
                    <a:pt x="228" y="181"/>
                  </a:lnTo>
                  <a:lnTo>
                    <a:pt x="230" y="177"/>
                  </a:lnTo>
                  <a:lnTo>
                    <a:pt x="233" y="172"/>
                  </a:lnTo>
                  <a:lnTo>
                    <a:pt x="256" y="175"/>
                  </a:lnTo>
                  <a:lnTo>
                    <a:pt x="273" y="176"/>
                  </a:lnTo>
                  <a:lnTo>
                    <a:pt x="281" y="177"/>
                  </a:lnTo>
                  <a:lnTo>
                    <a:pt x="288" y="178"/>
                  </a:lnTo>
                  <a:lnTo>
                    <a:pt x="294" y="181"/>
                  </a:lnTo>
                  <a:lnTo>
                    <a:pt x="300" y="184"/>
                  </a:lnTo>
                  <a:lnTo>
                    <a:pt x="326" y="184"/>
                  </a:lnTo>
                  <a:lnTo>
                    <a:pt x="326" y="181"/>
                  </a:lnTo>
                  <a:lnTo>
                    <a:pt x="327" y="178"/>
                  </a:lnTo>
                  <a:lnTo>
                    <a:pt x="329" y="176"/>
                  </a:lnTo>
                  <a:lnTo>
                    <a:pt x="331" y="174"/>
                  </a:lnTo>
                  <a:lnTo>
                    <a:pt x="337" y="170"/>
                  </a:lnTo>
                  <a:lnTo>
                    <a:pt x="344" y="167"/>
                  </a:lnTo>
                  <a:lnTo>
                    <a:pt x="350" y="164"/>
                  </a:lnTo>
                  <a:lnTo>
                    <a:pt x="357" y="162"/>
                  </a:lnTo>
                  <a:lnTo>
                    <a:pt x="362" y="158"/>
                  </a:lnTo>
                  <a:lnTo>
                    <a:pt x="366" y="154"/>
                  </a:lnTo>
                  <a:lnTo>
                    <a:pt x="372" y="149"/>
                  </a:lnTo>
                  <a:lnTo>
                    <a:pt x="378" y="143"/>
                  </a:lnTo>
                  <a:lnTo>
                    <a:pt x="383" y="136"/>
                  </a:lnTo>
                  <a:lnTo>
                    <a:pt x="389" y="129"/>
                  </a:lnTo>
                  <a:lnTo>
                    <a:pt x="400" y="114"/>
                  </a:lnTo>
                  <a:lnTo>
                    <a:pt x="408" y="97"/>
                  </a:lnTo>
                  <a:lnTo>
                    <a:pt x="415" y="79"/>
                  </a:lnTo>
                  <a:lnTo>
                    <a:pt x="420" y="62"/>
                  </a:lnTo>
                  <a:lnTo>
                    <a:pt x="424" y="46"/>
                  </a:lnTo>
                  <a:lnTo>
                    <a:pt x="426" y="30"/>
                  </a:lnTo>
                  <a:lnTo>
                    <a:pt x="427" y="25"/>
                  </a:lnTo>
                  <a:lnTo>
                    <a:pt x="429" y="20"/>
                  </a:lnTo>
                  <a:lnTo>
                    <a:pt x="435" y="15"/>
                  </a:lnTo>
                  <a:lnTo>
                    <a:pt x="440" y="11"/>
                  </a:lnTo>
                  <a:lnTo>
                    <a:pt x="447" y="6"/>
                  </a:lnTo>
                  <a:lnTo>
                    <a:pt x="453" y="3"/>
                  </a:lnTo>
                  <a:lnTo>
                    <a:pt x="460" y="1"/>
                  </a:lnTo>
                  <a:lnTo>
                    <a:pt x="465" y="0"/>
                  </a:lnTo>
                  <a:lnTo>
                    <a:pt x="479" y="2"/>
                  </a:lnTo>
                  <a:lnTo>
                    <a:pt x="495" y="6"/>
                  </a:lnTo>
                  <a:lnTo>
                    <a:pt x="512" y="10"/>
                  </a:lnTo>
                  <a:lnTo>
                    <a:pt x="525" y="1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840" name="Freeform 334"/>
            <p:cNvSpPr>
              <a:spLocks/>
            </p:cNvSpPr>
            <p:nvPr>
              <p:custDataLst>
                <p:tags r:id="rId232"/>
              </p:custDataLst>
            </p:nvPr>
          </p:nvSpPr>
          <p:spPr bwMode="auto">
            <a:xfrm>
              <a:off x="9257589" y="4418135"/>
              <a:ext cx="109771" cy="68630"/>
            </a:xfrm>
            <a:custGeom>
              <a:avLst/>
              <a:gdLst>
                <a:gd name="T0" fmla="*/ 0 w 212"/>
                <a:gd name="T1" fmla="*/ 57150 h 105"/>
                <a:gd name="T2" fmla="*/ 6949 w 212"/>
                <a:gd name="T3" fmla="*/ 46264 h 105"/>
                <a:gd name="T4" fmla="*/ 15201 w 212"/>
                <a:gd name="T5" fmla="*/ 37011 h 105"/>
                <a:gd name="T6" fmla="*/ 19110 w 212"/>
                <a:gd name="T7" fmla="*/ 32657 h 105"/>
                <a:gd name="T8" fmla="*/ 23453 w 212"/>
                <a:gd name="T9" fmla="*/ 28847 h 105"/>
                <a:gd name="T10" fmla="*/ 27796 w 212"/>
                <a:gd name="T11" fmla="*/ 25037 h 105"/>
                <a:gd name="T12" fmla="*/ 31705 w 212"/>
                <a:gd name="T13" fmla="*/ 20683 h 105"/>
                <a:gd name="T14" fmla="*/ 36048 w 212"/>
                <a:gd name="T15" fmla="*/ 17417 h 105"/>
                <a:gd name="T16" fmla="*/ 40826 w 212"/>
                <a:gd name="T17" fmla="*/ 14696 h 105"/>
                <a:gd name="T18" fmla="*/ 46038 w 212"/>
                <a:gd name="T19" fmla="*/ 11430 h 105"/>
                <a:gd name="T20" fmla="*/ 51249 w 212"/>
                <a:gd name="T21" fmla="*/ 8709 h 105"/>
                <a:gd name="T22" fmla="*/ 62542 w 212"/>
                <a:gd name="T23" fmla="*/ 4354 h 105"/>
                <a:gd name="T24" fmla="*/ 74702 w 212"/>
                <a:gd name="T25" fmla="*/ 0 h 105"/>
                <a:gd name="T26" fmla="*/ 92075 w 212"/>
                <a:gd name="T27" fmla="*/ 0 h 105"/>
                <a:gd name="T28" fmla="*/ 87732 w 212"/>
                <a:gd name="T29" fmla="*/ 4899 h 105"/>
                <a:gd name="T30" fmla="*/ 82520 w 212"/>
                <a:gd name="T31" fmla="*/ 9797 h 105"/>
                <a:gd name="T32" fmla="*/ 77308 w 212"/>
                <a:gd name="T33" fmla="*/ 14696 h 105"/>
                <a:gd name="T34" fmla="*/ 71662 w 212"/>
                <a:gd name="T35" fmla="*/ 19050 h 105"/>
                <a:gd name="T36" fmla="*/ 59501 w 212"/>
                <a:gd name="T37" fmla="*/ 28303 h 105"/>
                <a:gd name="T38" fmla="*/ 47340 w 212"/>
                <a:gd name="T39" fmla="*/ 35923 h 105"/>
                <a:gd name="T40" fmla="*/ 34311 w 212"/>
                <a:gd name="T41" fmla="*/ 42999 h 105"/>
                <a:gd name="T42" fmla="*/ 21716 w 212"/>
                <a:gd name="T43" fmla="*/ 48986 h 105"/>
                <a:gd name="T44" fmla="*/ 9989 w 212"/>
                <a:gd name="T45" fmla="*/ 53884 h 105"/>
                <a:gd name="T46" fmla="*/ 0 w 212"/>
                <a:gd name="T47" fmla="*/ 57150 h 10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212" h="105">
                  <a:moveTo>
                    <a:pt x="0" y="105"/>
                  </a:moveTo>
                  <a:lnTo>
                    <a:pt x="16" y="85"/>
                  </a:lnTo>
                  <a:lnTo>
                    <a:pt x="35" y="68"/>
                  </a:lnTo>
                  <a:lnTo>
                    <a:pt x="44" y="60"/>
                  </a:lnTo>
                  <a:lnTo>
                    <a:pt x="54" y="53"/>
                  </a:lnTo>
                  <a:lnTo>
                    <a:pt x="64" y="46"/>
                  </a:lnTo>
                  <a:lnTo>
                    <a:pt x="73" y="38"/>
                  </a:lnTo>
                  <a:lnTo>
                    <a:pt x="83" y="32"/>
                  </a:lnTo>
                  <a:lnTo>
                    <a:pt x="94" y="27"/>
                  </a:lnTo>
                  <a:lnTo>
                    <a:pt x="106" y="21"/>
                  </a:lnTo>
                  <a:lnTo>
                    <a:pt x="118" y="16"/>
                  </a:lnTo>
                  <a:lnTo>
                    <a:pt x="144" y="8"/>
                  </a:lnTo>
                  <a:lnTo>
                    <a:pt x="172" y="0"/>
                  </a:lnTo>
                  <a:lnTo>
                    <a:pt x="212" y="0"/>
                  </a:lnTo>
                  <a:lnTo>
                    <a:pt x="202" y="9"/>
                  </a:lnTo>
                  <a:lnTo>
                    <a:pt x="190" y="18"/>
                  </a:lnTo>
                  <a:lnTo>
                    <a:pt x="178" y="27"/>
                  </a:lnTo>
                  <a:lnTo>
                    <a:pt x="165" y="35"/>
                  </a:lnTo>
                  <a:lnTo>
                    <a:pt x="137" y="52"/>
                  </a:lnTo>
                  <a:lnTo>
                    <a:pt x="109" y="66"/>
                  </a:lnTo>
                  <a:lnTo>
                    <a:pt x="79" y="79"/>
                  </a:lnTo>
                  <a:lnTo>
                    <a:pt x="50" y="90"/>
                  </a:lnTo>
                  <a:lnTo>
                    <a:pt x="23" y="99"/>
                  </a:lnTo>
                  <a:lnTo>
                    <a:pt x="0" y="10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841" name="Freeform 335"/>
            <p:cNvSpPr>
              <a:spLocks/>
            </p:cNvSpPr>
            <p:nvPr>
              <p:custDataLst>
                <p:tags r:id="rId233"/>
              </p:custDataLst>
            </p:nvPr>
          </p:nvSpPr>
          <p:spPr bwMode="auto">
            <a:xfrm>
              <a:off x="9395748" y="4017796"/>
              <a:ext cx="51100" cy="106757"/>
            </a:xfrm>
            <a:custGeom>
              <a:avLst/>
              <a:gdLst>
                <a:gd name="T0" fmla="*/ 0 w 92"/>
                <a:gd name="T1" fmla="*/ 43379 h 166"/>
                <a:gd name="T2" fmla="*/ 0 w 92"/>
                <a:gd name="T3" fmla="*/ 79260 h 166"/>
                <a:gd name="T4" fmla="*/ 2329 w 92"/>
                <a:gd name="T5" fmla="*/ 77118 h 166"/>
                <a:gd name="T6" fmla="*/ 5591 w 92"/>
                <a:gd name="T7" fmla="*/ 74440 h 166"/>
                <a:gd name="T8" fmla="*/ 6522 w 92"/>
                <a:gd name="T9" fmla="*/ 73369 h 166"/>
                <a:gd name="T10" fmla="*/ 7920 w 92"/>
                <a:gd name="T11" fmla="*/ 72298 h 166"/>
                <a:gd name="T12" fmla="*/ 8386 w 92"/>
                <a:gd name="T13" fmla="*/ 70692 h 166"/>
                <a:gd name="T14" fmla="*/ 8852 w 92"/>
                <a:gd name="T15" fmla="*/ 69620 h 166"/>
                <a:gd name="T16" fmla="*/ 9318 w 92"/>
                <a:gd name="T17" fmla="*/ 73905 h 166"/>
                <a:gd name="T18" fmla="*/ 11181 w 92"/>
                <a:gd name="T19" fmla="*/ 79260 h 166"/>
                <a:gd name="T20" fmla="*/ 12579 w 92"/>
                <a:gd name="T21" fmla="*/ 82473 h 166"/>
                <a:gd name="T22" fmla="*/ 13977 w 92"/>
                <a:gd name="T23" fmla="*/ 85151 h 166"/>
                <a:gd name="T24" fmla="*/ 16306 w 92"/>
                <a:gd name="T25" fmla="*/ 87293 h 166"/>
                <a:gd name="T26" fmla="*/ 18170 w 92"/>
                <a:gd name="T27" fmla="*/ 88900 h 166"/>
                <a:gd name="T28" fmla="*/ 19102 w 92"/>
                <a:gd name="T29" fmla="*/ 84616 h 166"/>
                <a:gd name="T30" fmla="*/ 19102 w 92"/>
                <a:gd name="T31" fmla="*/ 79260 h 166"/>
                <a:gd name="T32" fmla="*/ 19102 w 92"/>
                <a:gd name="T33" fmla="*/ 73369 h 166"/>
                <a:gd name="T34" fmla="*/ 19102 w 92"/>
                <a:gd name="T35" fmla="*/ 67478 h 166"/>
                <a:gd name="T36" fmla="*/ 18636 w 92"/>
                <a:gd name="T37" fmla="*/ 57303 h 166"/>
                <a:gd name="T38" fmla="*/ 18170 w 92"/>
                <a:gd name="T39" fmla="*/ 53019 h 166"/>
                <a:gd name="T40" fmla="*/ 22363 w 92"/>
                <a:gd name="T41" fmla="*/ 53554 h 166"/>
                <a:gd name="T42" fmla="*/ 26556 w 92"/>
                <a:gd name="T43" fmla="*/ 54625 h 166"/>
                <a:gd name="T44" fmla="*/ 29817 w 92"/>
                <a:gd name="T45" fmla="*/ 56232 h 166"/>
                <a:gd name="T46" fmla="*/ 33078 w 92"/>
                <a:gd name="T47" fmla="*/ 57839 h 166"/>
                <a:gd name="T48" fmla="*/ 35408 w 92"/>
                <a:gd name="T49" fmla="*/ 59445 h 166"/>
                <a:gd name="T50" fmla="*/ 38203 w 92"/>
                <a:gd name="T51" fmla="*/ 61052 h 166"/>
                <a:gd name="T52" fmla="*/ 40533 w 92"/>
                <a:gd name="T53" fmla="*/ 62123 h 166"/>
                <a:gd name="T54" fmla="*/ 42862 w 92"/>
                <a:gd name="T55" fmla="*/ 63194 h 166"/>
                <a:gd name="T56" fmla="*/ 39601 w 92"/>
                <a:gd name="T57" fmla="*/ 55161 h 166"/>
                <a:gd name="T58" fmla="*/ 37737 w 92"/>
                <a:gd name="T59" fmla="*/ 47663 h 166"/>
                <a:gd name="T60" fmla="*/ 35408 w 92"/>
                <a:gd name="T61" fmla="*/ 40166 h 166"/>
                <a:gd name="T62" fmla="*/ 34010 w 92"/>
                <a:gd name="T63" fmla="*/ 32133 h 166"/>
                <a:gd name="T64" fmla="*/ 32612 w 92"/>
                <a:gd name="T65" fmla="*/ 25170 h 166"/>
                <a:gd name="T66" fmla="*/ 31215 w 92"/>
                <a:gd name="T67" fmla="*/ 18208 h 166"/>
                <a:gd name="T68" fmla="*/ 29351 w 92"/>
                <a:gd name="T69" fmla="*/ 12317 h 166"/>
                <a:gd name="T70" fmla="*/ 27488 w 92"/>
                <a:gd name="T71" fmla="*/ 6962 h 166"/>
                <a:gd name="T72" fmla="*/ 27488 w 92"/>
                <a:gd name="T73" fmla="*/ 10175 h 166"/>
                <a:gd name="T74" fmla="*/ 27488 w 92"/>
                <a:gd name="T75" fmla="*/ 13389 h 166"/>
                <a:gd name="T76" fmla="*/ 23295 w 92"/>
                <a:gd name="T77" fmla="*/ 12317 h 166"/>
                <a:gd name="T78" fmla="*/ 19567 w 92"/>
                <a:gd name="T79" fmla="*/ 10175 h 166"/>
                <a:gd name="T80" fmla="*/ 16306 w 92"/>
                <a:gd name="T81" fmla="*/ 8033 h 166"/>
                <a:gd name="T82" fmla="*/ 13511 w 92"/>
                <a:gd name="T83" fmla="*/ 5891 h 166"/>
                <a:gd name="T84" fmla="*/ 10716 w 92"/>
                <a:gd name="T85" fmla="*/ 3749 h 166"/>
                <a:gd name="T86" fmla="*/ 7454 w 92"/>
                <a:gd name="T87" fmla="*/ 1607 h 166"/>
                <a:gd name="T88" fmla="*/ 3727 w 92"/>
                <a:gd name="T89" fmla="*/ 536 h 166"/>
                <a:gd name="T90" fmla="*/ 0 w 92"/>
                <a:gd name="T91" fmla="*/ 0 h 166"/>
                <a:gd name="T92" fmla="*/ 0 w 92"/>
                <a:gd name="T93" fmla="*/ 5355 h 166"/>
                <a:gd name="T94" fmla="*/ 0 w 92"/>
                <a:gd name="T95" fmla="*/ 10175 h 166"/>
                <a:gd name="T96" fmla="*/ 0 w 92"/>
                <a:gd name="T97" fmla="*/ 17673 h 166"/>
                <a:gd name="T98" fmla="*/ 0 w 92"/>
                <a:gd name="T99" fmla="*/ 27848 h 166"/>
                <a:gd name="T100" fmla="*/ 0 w 92"/>
                <a:gd name="T101" fmla="*/ 37488 h 166"/>
                <a:gd name="T102" fmla="*/ 0 w 92"/>
                <a:gd name="T103" fmla="*/ 43379 h 16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92" h="166">
                  <a:moveTo>
                    <a:pt x="0" y="81"/>
                  </a:moveTo>
                  <a:lnTo>
                    <a:pt x="0" y="148"/>
                  </a:lnTo>
                  <a:lnTo>
                    <a:pt x="5" y="144"/>
                  </a:lnTo>
                  <a:lnTo>
                    <a:pt x="12" y="139"/>
                  </a:lnTo>
                  <a:lnTo>
                    <a:pt x="14" y="137"/>
                  </a:lnTo>
                  <a:lnTo>
                    <a:pt x="17" y="135"/>
                  </a:lnTo>
                  <a:lnTo>
                    <a:pt x="18" y="132"/>
                  </a:lnTo>
                  <a:lnTo>
                    <a:pt x="19" y="130"/>
                  </a:lnTo>
                  <a:lnTo>
                    <a:pt x="20" y="138"/>
                  </a:lnTo>
                  <a:lnTo>
                    <a:pt x="24" y="148"/>
                  </a:lnTo>
                  <a:lnTo>
                    <a:pt x="27" y="154"/>
                  </a:lnTo>
                  <a:lnTo>
                    <a:pt x="30" y="159"/>
                  </a:lnTo>
                  <a:lnTo>
                    <a:pt x="35" y="163"/>
                  </a:lnTo>
                  <a:lnTo>
                    <a:pt x="39" y="166"/>
                  </a:lnTo>
                  <a:lnTo>
                    <a:pt x="41" y="158"/>
                  </a:lnTo>
                  <a:lnTo>
                    <a:pt x="41" y="148"/>
                  </a:lnTo>
                  <a:lnTo>
                    <a:pt x="41" y="137"/>
                  </a:lnTo>
                  <a:lnTo>
                    <a:pt x="41" y="126"/>
                  </a:lnTo>
                  <a:lnTo>
                    <a:pt x="40" y="107"/>
                  </a:lnTo>
                  <a:lnTo>
                    <a:pt x="39" y="99"/>
                  </a:lnTo>
                  <a:lnTo>
                    <a:pt x="48" y="100"/>
                  </a:lnTo>
                  <a:lnTo>
                    <a:pt x="57" y="102"/>
                  </a:lnTo>
                  <a:lnTo>
                    <a:pt x="64" y="105"/>
                  </a:lnTo>
                  <a:lnTo>
                    <a:pt x="71" y="108"/>
                  </a:lnTo>
                  <a:lnTo>
                    <a:pt x="76" y="111"/>
                  </a:lnTo>
                  <a:lnTo>
                    <a:pt x="82" y="114"/>
                  </a:lnTo>
                  <a:lnTo>
                    <a:pt x="87" y="116"/>
                  </a:lnTo>
                  <a:lnTo>
                    <a:pt x="92" y="118"/>
                  </a:lnTo>
                  <a:lnTo>
                    <a:pt x="85" y="103"/>
                  </a:lnTo>
                  <a:lnTo>
                    <a:pt x="81" y="89"/>
                  </a:lnTo>
                  <a:lnTo>
                    <a:pt x="76" y="75"/>
                  </a:lnTo>
                  <a:lnTo>
                    <a:pt x="73" y="60"/>
                  </a:lnTo>
                  <a:lnTo>
                    <a:pt x="70" y="47"/>
                  </a:lnTo>
                  <a:lnTo>
                    <a:pt x="67" y="34"/>
                  </a:lnTo>
                  <a:lnTo>
                    <a:pt x="63" y="23"/>
                  </a:lnTo>
                  <a:lnTo>
                    <a:pt x="59" y="13"/>
                  </a:lnTo>
                  <a:lnTo>
                    <a:pt x="59" y="19"/>
                  </a:lnTo>
                  <a:lnTo>
                    <a:pt x="59" y="25"/>
                  </a:lnTo>
                  <a:lnTo>
                    <a:pt x="50" y="23"/>
                  </a:lnTo>
                  <a:lnTo>
                    <a:pt x="42" y="19"/>
                  </a:lnTo>
                  <a:lnTo>
                    <a:pt x="35" y="15"/>
                  </a:lnTo>
                  <a:lnTo>
                    <a:pt x="29" y="11"/>
                  </a:lnTo>
                  <a:lnTo>
                    <a:pt x="23" y="7"/>
                  </a:lnTo>
                  <a:lnTo>
                    <a:pt x="16" y="3"/>
                  </a:lnTo>
                  <a:lnTo>
                    <a:pt x="8" y="1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9"/>
                  </a:lnTo>
                  <a:lnTo>
                    <a:pt x="0" y="33"/>
                  </a:lnTo>
                  <a:lnTo>
                    <a:pt x="0" y="52"/>
                  </a:lnTo>
                  <a:lnTo>
                    <a:pt x="0" y="70"/>
                  </a:lnTo>
                  <a:lnTo>
                    <a:pt x="0" y="8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842" name="Freeform 336"/>
            <p:cNvSpPr>
              <a:spLocks/>
            </p:cNvSpPr>
            <p:nvPr>
              <p:custDataLst>
                <p:tags r:id="rId234"/>
              </p:custDataLst>
            </p:nvPr>
          </p:nvSpPr>
          <p:spPr bwMode="auto">
            <a:xfrm>
              <a:off x="9410890" y="4191277"/>
              <a:ext cx="85166" cy="66723"/>
            </a:xfrm>
            <a:custGeom>
              <a:avLst/>
              <a:gdLst>
                <a:gd name="T0" fmla="*/ 3012 w 166"/>
                <a:gd name="T1" fmla="*/ 0 h 62"/>
                <a:gd name="T2" fmla="*/ 6025 w 166"/>
                <a:gd name="T3" fmla="*/ 2688 h 62"/>
                <a:gd name="T4" fmla="*/ 9468 w 166"/>
                <a:gd name="T5" fmla="*/ 5377 h 62"/>
                <a:gd name="T6" fmla="*/ 12910 w 166"/>
                <a:gd name="T7" fmla="*/ 6273 h 62"/>
                <a:gd name="T8" fmla="*/ 15492 w 166"/>
                <a:gd name="T9" fmla="*/ 7169 h 62"/>
                <a:gd name="T10" fmla="*/ 20656 w 166"/>
                <a:gd name="T11" fmla="*/ 7169 h 62"/>
                <a:gd name="T12" fmla="*/ 24960 w 166"/>
                <a:gd name="T13" fmla="*/ 6273 h 62"/>
                <a:gd name="T14" fmla="*/ 29694 w 166"/>
                <a:gd name="T15" fmla="*/ 4481 h 62"/>
                <a:gd name="T16" fmla="*/ 34427 w 166"/>
                <a:gd name="T17" fmla="*/ 2688 h 62"/>
                <a:gd name="T18" fmla="*/ 39592 w 166"/>
                <a:gd name="T19" fmla="*/ 896 h 62"/>
                <a:gd name="T20" fmla="*/ 45616 w 166"/>
                <a:gd name="T21" fmla="*/ 0 h 62"/>
                <a:gd name="T22" fmla="*/ 47768 w 166"/>
                <a:gd name="T23" fmla="*/ 896 h 62"/>
                <a:gd name="T24" fmla="*/ 49489 w 166"/>
                <a:gd name="T25" fmla="*/ 1792 h 62"/>
                <a:gd name="T26" fmla="*/ 51641 w 166"/>
                <a:gd name="T27" fmla="*/ 4481 h 62"/>
                <a:gd name="T28" fmla="*/ 53363 w 166"/>
                <a:gd name="T29" fmla="*/ 7169 h 62"/>
                <a:gd name="T30" fmla="*/ 56805 w 166"/>
                <a:gd name="T31" fmla="*/ 15235 h 62"/>
                <a:gd name="T32" fmla="*/ 59387 w 166"/>
                <a:gd name="T33" fmla="*/ 23300 h 62"/>
                <a:gd name="T34" fmla="*/ 62400 w 166"/>
                <a:gd name="T35" fmla="*/ 32262 h 62"/>
                <a:gd name="T36" fmla="*/ 64982 w 166"/>
                <a:gd name="T37" fmla="*/ 40327 h 62"/>
                <a:gd name="T38" fmla="*/ 66703 w 166"/>
                <a:gd name="T39" fmla="*/ 43912 h 62"/>
                <a:gd name="T40" fmla="*/ 67994 w 166"/>
                <a:gd name="T41" fmla="*/ 46600 h 62"/>
                <a:gd name="T42" fmla="*/ 69716 w 166"/>
                <a:gd name="T43" fmla="*/ 48393 h 62"/>
                <a:gd name="T44" fmla="*/ 71437 w 166"/>
                <a:gd name="T45" fmla="*/ 50185 h 62"/>
                <a:gd name="T46" fmla="*/ 68425 w 166"/>
                <a:gd name="T47" fmla="*/ 51081 h 62"/>
                <a:gd name="T48" fmla="*/ 64982 w 166"/>
                <a:gd name="T49" fmla="*/ 52874 h 62"/>
                <a:gd name="T50" fmla="*/ 61539 w 166"/>
                <a:gd name="T51" fmla="*/ 54666 h 62"/>
                <a:gd name="T52" fmla="*/ 57236 w 166"/>
                <a:gd name="T53" fmla="*/ 55562 h 62"/>
                <a:gd name="T54" fmla="*/ 53793 w 166"/>
                <a:gd name="T55" fmla="*/ 54666 h 62"/>
                <a:gd name="T56" fmla="*/ 51211 w 166"/>
                <a:gd name="T57" fmla="*/ 51977 h 62"/>
                <a:gd name="T58" fmla="*/ 48198 w 166"/>
                <a:gd name="T59" fmla="*/ 48393 h 62"/>
                <a:gd name="T60" fmla="*/ 45616 w 166"/>
                <a:gd name="T61" fmla="*/ 44808 h 62"/>
                <a:gd name="T62" fmla="*/ 43034 w 166"/>
                <a:gd name="T63" fmla="*/ 40327 h 62"/>
                <a:gd name="T64" fmla="*/ 40022 w 166"/>
                <a:gd name="T65" fmla="*/ 36743 h 62"/>
                <a:gd name="T66" fmla="*/ 37440 w 166"/>
                <a:gd name="T67" fmla="*/ 34950 h 62"/>
                <a:gd name="T68" fmla="*/ 33997 w 166"/>
                <a:gd name="T69" fmla="*/ 34054 h 62"/>
                <a:gd name="T70" fmla="*/ 24099 w 166"/>
                <a:gd name="T71" fmla="*/ 34054 h 62"/>
                <a:gd name="T72" fmla="*/ 15062 w 166"/>
                <a:gd name="T73" fmla="*/ 34950 h 62"/>
                <a:gd name="T74" fmla="*/ 11189 w 166"/>
                <a:gd name="T75" fmla="*/ 36743 h 62"/>
                <a:gd name="T76" fmla="*/ 8177 w 166"/>
                <a:gd name="T77" fmla="*/ 38535 h 62"/>
                <a:gd name="T78" fmla="*/ 5164 w 166"/>
                <a:gd name="T79" fmla="*/ 41223 h 62"/>
                <a:gd name="T80" fmla="*/ 3012 w 166"/>
                <a:gd name="T81" fmla="*/ 44808 h 62"/>
                <a:gd name="T82" fmla="*/ 861 w 166"/>
                <a:gd name="T83" fmla="*/ 40327 h 62"/>
                <a:gd name="T84" fmla="*/ 430 w 166"/>
                <a:gd name="T85" fmla="*/ 35846 h 62"/>
                <a:gd name="T86" fmla="*/ 0 w 166"/>
                <a:gd name="T87" fmla="*/ 30469 h 62"/>
                <a:gd name="T88" fmla="*/ 430 w 166"/>
                <a:gd name="T89" fmla="*/ 25093 h 62"/>
                <a:gd name="T90" fmla="*/ 1721 w 166"/>
                <a:gd name="T91" fmla="*/ 13442 h 62"/>
                <a:gd name="T92" fmla="*/ 3012 w 166"/>
                <a:gd name="T93" fmla="*/ 0 h 6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66" h="62">
                  <a:moveTo>
                    <a:pt x="7" y="0"/>
                  </a:moveTo>
                  <a:lnTo>
                    <a:pt x="14" y="3"/>
                  </a:lnTo>
                  <a:lnTo>
                    <a:pt x="22" y="6"/>
                  </a:lnTo>
                  <a:lnTo>
                    <a:pt x="30" y="7"/>
                  </a:lnTo>
                  <a:lnTo>
                    <a:pt x="36" y="8"/>
                  </a:lnTo>
                  <a:lnTo>
                    <a:pt x="48" y="8"/>
                  </a:lnTo>
                  <a:lnTo>
                    <a:pt x="58" y="7"/>
                  </a:lnTo>
                  <a:lnTo>
                    <a:pt x="69" y="5"/>
                  </a:lnTo>
                  <a:lnTo>
                    <a:pt x="80" y="3"/>
                  </a:lnTo>
                  <a:lnTo>
                    <a:pt x="92" y="1"/>
                  </a:lnTo>
                  <a:lnTo>
                    <a:pt x="106" y="0"/>
                  </a:lnTo>
                  <a:lnTo>
                    <a:pt x="111" y="1"/>
                  </a:lnTo>
                  <a:lnTo>
                    <a:pt x="115" y="2"/>
                  </a:lnTo>
                  <a:lnTo>
                    <a:pt x="120" y="5"/>
                  </a:lnTo>
                  <a:lnTo>
                    <a:pt x="124" y="8"/>
                  </a:lnTo>
                  <a:lnTo>
                    <a:pt x="132" y="17"/>
                  </a:lnTo>
                  <a:lnTo>
                    <a:pt x="138" y="26"/>
                  </a:lnTo>
                  <a:lnTo>
                    <a:pt x="145" y="36"/>
                  </a:lnTo>
                  <a:lnTo>
                    <a:pt x="151" y="45"/>
                  </a:lnTo>
                  <a:lnTo>
                    <a:pt x="155" y="49"/>
                  </a:lnTo>
                  <a:lnTo>
                    <a:pt x="158" y="52"/>
                  </a:lnTo>
                  <a:lnTo>
                    <a:pt x="162" y="54"/>
                  </a:lnTo>
                  <a:lnTo>
                    <a:pt x="166" y="56"/>
                  </a:lnTo>
                  <a:lnTo>
                    <a:pt x="159" y="57"/>
                  </a:lnTo>
                  <a:lnTo>
                    <a:pt x="151" y="59"/>
                  </a:lnTo>
                  <a:lnTo>
                    <a:pt x="143" y="61"/>
                  </a:lnTo>
                  <a:lnTo>
                    <a:pt x="133" y="62"/>
                  </a:lnTo>
                  <a:lnTo>
                    <a:pt x="125" y="61"/>
                  </a:lnTo>
                  <a:lnTo>
                    <a:pt x="119" y="58"/>
                  </a:lnTo>
                  <a:lnTo>
                    <a:pt x="112" y="54"/>
                  </a:lnTo>
                  <a:lnTo>
                    <a:pt x="106" y="50"/>
                  </a:lnTo>
                  <a:lnTo>
                    <a:pt x="100" y="45"/>
                  </a:lnTo>
                  <a:lnTo>
                    <a:pt x="93" y="41"/>
                  </a:lnTo>
                  <a:lnTo>
                    <a:pt x="87" y="39"/>
                  </a:lnTo>
                  <a:lnTo>
                    <a:pt x="79" y="38"/>
                  </a:lnTo>
                  <a:lnTo>
                    <a:pt x="56" y="38"/>
                  </a:lnTo>
                  <a:lnTo>
                    <a:pt x="35" y="39"/>
                  </a:lnTo>
                  <a:lnTo>
                    <a:pt x="26" y="41"/>
                  </a:lnTo>
                  <a:lnTo>
                    <a:pt x="19" y="43"/>
                  </a:lnTo>
                  <a:lnTo>
                    <a:pt x="12" y="46"/>
                  </a:lnTo>
                  <a:lnTo>
                    <a:pt x="7" y="50"/>
                  </a:lnTo>
                  <a:lnTo>
                    <a:pt x="2" y="45"/>
                  </a:lnTo>
                  <a:lnTo>
                    <a:pt x="1" y="40"/>
                  </a:lnTo>
                  <a:lnTo>
                    <a:pt x="0" y="34"/>
                  </a:lnTo>
                  <a:lnTo>
                    <a:pt x="1" y="28"/>
                  </a:lnTo>
                  <a:lnTo>
                    <a:pt x="4" y="15"/>
                  </a:lnTo>
                  <a:lnTo>
                    <a:pt x="7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843" name="Freeform 337"/>
            <p:cNvSpPr>
              <a:spLocks/>
            </p:cNvSpPr>
            <p:nvPr>
              <p:custDataLst>
                <p:tags r:id="rId235"/>
              </p:custDataLst>
            </p:nvPr>
          </p:nvSpPr>
          <p:spPr bwMode="auto">
            <a:xfrm>
              <a:off x="9501735" y="4099771"/>
              <a:ext cx="102200" cy="76255"/>
            </a:xfrm>
            <a:custGeom>
              <a:avLst/>
              <a:gdLst>
                <a:gd name="T0" fmla="*/ 14658 w 193"/>
                <a:gd name="T1" fmla="*/ 18368 h 121"/>
                <a:gd name="T2" fmla="*/ 21320 w 193"/>
                <a:gd name="T3" fmla="*/ 13120 h 121"/>
                <a:gd name="T4" fmla="*/ 30204 w 193"/>
                <a:gd name="T5" fmla="*/ 6298 h 121"/>
                <a:gd name="T6" fmla="*/ 37310 w 193"/>
                <a:gd name="T7" fmla="*/ 2099 h 121"/>
                <a:gd name="T8" fmla="*/ 41752 w 193"/>
                <a:gd name="T9" fmla="*/ 525 h 121"/>
                <a:gd name="T10" fmla="*/ 46638 w 193"/>
                <a:gd name="T11" fmla="*/ 525 h 121"/>
                <a:gd name="T12" fmla="*/ 51524 w 193"/>
                <a:gd name="T13" fmla="*/ 1574 h 121"/>
                <a:gd name="T14" fmla="*/ 58186 w 193"/>
                <a:gd name="T15" fmla="*/ 5248 h 121"/>
                <a:gd name="T16" fmla="*/ 65737 w 193"/>
                <a:gd name="T17" fmla="*/ 11021 h 121"/>
                <a:gd name="T18" fmla="*/ 71956 w 193"/>
                <a:gd name="T19" fmla="*/ 14694 h 121"/>
                <a:gd name="T20" fmla="*/ 76842 w 193"/>
                <a:gd name="T21" fmla="*/ 15744 h 121"/>
                <a:gd name="T22" fmla="*/ 79507 w 193"/>
                <a:gd name="T23" fmla="*/ 25190 h 121"/>
                <a:gd name="T24" fmla="*/ 79062 w 193"/>
                <a:gd name="T25" fmla="*/ 34636 h 121"/>
                <a:gd name="T26" fmla="*/ 80839 w 193"/>
                <a:gd name="T27" fmla="*/ 39360 h 121"/>
                <a:gd name="T28" fmla="*/ 83060 w 193"/>
                <a:gd name="T29" fmla="*/ 46707 h 121"/>
                <a:gd name="T30" fmla="*/ 83504 w 193"/>
                <a:gd name="T31" fmla="*/ 53529 h 121"/>
                <a:gd name="T32" fmla="*/ 84837 w 193"/>
                <a:gd name="T33" fmla="*/ 57202 h 121"/>
                <a:gd name="T34" fmla="*/ 83504 w 193"/>
                <a:gd name="T35" fmla="*/ 59826 h 121"/>
                <a:gd name="T36" fmla="*/ 78618 w 193"/>
                <a:gd name="T37" fmla="*/ 61926 h 121"/>
                <a:gd name="T38" fmla="*/ 70623 w 193"/>
                <a:gd name="T39" fmla="*/ 63500 h 121"/>
                <a:gd name="T40" fmla="*/ 51524 w 193"/>
                <a:gd name="T41" fmla="*/ 62450 h 121"/>
                <a:gd name="T42" fmla="*/ 31980 w 193"/>
                <a:gd name="T43" fmla="*/ 60876 h 121"/>
                <a:gd name="T44" fmla="*/ 27983 w 193"/>
                <a:gd name="T45" fmla="*/ 57727 h 121"/>
                <a:gd name="T46" fmla="*/ 24874 w 193"/>
                <a:gd name="T47" fmla="*/ 52479 h 121"/>
                <a:gd name="T48" fmla="*/ 23985 w 193"/>
                <a:gd name="T49" fmla="*/ 45657 h 121"/>
                <a:gd name="T50" fmla="*/ 20876 w 193"/>
                <a:gd name="T51" fmla="*/ 41459 h 121"/>
                <a:gd name="T52" fmla="*/ 13769 w 193"/>
                <a:gd name="T53" fmla="*/ 39360 h 121"/>
                <a:gd name="T54" fmla="*/ 5774 w 193"/>
                <a:gd name="T55" fmla="*/ 36211 h 121"/>
                <a:gd name="T56" fmla="*/ 1333 w 193"/>
                <a:gd name="T57" fmla="*/ 32537 h 121"/>
                <a:gd name="T58" fmla="*/ 0 w 193"/>
                <a:gd name="T59" fmla="*/ 30438 h 121"/>
                <a:gd name="T60" fmla="*/ 444 w 193"/>
                <a:gd name="T61" fmla="*/ 26764 h 121"/>
                <a:gd name="T62" fmla="*/ 3109 w 193"/>
                <a:gd name="T63" fmla="*/ 23616 h 121"/>
                <a:gd name="T64" fmla="*/ 8883 w 193"/>
                <a:gd name="T65" fmla="*/ 19942 h 12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93" h="121">
                  <a:moveTo>
                    <a:pt x="26" y="36"/>
                  </a:moveTo>
                  <a:lnTo>
                    <a:pt x="33" y="35"/>
                  </a:lnTo>
                  <a:lnTo>
                    <a:pt x="39" y="31"/>
                  </a:lnTo>
                  <a:lnTo>
                    <a:pt x="48" y="25"/>
                  </a:lnTo>
                  <a:lnTo>
                    <a:pt x="58" y="18"/>
                  </a:lnTo>
                  <a:lnTo>
                    <a:pt x="68" y="12"/>
                  </a:lnTo>
                  <a:lnTo>
                    <a:pt x="79" y="6"/>
                  </a:lnTo>
                  <a:lnTo>
                    <a:pt x="84" y="4"/>
                  </a:lnTo>
                  <a:lnTo>
                    <a:pt x="90" y="2"/>
                  </a:lnTo>
                  <a:lnTo>
                    <a:pt x="94" y="1"/>
                  </a:lnTo>
                  <a:lnTo>
                    <a:pt x="100" y="0"/>
                  </a:lnTo>
                  <a:lnTo>
                    <a:pt x="105" y="1"/>
                  </a:lnTo>
                  <a:lnTo>
                    <a:pt x="111" y="1"/>
                  </a:lnTo>
                  <a:lnTo>
                    <a:pt x="116" y="3"/>
                  </a:lnTo>
                  <a:lnTo>
                    <a:pt x="122" y="5"/>
                  </a:lnTo>
                  <a:lnTo>
                    <a:pt x="131" y="10"/>
                  </a:lnTo>
                  <a:lnTo>
                    <a:pt x="139" y="15"/>
                  </a:lnTo>
                  <a:lnTo>
                    <a:pt x="148" y="21"/>
                  </a:lnTo>
                  <a:lnTo>
                    <a:pt x="158" y="26"/>
                  </a:lnTo>
                  <a:lnTo>
                    <a:pt x="162" y="28"/>
                  </a:lnTo>
                  <a:lnTo>
                    <a:pt x="168" y="29"/>
                  </a:lnTo>
                  <a:lnTo>
                    <a:pt x="173" y="30"/>
                  </a:lnTo>
                  <a:lnTo>
                    <a:pt x="179" y="30"/>
                  </a:lnTo>
                  <a:lnTo>
                    <a:pt x="179" y="48"/>
                  </a:lnTo>
                  <a:lnTo>
                    <a:pt x="178" y="60"/>
                  </a:lnTo>
                  <a:lnTo>
                    <a:pt x="178" y="66"/>
                  </a:lnTo>
                  <a:lnTo>
                    <a:pt x="179" y="71"/>
                  </a:lnTo>
                  <a:lnTo>
                    <a:pt x="182" y="75"/>
                  </a:lnTo>
                  <a:lnTo>
                    <a:pt x="187" y="80"/>
                  </a:lnTo>
                  <a:lnTo>
                    <a:pt x="187" y="89"/>
                  </a:lnTo>
                  <a:lnTo>
                    <a:pt x="187" y="97"/>
                  </a:lnTo>
                  <a:lnTo>
                    <a:pt x="188" y="102"/>
                  </a:lnTo>
                  <a:lnTo>
                    <a:pt x="189" y="106"/>
                  </a:lnTo>
                  <a:lnTo>
                    <a:pt x="191" y="109"/>
                  </a:lnTo>
                  <a:lnTo>
                    <a:pt x="193" y="111"/>
                  </a:lnTo>
                  <a:lnTo>
                    <a:pt x="188" y="114"/>
                  </a:lnTo>
                  <a:lnTo>
                    <a:pt x="182" y="117"/>
                  </a:lnTo>
                  <a:lnTo>
                    <a:pt x="177" y="118"/>
                  </a:lnTo>
                  <a:lnTo>
                    <a:pt x="171" y="120"/>
                  </a:lnTo>
                  <a:lnTo>
                    <a:pt x="159" y="121"/>
                  </a:lnTo>
                  <a:lnTo>
                    <a:pt x="146" y="121"/>
                  </a:lnTo>
                  <a:lnTo>
                    <a:pt x="116" y="119"/>
                  </a:lnTo>
                  <a:lnTo>
                    <a:pt x="80" y="117"/>
                  </a:lnTo>
                  <a:lnTo>
                    <a:pt x="72" y="116"/>
                  </a:lnTo>
                  <a:lnTo>
                    <a:pt x="67" y="114"/>
                  </a:lnTo>
                  <a:lnTo>
                    <a:pt x="63" y="110"/>
                  </a:lnTo>
                  <a:lnTo>
                    <a:pt x="59" y="106"/>
                  </a:lnTo>
                  <a:lnTo>
                    <a:pt x="56" y="100"/>
                  </a:lnTo>
                  <a:lnTo>
                    <a:pt x="55" y="93"/>
                  </a:lnTo>
                  <a:lnTo>
                    <a:pt x="54" y="87"/>
                  </a:lnTo>
                  <a:lnTo>
                    <a:pt x="54" y="80"/>
                  </a:lnTo>
                  <a:lnTo>
                    <a:pt x="47" y="79"/>
                  </a:lnTo>
                  <a:lnTo>
                    <a:pt x="39" y="78"/>
                  </a:lnTo>
                  <a:lnTo>
                    <a:pt x="31" y="75"/>
                  </a:lnTo>
                  <a:lnTo>
                    <a:pt x="22" y="72"/>
                  </a:lnTo>
                  <a:lnTo>
                    <a:pt x="13" y="69"/>
                  </a:lnTo>
                  <a:lnTo>
                    <a:pt x="7" y="65"/>
                  </a:lnTo>
                  <a:lnTo>
                    <a:pt x="3" y="62"/>
                  </a:lnTo>
                  <a:lnTo>
                    <a:pt x="2" y="60"/>
                  </a:lnTo>
                  <a:lnTo>
                    <a:pt x="0" y="58"/>
                  </a:lnTo>
                  <a:lnTo>
                    <a:pt x="0" y="56"/>
                  </a:lnTo>
                  <a:lnTo>
                    <a:pt x="1" y="51"/>
                  </a:lnTo>
                  <a:lnTo>
                    <a:pt x="3" y="48"/>
                  </a:lnTo>
                  <a:lnTo>
                    <a:pt x="7" y="45"/>
                  </a:lnTo>
                  <a:lnTo>
                    <a:pt x="11" y="41"/>
                  </a:lnTo>
                  <a:lnTo>
                    <a:pt x="20" y="38"/>
                  </a:lnTo>
                  <a:lnTo>
                    <a:pt x="26" y="3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844" name="Freeform 338"/>
            <p:cNvSpPr>
              <a:spLocks/>
            </p:cNvSpPr>
            <p:nvPr>
              <p:custDataLst>
                <p:tags r:id="rId236"/>
              </p:custDataLst>
            </p:nvPr>
          </p:nvSpPr>
          <p:spPr bwMode="auto">
            <a:xfrm>
              <a:off x="9130785" y="4025421"/>
              <a:ext cx="198723" cy="276425"/>
            </a:xfrm>
            <a:custGeom>
              <a:avLst/>
              <a:gdLst>
                <a:gd name="T0" fmla="*/ 16273 w 379"/>
                <a:gd name="T1" fmla="*/ 220707 h 437"/>
                <a:gd name="T2" fmla="*/ 20231 w 379"/>
                <a:gd name="T3" fmla="*/ 214386 h 437"/>
                <a:gd name="T4" fmla="*/ 10555 w 379"/>
                <a:gd name="T5" fmla="*/ 163818 h 437"/>
                <a:gd name="T6" fmla="*/ 880 w 379"/>
                <a:gd name="T7" fmla="*/ 154863 h 437"/>
                <a:gd name="T8" fmla="*/ 6597 w 379"/>
                <a:gd name="T9" fmla="*/ 142221 h 437"/>
                <a:gd name="T10" fmla="*/ 13634 w 379"/>
                <a:gd name="T11" fmla="*/ 116411 h 437"/>
                <a:gd name="T12" fmla="*/ 17152 w 379"/>
                <a:gd name="T13" fmla="*/ 90600 h 437"/>
                <a:gd name="T14" fmla="*/ 25069 w 379"/>
                <a:gd name="T15" fmla="*/ 83753 h 437"/>
                <a:gd name="T16" fmla="*/ 28587 w 379"/>
                <a:gd name="T17" fmla="*/ 68477 h 437"/>
                <a:gd name="T18" fmla="*/ 33425 w 379"/>
                <a:gd name="T19" fmla="*/ 41086 h 437"/>
                <a:gd name="T20" fmla="*/ 39583 w 379"/>
                <a:gd name="T21" fmla="*/ 26864 h 437"/>
                <a:gd name="T22" fmla="*/ 50578 w 379"/>
                <a:gd name="T23" fmla="*/ 16329 h 437"/>
                <a:gd name="T24" fmla="*/ 67291 w 379"/>
                <a:gd name="T25" fmla="*/ 13169 h 437"/>
                <a:gd name="T26" fmla="*/ 95438 w 379"/>
                <a:gd name="T27" fmla="*/ 20016 h 437"/>
                <a:gd name="T28" fmla="*/ 115230 w 379"/>
                <a:gd name="T29" fmla="*/ 25284 h 437"/>
                <a:gd name="T30" fmla="*/ 133262 w 379"/>
                <a:gd name="T31" fmla="*/ 23704 h 437"/>
                <a:gd name="T32" fmla="*/ 144697 w 379"/>
                <a:gd name="T33" fmla="*/ 16329 h 437"/>
                <a:gd name="T34" fmla="*/ 156571 w 379"/>
                <a:gd name="T35" fmla="*/ 3687 h 437"/>
                <a:gd name="T36" fmla="*/ 164488 w 379"/>
                <a:gd name="T37" fmla="*/ 4741 h 437"/>
                <a:gd name="T38" fmla="*/ 163608 w 379"/>
                <a:gd name="T39" fmla="*/ 18436 h 437"/>
                <a:gd name="T40" fmla="*/ 144697 w 379"/>
                <a:gd name="T41" fmla="*/ 42140 h 437"/>
                <a:gd name="T42" fmla="*/ 128424 w 379"/>
                <a:gd name="T43" fmla="*/ 51094 h 437"/>
                <a:gd name="T44" fmla="*/ 119188 w 379"/>
                <a:gd name="T45" fmla="*/ 49514 h 437"/>
                <a:gd name="T46" fmla="*/ 104674 w 379"/>
                <a:gd name="T47" fmla="*/ 36345 h 437"/>
                <a:gd name="T48" fmla="*/ 93239 w 379"/>
                <a:gd name="T49" fmla="*/ 29498 h 437"/>
                <a:gd name="T50" fmla="*/ 77846 w 379"/>
                <a:gd name="T51" fmla="*/ 29498 h 437"/>
                <a:gd name="T52" fmla="*/ 60693 w 379"/>
                <a:gd name="T53" fmla="*/ 32132 h 437"/>
                <a:gd name="T54" fmla="*/ 50138 w 379"/>
                <a:gd name="T55" fmla="*/ 41613 h 437"/>
                <a:gd name="T56" fmla="*/ 34745 w 379"/>
                <a:gd name="T57" fmla="*/ 84806 h 437"/>
                <a:gd name="T58" fmla="*/ 52337 w 379"/>
                <a:gd name="T59" fmla="*/ 89020 h 437"/>
                <a:gd name="T60" fmla="*/ 58494 w 379"/>
                <a:gd name="T61" fmla="*/ 100608 h 437"/>
                <a:gd name="T62" fmla="*/ 68170 w 379"/>
                <a:gd name="T63" fmla="*/ 88493 h 437"/>
                <a:gd name="T64" fmla="*/ 75647 w 379"/>
                <a:gd name="T65" fmla="*/ 80592 h 437"/>
                <a:gd name="T66" fmla="*/ 97197 w 379"/>
                <a:gd name="T67" fmla="*/ 79012 h 437"/>
                <a:gd name="T68" fmla="*/ 109952 w 379"/>
                <a:gd name="T69" fmla="*/ 77432 h 437"/>
                <a:gd name="T70" fmla="*/ 120067 w 379"/>
                <a:gd name="T71" fmla="*/ 91127 h 437"/>
                <a:gd name="T72" fmla="*/ 122706 w 379"/>
                <a:gd name="T73" fmla="*/ 106929 h 437"/>
                <a:gd name="T74" fmla="*/ 108193 w 379"/>
                <a:gd name="T75" fmla="*/ 101135 h 437"/>
                <a:gd name="T76" fmla="*/ 95878 w 379"/>
                <a:gd name="T77" fmla="*/ 97448 h 437"/>
                <a:gd name="T78" fmla="*/ 84443 w 379"/>
                <a:gd name="T79" fmla="*/ 102715 h 437"/>
                <a:gd name="T80" fmla="*/ 81804 w 379"/>
                <a:gd name="T81" fmla="*/ 110090 h 437"/>
                <a:gd name="T82" fmla="*/ 84443 w 379"/>
                <a:gd name="T83" fmla="*/ 122732 h 437"/>
                <a:gd name="T84" fmla="*/ 96758 w 379"/>
                <a:gd name="T85" fmla="*/ 143275 h 437"/>
                <a:gd name="T86" fmla="*/ 98957 w 379"/>
                <a:gd name="T87" fmla="*/ 155917 h 437"/>
                <a:gd name="T88" fmla="*/ 94559 w 379"/>
                <a:gd name="T89" fmla="*/ 169612 h 437"/>
                <a:gd name="T90" fmla="*/ 90161 w 379"/>
                <a:gd name="T91" fmla="*/ 181727 h 437"/>
                <a:gd name="T92" fmla="*/ 92360 w 379"/>
                <a:gd name="T93" fmla="*/ 187522 h 437"/>
                <a:gd name="T94" fmla="*/ 103795 w 379"/>
                <a:gd name="T95" fmla="*/ 193843 h 437"/>
                <a:gd name="T96" fmla="*/ 110831 w 379"/>
                <a:gd name="T97" fmla="*/ 210698 h 437"/>
                <a:gd name="T98" fmla="*/ 105114 w 379"/>
                <a:gd name="T99" fmla="*/ 225974 h 437"/>
                <a:gd name="T100" fmla="*/ 97197 w 379"/>
                <a:gd name="T101" fmla="*/ 221760 h 437"/>
                <a:gd name="T102" fmla="*/ 88841 w 379"/>
                <a:gd name="T103" fmla="*/ 219653 h 437"/>
                <a:gd name="T104" fmla="*/ 77846 w 379"/>
                <a:gd name="T105" fmla="*/ 210698 h 437"/>
                <a:gd name="T106" fmla="*/ 67291 w 379"/>
                <a:gd name="T107" fmla="*/ 187522 h 437"/>
                <a:gd name="T108" fmla="*/ 60254 w 379"/>
                <a:gd name="T109" fmla="*/ 160131 h 437"/>
                <a:gd name="T110" fmla="*/ 50138 w 379"/>
                <a:gd name="T111" fmla="*/ 138534 h 437"/>
                <a:gd name="T112" fmla="*/ 42661 w 379"/>
                <a:gd name="T113" fmla="*/ 136427 h 437"/>
                <a:gd name="T114" fmla="*/ 46180 w 379"/>
                <a:gd name="T115" fmla="*/ 200690 h 437"/>
                <a:gd name="T116" fmla="*/ 40902 w 379"/>
                <a:gd name="T117" fmla="*/ 212805 h 437"/>
                <a:gd name="T118" fmla="*/ 25069 w 379"/>
                <a:gd name="T119" fmla="*/ 224394 h 437"/>
                <a:gd name="T120" fmla="*/ 25949 w 379"/>
                <a:gd name="T121" fmla="*/ 230188 h 43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379" h="437">
                  <a:moveTo>
                    <a:pt x="59" y="437"/>
                  </a:moveTo>
                  <a:lnTo>
                    <a:pt x="33" y="437"/>
                  </a:lnTo>
                  <a:lnTo>
                    <a:pt x="34" y="430"/>
                  </a:lnTo>
                  <a:lnTo>
                    <a:pt x="37" y="419"/>
                  </a:lnTo>
                  <a:lnTo>
                    <a:pt x="38" y="415"/>
                  </a:lnTo>
                  <a:lnTo>
                    <a:pt x="41" y="410"/>
                  </a:lnTo>
                  <a:lnTo>
                    <a:pt x="44" y="408"/>
                  </a:lnTo>
                  <a:lnTo>
                    <a:pt x="46" y="407"/>
                  </a:lnTo>
                  <a:lnTo>
                    <a:pt x="46" y="320"/>
                  </a:lnTo>
                  <a:lnTo>
                    <a:pt x="38" y="317"/>
                  </a:lnTo>
                  <a:lnTo>
                    <a:pt x="32" y="314"/>
                  </a:lnTo>
                  <a:lnTo>
                    <a:pt x="24" y="311"/>
                  </a:lnTo>
                  <a:lnTo>
                    <a:pt x="18" y="307"/>
                  </a:lnTo>
                  <a:lnTo>
                    <a:pt x="12" y="303"/>
                  </a:lnTo>
                  <a:lnTo>
                    <a:pt x="7" y="299"/>
                  </a:lnTo>
                  <a:lnTo>
                    <a:pt x="2" y="294"/>
                  </a:lnTo>
                  <a:lnTo>
                    <a:pt x="0" y="290"/>
                  </a:lnTo>
                  <a:lnTo>
                    <a:pt x="5" y="284"/>
                  </a:lnTo>
                  <a:lnTo>
                    <a:pt x="11" y="278"/>
                  </a:lnTo>
                  <a:lnTo>
                    <a:pt x="15" y="270"/>
                  </a:lnTo>
                  <a:lnTo>
                    <a:pt x="19" y="264"/>
                  </a:lnTo>
                  <a:lnTo>
                    <a:pt x="24" y="250"/>
                  </a:lnTo>
                  <a:lnTo>
                    <a:pt x="28" y="236"/>
                  </a:lnTo>
                  <a:lnTo>
                    <a:pt x="31" y="221"/>
                  </a:lnTo>
                  <a:lnTo>
                    <a:pt x="32" y="204"/>
                  </a:lnTo>
                  <a:lnTo>
                    <a:pt x="33" y="189"/>
                  </a:lnTo>
                  <a:lnTo>
                    <a:pt x="33" y="173"/>
                  </a:lnTo>
                  <a:lnTo>
                    <a:pt x="39" y="172"/>
                  </a:lnTo>
                  <a:lnTo>
                    <a:pt x="45" y="170"/>
                  </a:lnTo>
                  <a:lnTo>
                    <a:pt x="50" y="168"/>
                  </a:lnTo>
                  <a:lnTo>
                    <a:pt x="54" y="164"/>
                  </a:lnTo>
                  <a:lnTo>
                    <a:pt x="57" y="159"/>
                  </a:lnTo>
                  <a:lnTo>
                    <a:pt x="59" y="154"/>
                  </a:lnTo>
                  <a:lnTo>
                    <a:pt x="61" y="149"/>
                  </a:lnTo>
                  <a:lnTo>
                    <a:pt x="63" y="143"/>
                  </a:lnTo>
                  <a:lnTo>
                    <a:pt x="65" y="130"/>
                  </a:lnTo>
                  <a:lnTo>
                    <a:pt x="66" y="115"/>
                  </a:lnTo>
                  <a:lnTo>
                    <a:pt x="69" y="100"/>
                  </a:lnTo>
                  <a:lnTo>
                    <a:pt x="72" y="86"/>
                  </a:lnTo>
                  <a:lnTo>
                    <a:pt x="76" y="78"/>
                  </a:lnTo>
                  <a:lnTo>
                    <a:pt x="78" y="71"/>
                  </a:lnTo>
                  <a:lnTo>
                    <a:pt x="81" y="64"/>
                  </a:lnTo>
                  <a:lnTo>
                    <a:pt x="86" y="57"/>
                  </a:lnTo>
                  <a:lnTo>
                    <a:pt x="90" y="51"/>
                  </a:lnTo>
                  <a:lnTo>
                    <a:pt x="95" y="44"/>
                  </a:lnTo>
                  <a:lnTo>
                    <a:pt x="101" y="39"/>
                  </a:lnTo>
                  <a:lnTo>
                    <a:pt x="108" y="35"/>
                  </a:lnTo>
                  <a:lnTo>
                    <a:pt x="115" y="31"/>
                  </a:lnTo>
                  <a:lnTo>
                    <a:pt x="123" y="29"/>
                  </a:lnTo>
                  <a:lnTo>
                    <a:pt x="132" y="27"/>
                  </a:lnTo>
                  <a:lnTo>
                    <a:pt x="142" y="25"/>
                  </a:lnTo>
                  <a:lnTo>
                    <a:pt x="153" y="25"/>
                  </a:lnTo>
                  <a:lnTo>
                    <a:pt x="165" y="26"/>
                  </a:lnTo>
                  <a:lnTo>
                    <a:pt x="178" y="28"/>
                  </a:lnTo>
                  <a:lnTo>
                    <a:pt x="192" y="30"/>
                  </a:lnTo>
                  <a:lnTo>
                    <a:pt x="217" y="38"/>
                  </a:lnTo>
                  <a:lnTo>
                    <a:pt x="237" y="44"/>
                  </a:lnTo>
                  <a:lnTo>
                    <a:pt x="246" y="46"/>
                  </a:lnTo>
                  <a:lnTo>
                    <a:pt x="254" y="47"/>
                  </a:lnTo>
                  <a:lnTo>
                    <a:pt x="262" y="48"/>
                  </a:lnTo>
                  <a:lnTo>
                    <a:pt x="272" y="50"/>
                  </a:lnTo>
                  <a:lnTo>
                    <a:pt x="283" y="48"/>
                  </a:lnTo>
                  <a:lnTo>
                    <a:pt x="294" y="47"/>
                  </a:lnTo>
                  <a:lnTo>
                    <a:pt x="303" y="45"/>
                  </a:lnTo>
                  <a:lnTo>
                    <a:pt x="311" y="42"/>
                  </a:lnTo>
                  <a:lnTo>
                    <a:pt x="317" y="39"/>
                  </a:lnTo>
                  <a:lnTo>
                    <a:pt x="324" y="35"/>
                  </a:lnTo>
                  <a:lnTo>
                    <a:pt x="329" y="31"/>
                  </a:lnTo>
                  <a:lnTo>
                    <a:pt x="334" y="27"/>
                  </a:lnTo>
                  <a:lnTo>
                    <a:pt x="343" y="18"/>
                  </a:lnTo>
                  <a:lnTo>
                    <a:pt x="351" y="10"/>
                  </a:lnTo>
                  <a:lnTo>
                    <a:pt x="356" y="7"/>
                  </a:lnTo>
                  <a:lnTo>
                    <a:pt x="360" y="4"/>
                  </a:lnTo>
                  <a:lnTo>
                    <a:pt x="366" y="2"/>
                  </a:lnTo>
                  <a:lnTo>
                    <a:pt x="371" y="0"/>
                  </a:lnTo>
                  <a:lnTo>
                    <a:pt x="374" y="9"/>
                  </a:lnTo>
                  <a:lnTo>
                    <a:pt x="379" y="18"/>
                  </a:lnTo>
                  <a:lnTo>
                    <a:pt x="378" y="23"/>
                  </a:lnTo>
                  <a:lnTo>
                    <a:pt x="375" y="29"/>
                  </a:lnTo>
                  <a:lnTo>
                    <a:pt x="372" y="35"/>
                  </a:lnTo>
                  <a:lnTo>
                    <a:pt x="369" y="41"/>
                  </a:lnTo>
                  <a:lnTo>
                    <a:pt x="358" y="55"/>
                  </a:lnTo>
                  <a:lnTo>
                    <a:pt x="344" y="68"/>
                  </a:lnTo>
                  <a:lnTo>
                    <a:pt x="329" y="80"/>
                  </a:lnTo>
                  <a:lnTo>
                    <a:pt x="314" y="89"/>
                  </a:lnTo>
                  <a:lnTo>
                    <a:pt x="306" y="93"/>
                  </a:lnTo>
                  <a:lnTo>
                    <a:pt x="299" y="96"/>
                  </a:lnTo>
                  <a:lnTo>
                    <a:pt x="292" y="97"/>
                  </a:lnTo>
                  <a:lnTo>
                    <a:pt x="285" y="98"/>
                  </a:lnTo>
                  <a:lnTo>
                    <a:pt x="280" y="98"/>
                  </a:lnTo>
                  <a:lnTo>
                    <a:pt x="276" y="96"/>
                  </a:lnTo>
                  <a:lnTo>
                    <a:pt x="271" y="94"/>
                  </a:lnTo>
                  <a:lnTo>
                    <a:pt x="266" y="91"/>
                  </a:lnTo>
                  <a:lnTo>
                    <a:pt x="257" y="85"/>
                  </a:lnTo>
                  <a:lnTo>
                    <a:pt x="248" y="77"/>
                  </a:lnTo>
                  <a:lnTo>
                    <a:pt x="238" y="69"/>
                  </a:lnTo>
                  <a:lnTo>
                    <a:pt x="228" y="62"/>
                  </a:lnTo>
                  <a:lnTo>
                    <a:pt x="223" y="60"/>
                  </a:lnTo>
                  <a:lnTo>
                    <a:pt x="217" y="57"/>
                  </a:lnTo>
                  <a:lnTo>
                    <a:pt x="212" y="56"/>
                  </a:lnTo>
                  <a:lnTo>
                    <a:pt x="205" y="56"/>
                  </a:lnTo>
                  <a:lnTo>
                    <a:pt x="199" y="56"/>
                  </a:lnTo>
                  <a:lnTo>
                    <a:pt x="190" y="56"/>
                  </a:lnTo>
                  <a:lnTo>
                    <a:pt x="177" y="56"/>
                  </a:lnTo>
                  <a:lnTo>
                    <a:pt x="159" y="56"/>
                  </a:lnTo>
                  <a:lnTo>
                    <a:pt x="151" y="56"/>
                  </a:lnTo>
                  <a:lnTo>
                    <a:pt x="145" y="58"/>
                  </a:lnTo>
                  <a:lnTo>
                    <a:pt x="138" y="61"/>
                  </a:lnTo>
                  <a:lnTo>
                    <a:pt x="132" y="64"/>
                  </a:lnTo>
                  <a:lnTo>
                    <a:pt x="125" y="69"/>
                  </a:lnTo>
                  <a:lnTo>
                    <a:pt x="120" y="74"/>
                  </a:lnTo>
                  <a:lnTo>
                    <a:pt x="114" y="79"/>
                  </a:lnTo>
                  <a:lnTo>
                    <a:pt x="109" y="85"/>
                  </a:lnTo>
                  <a:lnTo>
                    <a:pt x="92" y="110"/>
                  </a:lnTo>
                  <a:lnTo>
                    <a:pt x="79" y="129"/>
                  </a:lnTo>
                  <a:lnTo>
                    <a:pt x="79" y="161"/>
                  </a:lnTo>
                  <a:lnTo>
                    <a:pt x="91" y="161"/>
                  </a:lnTo>
                  <a:lnTo>
                    <a:pt x="102" y="163"/>
                  </a:lnTo>
                  <a:lnTo>
                    <a:pt x="111" y="165"/>
                  </a:lnTo>
                  <a:lnTo>
                    <a:pt x="119" y="169"/>
                  </a:lnTo>
                  <a:lnTo>
                    <a:pt x="124" y="173"/>
                  </a:lnTo>
                  <a:lnTo>
                    <a:pt x="128" y="178"/>
                  </a:lnTo>
                  <a:lnTo>
                    <a:pt x="132" y="184"/>
                  </a:lnTo>
                  <a:lnTo>
                    <a:pt x="133" y="191"/>
                  </a:lnTo>
                  <a:lnTo>
                    <a:pt x="139" y="186"/>
                  </a:lnTo>
                  <a:lnTo>
                    <a:pt x="145" y="180"/>
                  </a:lnTo>
                  <a:lnTo>
                    <a:pt x="150" y="174"/>
                  </a:lnTo>
                  <a:lnTo>
                    <a:pt x="155" y="168"/>
                  </a:lnTo>
                  <a:lnTo>
                    <a:pt x="159" y="163"/>
                  </a:lnTo>
                  <a:lnTo>
                    <a:pt x="164" y="157"/>
                  </a:lnTo>
                  <a:lnTo>
                    <a:pt x="168" y="155"/>
                  </a:lnTo>
                  <a:lnTo>
                    <a:pt x="172" y="153"/>
                  </a:lnTo>
                  <a:lnTo>
                    <a:pt x="184" y="150"/>
                  </a:lnTo>
                  <a:lnTo>
                    <a:pt x="196" y="149"/>
                  </a:lnTo>
                  <a:lnTo>
                    <a:pt x="209" y="149"/>
                  </a:lnTo>
                  <a:lnTo>
                    <a:pt x="221" y="150"/>
                  </a:lnTo>
                  <a:lnTo>
                    <a:pt x="232" y="150"/>
                  </a:lnTo>
                  <a:lnTo>
                    <a:pt x="242" y="149"/>
                  </a:lnTo>
                  <a:lnTo>
                    <a:pt x="246" y="148"/>
                  </a:lnTo>
                  <a:lnTo>
                    <a:pt x="250" y="147"/>
                  </a:lnTo>
                  <a:lnTo>
                    <a:pt x="255" y="144"/>
                  </a:lnTo>
                  <a:lnTo>
                    <a:pt x="259" y="141"/>
                  </a:lnTo>
                  <a:lnTo>
                    <a:pt x="268" y="158"/>
                  </a:lnTo>
                  <a:lnTo>
                    <a:pt x="273" y="173"/>
                  </a:lnTo>
                  <a:lnTo>
                    <a:pt x="276" y="179"/>
                  </a:lnTo>
                  <a:lnTo>
                    <a:pt x="278" y="187"/>
                  </a:lnTo>
                  <a:lnTo>
                    <a:pt x="278" y="194"/>
                  </a:lnTo>
                  <a:lnTo>
                    <a:pt x="279" y="203"/>
                  </a:lnTo>
                  <a:lnTo>
                    <a:pt x="268" y="200"/>
                  </a:lnTo>
                  <a:lnTo>
                    <a:pt x="259" y="198"/>
                  </a:lnTo>
                  <a:lnTo>
                    <a:pt x="252" y="195"/>
                  </a:lnTo>
                  <a:lnTo>
                    <a:pt x="246" y="192"/>
                  </a:lnTo>
                  <a:lnTo>
                    <a:pt x="240" y="189"/>
                  </a:lnTo>
                  <a:lnTo>
                    <a:pt x="235" y="187"/>
                  </a:lnTo>
                  <a:lnTo>
                    <a:pt x="227" y="185"/>
                  </a:lnTo>
                  <a:lnTo>
                    <a:pt x="218" y="185"/>
                  </a:lnTo>
                  <a:lnTo>
                    <a:pt x="210" y="186"/>
                  </a:lnTo>
                  <a:lnTo>
                    <a:pt x="202" y="188"/>
                  </a:lnTo>
                  <a:lnTo>
                    <a:pt x="196" y="191"/>
                  </a:lnTo>
                  <a:lnTo>
                    <a:pt x="192" y="195"/>
                  </a:lnTo>
                  <a:lnTo>
                    <a:pt x="189" y="199"/>
                  </a:lnTo>
                  <a:lnTo>
                    <a:pt x="187" y="203"/>
                  </a:lnTo>
                  <a:lnTo>
                    <a:pt x="186" y="206"/>
                  </a:lnTo>
                  <a:lnTo>
                    <a:pt x="186" y="209"/>
                  </a:lnTo>
                  <a:lnTo>
                    <a:pt x="186" y="215"/>
                  </a:lnTo>
                  <a:lnTo>
                    <a:pt x="188" y="223"/>
                  </a:lnTo>
                  <a:lnTo>
                    <a:pt x="189" y="228"/>
                  </a:lnTo>
                  <a:lnTo>
                    <a:pt x="192" y="233"/>
                  </a:lnTo>
                  <a:lnTo>
                    <a:pt x="198" y="243"/>
                  </a:lnTo>
                  <a:lnTo>
                    <a:pt x="205" y="252"/>
                  </a:lnTo>
                  <a:lnTo>
                    <a:pt x="213" y="261"/>
                  </a:lnTo>
                  <a:lnTo>
                    <a:pt x="220" y="272"/>
                  </a:lnTo>
                  <a:lnTo>
                    <a:pt x="222" y="277"/>
                  </a:lnTo>
                  <a:lnTo>
                    <a:pt x="224" y="283"/>
                  </a:lnTo>
                  <a:lnTo>
                    <a:pt x="225" y="289"/>
                  </a:lnTo>
                  <a:lnTo>
                    <a:pt x="225" y="296"/>
                  </a:lnTo>
                  <a:lnTo>
                    <a:pt x="225" y="302"/>
                  </a:lnTo>
                  <a:lnTo>
                    <a:pt x="222" y="309"/>
                  </a:lnTo>
                  <a:lnTo>
                    <a:pt x="220" y="316"/>
                  </a:lnTo>
                  <a:lnTo>
                    <a:pt x="215" y="322"/>
                  </a:lnTo>
                  <a:lnTo>
                    <a:pt x="212" y="329"/>
                  </a:lnTo>
                  <a:lnTo>
                    <a:pt x="209" y="335"/>
                  </a:lnTo>
                  <a:lnTo>
                    <a:pt x="206" y="340"/>
                  </a:lnTo>
                  <a:lnTo>
                    <a:pt x="205" y="345"/>
                  </a:lnTo>
                  <a:lnTo>
                    <a:pt x="205" y="348"/>
                  </a:lnTo>
                  <a:lnTo>
                    <a:pt x="206" y="351"/>
                  </a:lnTo>
                  <a:lnTo>
                    <a:pt x="209" y="354"/>
                  </a:lnTo>
                  <a:lnTo>
                    <a:pt x="210" y="356"/>
                  </a:lnTo>
                  <a:lnTo>
                    <a:pt x="215" y="361"/>
                  </a:lnTo>
                  <a:lnTo>
                    <a:pt x="222" y="364"/>
                  </a:lnTo>
                  <a:lnTo>
                    <a:pt x="228" y="366"/>
                  </a:lnTo>
                  <a:lnTo>
                    <a:pt x="236" y="368"/>
                  </a:lnTo>
                  <a:lnTo>
                    <a:pt x="244" y="369"/>
                  </a:lnTo>
                  <a:lnTo>
                    <a:pt x="252" y="369"/>
                  </a:lnTo>
                  <a:lnTo>
                    <a:pt x="252" y="390"/>
                  </a:lnTo>
                  <a:lnTo>
                    <a:pt x="252" y="400"/>
                  </a:lnTo>
                  <a:lnTo>
                    <a:pt x="252" y="411"/>
                  </a:lnTo>
                  <a:lnTo>
                    <a:pt x="252" y="431"/>
                  </a:lnTo>
                  <a:lnTo>
                    <a:pt x="245" y="430"/>
                  </a:lnTo>
                  <a:lnTo>
                    <a:pt x="239" y="429"/>
                  </a:lnTo>
                  <a:lnTo>
                    <a:pt x="234" y="427"/>
                  </a:lnTo>
                  <a:lnTo>
                    <a:pt x="229" y="425"/>
                  </a:lnTo>
                  <a:lnTo>
                    <a:pt x="225" y="423"/>
                  </a:lnTo>
                  <a:lnTo>
                    <a:pt x="221" y="421"/>
                  </a:lnTo>
                  <a:lnTo>
                    <a:pt x="217" y="419"/>
                  </a:lnTo>
                  <a:lnTo>
                    <a:pt x="212" y="419"/>
                  </a:lnTo>
                  <a:lnTo>
                    <a:pt x="207" y="418"/>
                  </a:lnTo>
                  <a:lnTo>
                    <a:pt x="202" y="417"/>
                  </a:lnTo>
                  <a:lnTo>
                    <a:pt x="198" y="416"/>
                  </a:lnTo>
                  <a:lnTo>
                    <a:pt x="193" y="414"/>
                  </a:lnTo>
                  <a:lnTo>
                    <a:pt x="186" y="408"/>
                  </a:lnTo>
                  <a:lnTo>
                    <a:pt x="177" y="400"/>
                  </a:lnTo>
                  <a:lnTo>
                    <a:pt x="170" y="391"/>
                  </a:lnTo>
                  <a:lnTo>
                    <a:pt x="164" y="379"/>
                  </a:lnTo>
                  <a:lnTo>
                    <a:pt x="158" y="368"/>
                  </a:lnTo>
                  <a:lnTo>
                    <a:pt x="153" y="356"/>
                  </a:lnTo>
                  <a:lnTo>
                    <a:pt x="148" y="343"/>
                  </a:lnTo>
                  <a:lnTo>
                    <a:pt x="144" y="330"/>
                  </a:lnTo>
                  <a:lnTo>
                    <a:pt x="140" y="317"/>
                  </a:lnTo>
                  <a:lnTo>
                    <a:pt x="137" y="304"/>
                  </a:lnTo>
                  <a:lnTo>
                    <a:pt x="134" y="282"/>
                  </a:lnTo>
                  <a:lnTo>
                    <a:pt x="133" y="264"/>
                  </a:lnTo>
                  <a:lnTo>
                    <a:pt x="122" y="264"/>
                  </a:lnTo>
                  <a:lnTo>
                    <a:pt x="114" y="263"/>
                  </a:lnTo>
                  <a:lnTo>
                    <a:pt x="109" y="261"/>
                  </a:lnTo>
                  <a:lnTo>
                    <a:pt x="104" y="260"/>
                  </a:lnTo>
                  <a:lnTo>
                    <a:pt x="101" y="259"/>
                  </a:lnTo>
                  <a:lnTo>
                    <a:pt x="97" y="259"/>
                  </a:lnTo>
                  <a:lnTo>
                    <a:pt x="92" y="261"/>
                  </a:lnTo>
                  <a:lnTo>
                    <a:pt x="86" y="264"/>
                  </a:lnTo>
                  <a:lnTo>
                    <a:pt x="86" y="296"/>
                  </a:lnTo>
                  <a:lnTo>
                    <a:pt x="105" y="381"/>
                  </a:lnTo>
                  <a:lnTo>
                    <a:pt x="104" y="389"/>
                  </a:lnTo>
                  <a:lnTo>
                    <a:pt x="101" y="394"/>
                  </a:lnTo>
                  <a:lnTo>
                    <a:pt x="98" y="399"/>
                  </a:lnTo>
                  <a:lnTo>
                    <a:pt x="93" y="404"/>
                  </a:lnTo>
                  <a:lnTo>
                    <a:pt x="83" y="411"/>
                  </a:lnTo>
                  <a:lnTo>
                    <a:pt x="72" y="416"/>
                  </a:lnTo>
                  <a:lnTo>
                    <a:pt x="64" y="421"/>
                  </a:lnTo>
                  <a:lnTo>
                    <a:pt x="57" y="426"/>
                  </a:lnTo>
                  <a:lnTo>
                    <a:pt x="56" y="428"/>
                  </a:lnTo>
                  <a:lnTo>
                    <a:pt x="55" y="431"/>
                  </a:lnTo>
                  <a:lnTo>
                    <a:pt x="56" y="434"/>
                  </a:lnTo>
                  <a:lnTo>
                    <a:pt x="59" y="43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845" name="Freeform 339"/>
            <p:cNvSpPr>
              <a:spLocks/>
            </p:cNvSpPr>
            <p:nvPr>
              <p:custDataLst>
                <p:tags r:id="rId237"/>
              </p:custDataLst>
            </p:nvPr>
          </p:nvSpPr>
          <p:spPr bwMode="auto">
            <a:xfrm>
              <a:off x="8731446" y="4315191"/>
              <a:ext cx="299031" cy="114383"/>
            </a:xfrm>
            <a:custGeom>
              <a:avLst/>
              <a:gdLst>
                <a:gd name="T0" fmla="*/ 4773 w 578"/>
                <a:gd name="T1" fmla="*/ 25883 h 184"/>
                <a:gd name="T2" fmla="*/ 10415 w 578"/>
                <a:gd name="T3" fmla="*/ 16565 h 184"/>
                <a:gd name="T4" fmla="*/ 17792 w 578"/>
                <a:gd name="T5" fmla="*/ 3624 h 184"/>
                <a:gd name="T6" fmla="*/ 23433 w 578"/>
                <a:gd name="T7" fmla="*/ 0 h 184"/>
                <a:gd name="T8" fmla="*/ 34282 w 578"/>
                <a:gd name="T9" fmla="*/ 1035 h 184"/>
                <a:gd name="T10" fmla="*/ 41226 w 578"/>
                <a:gd name="T11" fmla="*/ 1035 h 184"/>
                <a:gd name="T12" fmla="*/ 43829 w 578"/>
                <a:gd name="T13" fmla="*/ 2588 h 184"/>
                <a:gd name="T14" fmla="*/ 49905 w 578"/>
                <a:gd name="T15" fmla="*/ 7765 h 184"/>
                <a:gd name="T16" fmla="*/ 63791 w 578"/>
                <a:gd name="T17" fmla="*/ 13977 h 184"/>
                <a:gd name="T18" fmla="*/ 72904 w 578"/>
                <a:gd name="T19" fmla="*/ 19154 h 184"/>
                <a:gd name="T20" fmla="*/ 77244 w 578"/>
                <a:gd name="T21" fmla="*/ 27436 h 184"/>
                <a:gd name="T22" fmla="*/ 83319 w 578"/>
                <a:gd name="T23" fmla="*/ 31577 h 184"/>
                <a:gd name="T24" fmla="*/ 100243 w 578"/>
                <a:gd name="T25" fmla="*/ 31060 h 184"/>
                <a:gd name="T26" fmla="*/ 120205 w 578"/>
                <a:gd name="T27" fmla="*/ 26401 h 184"/>
                <a:gd name="T28" fmla="*/ 129752 w 578"/>
                <a:gd name="T29" fmla="*/ 20189 h 184"/>
                <a:gd name="T30" fmla="*/ 136261 w 578"/>
                <a:gd name="T31" fmla="*/ 17601 h 184"/>
                <a:gd name="T32" fmla="*/ 141903 w 578"/>
                <a:gd name="T33" fmla="*/ 18118 h 184"/>
                <a:gd name="T34" fmla="*/ 147110 w 578"/>
                <a:gd name="T35" fmla="*/ 16048 h 184"/>
                <a:gd name="T36" fmla="*/ 158827 w 578"/>
                <a:gd name="T37" fmla="*/ 17601 h 184"/>
                <a:gd name="T38" fmla="*/ 173147 w 578"/>
                <a:gd name="T39" fmla="*/ 30542 h 184"/>
                <a:gd name="T40" fmla="*/ 185732 w 578"/>
                <a:gd name="T41" fmla="*/ 46072 h 184"/>
                <a:gd name="T42" fmla="*/ 197883 w 578"/>
                <a:gd name="T43" fmla="*/ 54355 h 184"/>
                <a:gd name="T44" fmla="*/ 207864 w 578"/>
                <a:gd name="T45" fmla="*/ 55390 h 184"/>
                <a:gd name="T46" fmla="*/ 213939 w 578"/>
                <a:gd name="T47" fmla="*/ 55908 h 184"/>
                <a:gd name="T48" fmla="*/ 219146 w 578"/>
                <a:gd name="T49" fmla="*/ 64708 h 184"/>
                <a:gd name="T50" fmla="*/ 226524 w 578"/>
                <a:gd name="T51" fmla="*/ 72473 h 184"/>
                <a:gd name="T52" fmla="*/ 231731 w 578"/>
                <a:gd name="T53" fmla="*/ 71955 h 184"/>
                <a:gd name="T54" fmla="*/ 236938 w 578"/>
                <a:gd name="T55" fmla="*/ 66261 h 184"/>
                <a:gd name="T56" fmla="*/ 242146 w 578"/>
                <a:gd name="T57" fmla="*/ 69367 h 184"/>
                <a:gd name="T58" fmla="*/ 247787 w 578"/>
                <a:gd name="T59" fmla="*/ 75061 h 184"/>
                <a:gd name="T60" fmla="*/ 250825 w 578"/>
                <a:gd name="T61" fmla="*/ 82826 h 184"/>
                <a:gd name="T62" fmla="*/ 249523 w 578"/>
                <a:gd name="T63" fmla="*/ 89556 h 184"/>
                <a:gd name="T64" fmla="*/ 246052 w 578"/>
                <a:gd name="T65" fmla="*/ 94215 h 184"/>
                <a:gd name="T66" fmla="*/ 239108 w 578"/>
                <a:gd name="T67" fmla="*/ 92144 h 184"/>
                <a:gd name="T68" fmla="*/ 228259 w 578"/>
                <a:gd name="T69" fmla="*/ 88003 h 184"/>
                <a:gd name="T70" fmla="*/ 213071 w 578"/>
                <a:gd name="T71" fmla="*/ 89038 h 184"/>
                <a:gd name="T72" fmla="*/ 200486 w 578"/>
                <a:gd name="T73" fmla="*/ 88003 h 184"/>
                <a:gd name="T74" fmla="*/ 195713 w 578"/>
                <a:gd name="T75" fmla="*/ 82826 h 184"/>
                <a:gd name="T76" fmla="*/ 190072 w 578"/>
                <a:gd name="T77" fmla="*/ 79720 h 184"/>
                <a:gd name="T78" fmla="*/ 184864 w 578"/>
                <a:gd name="T79" fmla="*/ 82826 h 184"/>
                <a:gd name="T80" fmla="*/ 180525 w 578"/>
                <a:gd name="T81" fmla="*/ 88003 h 184"/>
                <a:gd name="T82" fmla="*/ 172713 w 578"/>
                <a:gd name="T83" fmla="*/ 88520 h 184"/>
                <a:gd name="T84" fmla="*/ 142337 w 578"/>
                <a:gd name="T85" fmla="*/ 79202 h 184"/>
                <a:gd name="T86" fmla="*/ 120205 w 578"/>
                <a:gd name="T87" fmla="*/ 68332 h 184"/>
                <a:gd name="T88" fmla="*/ 115432 w 578"/>
                <a:gd name="T89" fmla="*/ 63673 h 184"/>
                <a:gd name="T90" fmla="*/ 99809 w 578"/>
                <a:gd name="T91" fmla="*/ 61602 h 184"/>
                <a:gd name="T92" fmla="*/ 87225 w 578"/>
                <a:gd name="T93" fmla="*/ 58496 h 184"/>
                <a:gd name="T94" fmla="*/ 72904 w 578"/>
                <a:gd name="T95" fmla="*/ 57461 h 184"/>
                <a:gd name="T96" fmla="*/ 63357 w 578"/>
                <a:gd name="T97" fmla="*/ 57461 h 184"/>
                <a:gd name="T98" fmla="*/ 53810 w 578"/>
                <a:gd name="T99" fmla="*/ 54355 h 184"/>
                <a:gd name="T100" fmla="*/ 52074 w 578"/>
                <a:gd name="T101" fmla="*/ 51249 h 184"/>
                <a:gd name="T102" fmla="*/ 29943 w 578"/>
                <a:gd name="T103" fmla="*/ 50213 h 184"/>
                <a:gd name="T104" fmla="*/ 19962 w 578"/>
                <a:gd name="T105" fmla="*/ 45554 h 184"/>
                <a:gd name="T106" fmla="*/ 0 w 578"/>
                <a:gd name="T107" fmla="*/ 28471 h 18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578" h="184">
                  <a:moveTo>
                    <a:pt x="0" y="55"/>
                  </a:moveTo>
                  <a:lnTo>
                    <a:pt x="6" y="53"/>
                  </a:lnTo>
                  <a:lnTo>
                    <a:pt x="11" y="50"/>
                  </a:lnTo>
                  <a:lnTo>
                    <a:pt x="14" y="46"/>
                  </a:lnTo>
                  <a:lnTo>
                    <a:pt x="19" y="42"/>
                  </a:lnTo>
                  <a:lnTo>
                    <a:pt x="24" y="32"/>
                  </a:lnTo>
                  <a:lnTo>
                    <a:pt x="30" y="23"/>
                  </a:lnTo>
                  <a:lnTo>
                    <a:pt x="35" y="14"/>
                  </a:lnTo>
                  <a:lnTo>
                    <a:pt x="41" y="7"/>
                  </a:lnTo>
                  <a:lnTo>
                    <a:pt x="44" y="4"/>
                  </a:lnTo>
                  <a:lnTo>
                    <a:pt x="48" y="2"/>
                  </a:lnTo>
                  <a:lnTo>
                    <a:pt x="54" y="0"/>
                  </a:lnTo>
                  <a:lnTo>
                    <a:pt x="59" y="0"/>
                  </a:lnTo>
                  <a:lnTo>
                    <a:pt x="69" y="1"/>
                  </a:lnTo>
                  <a:lnTo>
                    <a:pt x="79" y="2"/>
                  </a:lnTo>
                  <a:lnTo>
                    <a:pt x="85" y="3"/>
                  </a:lnTo>
                  <a:lnTo>
                    <a:pt x="89" y="3"/>
                  </a:lnTo>
                  <a:lnTo>
                    <a:pt x="95" y="2"/>
                  </a:lnTo>
                  <a:lnTo>
                    <a:pt x="99" y="0"/>
                  </a:lnTo>
                  <a:lnTo>
                    <a:pt x="100" y="2"/>
                  </a:lnTo>
                  <a:lnTo>
                    <a:pt x="101" y="5"/>
                  </a:lnTo>
                  <a:lnTo>
                    <a:pt x="103" y="7"/>
                  </a:lnTo>
                  <a:lnTo>
                    <a:pt x="107" y="10"/>
                  </a:lnTo>
                  <a:lnTo>
                    <a:pt x="115" y="15"/>
                  </a:lnTo>
                  <a:lnTo>
                    <a:pt x="125" y="20"/>
                  </a:lnTo>
                  <a:lnTo>
                    <a:pt x="136" y="24"/>
                  </a:lnTo>
                  <a:lnTo>
                    <a:pt x="147" y="27"/>
                  </a:lnTo>
                  <a:lnTo>
                    <a:pt x="157" y="29"/>
                  </a:lnTo>
                  <a:lnTo>
                    <a:pt x="166" y="30"/>
                  </a:lnTo>
                  <a:lnTo>
                    <a:pt x="168" y="37"/>
                  </a:lnTo>
                  <a:lnTo>
                    <a:pt x="171" y="44"/>
                  </a:lnTo>
                  <a:lnTo>
                    <a:pt x="174" y="49"/>
                  </a:lnTo>
                  <a:lnTo>
                    <a:pt x="178" y="53"/>
                  </a:lnTo>
                  <a:lnTo>
                    <a:pt x="181" y="57"/>
                  </a:lnTo>
                  <a:lnTo>
                    <a:pt x="187" y="59"/>
                  </a:lnTo>
                  <a:lnTo>
                    <a:pt x="192" y="61"/>
                  </a:lnTo>
                  <a:lnTo>
                    <a:pt x="199" y="61"/>
                  </a:lnTo>
                  <a:lnTo>
                    <a:pt x="214" y="61"/>
                  </a:lnTo>
                  <a:lnTo>
                    <a:pt x="231" y="60"/>
                  </a:lnTo>
                  <a:lnTo>
                    <a:pt x="247" y="58"/>
                  </a:lnTo>
                  <a:lnTo>
                    <a:pt x="263" y="55"/>
                  </a:lnTo>
                  <a:lnTo>
                    <a:pt x="277" y="51"/>
                  </a:lnTo>
                  <a:lnTo>
                    <a:pt x="289" y="46"/>
                  </a:lnTo>
                  <a:lnTo>
                    <a:pt x="294" y="43"/>
                  </a:lnTo>
                  <a:lnTo>
                    <a:pt x="299" y="39"/>
                  </a:lnTo>
                  <a:lnTo>
                    <a:pt x="302" y="35"/>
                  </a:lnTo>
                  <a:lnTo>
                    <a:pt x="305" y="30"/>
                  </a:lnTo>
                  <a:lnTo>
                    <a:pt x="314" y="34"/>
                  </a:lnTo>
                  <a:lnTo>
                    <a:pt x="320" y="35"/>
                  </a:lnTo>
                  <a:lnTo>
                    <a:pt x="324" y="36"/>
                  </a:lnTo>
                  <a:lnTo>
                    <a:pt x="327" y="35"/>
                  </a:lnTo>
                  <a:lnTo>
                    <a:pt x="331" y="33"/>
                  </a:lnTo>
                  <a:lnTo>
                    <a:pt x="334" y="32"/>
                  </a:lnTo>
                  <a:lnTo>
                    <a:pt x="339" y="31"/>
                  </a:lnTo>
                  <a:lnTo>
                    <a:pt x="345" y="30"/>
                  </a:lnTo>
                  <a:lnTo>
                    <a:pt x="356" y="31"/>
                  </a:lnTo>
                  <a:lnTo>
                    <a:pt x="366" y="34"/>
                  </a:lnTo>
                  <a:lnTo>
                    <a:pt x="375" y="39"/>
                  </a:lnTo>
                  <a:lnTo>
                    <a:pt x="383" y="45"/>
                  </a:lnTo>
                  <a:lnTo>
                    <a:pt x="399" y="59"/>
                  </a:lnTo>
                  <a:lnTo>
                    <a:pt x="413" y="74"/>
                  </a:lnTo>
                  <a:lnTo>
                    <a:pt x="421" y="82"/>
                  </a:lnTo>
                  <a:lnTo>
                    <a:pt x="428" y="89"/>
                  </a:lnTo>
                  <a:lnTo>
                    <a:pt x="437" y="96"/>
                  </a:lnTo>
                  <a:lnTo>
                    <a:pt x="446" y="101"/>
                  </a:lnTo>
                  <a:lnTo>
                    <a:pt x="456" y="105"/>
                  </a:lnTo>
                  <a:lnTo>
                    <a:pt x="467" y="107"/>
                  </a:lnTo>
                  <a:lnTo>
                    <a:pt x="472" y="107"/>
                  </a:lnTo>
                  <a:lnTo>
                    <a:pt x="479" y="107"/>
                  </a:lnTo>
                  <a:lnTo>
                    <a:pt x="484" y="106"/>
                  </a:lnTo>
                  <a:lnTo>
                    <a:pt x="491" y="105"/>
                  </a:lnTo>
                  <a:lnTo>
                    <a:pt x="493" y="108"/>
                  </a:lnTo>
                  <a:lnTo>
                    <a:pt x="495" y="113"/>
                  </a:lnTo>
                  <a:lnTo>
                    <a:pt x="500" y="119"/>
                  </a:lnTo>
                  <a:lnTo>
                    <a:pt x="505" y="125"/>
                  </a:lnTo>
                  <a:lnTo>
                    <a:pt x="511" y="131"/>
                  </a:lnTo>
                  <a:lnTo>
                    <a:pt x="516" y="136"/>
                  </a:lnTo>
                  <a:lnTo>
                    <a:pt x="522" y="140"/>
                  </a:lnTo>
                  <a:lnTo>
                    <a:pt x="525" y="141"/>
                  </a:lnTo>
                  <a:lnTo>
                    <a:pt x="529" y="141"/>
                  </a:lnTo>
                  <a:lnTo>
                    <a:pt x="534" y="139"/>
                  </a:lnTo>
                  <a:lnTo>
                    <a:pt x="537" y="137"/>
                  </a:lnTo>
                  <a:lnTo>
                    <a:pt x="540" y="134"/>
                  </a:lnTo>
                  <a:lnTo>
                    <a:pt x="546" y="128"/>
                  </a:lnTo>
                  <a:lnTo>
                    <a:pt x="551" y="123"/>
                  </a:lnTo>
                  <a:lnTo>
                    <a:pt x="555" y="129"/>
                  </a:lnTo>
                  <a:lnTo>
                    <a:pt x="558" y="134"/>
                  </a:lnTo>
                  <a:lnTo>
                    <a:pt x="562" y="138"/>
                  </a:lnTo>
                  <a:lnTo>
                    <a:pt x="567" y="141"/>
                  </a:lnTo>
                  <a:lnTo>
                    <a:pt x="571" y="145"/>
                  </a:lnTo>
                  <a:lnTo>
                    <a:pt x="574" y="150"/>
                  </a:lnTo>
                  <a:lnTo>
                    <a:pt x="577" y="154"/>
                  </a:lnTo>
                  <a:lnTo>
                    <a:pt x="578" y="160"/>
                  </a:lnTo>
                  <a:lnTo>
                    <a:pt x="578" y="165"/>
                  </a:lnTo>
                  <a:lnTo>
                    <a:pt x="577" y="169"/>
                  </a:lnTo>
                  <a:lnTo>
                    <a:pt x="575" y="173"/>
                  </a:lnTo>
                  <a:lnTo>
                    <a:pt x="573" y="177"/>
                  </a:lnTo>
                  <a:lnTo>
                    <a:pt x="570" y="180"/>
                  </a:lnTo>
                  <a:lnTo>
                    <a:pt x="567" y="182"/>
                  </a:lnTo>
                  <a:lnTo>
                    <a:pt x="562" y="184"/>
                  </a:lnTo>
                  <a:lnTo>
                    <a:pt x="558" y="184"/>
                  </a:lnTo>
                  <a:lnTo>
                    <a:pt x="551" y="178"/>
                  </a:lnTo>
                  <a:lnTo>
                    <a:pt x="545" y="172"/>
                  </a:lnTo>
                  <a:lnTo>
                    <a:pt x="535" y="171"/>
                  </a:lnTo>
                  <a:lnTo>
                    <a:pt x="526" y="170"/>
                  </a:lnTo>
                  <a:lnTo>
                    <a:pt x="517" y="170"/>
                  </a:lnTo>
                  <a:lnTo>
                    <a:pt x="509" y="170"/>
                  </a:lnTo>
                  <a:lnTo>
                    <a:pt x="491" y="172"/>
                  </a:lnTo>
                  <a:lnTo>
                    <a:pt x="471" y="172"/>
                  </a:lnTo>
                  <a:lnTo>
                    <a:pt x="467" y="172"/>
                  </a:lnTo>
                  <a:lnTo>
                    <a:pt x="462" y="170"/>
                  </a:lnTo>
                  <a:lnTo>
                    <a:pt x="459" y="167"/>
                  </a:lnTo>
                  <a:lnTo>
                    <a:pt x="455" y="163"/>
                  </a:lnTo>
                  <a:lnTo>
                    <a:pt x="451" y="160"/>
                  </a:lnTo>
                  <a:lnTo>
                    <a:pt x="447" y="157"/>
                  </a:lnTo>
                  <a:lnTo>
                    <a:pt x="443" y="155"/>
                  </a:lnTo>
                  <a:lnTo>
                    <a:pt x="438" y="154"/>
                  </a:lnTo>
                  <a:lnTo>
                    <a:pt x="434" y="155"/>
                  </a:lnTo>
                  <a:lnTo>
                    <a:pt x="429" y="157"/>
                  </a:lnTo>
                  <a:lnTo>
                    <a:pt x="426" y="160"/>
                  </a:lnTo>
                  <a:lnTo>
                    <a:pt x="423" y="163"/>
                  </a:lnTo>
                  <a:lnTo>
                    <a:pt x="420" y="167"/>
                  </a:lnTo>
                  <a:lnTo>
                    <a:pt x="416" y="170"/>
                  </a:lnTo>
                  <a:lnTo>
                    <a:pt x="414" y="172"/>
                  </a:lnTo>
                  <a:lnTo>
                    <a:pt x="412" y="172"/>
                  </a:lnTo>
                  <a:lnTo>
                    <a:pt x="398" y="171"/>
                  </a:lnTo>
                  <a:lnTo>
                    <a:pt x="378" y="167"/>
                  </a:lnTo>
                  <a:lnTo>
                    <a:pt x="354" y="160"/>
                  </a:lnTo>
                  <a:lnTo>
                    <a:pt x="328" y="153"/>
                  </a:lnTo>
                  <a:lnTo>
                    <a:pt x="304" y="144"/>
                  </a:lnTo>
                  <a:lnTo>
                    <a:pt x="285" y="136"/>
                  </a:lnTo>
                  <a:lnTo>
                    <a:pt x="277" y="132"/>
                  </a:lnTo>
                  <a:lnTo>
                    <a:pt x="270" y="129"/>
                  </a:lnTo>
                  <a:lnTo>
                    <a:pt x="267" y="126"/>
                  </a:lnTo>
                  <a:lnTo>
                    <a:pt x="266" y="123"/>
                  </a:lnTo>
                  <a:lnTo>
                    <a:pt x="252" y="122"/>
                  </a:lnTo>
                  <a:lnTo>
                    <a:pt x="240" y="121"/>
                  </a:lnTo>
                  <a:lnTo>
                    <a:pt x="230" y="119"/>
                  </a:lnTo>
                  <a:lnTo>
                    <a:pt x="220" y="117"/>
                  </a:lnTo>
                  <a:lnTo>
                    <a:pt x="211" y="115"/>
                  </a:lnTo>
                  <a:lnTo>
                    <a:pt x="201" y="113"/>
                  </a:lnTo>
                  <a:lnTo>
                    <a:pt x="191" y="111"/>
                  </a:lnTo>
                  <a:lnTo>
                    <a:pt x="179" y="111"/>
                  </a:lnTo>
                  <a:lnTo>
                    <a:pt x="168" y="111"/>
                  </a:lnTo>
                  <a:lnTo>
                    <a:pt x="157" y="111"/>
                  </a:lnTo>
                  <a:lnTo>
                    <a:pt x="149" y="111"/>
                  </a:lnTo>
                  <a:lnTo>
                    <a:pt x="146" y="111"/>
                  </a:lnTo>
                  <a:lnTo>
                    <a:pt x="136" y="110"/>
                  </a:lnTo>
                  <a:lnTo>
                    <a:pt x="128" y="107"/>
                  </a:lnTo>
                  <a:lnTo>
                    <a:pt x="124" y="105"/>
                  </a:lnTo>
                  <a:lnTo>
                    <a:pt x="122" y="103"/>
                  </a:lnTo>
                  <a:lnTo>
                    <a:pt x="120" y="101"/>
                  </a:lnTo>
                  <a:lnTo>
                    <a:pt x="120" y="99"/>
                  </a:lnTo>
                  <a:lnTo>
                    <a:pt x="79" y="99"/>
                  </a:lnTo>
                  <a:lnTo>
                    <a:pt x="75" y="98"/>
                  </a:lnTo>
                  <a:lnTo>
                    <a:pt x="69" y="97"/>
                  </a:lnTo>
                  <a:lnTo>
                    <a:pt x="64" y="96"/>
                  </a:lnTo>
                  <a:lnTo>
                    <a:pt x="57" y="94"/>
                  </a:lnTo>
                  <a:lnTo>
                    <a:pt x="46" y="88"/>
                  </a:lnTo>
                  <a:lnTo>
                    <a:pt x="34" y="81"/>
                  </a:lnTo>
                  <a:lnTo>
                    <a:pt x="14" y="67"/>
                  </a:lnTo>
                  <a:lnTo>
                    <a:pt x="0" y="5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846" name="Freeform 340"/>
            <p:cNvSpPr>
              <a:spLocks/>
            </p:cNvSpPr>
            <p:nvPr>
              <p:custDataLst>
                <p:tags r:id="rId238"/>
              </p:custDataLst>
            </p:nvPr>
          </p:nvSpPr>
          <p:spPr bwMode="auto">
            <a:xfrm>
              <a:off x="9543371" y="4143618"/>
              <a:ext cx="255501" cy="303115"/>
            </a:xfrm>
            <a:custGeom>
              <a:avLst/>
              <a:gdLst>
                <a:gd name="T0" fmla="*/ 210384 w 491"/>
                <a:gd name="T1" fmla="*/ 251363 h 481"/>
                <a:gd name="T2" fmla="*/ 199472 w 491"/>
                <a:gd name="T3" fmla="*/ 244017 h 481"/>
                <a:gd name="T4" fmla="*/ 184195 w 491"/>
                <a:gd name="T5" fmla="*/ 227749 h 481"/>
                <a:gd name="T6" fmla="*/ 179830 w 491"/>
                <a:gd name="T7" fmla="*/ 218828 h 481"/>
                <a:gd name="T8" fmla="*/ 164117 w 491"/>
                <a:gd name="T9" fmla="*/ 215155 h 481"/>
                <a:gd name="T10" fmla="*/ 157133 w 491"/>
                <a:gd name="T11" fmla="*/ 213055 h 481"/>
                <a:gd name="T12" fmla="*/ 152768 w 491"/>
                <a:gd name="T13" fmla="*/ 207808 h 481"/>
                <a:gd name="T14" fmla="*/ 151022 w 491"/>
                <a:gd name="T15" fmla="*/ 196263 h 481"/>
                <a:gd name="T16" fmla="*/ 149276 w 491"/>
                <a:gd name="T17" fmla="*/ 174223 h 481"/>
                <a:gd name="T18" fmla="*/ 142729 w 491"/>
                <a:gd name="T19" fmla="*/ 159004 h 481"/>
                <a:gd name="T20" fmla="*/ 139237 w 491"/>
                <a:gd name="T21" fmla="*/ 145361 h 481"/>
                <a:gd name="T22" fmla="*/ 137055 w 491"/>
                <a:gd name="T23" fmla="*/ 128043 h 481"/>
                <a:gd name="T24" fmla="*/ 127452 w 491"/>
                <a:gd name="T25" fmla="*/ 117023 h 481"/>
                <a:gd name="T26" fmla="*/ 113485 w 491"/>
                <a:gd name="T27" fmla="*/ 107577 h 481"/>
                <a:gd name="T28" fmla="*/ 96462 w 491"/>
                <a:gd name="T29" fmla="*/ 99706 h 481"/>
                <a:gd name="T30" fmla="*/ 77694 w 491"/>
                <a:gd name="T31" fmla="*/ 94983 h 481"/>
                <a:gd name="T32" fmla="*/ 58052 w 491"/>
                <a:gd name="T33" fmla="*/ 93409 h 481"/>
                <a:gd name="T34" fmla="*/ 58052 w 491"/>
                <a:gd name="T35" fmla="*/ 81864 h 481"/>
                <a:gd name="T36" fmla="*/ 48013 w 491"/>
                <a:gd name="T37" fmla="*/ 76091 h 481"/>
                <a:gd name="T38" fmla="*/ 37101 w 491"/>
                <a:gd name="T39" fmla="*/ 68220 h 481"/>
                <a:gd name="T40" fmla="*/ 28808 w 491"/>
                <a:gd name="T41" fmla="*/ 58249 h 481"/>
                <a:gd name="T42" fmla="*/ 31863 w 491"/>
                <a:gd name="T43" fmla="*/ 69794 h 481"/>
                <a:gd name="T44" fmla="*/ 23570 w 491"/>
                <a:gd name="T45" fmla="*/ 77141 h 481"/>
                <a:gd name="T46" fmla="*/ 17459 w 491"/>
                <a:gd name="T47" fmla="*/ 93409 h 481"/>
                <a:gd name="T48" fmla="*/ 10476 w 491"/>
                <a:gd name="T49" fmla="*/ 115449 h 481"/>
                <a:gd name="T50" fmla="*/ 5674 w 491"/>
                <a:gd name="T51" fmla="*/ 139063 h 481"/>
                <a:gd name="T52" fmla="*/ 6111 w 491"/>
                <a:gd name="T53" fmla="*/ 124370 h 481"/>
                <a:gd name="T54" fmla="*/ 10039 w 491"/>
                <a:gd name="T55" fmla="*/ 109676 h 481"/>
                <a:gd name="T56" fmla="*/ 13967 w 491"/>
                <a:gd name="T57" fmla="*/ 94983 h 481"/>
                <a:gd name="T58" fmla="*/ 13094 w 491"/>
                <a:gd name="T59" fmla="*/ 75042 h 481"/>
                <a:gd name="T60" fmla="*/ 7420 w 491"/>
                <a:gd name="T61" fmla="*/ 58249 h 481"/>
                <a:gd name="T62" fmla="*/ 0 w 491"/>
                <a:gd name="T63" fmla="*/ 38308 h 481"/>
                <a:gd name="T64" fmla="*/ 14840 w 491"/>
                <a:gd name="T65" fmla="*/ 30961 h 481"/>
                <a:gd name="T66" fmla="*/ 25752 w 491"/>
                <a:gd name="T67" fmla="*/ 28862 h 481"/>
                <a:gd name="T68" fmla="*/ 36664 w 491"/>
                <a:gd name="T69" fmla="*/ 30436 h 481"/>
                <a:gd name="T70" fmla="*/ 44521 w 491"/>
                <a:gd name="T71" fmla="*/ 34635 h 481"/>
                <a:gd name="T72" fmla="*/ 52814 w 491"/>
                <a:gd name="T73" fmla="*/ 43031 h 481"/>
                <a:gd name="T74" fmla="*/ 61107 w 491"/>
                <a:gd name="T75" fmla="*/ 58249 h 481"/>
                <a:gd name="T76" fmla="*/ 79876 w 491"/>
                <a:gd name="T77" fmla="*/ 54051 h 481"/>
                <a:gd name="T78" fmla="*/ 85550 w 491"/>
                <a:gd name="T79" fmla="*/ 50378 h 481"/>
                <a:gd name="T80" fmla="*/ 87296 w 491"/>
                <a:gd name="T81" fmla="*/ 47229 h 481"/>
                <a:gd name="T82" fmla="*/ 90351 w 491"/>
                <a:gd name="T83" fmla="*/ 38308 h 481"/>
                <a:gd name="T84" fmla="*/ 101264 w 491"/>
                <a:gd name="T85" fmla="*/ 28337 h 481"/>
                <a:gd name="T86" fmla="*/ 110866 w 491"/>
                <a:gd name="T87" fmla="*/ 25714 h 481"/>
                <a:gd name="T88" fmla="*/ 114794 w 491"/>
                <a:gd name="T89" fmla="*/ 15743 h 481"/>
                <a:gd name="T90" fmla="*/ 122215 w 491"/>
                <a:gd name="T91" fmla="*/ 4723 h 481"/>
                <a:gd name="T92" fmla="*/ 130944 w 491"/>
                <a:gd name="T93" fmla="*/ 525 h 481"/>
                <a:gd name="T94" fmla="*/ 140983 w 491"/>
                <a:gd name="T95" fmla="*/ 0 h 481"/>
                <a:gd name="T96" fmla="*/ 153205 w 491"/>
                <a:gd name="T97" fmla="*/ 4198 h 481"/>
                <a:gd name="T98" fmla="*/ 174156 w 491"/>
                <a:gd name="T99" fmla="*/ 19941 h 481"/>
                <a:gd name="T100" fmla="*/ 186814 w 491"/>
                <a:gd name="T101" fmla="*/ 27813 h 481"/>
                <a:gd name="T102" fmla="*/ 200345 w 491"/>
                <a:gd name="T103" fmla="*/ 31486 h 481"/>
                <a:gd name="T104" fmla="*/ 214312 w 491"/>
                <a:gd name="T105" fmla="*/ 35159 h 481"/>
                <a:gd name="T106" fmla="*/ 214312 w 491"/>
                <a:gd name="T107" fmla="*/ 171074 h 481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491" h="481">
                  <a:moveTo>
                    <a:pt x="491" y="481"/>
                  </a:moveTo>
                  <a:lnTo>
                    <a:pt x="488" y="480"/>
                  </a:lnTo>
                  <a:lnTo>
                    <a:pt x="482" y="479"/>
                  </a:lnTo>
                  <a:lnTo>
                    <a:pt x="477" y="477"/>
                  </a:lnTo>
                  <a:lnTo>
                    <a:pt x="470" y="473"/>
                  </a:lnTo>
                  <a:lnTo>
                    <a:pt x="457" y="465"/>
                  </a:lnTo>
                  <a:lnTo>
                    <a:pt x="444" y="455"/>
                  </a:lnTo>
                  <a:lnTo>
                    <a:pt x="432" y="445"/>
                  </a:lnTo>
                  <a:lnTo>
                    <a:pt x="422" y="434"/>
                  </a:lnTo>
                  <a:lnTo>
                    <a:pt x="417" y="428"/>
                  </a:lnTo>
                  <a:lnTo>
                    <a:pt x="414" y="423"/>
                  </a:lnTo>
                  <a:lnTo>
                    <a:pt x="412" y="417"/>
                  </a:lnTo>
                  <a:lnTo>
                    <a:pt x="412" y="412"/>
                  </a:lnTo>
                  <a:lnTo>
                    <a:pt x="392" y="412"/>
                  </a:lnTo>
                  <a:lnTo>
                    <a:pt x="376" y="410"/>
                  </a:lnTo>
                  <a:lnTo>
                    <a:pt x="370" y="409"/>
                  </a:lnTo>
                  <a:lnTo>
                    <a:pt x="365" y="408"/>
                  </a:lnTo>
                  <a:lnTo>
                    <a:pt x="360" y="406"/>
                  </a:lnTo>
                  <a:lnTo>
                    <a:pt x="356" y="403"/>
                  </a:lnTo>
                  <a:lnTo>
                    <a:pt x="353" y="400"/>
                  </a:lnTo>
                  <a:lnTo>
                    <a:pt x="350" y="396"/>
                  </a:lnTo>
                  <a:lnTo>
                    <a:pt x="348" y="392"/>
                  </a:lnTo>
                  <a:lnTo>
                    <a:pt x="347" y="387"/>
                  </a:lnTo>
                  <a:lnTo>
                    <a:pt x="346" y="374"/>
                  </a:lnTo>
                  <a:lnTo>
                    <a:pt x="345" y="357"/>
                  </a:lnTo>
                  <a:lnTo>
                    <a:pt x="344" y="344"/>
                  </a:lnTo>
                  <a:lnTo>
                    <a:pt x="342" y="332"/>
                  </a:lnTo>
                  <a:lnTo>
                    <a:pt x="337" y="322"/>
                  </a:lnTo>
                  <a:lnTo>
                    <a:pt x="332" y="313"/>
                  </a:lnTo>
                  <a:lnTo>
                    <a:pt x="327" y="303"/>
                  </a:lnTo>
                  <a:lnTo>
                    <a:pt x="323" y="294"/>
                  </a:lnTo>
                  <a:lnTo>
                    <a:pt x="320" y="286"/>
                  </a:lnTo>
                  <a:lnTo>
                    <a:pt x="319" y="277"/>
                  </a:lnTo>
                  <a:lnTo>
                    <a:pt x="319" y="267"/>
                  </a:lnTo>
                  <a:lnTo>
                    <a:pt x="319" y="252"/>
                  </a:lnTo>
                  <a:lnTo>
                    <a:pt x="314" y="244"/>
                  </a:lnTo>
                  <a:lnTo>
                    <a:pt x="309" y="237"/>
                  </a:lnTo>
                  <a:lnTo>
                    <a:pt x="301" y="229"/>
                  </a:lnTo>
                  <a:lnTo>
                    <a:pt x="292" y="223"/>
                  </a:lnTo>
                  <a:lnTo>
                    <a:pt x="282" y="216"/>
                  </a:lnTo>
                  <a:lnTo>
                    <a:pt x="272" y="210"/>
                  </a:lnTo>
                  <a:lnTo>
                    <a:pt x="260" y="205"/>
                  </a:lnTo>
                  <a:lnTo>
                    <a:pt x="248" y="200"/>
                  </a:lnTo>
                  <a:lnTo>
                    <a:pt x="235" y="194"/>
                  </a:lnTo>
                  <a:lnTo>
                    <a:pt x="221" y="190"/>
                  </a:lnTo>
                  <a:lnTo>
                    <a:pt x="208" y="187"/>
                  </a:lnTo>
                  <a:lnTo>
                    <a:pt x="192" y="184"/>
                  </a:lnTo>
                  <a:lnTo>
                    <a:pt x="178" y="181"/>
                  </a:lnTo>
                  <a:lnTo>
                    <a:pt x="163" y="180"/>
                  </a:lnTo>
                  <a:lnTo>
                    <a:pt x="147" y="179"/>
                  </a:lnTo>
                  <a:lnTo>
                    <a:pt x="133" y="178"/>
                  </a:lnTo>
                  <a:lnTo>
                    <a:pt x="133" y="170"/>
                  </a:lnTo>
                  <a:lnTo>
                    <a:pt x="133" y="163"/>
                  </a:lnTo>
                  <a:lnTo>
                    <a:pt x="133" y="156"/>
                  </a:lnTo>
                  <a:lnTo>
                    <a:pt x="133" y="148"/>
                  </a:lnTo>
                  <a:lnTo>
                    <a:pt x="121" y="147"/>
                  </a:lnTo>
                  <a:lnTo>
                    <a:pt x="110" y="145"/>
                  </a:lnTo>
                  <a:lnTo>
                    <a:pt x="100" y="140"/>
                  </a:lnTo>
                  <a:lnTo>
                    <a:pt x="92" y="136"/>
                  </a:lnTo>
                  <a:lnTo>
                    <a:pt x="85" y="130"/>
                  </a:lnTo>
                  <a:lnTo>
                    <a:pt x="77" y="124"/>
                  </a:lnTo>
                  <a:lnTo>
                    <a:pt x="71" y="117"/>
                  </a:lnTo>
                  <a:lnTo>
                    <a:pt x="66" y="111"/>
                  </a:lnTo>
                  <a:lnTo>
                    <a:pt x="92" y="111"/>
                  </a:lnTo>
                  <a:lnTo>
                    <a:pt x="82" y="121"/>
                  </a:lnTo>
                  <a:lnTo>
                    <a:pt x="73" y="133"/>
                  </a:lnTo>
                  <a:lnTo>
                    <a:pt x="66" y="139"/>
                  </a:lnTo>
                  <a:lnTo>
                    <a:pt x="60" y="144"/>
                  </a:lnTo>
                  <a:lnTo>
                    <a:pt x="54" y="147"/>
                  </a:lnTo>
                  <a:lnTo>
                    <a:pt x="46" y="148"/>
                  </a:lnTo>
                  <a:lnTo>
                    <a:pt x="43" y="163"/>
                  </a:lnTo>
                  <a:lnTo>
                    <a:pt x="40" y="178"/>
                  </a:lnTo>
                  <a:lnTo>
                    <a:pt x="34" y="192"/>
                  </a:lnTo>
                  <a:lnTo>
                    <a:pt x="30" y="206"/>
                  </a:lnTo>
                  <a:lnTo>
                    <a:pt x="24" y="220"/>
                  </a:lnTo>
                  <a:lnTo>
                    <a:pt x="20" y="234"/>
                  </a:lnTo>
                  <a:lnTo>
                    <a:pt x="17" y="249"/>
                  </a:lnTo>
                  <a:lnTo>
                    <a:pt x="13" y="265"/>
                  </a:lnTo>
                  <a:lnTo>
                    <a:pt x="13" y="256"/>
                  </a:lnTo>
                  <a:lnTo>
                    <a:pt x="13" y="246"/>
                  </a:lnTo>
                  <a:lnTo>
                    <a:pt x="14" y="237"/>
                  </a:lnTo>
                  <a:lnTo>
                    <a:pt x="17" y="228"/>
                  </a:lnTo>
                  <a:lnTo>
                    <a:pt x="20" y="219"/>
                  </a:lnTo>
                  <a:lnTo>
                    <a:pt x="23" y="209"/>
                  </a:lnTo>
                  <a:lnTo>
                    <a:pt x="26" y="200"/>
                  </a:lnTo>
                  <a:lnTo>
                    <a:pt x="30" y="190"/>
                  </a:lnTo>
                  <a:lnTo>
                    <a:pt x="32" y="181"/>
                  </a:lnTo>
                  <a:lnTo>
                    <a:pt x="33" y="172"/>
                  </a:lnTo>
                  <a:lnTo>
                    <a:pt x="32" y="156"/>
                  </a:lnTo>
                  <a:lnTo>
                    <a:pt x="30" y="143"/>
                  </a:lnTo>
                  <a:lnTo>
                    <a:pt x="26" y="130"/>
                  </a:lnTo>
                  <a:lnTo>
                    <a:pt x="21" y="120"/>
                  </a:lnTo>
                  <a:lnTo>
                    <a:pt x="17" y="111"/>
                  </a:lnTo>
                  <a:lnTo>
                    <a:pt x="11" y="101"/>
                  </a:lnTo>
                  <a:lnTo>
                    <a:pt x="4" y="89"/>
                  </a:lnTo>
                  <a:lnTo>
                    <a:pt x="0" y="73"/>
                  </a:lnTo>
                  <a:lnTo>
                    <a:pt x="13" y="68"/>
                  </a:lnTo>
                  <a:lnTo>
                    <a:pt x="28" y="62"/>
                  </a:lnTo>
                  <a:lnTo>
                    <a:pt x="34" y="59"/>
                  </a:lnTo>
                  <a:lnTo>
                    <a:pt x="42" y="57"/>
                  </a:lnTo>
                  <a:lnTo>
                    <a:pt x="51" y="56"/>
                  </a:lnTo>
                  <a:lnTo>
                    <a:pt x="59" y="55"/>
                  </a:lnTo>
                  <a:lnTo>
                    <a:pt x="68" y="56"/>
                  </a:lnTo>
                  <a:lnTo>
                    <a:pt x="76" y="57"/>
                  </a:lnTo>
                  <a:lnTo>
                    <a:pt x="84" y="58"/>
                  </a:lnTo>
                  <a:lnTo>
                    <a:pt x="90" y="60"/>
                  </a:lnTo>
                  <a:lnTo>
                    <a:pt x="96" y="63"/>
                  </a:lnTo>
                  <a:lnTo>
                    <a:pt x="102" y="66"/>
                  </a:lnTo>
                  <a:lnTo>
                    <a:pt x="107" y="70"/>
                  </a:lnTo>
                  <a:lnTo>
                    <a:pt x="112" y="73"/>
                  </a:lnTo>
                  <a:lnTo>
                    <a:pt x="121" y="82"/>
                  </a:lnTo>
                  <a:lnTo>
                    <a:pt x="127" y="92"/>
                  </a:lnTo>
                  <a:lnTo>
                    <a:pt x="134" y="101"/>
                  </a:lnTo>
                  <a:lnTo>
                    <a:pt x="140" y="111"/>
                  </a:lnTo>
                  <a:lnTo>
                    <a:pt x="179" y="111"/>
                  </a:lnTo>
                  <a:lnTo>
                    <a:pt x="180" y="107"/>
                  </a:lnTo>
                  <a:lnTo>
                    <a:pt x="183" y="103"/>
                  </a:lnTo>
                  <a:lnTo>
                    <a:pt x="187" y="101"/>
                  </a:lnTo>
                  <a:lnTo>
                    <a:pt x="191" y="99"/>
                  </a:lnTo>
                  <a:lnTo>
                    <a:pt x="196" y="96"/>
                  </a:lnTo>
                  <a:lnTo>
                    <a:pt x="199" y="94"/>
                  </a:lnTo>
                  <a:lnTo>
                    <a:pt x="200" y="92"/>
                  </a:lnTo>
                  <a:lnTo>
                    <a:pt x="200" y="90"/>
                  </a:lnTo>
                  <a:lnTo>
                    <a:pt x="200" y="89"/>
                  </a:lnTo>
                  <a:lnTo>
                    <a:pt x="199" y="85"/>
                  </a:lnTo>
                  <a:lnTo>
                    <a:pt x="207" y="73"/>
                  </a:lnTo>
                  <a:lnTo>
                    <a:pt x="215" y="64"/>
                  </a:lnTo>
                  <a:lnTo>
                    <a:pt x="223" y="58"/>
                  </a:lnTo>
                  <a:lnTo>
                    <a:pt x="232" y="54"/>
                  </a:lnTo>
                  <a:lnTo>
                    <a:pt x="239" y="51"/>
                  </a:lnTo>
                  <a:lnTo>
                    <a:pt x="247" y="50"/>
                  </a:lnTo>
                  <a:lnTo>
                    <a:pt x="254" y="49"/>
                  </a:lnTo>
                  <a:lnTo>
                    <a:pt x="259" y="49"/>
                  </a:lnTo>
                  <a:lnTo>
                    <a:pt x="260" y="40"/>
                  </a:lnTo>
                  <a:lnTo>
                    <a:pt x="263" y="30"/>
                  </a:lnTo>
                  <a:lnTo>
                    <a:pt x="267" y="22"/>
                  </a:lnTo>
                  <a:lnTo>
                    <a:pt x="273" y="15"/>
                  </a:lnTo>
                  <a:lnTo>
                    <a:pt x="280" y="9"/>
                  </a:lnTo>
                  <a:lnTo>
                    <a:pt x="290" y="4"/>
                  </a:lnTo>
                  <a:lnTo>
                    <a:pt x="294" y="2"/>
                  </a:lnTo>
                  <a:lnTo>
                    <a:pt x="300" y="1"/>
                  </a:lnTo>
                  <a:lnTo>
                    <a:pt x="306" y="0"/>
                  </a:lnTo>
                  <a:lnTo>
                    <a:pt x="312" y="0"/>
                  </a:lnTo>
                  <a:lnTo>
                    <a:pt x="323" y="0"/>
                  </a:lnTo>
                  <a:lnTo>
                    <a:pt x="333" y="2"/>
                  </a:lnTo>
                  <a:lnTo>
                    <a:pt x="343" y="5"/>
                  </a:lnTo>
                  <a:lnTo>
                    <a:pt x="351" y="8"/>
                  </a:lnTo>
                  <a:lnTo>
                    <a:pt x="368" y="17"/>
                  </a:lnTo>
                  <a:lnTo>
                    <a:pt x="383" y="27"/>
                  </a:lnTo>
                  <a:lnTo>
                    <a:pt x="399" y="38"/>
                  </a:lnTo>
                  <a:lnTo>
                    <a:pt x="413" y="47"/>
                  </a:lnTo>
                  <a:lnTo>
                    <a:pt x="421" y="50"/>
                  </a:lnTo>
                  <a:lnTo>
                    <a:pt x="428" y="53"/>
                  </a:lnTo>
                  <a:lnTo>
                    <a:pt x="436" y="55"/>
                  </a:lnTo>
                  <a:lnTo>
                    <a:pt x="445" y="55"/>
                  </a:lnTo>
                  <a:lnTo>
                    <a:pt x="459" y="60"/>
                  </a:lnTo>
                  <a:lnTo>
                    <a:pt x="471" y="64"/>
                  </a:lnTo>
                  <a:lnTo>
                    <a:pt x="481" y="66"/>
                  </a:lnTo>
                  <a:lnTo>
                    <a:pt x="491" y="67"/>
                  </a:lnTo>
                  <a:lnTo>
                    <a:pt x="491" y="289"/>
                  </a:lnTo>
                  <a:lnTo>
                    <a:pt x="471" y="301"/>
                  </a:lnTo>
                  <a:lnTo>
                    <a:pt x="491" y="326"/>
                  </a:lnTo>
                  <a:lnTo>
                    <a:pt x="491" y="474"/>
                  </a:lnTo>
                  <a:lnTo>
                    <a:pt x="491" y="48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847" name="Freeform 341"/>
            <p:cNvSpPr>
              <a:spLocks/>
            </p:cNvSpPr>
            <p:nvPr>
              <p:custDataLst>
                <p:tags r:id="rId239"/>
              </p:custDataLst>
            </p:nvPr>
          </p:nvSpPr>
          <p:spPr bwMode="auto">
            <a:xfrm>
              <a:off x="7792716" y="2740524"/>
              <a:ext cx="64348" cy="72442"/>
            </a:xfrm>
            <a:custGeom>
              <a:avLst/>
              <a:gdLst>
                <a:gd name="T0" fmla="*/ 0 w 133"/>
                <a:gd name="T1" fmla="*/ 9796 h 117"/>
                <a:gd name="T2" fmla="*/ 29220 w 133"/>
                <a:gd name="T3" fmla="*/ 0 h 117"/>
                <a:gd name="T4" fmla="*/ 32872 w 133"/>
                <a:gd name="T5" fmla="*/ 3094 h 117"/>
                <a:gd name="T6" fmla="*/ 36930 w 133"/>
                <a:gd name="T7" fmla="*/ 7218 h 117"/>
                <a:gd name="T8" fmla="*/ 40989 w 133"/>
                <a:gd name="T9" fmla="*/ 12890 h 117"/>
                <a:gd name="T10" fmla="*/ 44235 w 133"/>
                <a:gd name="T11" fmla="*/ 19077 h 117"/>
                <a:gd name="T12" fmla="*/ 47888 w 133"/>
                <a:gd name="T13" fmla="*/ 25264 h 117"/>
                <a:gd name="T14" fmla="*/ 51134 w 133"/>
                <a:gd name="T15" fmla="*/ 31967 h 117"/>
                <a:gd name="T16" fmla="*/ 51946 w 133"/>
                <a:gd name="T17" fmla="*/ 35061 h 117"/>
                <a:gd name="T18" fmla="*/ 52758 w 133"/>
                <a:gd name="T19" fmla="*/ 38154 h 117"/>
                <a:gd name="T20" fmla="*/ 53163 w 133"/>
                <a:gd name="T21" fmla="*/ 41248 h 117"/>
                <a:gd name="T22" fmla="*/ 53975 w 133"/>
                <a:gd name="T23" fmla="*/ 44341 h 117"/>
                <a:gd name="T24" fmla="*/ 53163 w 133"/>
                <a:gd name="T25" fmla="*/ 47435 h 117"/>
                <a:gd name="T26" fmla="*/ 51946 w 133"/>
                <a:gd name="T27" fmla="*/ 50013 h 117"/>
                <a:gd name="T28" fmla="*/ 50323 w 133"/>
                <a:gd name="T29" fmla="*/ 52591 h 117"/>
                <a:gd name="T30" fmla="*/ 47888 w 133"/>
                <a:gd name="T31" fmla="*/ 55169 h 117"/>
                <a:gd name="T32" fmla="*/ 45858 w 133"/>
                <a:gd name="T33" fmla="*/ 57231 h 117"/>
                <a:gd name="T34" fmla="*/ 43423 w 133"/>
                <a:gd name="T35" fmla="*/ 58778 h 117"/>
                <a:gd name="T36" fmla="*/ 41800 w 133"/>
                <a:gd name="T37" fmla="*/ 60325 h 117"/>
                <a:gd name="T38" fmla="*/ 40583 w 133"/>
                <a:gd name="T39" fmla="*/ 60325 h 117"/>
                <a:gd name="T40" fmla="*/ 29220 w 133"/>
                <a:gd name="T41" fmla="*/ 48982 h 117"/>
                <a:gd name="T42" fmla="*/ 18262 w 133"/>
                <a:gd name="T43" fmla="*/ 36092 h 117"/>
                <a:gd name="T44" fmla="*/ 12986 w 133"/>
                <a:gd name="T45" fmla="*/ 29905 h 117"/>
                <a:gd name="T46" fmla="*/ 7305 w 133"/>
                <a:gd name="T47" fmla="*/ 23718 h 117"/>
                <a:gd name="T48" fmla="*/ 3247 w 133"/>
                <a:gd name="T49" fmla="*/ 17015 h 117"/>
                <a:gd name="T50" fmla="*/ 0 w 133"/>
                <a:gd name="T51" fmla="*/ 9796 h 117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33" h="117">
                  <a:moveTo>
                    <a:pt x="0" y="19"/>
                  </a:moveTo>
                  <a:lnTo>
                    <a:pt x="72" y="0"/>
                  </a:lnTo>
                  <a:lnTo>
                    <a:pt x="81" y="6"/>
                  </a:lnTo>
                  <a:lnTo>
                    <a:pt x="91" y="14"/>
                  </a:lnTo>
                  <a:lnTo>
                    <a:pt x="101" y="25"/>
                  </a:lnTo>
                  <a:lnTo>
                    <a:pt x="109" y="37"/>
                  </a:lnTo>
                  <a:lnTo>
                    <a:pt x="118" y="49"/>
                  </a:lnTo>
                  <a:lnTo>
                    <a:pt x="126" y="62"/>
                  </a:lnTo>
                  <a:lnTo>
                    <a:pt x="128" y="68"/>
                  </a:lnTo>
                  <a:lnTo>
                    <a:pt x="130" y="74"/>
                  </a:lnTo>
                  <a:lnTo>
                    <a:pt x="131" y="80"/>
                  </a:lnTo>
                  <a:lnTo>
                    <a:pt x="133" y="86"/>
                  </a:lnTo>
                  <a:lnTo>
                    <a:pt x="131" y="92"/>
                  </a:lnTo>
                  <a:lnTo>
                    <a:pt x="128" y="97"/>
                  </a:lnTo>
                  <a:lnTo>
                    <a:pt x="124" y="102"/>
                  </a:lnTo>
                  <a:lnTo>
                    <a:pt x="118" y="107"/>
                  </a:lnTo>
                  <a:lnTo>
                    <a:pt x="113" y="111"/>
                  </a:lnTo>
                  <a:lnTo>
                    <a:pt x="107" y="114"/>
                  </a:lnTo>
                  <a:lnTo>
                    <a:pt x="103" y="117"/>
                  </a:lnTo>
                  <a:lnTo>
                    <a:pt x="100" y="117"/>
                  </a:lnTo>
                  <a:lnTo>
                    <a:pt x="72" y="95"/>
                  </a:lnTo>
                  <a:lnTo>
                    <a:pt x="45" y="70"/>
                  </a:lnTo>
                  <a:lnTo>
                    <a:pt x="32" y="58"/>
                  </a:lnTo>
                  <a:lnTo>
                    <a:pt x="18" y="46"/>
                  </a:lnTo>
                  <a:lnTo>
                    <a:pt x="8" y="33"/>
                  </a:lnTo>
                  <a:lnTo>
                    <a:pt x="0" y="1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848" name="Freeform 342"/>
            <p:cNvSpPr>
              <a:spLocks/>
            </p:cNvSpPr>
            <p:nvPr>
              <p:custDataLst>
                <p:tags r:id="rId240"/>
              </p:custDataLst>
            </p:nvPr>
          </p:nvSpPr>
          <p:spPr bwMode="auto">
            <a:xfrm>
              <a:off x="5953108" y="2025631"/>
              <a:ext cx="263072" cy="213514"/>
            </a:xfrm>
            <a:custGeom>
              <a:avLst/>
              <a:gdLst>
                <a:gd name="T0" fmla="*/ 118852 w 505"/>
                <a:gd name="T1" fmla="*/ 18881 h 339"/>
                <a:gd name="T2" fmla="*/ 211487 w 505"/>
                <a:gd name="T3" fmla="*/ 45106 h 339"/>
                <a:gd name="T4" fmla="*/ 208865 w 505"/>
                <a:gd name="T5" fmla="*/ 57169 h 339"/>
                <a:gd name="T6" fmla="*/ 205806 w 505"/>
                <a:gd name="T7" fmla="*/ 67658 h 339"/>
                <a:gd name="T8" fmla="*/ 201437 w 505"/>
                <a:gd name="T9" fmla="*/ 76050 h 339"/>
                <a:gd name="T10" fmla="*/ 197067 w 505"/>
                <a:gd name="T11" fmla="*/ 80246 h 339"/>
                <a:gd name="T12" fmla="*/ 201437 w 505"/>
                <a:gd name="T13" fmla="*/ 96505 h 339"/>
                <a:gd name="T14" fmla="*/ 208428 w 505"/>
                <a:gd name="T15" fmla="*/ 112764 h 339"/>
                <a:gd name="T16" fmla="*/ 220663 w 505"/>
                <a:gd name="T17" fmla="*/ 135317 h 339"/>
                <a:gd name="T18" fmla="*/ 215420 w 505"/>
                <a:gd name="T19" fmla="*/ 142135 h 339"/>
                <a:gd name="T20" fmla="*/ 209302 w 505"/>
                <a:gd name="T21" fmla="*/ 153149 h 339"/>
                <a:gd name="T22" fmla="*/ 204496 w 505"/>
                <a:gd name="T23" fmla="*/ 164688 h 339"/>
                <a:gd name="T24" fmla="*/ 202748 w 505"/>
                <a:gd name="T25" fmla="*/ 177800 h 339"/>
                <a:gd name="T26" fmla="*/ 193572 w 505"/>
                <a:gd name="T27" fmla="*/ 177276 h 339"/>
                <a:gd name="T28" fmla="*/ 180900 w 505"/>
                <a:gd name="T29" fmla="*/ 175702 h 339"/>
                <a:gd name="T30" fmla="*/ 168228 w 505"/>
                <a:gd name="T31" fmla="*/ 173604 h 339"/>
                <a:gd name="T32" fmla="*/ 156430 w 505"/>
                <a:gd name="T33" fmla="*/ 170982 h 339"/>
                <a:gd name="T34" fmla="*/ 132835 w 505"/>
                <a:gd name="T35" fmla="*/ 170457 h 339"/>
                <a:gd name="T36" fmla="*/ 115356 w 505"/>
                <a:gd name="T37" fmla="*/ 168359 h 339"/>
                <a:gd name="T38" fmla="*/ 108365 w 505"/>
                <a:gd name="T39" fmla="*/ 166261 h 339"/>
                <a:gd name="T40" fmla="*/ 101374 w 505"/>
                <a:gd name="T41" fmla="*/ 162590 h 339"/>
                <a:gd name="T42" fmla="*/ 93072 w 505"/>
                <a:gd name="T43" fmla="*/ 157345 h 339"/>
                <a:gd name="T44" fmla="*/ 78652 w 505"/>
                <a:gd name="T45" fmla="*/ 151576 h 339"/>
                <a:gd name="T46" fmla="*/ 63796 w 505"/>
                <a:gd name="T47" fmla="*/ 143184 h 339"/>
                <a:gd name="T48" fmla="*/ 42822 w 505"/>
                <a:gd name="T49" fmla="*/ 130596 h 339"/>
                <a:gd name="T50" fmla="*/ 27091 w 505"/>
                <a:gd name="T51" fmla="*/ 108044 h 339"/>
                <a:gd name="T52" fmla="*/ 22722 w 505"/>
                <a:gd name="T53" fmla="*/ 88638 h 339"/>
                <a:gd name="T54" fmla="*/ 15730 w 505"/>
                <a:gd name="T55" fmla="*/ 65036 h 339"/>
                <a:gd name="T56" fmla="*/ 6554 w 505"/>
                <a:gd name="T57" fmla="*/ 43532 h 339"/>
                <a:gd name="T58" fmla="*/ 874 w 505"/>
                <a:gd name="T59" fmla="*/ 33567 h 339"/>
                <a:gd name="T60" fmla="*/ 2185 w 505"/>
                <a:gd name="T61" fmla="*/ 31994 h 339"/>
                <a:gd name="T62" fmla="*/ 4807 w 505"/>
                <a:gd name="T63" fmla="*/ 29371 h 339"/>
                <a:gd name="T64" fmla="*/ 4807 w 505"/>
                <a:gd name="T65" fmla="*/ 25175 h 339"/>
                <a:gd name="T66" fmla="*/ 4807 w 505"/>
                <a:gd name="T67" fmla="*/ 22553 h 339"/>
                <a:gd name="T68" fmla="*/ 14857 w 505"/>
                <a:gd name="T69" fmla="*/ 17832 h 339"/>
                <a:gd name="T70" fmla="*/ 31898 w 505"/>
                <a:gd name="T71" fmla="*/ 11539 h 339"/>
                <a:gd name="T72" fmla="*/ 55930 w 505"/>
                <a:gd name="T73" fmla="*/ 4196 h 339"/>
                <a:gd name="T74" fmla="*/ 75593 w 505"/>
                <a:gd name="T75" fmla="*/ 5769 h 339"/>
                <a:gd name="T76" fmla="*/ 82148 w 505"/>
                <a:gd name="T77" fmla="*/ 14686 h 339"/>
                <a:gd name="T78" fmla="*/ 87828 w 505"/>
                <a:gd name="T79" fmla="*/ 18357 h 339"/>
                <a:gd name="T80" fmla="*/ 95693 w 505"/>
                <a:gd name="T81" fmla="*/ 18881 h 339"/>
                <a:gd name="T82" fmla="*/ 104433 w 505"/>
                <a:gd name="T83" fmla="*/ 18881 h 339"/>
                <a:gd name="T84" fmla="*/ 113172 w 505"/>
                <a:gd name="T85" fmla="*/ 12588 h 33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505" h="339">
                  <a:moveTo>
                    <a:pt x="259" y="24"/>
                  </a:moveTo>
                  <a:lnTo>
                    <a:pt x="272" y="36"/>
                  </a:lnTo>
                  <a:lnTo>
                    <a:pt x="444" y="48"/>
                  </a:lnTo>
                  <a:lnTo>
                    <a:pt x="484" y="86"/>
                  </a:lnTo>
                  <a:lnTo>
                    <a:pt x="482" y="97"/>
                  </a:lnTo>
                  <a:lnTo>
                    <a:pt x="478" y="109"/>
                  </a:lnTo>
                  <a:lnTo>
                    <a:pt x="474" y="120"/>
                  </a:lnTo>
                  <a:lnTo>
                    <a:pt x="471" y="129"/>
                  </a:lnTo>
                  <a:lnTo>
                    <a:pt x="465" y="138"/>
                  </a:lnTo>
                  <a:lnTo>
                    <a:pt x="461" y="145"/>
                  </a:lnTo>
                  <a:lnTo>
                    <a:pt x="456" y="150"/>
                  </a:lnTo>
                  <a:lnTo>
                    <a:pt x="451" y="153"/>
                  </a:lnTo>
                  <a:lnTo>
                    <a:pt x="455" y="169"/>
                  </a:lnTo>
                  <a:lnTo>
                    <a:pt x="461" y="184"/>
                  </a:lnTo>
                  <a:lnTo>
                    <a:pt x="470" y="200"/>
                  </a:lnTo>
                  <a:lnTo>
                    <a:pt x="477" y="215"/>
                  </a:lnTo>
                  <a:lnTo>
                    <a:pt x="494" y="242"/>
                  </a:lnTo>
                  <a:lnTo>
                    <a:pt x="505" y="258"/>
                  </a:lnTo>
                  <a:lnTo>
                    <a:pt x="499" y="264"/>
                  </a:lnTo>
                  <a:lnTo>
                    <a:pt x="493" y="271"/>
                  </a:lnTo>
                  <a:lnTo>
                    <a:pt x="486" y="281"/>
                  </a:lnTo>
                  <a:lnTo>
                    <a:pt x="479" y="292"/>
                  </a:lnTo>
                  <a:lnTo>
                    <a:pt x="474" y="303"/>
                  </a:lnTo>
                  <a:lnTo>
                    <a:pt x="468" y="314"/>
                  </a:lnTo>
                  <a:lnTo>
                    <a:pt x="465" y="326"/>
                  </a:lnTo>
                  <a:lnTo>
                    <a:pt x="464" y="339"/>
                  </a:lnTo>
                  <a:lnTo>
                    <a:pt x="457" y="339"/>
                  </a:lnTo>
                  <a:lnTo>
                    <a:pt x="443" y="338"/>
                  </a:lnTo>
                  <a:lnTo>
                    <a:pt x="428" y="337"/>
                  </a:lnTo>
                  <a:lnTo>
                    <a:pt x="414" y="335"/>
                  </a:lnTo>
                  <a:lnTo>
                    <a:pt x="399" y="333"/>
                  </a:lnTo>
                  <a:lnTo>
                    <a:pt x="385" y="331"/>
                  </a:lnTo>
                  <a:lnTo>
                    <a:pt x="371" y="328"/>
                  </a:lnTo>
                  <a:lnTo>
                    <a:pt x="358" y="326"/>
                  </a:lnTo>
                  <a:lnTo>
                    <a:pt x="344" y="326"/>
                  </a:lnTo>
                  <a:lnTo>
                    <a:pt x="304" y="325"/>
                  </a:lnTo>
                  <a:lnTo>
                    <a:pt x="275" y="323"/>
                  </a:lnTo>
                  <a:lnTo>
                    <a:pt x="264" y="321"/>
                  </a:lnTo>
                  <a:lnTo>
                    <a:pt x="255" y="319"/>
                  </a:lnTo>
                  <a:lnTo>
                    <a:pt x="248" y="317"/>
                  </a:lnTo>
                  <a:lnTo>
                    <a:pt x="242" y="315"/>
                  </a:lnTo>
                  <a:lnTo>
                    <a:pt x="232" y="310"/>
                  </a:lnTo>
                  <a:lnTo>
                    <a:pt x="224" y="305"/>
                  </a:lnTo>
                  <a:lnTo>
                    <a:pt x="213" y="300"/>
                  </a:lnTo>
                  <a:lnTo>
                    <a:pt x="198" y="295"/>
                  </a:lnTo>
                  <a:lnTo>
                    <a:pt x="180" y="289"/>
                  </a:lnTo>
                  <a:lnTo>
                    <a:pt x="162" y="282"/>
                  </a:lnTo>
                  <a:lnTo>
                    <a:pt x="146" y="273"/>
                  </a:lnTo>
                  <a:lnTo>
                    <a:pt x="130" y="266"/>
                  </a:lnTo>
                  <a:lnTo>
                    <a:pt x="98" y="249"/>
                  </a:lnTo>
                  <a:lnTo>
                    <a:pt x="65" y="228"/>
                  </a:lnTo>
                  <a:lnTo>
                    <a:pt x="62" y="206"/>
                  </a:lnTo>
                  <a:lnTo>
                    <a:pt x="57" y="187"/>
                  </a:lnTo>
                  <a:lnTo>
                    <a:pt x="52" y="169"/>
                  </a:lnTo>
                  <a:lnTo>
                    <a:pt x="47" y="152"/>
                  </a:lnTo>
                  <a:lnTo>
                    <a:pt x="36" y="124"/>
                  </a:lnTo>
                  <a:lnTo>
                    <a:pt x="25" y="100"/>
                  </a:lnTo>
                  <a:lnTo>
                    <a:pt x="15" y="83"/>
                  </a:lnTo>
                  <a:lnTo>
                    <a:pt x="7" y="71"/>
                  </a:lnTo>
                  <a:lnTo>
                    <a:pt x="2" y="64"/>
                  </a:lnTo>
                  <a:lnTo>
                    <a:pt x="0" y="62"/>
                  </a:lnTo>
                  <a:lnTo>
                    <a:pt x="5" y="61"/>
                  </a:lnTo>
                  <a:lnTo>
                    <a:pt x="8" y="59"/>
                  </a:lnTo>
                  <a:lnTo>
                    <a:pt x="11" y="56"/>
                  </a:lnTo>
                  <a:lnTo>
                    <a:pt x="11" y="51"/>
                  </a:lnTo>
                  <a:lnTo>
                    <a:pt x="11" y="48"/>
                  </a:lnTo>
                  <a:lnTo>
                    <a:pt x="11" y="45"/>
                  </a:lnTo>
                  <a:lnTo>
                    <a:pt x="11" y="43"/>
                  </a:lnTo>
                  <a:lnTo>
                    <a:pt x="13" y="42"/>
                  </a:lnTo>
                  <a:lnTo>
                    <a:pt x="34" y="34"/>
                  </a:lnTo>
                  <a:lnTo>
                    <a:pt x="55" y="27"/>
                  </a:lnTo>
                  <a:lnTo>
                    <a:pt x="73" y="22"/>
                  </a:lnTo>
                  <a:lnTo>
                    <a:pt x="92" y="17"/>
                  </a:lnTo>
                  <a:lnTo>
                    <a:pt x="128" y="8"/>
                  </a:lnTo>
                  <a:lnTo>
                    <a:pt x="165" y="0"/>
                  </a:lnTo>
                  <a:lnTo>
                    <a:pt x="173" y="11"/>
                  </a:lnTo>
                  <a:lnTo>
                    <a:pt x="183" y="23"/>
                  </a:lnTo>
                  <a:lnTo>
                    <a:pt x="188" y="28"/>
                  </a:lnTo>
                  <a:lnTo>
                    <a:pt x="194" y="32"/>
                  </a:lnTo>
                  <a:lnTo>
                    <a:pt x="201" y="35"/>
                  </a:lnTo>
                  <a:lnTo>
                    <a:pt x="205" y="36"/>
                  </a:lnTo>
                  <a:lnTo>
                    <a:pt x="219" y="36"/>
                  </a:lnTo>
                  <a:lnTo>
                    <a:pt x="230" y="36"/>
                  </a:lnTo>
                  <a:lnTo>
                    <a:pt x="239" y="36"/>
                  </a:lnTo>
                  <a:lnTo>
                    <a:pt x="246" y="36"/>
                  </a:lnTo>
                  <a:lnTo>
                    <a:pt x="259" y="2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849" name="Freeform 343"/>
            <p:cNvSpPr>
              <a:spLocks/>
            </p:cNvSpPr>
            <p:nvPr>
              <p:custDataLst>
                <p:tags r:id="rId241"/>
              </p:custDataLst>
            </p:nvPr>
          </p:nvSpPr>
          <p:spPr bwMode="auto">
            <a:xfrm>
              <a:off x="6028811" y="2271554"/>
              <a:ext cx="174119" cy="85788"/>
            </a:xfrm>
            <a:custGeom>
              <a:avLst/>
              <a:gdLst>
                <a:gd name="T0" fmla="*/ 134815 w 338"/>
                <a:gd name="T1" fmla="*/ 0 h 141"/>
                <a:gd name="T2" fmla="*/ 80371 w 338"/>
                <a:gd name="T3" fmla="*/ 0 h 141"/>
                <a:gd name="T4" fmla="*/ 72593 w 338"/>
                <a:gd name="T5" fmla="*/ 4053 h 141"/>
                <a:gd name="T6" fmla="*/ 62222 w 338"/>
                <a:gd name="T7" fmla="*/ 10640 h 141"/>
                <a:gd name="T8" fmla="*/ 57037 w 338"/>
                <a:gd name="T9" fmla="*/ 13680 h 141"/>
                <a:gd name="T10" fmla="*/ 51420 w 338"/>
                <a:gd name="T11" fmla="*/ 16213 h 141"/>
                <a:gd name="T12" fmla="*/ 48395 w 338"/>
                <a:gd name="T13" fmla="*/ 17226 h 141"/>
                <a:gd name="T14" fmla="*/ 45371 w 338"/>
                <a:gd name="T15" fmla="*/ 17733 h 141"/>
                <a:gd name="T16" fmla="*/ 42778 w 338"/>
                <a:gd name="T17" fmla="*/ 18239 h 141"/>
                <a:gd name="T18" fmla="*/ 40185 w 338"/>
                <a:gd name="T19" fmla="*/ 18746 h 141"/>
                <a:gd name="T20" fmla="*/ 38025 w 338"/>
                <a:gd name="T21" fmla="*/ 18239 h 141"/>
                <a:gd name="T22" fmla="*/ 36296 w 338"/>
                <a:gd name="T23" fmla="*/ 17733 h 141"/>
                <a:gd name="T24" fmla="*/ 33704 w 338"/>
                <a:gd name="T25" fmla="*/ 16213 h 141"/>
                <a:gd name="T26" fmla="*/ 31975 w 338"/>
                <a:gd name="T27" fmla="*/ 15200 h 141"/>
                <a:gd name="T28" fmla="*/ 28519 w 338"/>
                <a:gd name="T29" fmla="*/ 12160 h 141"/>
                <a:gd name="T30" fmla="*/ 25494 w 338"/>
                <a:gd name="T31" fmla="*/ 9120 h 141"/>
                <a:gd name="T32" fmla="*/ 21173 w 338"/>
                <a:gd name="T33" fmla="*/ 17226 h 141"/>
                <a:gd name="T34" fmla="*/ 15988 w 338"/>
                <a:gd name="T35" fmla="*/ 25839 h 141"/>
                <a:gd name="T36" fmla="*/ 12963 w 338"/>
                <a:gd name="T37" fmla="*/ 30399 h 141"/>
                <a:gd name="T38" fmla="*/ 9074 w 338"/>
                <a:gd name="T39" fmla="*/ 34452 h 141"/>
                <a:gd name="T40" fmla="*/ 4753 w 338"/>
                <a:gd name="T41" fmla="*/ 37999 h 141"/>
                <a:gd name="T42" fmla="*/ 0 w 338"/>
                <a:gd name="T43" fmla="*/ 40532 h 141"/>
                <a:gd name="T44" fmla="*/ 5185 w 338"/>
                <a:gd name="T45" fmla="*/ 45599 h 141"/>
                <a:gd name="T46" fmla="*/ 9938 w 338"/>
                <a:gd name="T47" fmla="*/ 50665 h 141"/>
                <a:gd name="T48" fmla="*/ 14259 w 338"/>
                <a:gd name="T49" fmla="*/ 54718 h 141"/>
                <a:gd name="T50" fmla="*/ 19012 w 338"/>
                <a:gd name="T51" fmla="*/ 58772 h 141"/>
                <a:gd name="T52" fmla="*/ 23766 w 338"/>
                <a:gd name="T53" fmla="*/ 61812 h 141"/>
                <a:gd name="T54" fmla="*/ 28519 w 338"/>
                <a:gd name="T55" fmla="*/ 65358 h 141"/>
                <a:gd name="T56" fmla="*/ 34136 w 338"/>
                <a:gd name="T57" fmla="*/ 68398 h 141"/>
                <a:gd name="T58" fmla="*/ 40185 w 338"/>
                <a:gd name="T59" fmla="*/ 71438 h 141"/>
                <a:gd name="T60" fmla="*/ 111914 w 338"/>
                <a:gd name="T61" fmla="*/ 71438 h 141"/>
                <a:gd name="T62" fmla="*/ 116235 w 338"/>
                <a:gd name="T63" fmla="*/ 62825 h 141"/>
                <a:gd name="T64" fmla="*/ 121420 w 338"/>
                <a:gd name="T65" fmla="*/ 54212 h 141"/>
                <a:gd name="T66" fmla="*/ 126173 w 338"/>
                <a:gd name="T67" fmla="*/ 46612 h 141"/>
                <a:gd name="T68" fmla="*/ 131359 w 338"/>
                <a:gd name="T69" fmla="*/ 39519 h 141"/>
                <a:gd name="T70" fmla="*/ 136112 w 338"/>
                <a:gd name="T71" fmla="*/ 32426 h 141"/>
                <a:gd name="T72" fmla="*/ 140001 w 338"/>
                <a:gd name="T73" fmla="*/ 24319 h 141"/>
                <a:gd name="T74" fmla="*/ 143889 w 338"/>
                <a:gd name="T75" fmla="*/ 17226 h 141"/>
                <a:gd name="T76" fmla="*/ 146050 w 338"/>
                <a:gd name="T77" fmla="*/ 9120 h 141"/>
                <a:gd name="T78" fmla="*/ 134815 w 338"/>
                <a:gd name="T79" fmla="*/ 0 h 141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338" h="141">
                  <a:moveTo>
                    <a:pt x="312" y="0"/>
                  </a:moveTo>
                  <a:lnTo>
                    <a:pt x="186" y="0"/>
                  </a:lnTo>
                  <a:lnTo>
                    <a:pt x="168" y="8"/>
                  </a:lnTo>
                  <a:lnTo>
                    <a:pt x="144" y="21"/>
                  </a:lnTo>
                  <a:lnTo>
                    <a:pt x="132" y="27"/>
                  </a:lnTo>
                  <a:lnTo>
                    <a:pt x="119" y="32"/>
                  </a:lnTo>
                  <a:lnTo>
                    <a:pt x="112" y="34"/>
                  </a:lnTo>
                  <a:lnTo>
                    <a:pt x="105" y="35"/>
                  </a:lnTo>
                  <a:lnTo>
                    <a:pt x="99" y="36"/>
                  </a:lnTo>
                  <a:lnTo>
                    <a:pt x="93" y="37"/>
                  </a:lnTo>
                  <a:lnTo>
                    <a:pt x="88" y="36"/>
                  </a:lnTo>
                  <a:lnTo>
                    <a:pt x="84" y="35"/>
                  </a:lnTo>
                  <a:lnTo>
                    <a:pt x="78" y="32"/>
                  </a:lnTo>
                  <a:lnTo>
                    <a:pt x="74" y="30"/>
                  </a:lnTo>
                  <a:lnTo>
                    <a:pt x="66" y="24"/>
                  </a:lnTo>
                  <a:lnTo>
                    <a:pt x="59" y="18"/>
                  </a:lnTo>
                  <a:lnTo>
                    <a:pt x="49" y="34"/>
                  </a:lnTo>
                  <a:lnTo>
                    <a:pt x="37" y="51"/>
                  </a:lnTo>
                  <a:lnTo>
                    <a:pt x="30" y="60"/>
                  </a:lnTo>
                  <a:lnTo>
                    <a:pt x="21" y="68"/>
                  </a:lnTo>
                  <a:lnTo>
                    <a:pt x="11" y="75"/>
                  </a:lnTo>
                  <a:lnTo>
                    <a:pt x="0" y="80"/>
                  </a:lnTo>
                  <a:lnTo>
                    <a:pt x="12" y="90"/>
                  </a:lnTo>
                  <a:lnTo>
                    <a:pt x="23" y="100"/>
                  </a:lnTo>
                  <a:lnTo>
                    <a:pt x="33" y="108"/>
                  </a:lnTo>
                  <a:lnTo>
                    <a:pt x="44" y="116"/>
                  </a:lnTo>
                  <a:lnTo>
                    <a:pt x="55" y="122"/>
                  </a:lnTo>
                  <a:lnTo>
                    <a:pt x="66" y="129"/>
                  </a:lnTo>
                  <a:lnTo>
                    <a:pt x="79" y="135"/>
                  </a:lnTo>
                  <a:lnTo>
                    <a:pt x="93" y="141"/>
                  </a:lnTo>
                  <a:lnTo>
                    <a:pt x="259" y="141"/>
                  </a:lnTo>
                  <a:lnTo>
                    <a:pt x="269" y="124"/>
                  </a:lnTo>
                  <a:lnTo>
                    <a:pt x="281" y="107"/>
                  </a:lnTo>
                  <a:lnTo>
                    <a:pt x="292" y="92"/>
                  </a:lnTo>
                  <a:lnTo>
                    <a:pt x="304" y="78"/>
                  </a:lnTo>
                  <a:lnTo>
                    <a:pt x="315" y="64"/>
                  </a:lnTo>
                  <a:lnTo>
                    <a:pt x="324" y="48"/>
                  </a:lnTo>
                  <a:lnTo>
                    <a:pt x="333" y="34"/>
                  </a:lnTo>
                  <a:lnTo>
                    <a:pt x="338" y="18"/>
                  </a:lnTo>
                  <a:lnTo>
                    <a:pt x="312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850" name="Freeform 344"/>
            <p:cNvSpPr>
              <a:spLocks/>
            </p:cNvSpPr>
            <p:nvPr>
              <p:custDataLst>
                <p:tags r:id="rId242"/>
              </p:custDataLst>
            </p:nvPr>
          </p:nvSpPr>
          <p:spPr bwMode="auto">
            <a:xfrm>
              <a:off x="6148046" y="1857871"/>
              <a:ext cx="132482" cy="78161"/>
            </a:xfrm>
            <a:custGeom>
              <a:avLst/>
              <a:gdLst>
                <a:gd name="T0" fmla="*/ 111125 w 259"/>
                <a:gd name="T1" fmla="*/ 65087 h 129"/>
                <a:gd name="T2" fmla="*/ 109409 w 259"/>
                <a:gd name="T3" fmla="*/ 51464 h 129"/>
                <a:gd name="T4" fmla="*/ 108122 w 259"/>
                <a:gd name="T5" fmla="*/ 40364 h 129"/>
                <a:gd name="T6" fmla="*/ 108122 w 259"/>
                <a:gd name="T7" fmla="*/ 31787 h 129"/>
                <a:gd name="T8" fmla="*/ 108551 w 259"/>
                <a:gd name="T9" fmla="*/ 25228 h 129"/>
                <a:gd name="T10" fmla="*/ 110267 w 259"/>
                <a:gd name="T11" fmla="*/ 14632 h 129"/>
                <a:gd name="T12" fmla="*/ 111125 w 259"/>
                <a:gd name="T13" fmla="*/ 6055 h 129"/>
                <a:gd name="T14" fmla="*/ 110696 w 259"/>
                <a:gd name="T15" fmla="*/ 7064 h 129"/>
                <a:gd name="T16" fmla="*/ 109838 w 259"/>
                <a:gd name="T17" fmla="*/ 8073 h 129"/>
                <a:gd name="T18" fmla="*/ 108551 w 259"/>
                <a:gd name="T19" fmla="*/ 8577 h 129"/>
                <a:gd name="T20" fmla="*/ 106834 w 259"/>
                <a:gd name="T21" fmla="*/ 9082 h 129"/>
                <a:gd name="T22" fmla="*/ 102544 w 259"/>
                <a:gd name="T23" fmla="*/ 9586 h 129"/>
                <a:gd name="T24" fmla="*/ 97824 w 259"/>
                <a:gd name="T25" fmla="*/ 9586 h 129"/>
                <a:gd name="T26" fmla="*/ 87956 w 259"/>
                <a:gd name="T27" fmla="*/ 9586 h 129"/>
                <a:gd name="T28" fmla="*/ 82378 w 259"/>
                <a:gd name="T29" fmla="*/ 9082 h 129"/>
                <a:gd name="T30" fmla="*/ 77659 w 259"/>
                <a:gd name="T31" fmla="*/ 8577 h 129"/>
                <a:gd name="T32" fmla="*/ 73797 w 259"/>
                <a:gd name="T33" fmla="*/ 7568 h 129"/>
                <a:gd name="T34" fmla="*/ 69936 w 259"/>
                <a:gd name="T35" fmla="*/ 6055 h 129"/>
                <a:gd name="T36" fmla="*/ 66932 w 259"/>
                <a:gd name="T37" fmla="*/ 4541 h 129"/>
                <a:gd name="T38" fmla="*/ 62642 w 259"/>
                <a:gd name="T39" fmla="*/ 3027 h 129"/>
                <a:gd name="T40" fmla="*/ 57493 w 259"/>
                <a:gd name="T41" fmla="*/ 1514 h 129"/>
                <a:gd name="T42" fmla="*/ 50628 w 259"/>
                <a:gd name="T43" fmla="*/ 505 h 129"/>
                <a:gd name="T44" fmla="*/ 42476 w 259"/>
                <a:gd name="T45" fmla="*/ 0 h 129"/>
                <a:gd name="T46" fmla="*/ 35611 w 259"/>
                <a:gd name="T47" fmla="*/ 0 h 129"/>
                <a:gd name="T48" fmla="*/ 28747 w 259"/>
                <a:gd name="T49" fmla="*/ 0 h 129"/>
                <a:gd name="T50" fmla="*/ 21453 w 259"/>
                <a:gd name="T51" fmla="*/ 0 h 129"/>
                <a:gd name="T52" fmla="*/ 14588 w 259"/>
                <a:gd name="T53" fmla="*/ 1009 h 129"/>
                <a:gd name="T54" fmla="*/ 11584 w 259"/>
                <a:gd name="T55" fmla="*/ 2018 h 129"/>
                <a:gd name="T56" fmla="*/ 9010 w 259"/>
                <a:gd name="T57" fmla="*/ 3027 h 129"/>
                <a:gd name="T58" fmla="*/ 6007 w 259"/>
                <a:gd name="T59" fmla="*/ 4541 h 129"/>
                <a:gd name="T60" fmla="*/ 4291 w 259"/>
                <a:gd name="T61" fmla="*/ 6559 h 129"/>
                <a:gd name="T62" fmla="*/ 2145 w 259"/>
                <a:gd name="T63" fmla="*/ 8577 h 129"/>
                <a:gd name="T64" fmla="*/ 858 w 259"/>
                <a:gd name="T65" fmla="*/ 11100 h 129"/>
                <a:gd name="T66" fmla="*/ 0 w 259"/>
                <a:gd name="T67" fmla="*/ 14632 h 129"/>
                <a:gd name="T68" fmla="*/ 0 w 259"/>
                <a:gd name="T69" fmla="*/ 18164 h 129"/>
                <a:gd name="T70" fmla="*/ 0 w 259"/>
                <a:gd name="T71" fmla="*/ 24218 h 129"/>
                <a:gd name="T72" fmla="*/ 1287 w 259"/>
                <a:gd name="T73" fmla="*/ 29264 h 129"/>
                <a:gd name="T74" fmla="*/ 2574 w 259"/>
                <a:gd name="T75" fmla="*/ 32796 h 129"/>
                <a:gd name="T76" fmla="*/ 5149 w 259"/>
                <a:gd name="T77" fmla="*/ 35823 h 129"/>
                <a:gd name="T78" fmla="*/ 7294 w 259"/>
                <a:gd name="T79" fmla="*/ 38346 h 129"/>
                <a:gd name="T80" fmla="*/ 10297 w 259"/>
                <a:gd name="T81" fmla="*/ 40364 h 129"/>
                <a:gd name="T82" fmla="*/ 13301 w 259"/>
                <a:gd name="T83" fmla="*/ 41878 h 129"/>
                <a:gd name="T84" fmla="*/ 15875 w 259"/>
                <a:gd name="T85" fmla="*/ 42887 h 129"/>
                <a:gd name="T86" fmla="*/ 21453 w 259"/>
                <a:gd name="T87" fmla="*/ 44400 h 129"/>
                <a:gd name="T88" fmla="*/ 26172 w 259"/>
                <a:gd name="T89" fmla="*/ 46419 h 129"/>
                <a:gd name="T90" fmla="*/ 27889 w 259"/>
                <a:gd name="T91" fmla="*/ 47932 h 129"/>
                <a:gd name="T92" fmla="*/ 28747 w 259"/>
                <a:gd name="T93" fmla="*/ 49950 h 129"/>
                <a:gd name="T94" fmla="*/ 28747 w 259"/>
                <a:gd name="T95" fmla="*/ 52978 h 129"/>
                <a:gd name="T96" fmla="*/ 28318 w 259"/>
                <a:gd name="T97" fmla="*/ 56005 h 129"/>
                <a:gd name="T98" fmla="*/ 34753 w 259"/>
                <a:gd name="T99" fmla="*/ 55501 h 129"/>
                <a:gd name="T100" fmla="*/ 39044 w 259"/>
                <a:gd name="T101" fmla="*/ 54491 h 129"/>
                <a:gd name="T102" fmla="*/ 42047 w 259"/>
                <a:gd name="T103" fmla="*/ 53482 h 129"/>
                <a:gd name="T104" fmla="*/ 45051 w 259"/>
                <a:gd name="T105" fmla="*/ 52978 h 129"/>
                <a:gd name="T106" fmla="*/ 51486 w 259"/>
                <a:gd name="T107" fmla="*/ 53482 h 129"/>
                <a:gd name="T108" fmla="*/ 60068 w 259"/>
                <a:gd name="T109" fmla="*/ 54491 h 129"/>
                <a:gd name="T110" fmla="*/ 71223 w 259"/>
                <a:gd name="T111" fmla="*/ 56510 h 129"/>
                <a:gd name="T112" fmla="*/ 82378 w 259"/>
                <a:gd name="T113" fmla="*/ 59032 h 129"/>
                <a:gd name="T114" fmla="*/ 102115 w 259"/>
                <a:gd name="T115" fmla="*/ 63069 h 129"/>
                <a:gd name="T116" fmla="*/ 111125 w 259"/>
                <a:gd name="T117" fmla="*/ 65087 h 12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259" h="129">
                  <a:moveTo>
                    <a:pt x="259" y="129"/>
                  </a:moveTo>
                  <a:lnTo>
                    <a:pt x="255" y="102"/>
                  </a:lnTo>
                  <a:lnTo>
                    <a:pt x="252" y="80"/>
                  </a:lnTo>
                  <a:lnTo>
                    <a:pt x="252" y="63"/>
                  </a:lnTo>
                  <a:lnTo>
                    <a:pt x="253" y="50"/>
                  </a:lnTo>
                  <a:lnTo>
                    <a:pt x="257" y="29"/>
                  </a:lnTo>
                  <a:lnTo>
                    <a:pt x="259" y="12"/>
                  </a:lnTo>
                  <a:lnTo>
                    <a:pt x="258" y="14"/>
                  </a:lnTo>
                  <a:lnTo>
                    <a:pt x="256" y="16"/>
                  </a:lnTo>
                  <a:lnTo>
                    <a:pt x="253" y="17"/>
                  </a:lnTo>
                  <a:lnTo>
                    <a:pt x="249" y="18"/>
                  </a:lnTo>
                  <a:lnTo>
                    <a:pt x="239" y="19"/>
                  </a:lnTo>
                  <a:lnTo>
                    <a:pt x="228" y="19"/>
                  </a:lnTo>
                  <a:lnTo>
                    <a:pt x="205" y="19"/>
                  </a:lnTo>
                  <a:lnTo>
                    <a:pt x="192" y="18"/>
                  </a:lnTo>
                  <a:lnTo>
                    <a:pt x="181" y="17"/>
                  </a:lnTo>
                  <a:lnTo>
                    <a:pt x="172" y="15"/>
                  </a:lnTo>
                  <a:lnTo>
                    <a:pt x="163" y="12"/>
                  </a:lnTo>
                  <a:lnTo>
                    <a:pt x="156" y="9"/>
                  </a:lnTo>
                  <a:lnTo>
                    <a:pt x="146" y="6"/>
                  </a:lnTo>
                  <a:lnTo>
                    <a:pt x="134" y="3"/>
                  </a:lnTo>
                  <a:lnTo>
                    <a:pt x="118" y="1"/>
                  </a:lnTo>
                  <a:lnTo>
                    <a:pt x="99" y="0"/>
                  </a:lnTo>
                  <a:lnTo>
                    <a:pt x="83" y="0"/>
                  </a:lnTo>
                  <a:lnTo>
                    <a:pt x="67" y="0"/>
                  </a:lnTo>
                  <a:lnTo>
                    <a:pt x="50" y="0"/>
                  </a:lnTo>
                  <a:lnTo>
                    <a:pt x="34" y="2"/>
                  </a:lnTo>
                  <a:lnTo>
                    <a:pt x="27" y="4"/>
                  </a:lnTo>
                  <a:lnTo>
                    <a:pt x="21" y="6"/>
                  </a:lnTo>
                  <a:lnTo>
                    <a:pt x="14" y="9"/>
                  </a:lnTo>
                  <a:lnTo>
                    <a:pt x="10" y="13"/>
                  </a:lnTo>
                  <a:lnTo>
                    <a:pt x="5" y="17"/>
                  </a:lnTo>
                  <a:lnTo>
                    <a:pt x="2" y="22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8"/>
                  </a:lnTo>
                  <a:lnTo>
                    <a:pt x="3" y="58"/>
                  </a:lnTo>
                  <a:lnTo>
                    <a:pt x="6" y="65"/>
                  </a:lnTo>
                  <a:lnTo>
                    <a:pt x="12" y="71"/>
                  </a:lnTo>
                  <a:lnTo>
                    <a:pt x="17" y="76"/>
                  </a:lnTo>
                  <a:lnTo>
                    <a:pt x="24" y="80"/>
                  </a:lnTo>
                  <a:lnTo>
                    <a:pt x="31" y="83"/>
                  </a:lnTo>
                  <a:lnTo>
                    <a:pt x="37" y="85"/>
                  </a:lnTo>
                  <a:lnTo>
                    <a:pt x="50" y="88"/>
                  </a:lnTo>
                  <a:lnTo>
                    <a:pt x="61" y="92"/>
                  </a:lnTo>
                  <a:lnTo>
                    <a:pt x="65" y="95"/>
                  </a:lnTo>
                  <a:lnTo>
                    <a:pt x="67" y="99"/>
                  </a:lnTo>
                  <a:lnTo>
                    <a:pt x="67" y="105"/>
                  </a:lnTo>
                  <a:lnTo>
                    <a:pt x="66" y="111"/>
                  </a:lnTo>
                  <a:lnTo>
                    <a:pt x="81" y="110"/>
                  </a:lnTo>
                  <a:lnTo>
                    <a:pt x="91" y="108"/>
                  </a:lnTo>
                  <a:lnTo>
                    <a:pt x="98" y="106"/>
                  </a:lnTo>
                  <a:lnTo>
                    <a:pt x="105" y="105"/>
                  </a:lnTo>
                  <a:lnTo>
                    <a:pt x="120" y="106"/>
                  </a:lnTo>
                  <a:lnTo>
                    <a:pt x="140" y="108"/>
                  </a:lnTo>
                  <a:lnTo>
                    <a:pt x="166" y="112"/>
                  </a:lnTo>
                  <a:lnTo>
                    <a:pt x="192" y="117"/>
                  </a:lnTo>
                  <a:lnTo>
                    <a:pt x="238" y="125"/>
                  </a:lnTo>
                  <a:lnTo>
                    <a:pt x="259" y="12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851" name="Freeform 345"/>
            <p:cNvSpPr>
              <a:spLocks/>
            </p:cNvSpPr>
            <p:nvPr>
              <p:custDataLst>
                <p:tags r:id="rId243"/>
              </p:custDataLst>
            </p:nvPr>
          </p:nvSpPr>
          <p:spPr bwMode="auto">
            <a:xfrm>
              <a:off x="6163187" y="2275368"/>
              <a:ext cx="213863" cy="171574"/>
            </a:xfrm>
            <a:custGeom>
              <a:avLst/>
              <a:gdLst>
                <a:gd name="T0" fmla="*/ 176432 w 425"/>
                <a:gd name="T1" fmla="*/ 89297 h 272"/>
                <a:gd name="T2" fmla="*/ 167991 w 425"/>
                <a:gd name="T3" fmla="*/ 98752 h 272"/>
                <a:gd name="T4" fmla="*/ 161659 w 425"/>
                <a:gd name="T5" fmla="*/ 108207 h 272"/>
                <a:gd name="T6" fmla="*/ 162081 w 425"/>
                <a:gd name="T7" fmla="*/ 116086 h 272"/>
                <a:gd name="T8" fmla="*/ 164192 w 425"/>
                <a:gd name="T9" fmla="*/ 124490 h 272"/>
                <a:gd name="T10" fmla="*/ 158283 w 425"/>
                <a:gd name="T11" fmla="*/ 128167 h 272"/>
                <a:gd name="T12" fmla="*/ 146464 w 425"/>
                <a:gd name="T13" fmla="*/ 125016 h 272"/>
                <a:gd name="T14" fmla="*/ 136756 w 425"/>
                <a:gd name="T15" fmla="*/ 123440 h 272"/>
                <a:gd name="T16" fmla="*/ 124516 w 425"/>
                <a:gd name="T17" fmla="*/ 123440 h 272"/>
                <a:gd name="T18" fmla="*/ 111009 w 425"/>
                <a:gd name="T19" fmla="*/ 127642 h 272"/>
                <a:gd name="T20" fmla="*/ 97924 w 425"/>
                <a:gd name="T21" fmla="*/ 133420 h 272"/>
                <a:gd name="T22" fmla="*/ 83151 w 425"/>
                <a:gd name="T23" fmla="*/ 140249 h 272"/>
                <a:gd name="T24" fmla="*/ 42209 w 425"/>
                <a:gd name="T25" fmla="*/ 126066 h 272"/>
                <a:gd name="T26" fmla="*/ 35877 w 425"/>
                <a:gd name="T27" fmla="*/ 118712 h 272"/>
                <a:gd name="T28" fmla="*/ 29546 w 425"/>
                <a:gd name="T29" fmla="*/ 112409 h 272"/>
                <a:gd name="T30" fmla="*/ 15617 w 425"/>
                <a:gd name="T31" fmla="*/ 100853 h 272"/>
                <a:gd name="T32" fmla="*/ 9286 w 425"/>
                <a:gd name="T33" fmla="*/ 94550 h 272"/>
                <a:gd name="T34" fmla="*/ 4643 w 425"/>
                <a:gd name="T35" fmla="*/ 87721 h 272"/>
                <a:gd name="T36" fmla="*/ 844 w 425"/>
                <a:gd name="T37" fmla="*/ 78791 h 272"/>
                <a:gd name="T38" fmla="*/ 0 w 425"/>
                <a:gd name="T39" fmla="*/ 67761 h 272"/>
                <a:gd name="T40" fmla="*/ 21104 w 425"/>
                <a:gd name="T41" fmla="*/ 34668 h 272"/>
                <a:gd name="T42" fmla="*/ 29968 w 425"/>
                <a:gd name="T43" fmla="*/ 18910 h 272"/>
                <a:gd name="T44" fmla="*/ 33767 w 425"/>
                <a:gd name="T45" fmla="*/ 11556 h 272"/>
                <a:gd name="T46" fmla="*/ 35877 w 425"/>
                <a:gd name="T47" fmla="*/ 3152 h 272"/>
                <a:gd name="T48" fmla="*/ 51917 w 425"/>
                <a:gd name="T49" fmla="*/ 5253 h 272"/>
                <a:gd name="T50" fmla="*/ 64579 w 425"/>
                <a:gd name="T51" fmla="*/ 9455 h 272"/>
                <a:gd name="T52" fmla="*/ 75976 w 425"/>
                <a:gd name="T53" fmla="*/ 14182 h 272"/>
                <a:gd name="T54" fmla="*/ 86528 w 425"/>
                <a:gd name="T55" fmla="*/ 16284 h 272"/>
                <a:gd name="T56" fmla="*/ 90327 w 425"/>
                <a:gd name="T57" fmla="*/ 15233 h 272"/>
                <a:gd name="T58" fmla="*/ 93281 w 425"/>
                <a:gd name="T59" fmla="*/ 13657 h 272"/>
                <a:gd name="T60" fmla="*/ 97924 w 425"/>
                <a:gd name="T61" fmla="*/ 7879 h 272"/>
                <a:gd name="T62" fmla="*/ 102145 w 425"/>
                <a:gd name="T63" fmla="*/ 2626 h 272"/>
                <a:gd name="T64" fmla="*/ 105522 w 425"/>
                <a:gd name="T65" fmla="*/ 1051 h 272"/>
                <a:gd name="T66" fmla="*/ 109321 w 425"/>
                <a:gd name="T67" fmla="*/ 0 h 272"/>
                <a:gd name="T68" fmla="*/ 116074 w 425"/>
                <a:gd name="T69" fmla="*/ 1051 h 272"/>
                <a:gd name="T70" fmla="*/ 121983 w 425"/>
                <a:gd name="T71" fmla="*/ 3677 h 272"/>
                <a:gd name="T72" fmla="*/ 127470 w 425"/>
                <a:gd name="T73" fmla="*/ 7879 h 272"/>
                <a:gd name="T74" fmla="*/ 130847 w 425"/>
                <a:gd name="T75" fmla="*/ 13657 h 272"/>
                <a:gd name="T76" fmla="*/ 137178 w 425"/>
                <a:gd name="T77" fmla="*/ 27840 h 272"/>
                <a:gd name="T78" fmla="*/ 142243 w 425"/>
                <a:gd name="T79" fmla="*/ 43073 h 272"/>
                <a:gd name="T80" fmla="*/ 147308 w 425"/>
                <a:gd name="T81" fmla="*/ 59356 h 272"/>
                <a:gd name="T82" fmla="*/ 150263 w 425"/>
                <a:gd name="T83" fmla="*/ 66185 h 272"/>
                <a:gd name="T84" fmla="*/ 154062 w 425"/>
                <a:gd name="T85" fmla="*/ 72488 h 272"/>
                <a:gd name="T86" fmla="*/ 158705 w 425"/>
                <a:gd name="T87" fmla="*/ 77216 h 272"/>
                <a:gd name="T88" fmla="*/ 164192 w 425"/>
                <a:gd name="T89" fmla="*/ 81943 h 272"/>
                <a:gd name="T90" fmla="*/ 170945 w 425"/>
                <a:gd name="T91" fmla="*/ 84044 h 272"/>
                <a:gd name="T92" fmla="*/ 179387 w 425"/>
                <a:gd name="T93" fmla="*/ 84569 h 27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425" h="272">
                  <a:moveTo>
                    <a:pt x="425" y="161"/>
                  </a:moveTo>
                  <a:lnTo>
                    <a:pt x="418" y="170"/>
                  </a:lnTo>
                  <a:lnTo>
                    <a:pt x="409" y="179"/>
                  </a:lnTo>
                  <a:lnTo>
                    <a:pt x="398" y="188"/>
                  </a:lnTo>
                  <a:lnTo>
                    <a:pt x="385" y="197"/>
                  </a:lnTo>
                  <a:lnTo>
                    <a:pt x="383" y="206"/>
                  </a:lnTo>
                  <a:lnTo>
                    <a:pt x="383" y="214"/>
                  </a:lnTo>
                  <a:lnTo>
                    <a:pt x="384" y="221"/>
                  </a:lnTo>
                  <a:lnTo>
                    <a:pt x="385" y="227"/>
                  </a:lnTo>
                  <a:lnTo>
                    <a:pt x="389" y="237"/>
                  </a:lnTo>
                  <a:lnTo>
                    <a:pt x="392" y="246"/>
                  </a:lnTo>
                  <a:lnTo>
                    <a:pt x="375" y="244"/>
                  </a:lnTo>
                  <a:lnTo>
                    <a:pt x="356" y="240"/>
                  </a:lnTo>
                  <a:lnTo>
                    <a:pt x="347" y="238"/>
                  </a:lnTo>
                  <a:lnTo>
                    <a:pt x="336" y="236"/>
                  </a:lnTo>
                  <a:lnTo>
                    <a:pt x="324" y="235"/>
                  </a:lnTo>
                  <a:lnTo>
                    <a:pt x="311" y="234"/>
                  </a:lnTo>
                  <a:lnTo>
                    <a:pt x="295" y="235"/>
                  </a:lnTo>
                  <a:lnTo>
                    <a:pt x="278" y="238"/>
                  </a:lnTo>
                  <a:lnTo>
                    <a:pt x="263" y="243"/>
                  </a:lnTo>
                  <a:lnTo>
                    <a:pt x="248" y="248"/>
                  </a:lnTo>
                  <a:lnTo>
                    <a:pt x="232" y="254"/>
                  </a:lnTo>
                  <a:lnTo>
                    <a:pt x="215" y="260"/>
                  </a:lnTo>
                  <a:lnTo>
                    <a:pt x="197" y="267"/>
                  </a:lnTo>
                  <a:lnTo>
                    <a:pt x="179" y="272"/>
                  </a:lnTo>
                  <a:lnTo>
                    <a:pt x="100" y="240"/>
                  </a:lnTo>
                  <a:lnTo>
                    <a:pt x="92" y="233"/>
                  </a:lnTo>
                  <a:lnTo>
                    <a:pt x="85" y="226"/>
                  </a:lnTo>
                  <a:lnTo>
                    <a:pt x="78" y="220"/>
                  </a:lnTo>
                  <a:lnTo>
                    <a:pt x="70" y="214"/>
                  </a:lnTo>
                  <a:lnTo>
                    <a:pt x="52" y="202"/>
                  </a:lnTo>
                  <a:lnTo>
                    <a:pt x="37" y="192"/>
                  </a:lnTo>
                  <a:lnTo>
                    <a:pt x="29" y="186"/>
                  </a:lnTo>
                  <a:lnTo>
                    <a:pt x="22" y="180"/>
                  </a:lnTo>
                  <a:lnTo>
                    <a:pt x="16" y="174"/>
                  </a:lnTo>
                  <a:lnTo>
                    <a:pt x="11" y="167"/>
                  </a:lnTo>
                  <a:lnTo>
                    <a:pt x="6" y="159"/>
                  </a:lnTo>
                  <a:lnTo>
                    <a:pt x="2" y="150"/>
                  </a:lnTo>
                  <a:lnTo>
                    <a:pt x="0" y="140"/>
                  </a:lnTo>
                  <a:lnTo>
                    <a:pt x="0" y="129"/>
                  </a:lnTo>
                  <a:lnTo>
                    <a:pt x="25" y="95"/>
                  </a:lnTo>
                  <a:lnTo>
                    <a:pt x="50" y="66"/>
                  </a:lnTo>
                  <a:lnTo>
                    <a:pt x="61" y="52"/>
                  </a:lnTo>
                  <a:lnTo>
                    <a:pt x="71" y="36"/>
                  </a:lnTo>
                  <a:lnTo>
                    <a:pt x="75" y="29"/>
                  </a:lnTo>
                  <a:lnTo>
                    <a:pt x="80" y="22"/>
                  </a:lnTo>
                  <a:lnTo>
                    <a:pt x="83" y="14"/>
                  </a:lnTo>
                  <a:lnTo>
                    <a:pt x="85" y="6"/>
                  </a:lnTo>
                  <a:lnTo>
                    <a:pt x="105" y="7"/>
                  </a:lnTo>
                  <a:lnTo>
                    <a:pt x="123" y="10"/>
                  </a:lnTo>
                  <a:lnTo>
                    <a:pt x="138" y="14"/>
                  </a:lnTo>
                  <a:lnTo>
                    <a:pt x="153" y="18"/>
                  </a:lnTo>
                  <a:lnTo>
                    <a:pt x="166" y="23"/>
                  </a:lnTo>
                  <a:lnTo>
                    <a:pt x="180" y="27"/>
                  </a:lnTo>
                  <a:lnTo>
                    <a:pt x="193" y="30"/>
                  </a:lnTo>
                  <a:lnTo>
                    <a:pt x="205" y="31"/>
                  </a:lnTo>
                  <a:lnTo>
                    <a:pt x="210" y="30"/>
                  </a:lnTo>
                  <a:lnTo>
                    <a:pt x="214" y="29"/>
                  </a:lnTo>
                  <a:lnTo>
                    <a:pt x="218" y="28"/>
                  </a:lnTo>
                  <a:lnTo>
                    <a:pt x="221" y="26"/>
                  </a:lnTo>
                  <a:lnTo>
                    <a:pt x="227" y="21"/>
                  </a:lnTo>
                  <a:lnTo>
                    <a:pt x="232" y="15"/>
                  </a:lnTo>
                  <a:lnTo>
                    <a:pt x="237" y="10"/>
                  </a:lnTo>
                  <a:lnTo>
                    <a:pt x="242" y="5"/>
                  </a:lnTo>
                  <a:lnTo>
                    <a:pt x="246" y="3"/>
                  </a:lnTo>
                  <a:lnTo>
                    <a:pt x="250" y="2"/>
                  </a:lnTo>
                  <a:lnTo>
                    <a:pt x="253" y="1"/>
                  </a:lnTo>
                  <a:lnTo>
                    <a:pt x="259" y="0"/>
                  </a:lnTo>
                  <a:lnTo>
                    <a:pt x="268" y="1"/>
                  </a:lnTo>
                  <a:lnTo>
                    <a:pt x="275" y="2"/>
                  </a:lnTo>
                  <a:lnTo>
                    <a:pt x="283" y="4"/>
                  </a:lnTo>
                  <a:lnTo>
                    <a:pt x="289" y="7"/>
                  </a:lnTo>
                  <a:lnTo>
                    <a:pt x="296" y="11"/>
                  </a:lnTo>
                  <a:lnTo>
                    <a:pt x="302" y="15"/>
                  </a:lnTo>
                  <a:lnTo>
                    <a:pt x="306" y="20"/>
                  </a:lnTo>
                  <a:lnTo>
                    <a:pt x="310" y="26"/>
                  </a:lnTo>
                  <a:lnTo>
                    <a:pt x="318" y="38"/>
                  </a:lnTo>
                  <a:lnTo>
                    <a:pt x="325" y="53"/>
                  </a:lnTo>
                  <a:lnTo>
                    <a:pt x="331" y="67"/>
                  </a:lnTo>
                  <a:lnTo>
                    <a:pt x="337" y="82"/>
                  </a:lnTo>
                  <a:lnTo>
                    <a:pt x="342" y="98"/>
                  </a:lnTo>
                  <a:lnTo>
                    <a:pt x="349" y="113"/>
                  </a:lnTo>
                  <a:lnTo>
                    <a:pt x="352" y="119"/>
                  </a:lnTo>
                  <a:lnTo>
                    <a:pt x="356" y="126"/>
                  </a:lnTo>
                  <a:lnTo>
                    <a:pt x="360" y="132"/>
                  </a:lnTo>
                  <a:lnTo>
                    <a:pt x="365" y="138"/>
                  </a:lnTo>
                  <a:lnTo>
                    <a:pt x="370" y="143"/>
                  </a:lnTo>
                  <a:lnTo>
                    <a:pt x="376" y="147"/>
                  </a:lnTo>
                  <a:lnTo>
                    <a:pt x="382" y="151"/>
                  </a:lnTo>
                  <a:lnTo>
                    <a:pt x="389" y="156"/>
                  </a:lnTo>
                  <a:lnTo>
                    <a:pt x="397" y="158"/>
                  </a:lnTo>
                  <a:lnTo>
                    <a:pt x="405" y="160"/>
                  </a:lnTo>
                  <a:lnTo>
                    <a:pt x="415" y="161"/>
                  </a:lnTo>
                  <a:lnTo>
                    <a:pt x="425" y="16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852" name="Freeform 346"/>
            <p:cNvSpPr>
              <a:spLocks/>
            </p:cNvSpPr>
            <p:nvPr>
              <p:custDataLst>
                <p:tags r:id="rId244"/>
              </p:custDataLst>
            </p:nvPr>
          </p:nvSpPr>
          <p:spPr bwMode="auto">
            <a:xfrm>
              <a:off x="3778510" y="3522139"/>
              <a:ext cx="17033" cy="66724"/>
            </a:xfrm>
            <a:custGeom>
              <a:avLst/>
              <a:gdLst>
                <a:gd name="T0" fmla="*/ 5628 w 33"/>
                <a:gd name="T1" fmla="*/ 10754 h 31"/>
                <a:gd name="T2" fmla="*/ 0 w 33"/>
                <a:gd name="T3" fmla="*/ 34055 h 31"/>
                <a:gd name="T4" fmla="*/ 2165 w 33"/>
                <a:gd name="T5" fmla="*/ 37639 h 31"/>
                <a:gd name="T6" fmla="*/ 6061 w 33"/>
                <a:gd name="T7" fmla="*/ 44809 h 31"/>
                <a:gd name="T8" fmla="*/ 8226 w 33"/>
                <a:gd name="T9" fmla="*/ 48394 h 31"/>
                <a:gd name="T10" fmla="*/ 9958 w 33"/>
                <a:gd name="T11" fmla="*/ 51978 h 31"/>
                <a:gd name="T12" fmla="*/ 11689 w 33"/>
                <a:gd name="T13" fmla="*/ 53771 h 31"/>
                <a:gd name="T14" fmla="*/ 14287 w 33"/>
                <a:gd name="T15" fmla="*/ 55563 h 31"/>
                <a:gd name="T16" fmla="*/ 14287 w 33"/>
                <a:gd name="T17" fmla="*/ 0 h 31"/>
                <a:gd name="T18" fmla="*/ 8659 w 33"/>
                <a:gd name="T19" fmla="*/ 0 h 31"/>
                <a:gd name="T20" fmla="*/ 5628 w 33"/>
                <a:gd name="T21" fmla="*/ 10754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31">
                  <a:moveTo>
                    <a:pt x="13" y="6"/>
                  </a:moveTo>
                  <a:lnTo>
                    <a:pt x="0" y="19"/>
                  </a:lnTo>
                  <a:lnTo>
                    <a:pt x="5" y="21"/>
                  </a:lnTo>
                  <a:lnTo>
                    <a:pt x="14" y="25"/>
                  </a:lnTo>
                  <a:lnTo>
                    <a:pt x="19" y="27"/>
                  </a:lnTo>
                  <a:lnTo>
                    <a:pt x="23" y="29"/>
                  </a:lnTo>
                  <a:lnTo>
                    <a:pt x="27" y="30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0" y="0"/>
                  </a:lnTo>
                  <a:lnTo>
                    <a:pt x="13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853" name="Freeform 347"/>
            <p:cNvSpPr>
              <a:spLocks/>
            </p:cNvSpPr>
            <p:nvPr>
              <p:custDataLst>
                <p:tags r:id="rId245"/>
              </p:custDataLst>
            </p:nvPr>
          </p:nvSpPr>
          <p:spPr bwMode="auto">
            <a:xfrm>
              <a:off x="6288099" y="2265836"/>
              <a:ext cx="102200" cy="95319"/>
            </a:xfrm>
            <a:custGeom>
              <a:avLst/>
              <a:gdLst>
                <a:gd name="T0" fmla="*/ 2679 w 192"/>
                <a:gd name="T1" fmla="*/ 9793 h 154"/>
                <a:gd name="T2" fmla="*/ 23217 w 192"/>
                <a:gd name="T3" fmla="*/ 0 h 154"/>
                <a:gd name="T4" fmla="*/ 41077 w 192"/>
                <a:gd name="T5" fmla="*/ 9793 h 154"/>
                <a:gd name="T6" fmla="*/ 53132 w 192"/>
                <a:gd name="T7" fmla="*/ 15978 h 154"/>
                <a:gd name="T8" fmla="*/ 65187 w 192"/>
                <a:gd name="T9" fmla="*/ 32472 h 154"/>
                <a:gd name="T10" fmla="*/ 74116 w 192"/>
                <a:gd name="T11" fmla="*/ 47934 h 154"/>
                <a:gd name="T12" fmla="*/ 85725 w 192"/>
                <a:gd name="T13" fmla="*/ 60820 h 154"/>
                <a:gd name="T14" fmla="*/ 67866 w 192"/>
                <a:gd name="T15" fmla="*/ 63912 h 154"/>
                <a:gd name="T16" fmla="*/ 56257 w 192"/>
                <a:gd name="T17" fmla="*/ 67005 h 154"/>
                <a:gd name="T18" fmla="*/ 56257 w 192"/>
                <a:gd name="T19" fmla="*/ 79375 h 154"/>
                <a:gd name="T20" fmla="*/ 47327 w 192"/>
                <a:gd name="T21" fmla="*/ 79375 h 154"/>
                <a:gd name="T22" fmla="*/ 44202 w 192"/>
                <a:gd name="T23" fmla="*/ 75252 h 154"/>
                <a:gd name="T24" fmla="*/ 41523 w 192"/>
                <a:gd name="T25" fmla="*/ 70613 h 154"/>
                <a:gd name="T26" fmla="*/ 39291 w 192"/>
                <a:gd name="T27" fmla="*/ 64943 h 154"/>
                <a:gd name="T28" fmla="*/ 36612 w 192"/>
                <a:gd name="T29" fmla="*/ 59274 h 154"/>
                <a:gd name="T30" fmla="*/ 33040 w 192"/>
                <a:gd name="T31" fmla="*/ 47934 h 154"/>
                <a:gd name="T32" fmla="*/ 29021 w 192"/>
                <a:gd name="T33" fmla="*/ 36595 h 154"/>
                <a:gd name="T34" fmla="*/ 26789 w 192"/>
                <a:gd name="T35" fmla="*/ 31441 h 154"/>
                <a:gd name="T36" fmla="*/ 24557 w 192"/>
                <a:gd name="T37" fmla="*/ 25771 h 154"/>
                <a:gd name="T38" fmla="*/ 21431 w 192"/>
                <a:gd name="T39" fmla="*/ 21648 h 154"/>
                <a:gd name="T40" fmla="*/ 18306 w 192"/>
                <a:gd name="T41" fmla="*/ 17524 h 154"/>
                <a:gd name="T42" fmla="*/ 14734 w 192"/>
                <a:gd name="T43" fmla="*/ 14432 h 154"/>
                <a:gd name="T44" fmla="*/ 10716 w 192"/>
                <a:gd name="T45" fmla="*/ 11855 h 154"/>
                <a:gd name="T46" fmla="*/ 8037 w 192"/>
                <a:gd name="T47" fmla="*/ 11339 h 154"/>
                <a:gd name="T48" fmla="*/ 5358 w 192"/>
                <a:gd name="T49" fmla="*/ 10308 h 154"/>
                <a:gd name="T50" fmla="*/ 2679 w 192"/>
                <a:gd name="T51" fmla="*/ 10308 h 154"/>
                <a:gd name="T52" fmla="*/ 0 w 192"/>
                <a:gd name="T53" fmla="*/ 9793 h 154"/>
                <a:gd name="T54" fmla="*/ 2679 w 192"/>
                <a:gd name="T55" fmla="*/ 9793 h 154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192" h="154">
                  <a:moveTo>
                    <a:pt x="6" y="19"/>
                  </a:moveTo>
                  <a:lnTo>
                    <a:pt x="52" y="0"/>
                  </a:lnTo>
                  <a:lnTo>
                    <a:pt x="92" y="19"/>
                  </a:lnTo>
                  <a:lnTo>
                    <a:pt x="119" y="31"/>
                  </a:lnTo>
                  <a:lnTo>
                    <a:pt x="146" y="63"/>
                  </a:lnTo>
                  <a:lnTo>
                    <a:pt x="166" y="93"/>
                  </a:lnTo>
                  <a:lnTo>
                    <a:pt x="192" y="118"/>
                  </a:lnTo>
                  <a:lnTo>
                    <a:pt x="152" y="124"/>
                  </a:lnTo>
                  <a:lnTo>
                    <a:pt x="126" y="130"/>
                  </a:lnTo>
                  <a:lnTo>
                    <a:pt x="126" y="154"/>
                  </a:lnTo>
                  <a:lnTo>
                    <a:pt x="106" y="154"/>
                  </a:lnTo>
                  <a:lnTo>
                    <a:pt x="99" y="146"/>
                  </a:lnTo>
                  <a:lnTo>
                    <a:pt x="93" y="137"/>
                  </a:lnTo>
                  <a:lnTo>
                    <a:pt x="88" y="126"/>
                  </a:lnTo>
                  <a:lnTo>
                    <a:pt x="82" y="115"/>
                  </a:lnTo>
                  <a:lnTo>
                    <a:pt x="74" y="93"/>
                  </a:lnTo>
                  <a:lnTo>
                    <a:pt x="65" y="71"/>
                  </a:lnTo>
                  <a:lnTo>
                    <a:pt x="60" y="61"/>
                  </a:lnTo>
                  <a:lnTo>
                    <a:pt x="55" y="50"/>
                  </a:lnTo>
                  <a:lnTo>
                    <a:pt x="48" y="42"/>
                  </a:lnTo>
                  <a:lnTo>
                    <a:pt x="41" y="34"/>
                  </a:lnTo>
                  <a:lnTo>
                    <a:pt x="33" y="28"/>
                  </a:lnTo>
                  <a:lnTo>
                    <a:pt x="24" y="23"/>
                  </a:lnTo>
                  <a:lnTo>
                    <a:pt x="18" y="22"/>
                  </a:lnTo>
                  <a:lnTo>
                    <a:pt x="12" y="20"/>
                  </a:lnTo>
                  <a:lnTo>
                    <a:pt x="6" y="20"/>
                  </a:lnTo>
                  <a:lnTo>
                    <a:pt x="0" y="19"/>
                  </a:lnTo>
                  <a:lnTo>
                    <a:pt x="6" y="1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854" name="Freeform 348"/>
            <p:cNvSpPr>
              <a:spLocks/>
            </p:cNvSpPr>
            <p:nvPr>
              <p:custDataLst>
                <p:tags r:id="rId246"/>
              </p:custDataLst>
            </p:nvPr>
          </p:nvSpPr>
          <p:spPr bwMode="auto">
            <a:xfrm>
              <a:off x="6189682" y="2124763"/>
              <a:ext cx="454224" cy="297395"/>
            </a:xfrm>
            <a:custGeom>
              <a:avLst/>
              <a:gdLst>
                <a:gd name="T0" fmla="*/ 170299 w 877"/>
                <a:gd name="T1" fmla="*/ 179533 h 469"/>
                <a:gd name="T2" fmla="*/ 138585 w 877"/>
                <a:gd name="T3" fmla="*/ 133594 h 469"/>
                <a:gd name="T4" fmla="*/ 89494 w 877"/>
                <a:gd name="T5" fmla="*/ 127257 h 469"/>
                <a:gd name="T6" fmla="*/ 82977 w 877"/>
                <a:gd name="T7" fmla="*/ 128313 h 469"/>
                <a:gd name="T8" fmla="*/ 77330 w 877"/>
                <a:gd name="T9" fmla="*/ 132538 h 469"/>
                <a:gd name="T10" fmla="*/ 70379 w 877"/>
                <a:gd name="T11" fmla="*/ 140986 h 469"/>
                <a:gd name="T12" fmla="*/ 65600 w 877"/>
                <a:gd name="T13" fmla="*/ 143098 h 469"/>
                <a:gd name="T14" fmla="*/ 52567 w 877"/>
                <a:gd name="T15" fmla="*/ 141514 h 469"/>
                <a:gd name="T16" fmla="*/ 34320 w 877"/>
                <a:gd name="T17" fmla="*/ 134650 h 469"/>
                <a:gd name="T18" fmla="*/ 11295 w 877"/>
                <a:gd name="T19" fmla="*/ 130425 h 469"/>
                <a:gd name="T20" fmla="*/ 3475 w 877"/>
                <a:gd name="T21" fmla="*/ 111944 h 469"/>
                <a:gd name="T22" fmla="*/ 5648 w 877"/>
                <a:gd name="T23" fmla="*/ 98743 h 469"/>
                <a:gd name="T24" fmla="*/ 5648 w 877"/>
                <a:gd name="T25" fmla="*/ 95047 h 469"/>
                <a:gd name="T26" fmla="*/ 9992 w 877"/>
                <a:gd name="T27" fmla="*/ 76038 h 469"/>
                <a:gd name="T28" fmla="*/ 19115 w 877"/>
                <a:gd name="T29" fmla="*/ 59140 h 469"/>
                <a:gd name="T30" fmla="*/ 23460 w 877"/>
                <a:gd name="T31" fmla="*/ 48580 h 469"/>
                <a:gd name="T32" fmla="*/ 11295 w 877"/>
                <a:gd name="T33" fmla="*/ 26402 h 469"/>
                <a:gd name="T34" fmla="*/ 75157 w 877"/>
                <a:gd name="T35" fmla="*/ 13729 h 469"/>
                <a:gd name="T36" fmla="*/ 147274 w 877"/>
                <a:gd name="T37" fmla="*/ 26402 h 469"/>
                <a:gd name="T38" fmla="*/ 170299 w 877"/>
                <a:gd name="T39" fmla="*/ 6864 h 469"/>
                <a:gd name="T40" fmla="*/ 210701 w 877"/>
                <a:gd name="T41" fmla="*/ 0 h 469"/>
                <a:gd name="T42" fmla="*/ 251538 w 877"/>
                <a:gd name="T43" fmla="*/ 20065 h 469"/>
                <a:gd name="T44" fmla="*/ 277170 w 877"/>
                <a:gd name="T45" fmla="*/ 58612 h 469"/>
                <a:gd name="T46" fmla="*/ 314966 w 877"/>
                <a:gd name="T47" fmla="*/ 58612 h 469"/>
                <a:gd name="T48" fmla="*/ 364057 w 877"/>
                <a:gd name="T49" fmla="*/ 81846 h 469"/>
                <a:gd name="T50" fmla="*/ 375352 w 877"/>
                <a:gd name="T51" fmla="*/ 124089 h 469"/>
                <a:gd name="T52" fmla="*/ 349286 w 877"/>
                <a:gd name="T53" fmla="*/ 143626 h 469"/>
                <a:gd name="T54" fmla="*/ 327564 w 877"/>
                <a:gd name="T55" fmla="*/ 165276 h 469"/>
                <a:gd name="T56" fmla="*/ 298892 w 877"/>
                <a:gd name="T57" fmla="*/ 174253 h 469"/>
                <a:gd name="T58" fmla="*/ 288031 w 877"/>
                <a:gd name="T59" fmla="*/ 181117 h 469"/>
                <a:gd name="T60" fmla="*/ 281514 w 877"/>
                <a:gd name="T61" fmla="*/ 189038 h 469"/>
                <a:gd name="T62" fmla="*/ 280645 w 877"/>
                <a:gd name="T63" fmla="*/ 198014 h 469"/>
                <a:gd name="T64" fmla="*/ 283686 w 877"/>
                <a:gd name="T65" fmla="*/ 205935 h 469"/>
                <a:gd name="T66" fmla="*/ 289334 w 877"/>
                <a:gd name="T67" fmla="*/ 211743 h 469"/>
                <a:gd name="T68" fmla="*/ 308884 w 877"/>
                <a:gd name="T69" fmla="*/ 209103 h 469"/>
                <a:gd name="T70" fmla="*/ 321917 w 877"/>
                <a:gd name="T71" fmla="*/ 208047 h 469"/>
                <a:gd name="T72" fmla="*/ 318876 w 877"/>
                <a:gd name="T73" fmla="*/ 212799 h 469"/>
                <a:gd name="T74" fmla="*/ 311056 w 877"/>
                <a:gd name="T75" fmla="*/ 222304 h 469"/>
                <a:gd name="T76" fmla="*/ 303236 w 877"/>
                <a:gd name="T77" fmla="*/ 231281 h 469"/>
                <a:gd name="T78" fmla="*/ 299326 w 877"/>
                <a:gd name="T79" fmla="*/ 221248 h 469"/>
                <a:gd name="T80" fmla="*/ 291506 w 877"/>
                <a:gd name="T81" fmla="*/ 215440 h 469"/>
                <a:gd name="T82" fmla="*/ 289334 w 877"/>
                <a:gd name="T83" fmla="*/ 223360 h 469"/>
                <a:gd name="T84" fmla="*/ 279342 w 877"/>
                <a:gd name="T85" fmla="*/ 233393 h 469"/>
                <a:gd name="T86" fmla="*/ 268916 w 877"/>
                <a:gd name="T87" fmla="*/ 242898 h 469"/>
                <a:gd name="T88" fmla="*/ 265440 w 877"/>
                <a:gd name="T89" fmla="*/ 247650 h 469"/>
                <a:gd name="T90" fmla="*/ 258489 w 877"/>
                <a:gd name="T91" fmla="*/ 245010 h 469"/>
                <a:gd name="T92" fmla="*/ 253710 w 877"/>
                <a:gd name="T93" fmla="*/ 240257 h 469"/>
                <a:gd name="T94" fmla="*/ 249800 w 877"/>
                <a:gd name="T95" fmla="*/ 231809 h 469"/>
                <a:gd name="T96" fmla="*/ 248497 w 877"/>
                <a:gd name="T97" fmla="*/ 215440 h 469"/>
                <a:gd name="T98" fmla="*/ 238071 w 877"/>
                <a:gd name="T99" fmla="*/ 213328 h 469"/>
                <a:gd name="T100" fmla="*/ 225038 w 877"/>
                <a:gd name="T101" fmla="*/ 205407 h 469"/>
                <a:gd name="T102" fmla="*/ 242849 w 877"/>
                <a:gd name="T103" fmla="*/ 200127 h 469"/>
                <a:gd name="T104" fmla="*/ 271522 w 877"/>
                <a:gd name="T105" fmla="*/ 195374 h 469"/>
                <a:gd name="T106" fmla="*/ 214177 w 877"/>
                <a:gd name="T107" fmla="*/ 186926 h 469"/>
                <a:gd name="T108" fmla="*/ 193324 w 877"/>
                <a:gd name="T109" fmla="*/ 175837 h 469"/>
                <a:gd name="T110" fmla="*/ 172905 w 877"/>
                <a:gd name="T111" fmla="*/ 194846 h 469"/>
                <a:gd name="T112" fmla="*/ 165086 w 877"/>
                <a:gd name="T113" fmla="*/ 208575 h 469"/>
                <a:gd name="T114" fmla="*/ 153356 w 877"/>
                <a:gd name="T115" fmla="*/ 211215 h 469"/>
                <a:gd name="T116" fmla="*/ 142495 w 877"/>
                <a:gd name="T117" fmla="*/ 206991 h 469"/>
                <a:gd name="T118" fmla="*/ 132937 w 877"/>
                <a:gd name="T119" fmla="*/ 198542 h 46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877" h="469">
                  <a:moveTo>
                    <a:pt x="326" y="352"/>
                  </a:moveTo>
                  <a:lnTo>
                    <a:pt x="352" y="346"/>
                  </a:lnTo>
                  <a:lnTo>
                    <a:pt x="392" y="340"/>
                  </a:lnTo>
                  <a:lnTo>
                    <a:pt x="366" y="315"/>
                  </a:lnTo>
                  <a:lnTo>
                    <a:pt x="346" y="285"/>
                  </a:lnTo>
                  <a:lnTo>
                    <a:pt x="319" y="253"/>
                  </a:lnTo>
                  <a:lnTo>
                    <a:pt x="292" y="241"/>
                  </a:lnTo>
                  <a:lnTo>
                    <a:pt x="252" y="222"/>
                  </a:lnTo>
                  <a:lnTo>
                    <a:pt x="206" y="241"/>
                  </a:lnTo>
                  <a:lnTo>
                    <a:pt x="200" y="241"/>
                  </a:lnTo>
                  <a:lnTo>
                    <a:pt x="194" y="242"/>
                  </a:lnTo>
                  <a:lnTo>
                    <a:pt x="191" y="243"/>
                  </a:lnTo>
                  <a:lnTo>
                    <a:pt x="187" y="244"/>
                  </a:lnTo>
                  <a:lnTo>
                    <a:pt x="183" y="246"/>
                  </a:lnTo>
                  <a:lnTo>
                    <a:pt x="178" y="251"/>
                  </a:lnTo>
                  <a:lnTo>
                    <a:pt x="173" y="256"/>
                  </a:lnTo>
                  <a:lnTo>
                    <a:pt x="168" y="262"/>
                  </a:lnTo>
                  <a:lnTo>
                    <a:pt x="162" y="267"/>
                  </a:lnTo>
                  <a:lnTo>
                    <a:pt x="159" y="269"/>
                  </a:lnTo>
                  <a:lnTo>
                    <a:pt x="155" y="270"/>
                  </a:lnTo>
                  <a:lnTo>
                    <a:pt x="151" y="271"/>
                  </a:lnTo>
                  <a:lnTo>
                    <a:pt x="146" y="272"/>
                  </a:lnTo>
                  <a:lnTo>
                    <a:pt x="134" y="271"/>
                  </a:lnTo>
                  <a:lnTo>
                    <a:pt x="121" y="268"/>
                  </a:lnTo>
                  <a:lnTo>
                    <a:pt x="107" y="264"/>
                  </a:lnTo>
                  <a:lnTo>
                    <a:pt x="94" y="259"/>
                  </a:lnTo>
                  <a:lnTo>
                    <a:pt x="79" y="255"/>
                  </a:lnTo>
                  <a:lnTo>
                    <a:pt x="64" y="251"/>
                  </a:lnTo>
                  <a:lnTo>
                    <a:pt x="46" y="248"/>
                  </a:lnTo>
                  <a:lnTo>
                    <a:pt x="26" y="247"/>
                  </a:lnTo>
                  <a:lnTo>
                    <a:pt x="0" y="222"/>
                  </a:lnTo>
                  <a:lnTo>
                    <a:pt x="4" y="217"/>
                  </a:lnTo>
                  <a:lnTo>
                    <a:pt x="8" y="212"/>
                  </a:lnTo>
                  <a:lnTo>
                    <a:pt x="10" y="206"/>
                  </a:lnTo>
                  <a:lnTo>
                    <a:pt x="12" y="200"/>
                  </a:lnTo>
                  <a:lnTo>
                    <a:pt x="13" y="187"/>
                  </a:lnTo>
                  <a:lnTo>
                    <a:pt x="13" y="174"/>
                  </a:lnTo>
                  <a:lnTo>
                    <a:pt x="6" y="174"/>
                  </a:lnTo>
                  <a:lnTo>
                    <a:pt x="13" y="180"/>
                  </a:lnTo>
                  <a:lnTo>
                    <a:pt x="14" y="167"/>
                  </a:lnTo>
                  <a:lnTo>
                    <a:pt x="17" y="155"/>
                  </a:lnTo>
                  <a:lnTo>
                    <a:pt x="23" y="144"/>
                  </a:lnTo>
                  <a:lnTo>
                    <a:pt x="30" y="133"/>
                  </a:lnTo>
                  <a:lnTo>
                    <a:pt x="36" y="122"/>
                  </a:lnTo>
                  <a:lnTo>
                    <a:pt x="44" y="112"/>
                  </a:lnTo>
                  <a:lnTo>
                    <a:pt x="53" y="105"/>
                  </a:lnTo>
                  <a:lnTo>
                    <a:pt x="60" y="99"/>
                  </a:lnTo>
                  <a:lnTo>
                    <a:pt x="54" y="92"/>
                  </a:lnTo>
                  <a:lnTo>
                    <a:pt x="46" y="82"/>
                  </a:lnTo>
                  <a:lnTo>
                    <a:pt x="36" y="68"/>
                  </a:lnTo>
                  <a:lnTo>
                    <a:pt x="26" y="50"/>
                  </a:lnTo>
                  <a:lnTo>
                    <a:pt x="60" y="38"/>
                  </a:lnTo>
                  <a:lnTo>
                    <a:pt x="113" y="26"/>
                  </a:lnTo>
                  <a:lnTo>
                    <a:pt x="173" y="26"/>
                  </a:lnTo>
                  <a:lnTo>
                    <a:pt x="239" y="44"/>
                  </a:lnTo>
                  <a:lnTo>
                    <a:pt x="285" y="38"/>
                  </a:lnTo>
                  <a:lnTo>
                    <a:pt x="339" y="50"/>
                  </a:lnTo>
                  <a:lnTo>
                    <a:pt x="385" y="63"/>
                  </a:lnTo>
                  <a:lnTo>
                    <a:pt x="385" y="38"/>
                  </a:lnTo>
                  <a:lnTo>
                    <a:pt x="392" y="13"/>
                  </a:lnTo>
                  <a:lnTo>
                    <a:pt x="433" y="13"/>
                  </a:lnTo>
                  <a:lnTo>
                    <a:pt x="465" y="13"/>
                  </a:lnTo>
                  <a:lnTo>
                    <a:pt x="485" y="0"/>
                  </a:lnTo>
                  <a:lnTo>
                    <a:pt x="531" y="0"/>
                  </a:lnTo>
                  <a:lnTo>
                    <a:pt x="551" y="13"/>
                  </a:lnTo>
                  <a:lnTo>
                    <a:pt x="579" y="38"/>
                  </a:lnTo>
                  <a:lnTo>
                    <a:pt x="565" y="63"/>
                  </a:lnTo>
                  <a:lnTo>
                    <a:pt x="618" y="63"/>
                  </a:lnTo>
                  <a:lnTo>
                    <a:pt x="638" y="111"/>
                  </a:lnTo>
                  <a:lnTo>
                    <a:pt x="664" y="105"/>
                  </a:lnTo>
                  <a:lnTo>
                    <a:pt x="692" y="124"/>
                  </a:lnTo>
                  <a:lnTo>
                    <a:pt x="725" y="111"/>
                  </a:lnTo>
                  <a:lnTo>
                    <a:pt x="758" y="136"/>
                  </a:lnTo>
                  <a:lnTo>
                    <a:pt x="797" y="136"/>
                  </a:lnTo>
                  <a:lnTo>
                    <a:pt x="838" y="155"/>
                  </a:lnTo>
                  <a:lnTo>
                    <a:pt x="877" y="167"/>
                  </a:lnTo>
                  <a:lnTo>
                    <a:pt x="871" y="198"/>
                  </a:lnTo>
                  <a:lnTo>
                    <a:pt x="864" y="235"/>
                  </a:lnTo>
                  <a:lnTo>
                    <a:pt x="877" y="259"/>
                  </a:lnTo>
                  <a:lnTo>
                    <a:pt x="844" y="259"/>
                  </a:lnTo>
                  <a:lnTo>
                    <a:pt x="804" y="272"/>
                  </a:lnTo>
                  <a:lnTo>
                    <a:pt x="797" y="303"/>
                  </a:lnTo>
                  <a:lnTo>
                    <a:pt x="777" y="309"/>
                  </a:lnTo>
                  <a:lnTo>
                    <a:pt x="754" y="313"/>
                  </a:lnTo>
                  <a:lnTo>
                    <a:pt x="731" y="318"/>
                  </a:lnTo>
                  <a:lnTo>
                    <a:pt x="709" y="324"/>
                  </a:lnTo>
                  <a:lnTo>
                    <a:pt x="688" y="330"/>
                  </a:lnTo>
                  <a:lnTo>
                    <a:pt x="680" y="334"/>
                  </a:lnTo>
                  <a:lnTo>
                    <a:pt x="671" y="337"/>
                  </a:lnTo>
                  <a:lnTo>
                    <a:pt x="663" y="343"/>
                  </a:lnTo>
                  <a:lnTo>
                    <a:pt x="656" y="347"/>
                  </a:lnTo>
                  <a:lnTo>
                    <a:pt x="652" y="352"/>
                  </a:lnTo>
                  <a:lnTo>
                    <a:pt x="648" y="358"/>
                  </a:lnTo>
                  <a:lnTo>
                    <a:pt x="646" y="364"/>
                  </a:lnTo>
                  <a:lnTo>
                    <a:pt x="644" y="370"/>
                  </a:lnTo>
                  <a:lnTo>
                    <a:pt x="646" y="375"/>
                  </a:lnTo>
                  <a:lnTo>
                    <a:pt x="647" y="380"/>
                  </a:lnTo>
                  <a:lnTo>
                    <a:pt x="650" y="385"/>
                  </a:lnTo>
                  <a:lnTo>
                    <a:pt x="653" y="390"/>
                  </a:lnTo>
                  <a:lnTo>
                    <a:pt x="656" y="395"/>
                  </a:lnTo>
                  <a:lnTo>
                    <a:pt x="661" y="399"/>
                  </a:lnTo>
                  <a:lnTo>
                    <a:pt x="666" y="401"/>
                  </a:lnTo>
                  <a:lnTo>
                    <a:pt x="671" y="402"/>
                  </a:lnTo>
                  <a:lnTo>
                    <a:pt x="692" y="400"/>
                  </a:lnTo>
                  <a:lnTo>
                    <a:pt x="711" y="396"/>
                  </a:lnTo>
                  <a:lnTo>
                    <a:pt x="721" y="395"/>
                  </a:lnTo>
                  <a:lnTo>
                    <a:pt x="731" y="394"/>
                  </a:lnTo>
                  <a:lnTo>
                    <a:pt x="741" y="394"/>
                  </a:lnTo>
                  <a:lnTo>
                    <a:pt x="751" y="396"/>
                  </a:lnTo>
                  <a:lnTo>
                    <a:pt x="742" y="399"/>
                  </a:lnTo>
                  <a:lnTo>
                    <a:pt x="734" y="403"/>
                  </a:lnTo>
                  <a:lnTo>
                    <a:pt x="728" y="408"/>
                  </a:lnTo>
                  <a:lnTo>
                    <a:pt x="721" y="414"/>
                  </a:lnTo>
                  <a:lnTo>
                    <a:pt x="716" y="421"/>
                  </a:lnTo>
                  <a:lnTo>
                    <a:pt x="710" y="427"/>
                  </a:lnTo>
                  <a:lnTo>
                    <a:pt x="705" y="433"/>
                  </a:lnTo>
                  <a:lnTo>
                    <a:pt x="698" y="438"/>
                  </a:lnTo>
                  <a:lnTo>
                    <a:pt x="695" y="430"/>
                  </a:lnTo>
                  <a:lnTo>
                    <a:pt x="693" y="424"/>
                  </a:lnTo>
                  <a:lnTo>
                    <a:pt x="689" y="419"/>
                  </a:lnTo>
                  <a:lnTo>
                    <a:pt x="687" y="416"/>
                  </a:lnTo>
                  <a:lnTo>
                    <a:pt x="680" y="412"/>
                  </a:lnTo>
                  <a:lnTo>
                    <a:pt x="671" y="408"/>
                  </a:lnTo>
                  <a:lnTo>
                    <a:pt x="671" y="413"/>
                  </a:lnTo>
                  <a:lnTo>
                    <a:pt x="669" y="418"/>
                  </a:lnTo>
                  <a:lnTo>
                    <a:pt x="666" y="423"/>
                  </a:lnTo>
                  <a:lnTo>
                    <a:pt x="663" y="427"/>
                  </a:lnTo>
                  <a:lnTo>
                    <a:pt x="654" y="435"/>
                  </a:lnTo>
                  <a:lnTo>
                    <a:pt x="643" y="442"/>
                  </a:lnTo>
                  <a:lnTo>
                    <a:pt x="633" y="450"/>
                  </a:lnTo>
                  <a:lnTo>
                    <a:pt x="624" y="456"/>
                  </a:lnTo>
                  <a:lnTo>
                    <a:pt x="619" y="460"/>
                  </a:lnTo>
                  <a:lnTo>
                    <a:pt x="616" y="463"/>
                  </a:lnTo>
                  <a:lnTo>
                    <a:pt x="613" y="466"/>
                  </a:lnTo>
                  <a:lnTo>
                    <a:pt x="611" y="469"/>
                  </a:lnTo>
                  <a:lnTo>
                    <a:pt x="605" y="468"/>
                  </a:lnTo>
                  <a:lnTo>
                    <a:pt x="600" y="466"/>
                  </a:lnTo>
                  <a:lnTo>
                    <a:pt x="595" y="464"/>
                  </a:lnTo>
                  <a:lnTo>
                    <a:pt x="591" y="461"/>
                  </a:lnTo>
                  <a:lnTo>
                    <a:pt x="587" y="459"/>
                  </a:lnTo>
                  <a:lnTo>
                    <a:pt x="584" y="455"/>
                  </a:lnTo>
                  <a:lnTo>
                    <a:pt x="582" y="452"/>
                  </a:lnTo>
                  <a:lnTo>
                    <a:pt x="579" y="447"/>
                  </a:lnTo>
                  <a:lnTo>
                    <a:pt x="575" y="439"/>
                  </a:lnTo>
                  <a:lnTo>
                    <a:pt x="573" y="429"/>
                  </a:lnTo>
                  <a:lnTo>
                    <a:pt x="572" y="419"/>
                  </a:lnTo>
                  <a:lnTo>
                    <a:pt x="572" y="408"/>
                  </a:lnTo>
                  <a:lnTo>
                    <a:pt x="563" y="407"/>
                  </a:lnTo>
                  <a:lnTo>
                    <a:pt x="555" y="406"/>
                  </a:lnTo>
                  <a:lnTo>
                    <a:pt x="548" y="404"/>
                  </a:lnTo>
                  <a:lnTo>
                    <a:pt x="540" y="401"/>
                  </a:lnTo>
                  <a:lnTo>
                    <a:pt x="527" y="395"/>
                  </a:lnTo>
                  <a:lnTo>
                    <a:pt x="518" y="389"/>
                  </a:lnTo>
                  <a:lnTo>
                    <a:pt x="532" y="385"/>
                  </a:lnTo>
                  <a:lnTo>
                    <a:pt x="547" y="381"/>
                  </a:lnTo>
                  <a:lnTo>
                    <a:pt x="559" y="379"/>
                  </a:lnTo>
                  <a:lnTo>
                    <a:pt x="572" y="377"/>
                  </a:lnTo>
                  <a:lnTo>
                    <a:pt x="597" y="374"/>
                  </a:lnTo>
                  <a:lnTo>
                    <a:pt x="625" y="370"/>
                  </a:lnTo>
                  <a:lnTo>
                    <a:pt x="512" y="370"/>
                  </a:lnTo>
                  <a:lnTo>
                    <a:pt x="503" y="362"/>
                  </a:lnTo>
                  <a:lnTo>
                    <a:pt x="493" y="354"/>
                  </a:lnTo>
                  <a:lnTo>
                    <a:pt x="481" y="348"/>
                  </a:lnTo>
                  <a:lnTo>
                    <a:pt x="469" y="342"/>
                  </a:lnTo>
                  <a:lnTo>
                    <a:pt x="445" y="333"/>
                  </a:lnTo>
                  <a:lnTo>
                    <a:pt x="425" y="327"/>
                  </a:lnTo>
                  <a:lnTo>
                    <a:pt x="412" y="350"/>
                  </a:lnTo>
                  <a:lnTo>
                    <a:pt x="398" y="369"/>
                  </a:lnTo>
                  <a:lnTo>
                    <a:pt x="393" y="378"/>
                  </a:lnTo>
                  <a:lnTo>
                    <a:pt x="386" y="386"/>
                  </a:lnTo>
                  <a:lnTo>
                    <a:pt x="380" y="395"/>
                  </a:lnTo>
                  <a:lnTo>
                    <a:pt x="372" y="402"/>
                  </a:lnTo>
                  <a:lnTo>
                    <a:pt x="362" y="401"/>
                  </a:lnTo>
                  <a:lnTo>
                    <a:pt x="353" y="400"/>
                  </a:lnTo>
                  <a:lnTo>
                    <a:pt x="345" y="399"/>
                  </a:lnTo>
                  <a:lnTo>
                    <a:pt x="337" y="396"/>
                  </a:lnTo>
                  <a:lnTo>
                    <a:pt x="328" y="392"/>
                  </a:lnTo>
                  <a:lnTo>
                    <a:pt x="321" y="388"/>
                  </a:lnTo>
                  <a:lnTo>
                    <a:pt x="313" y="383"/>
                  </a:lnTo>
                  <a:lnTo>
                    <a:pt x="306" y="376"/>
                  </a:lnTo>
                  <a:lnTo>
                    <a:pt x="326" y="35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855" name="Freeform 349"/>
            <p:cNvSpPr>
              <a:spLocks/>
            </p:cNvSpPr>
            <p:nvPr>
              <p:custDataLst>
                <p:tags r:id="rId247"/>
              </p:custDataLst>
            </p:nvPr>
          </p:nvSpPr>
          <p:spPr bwMode="auto">
            <a:xfrm>
              <a:off x="6799101" y="2536541"/>
              <a:ext cx="56778" cy="76255"/>
            </a:xfrm>
            <a:custGeom>
              <a:avLst/>
              <a:gdLst>
                <a:gd name="T0" fmla="*/ 21364 w 107"/>
                <a:gd name="T1" fmla="*/ 0 h 123"/>
                <a:gd name="T2" fmla="*/ 36053 w 107"/>
                <a:gd name="T3" fmla="*/ 16004 h 123"/>
                <a:gd name="T4" fmla="*/ 41839 w 107"/>
                <a:gd name="T5" fmla="*/ 34589 h 123"/>
                <a:gd name="T6" fmla="*/ 47625 w 107"/>
                <a:gd name="T7" fmla="*/ 44398 h 123"/>
                <a:gd name="T8" fmla="*/ 47625 w 107"/>
                <a:gd name="T9" fmla="*/ 60402 h 123"/>
                <a:gd name="T10" fmla="*/ 47625 w 107"/>
                <a:gd name="T11" fmla="*/ 63500 h 123"/>
                <a:gd name="T12" fmla="*/ 39168 w 107"/>
                <a:gd name="T13" fmla="*/ 58854 h 123"/>
                <a:gd name="T14" fmla="*/ 32492 w 107"/>
                <a:gd name="T15" fmla="*/ 54207 h 123"/>
                <a:gd name="T16" fmla="*/ 27151 w 107"/>
                <a:gd name="T17" fmla="*/ 50593 h 123"/>
                <a:gd name="T18" fmla="*/ 24035 w 107"/>
                <a:gd name="T19" fmla="*/ 47496 h 123"/>
                <a:gd name="T20" fmla="*/ 22700 w 107"/>
                <a:gd name="T21" fmla="*/ 42850 h 123"/>
                <a:gd name="T22" fmla="*/ 21364 w 107"/>
                <a:gd name="T23" fmla="*/ 37687 h 123"/>
                <a:gd name="T24" fmla="*/ 17359 w 107"/>
                <a:gd name="T25" fmla="*/ 38203 h 123"/>
                <a:gd name="T26" fmla="*/ 14243 w 107"/>
                <a:gd name="T27" fmla="*/ 37687 h 123"/>
                <a:gd name="T28" fmla="*/ 11572 w 107"/>
                <a:gd name="T29" fmla="*/ 37171 h 123"/>
                <a:gd name="T30" fmla="*/ 9347 w 107"/>
                <a:gd name="T31" fmla="*/ 36138 h 123"/>
                <a:gd name="T32" fmla="*/ 7567 w 107"/>
                <a:gd name="T33" fmla="*/ 34589 h 123"/>
                <a:gd name="T34" fmla="*/ 6231 w 107"/>
                <a:gd name="T35" fmla="*/ 32524 h 123"/>
                <a:gd name="T36" fmla="*/ 4896 w 107"/>
                <a:gd name="T37" fmla="*/ 30459 h 123"/>
                <a:gd name="T38" fmla="*/ 4006 w 107"/>
                <a:gd name="T39" fmla="*/ 27878 h 123"/>
                <a:gd name="T40" fmla="*/ 1780 w 107"/>
                <a:gd name="T41" fmla="*/ 16004 h 123"/>
                <a:gd name="T42" fmla="*/ 0 w 107"/>
                <a:gd name="T43" fmla="*/ 3098 h 123"/>
                <a:gd name="T44" fmla="*/ 15133 w 107"/>
                <a:gd name="T45" fmla="*/ 0 h 123"/>
                <a:gd name="T46" fmla="*/ 21364 w 107"/>
                <a:gd name="T47" fmla="*/ 0 h 123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07" h="123">
                  <a:moveTo>
                    <a:pt x="48" y="0"/>
                  </a:moveTo>
                  <a:lnTo>
                    <a:pt x="81" y="31"/>
                  </a:lnTo>
                  <a:lnTo>
                    <a:pt x="94" y="67"/>
                  </a:lnTo>
                  <a:lnTo>
                    <a:pt x="107" y="86"/>
                  </a:lnTo>
                  <a:lnTo>
                    <a:pt x="107" y="117"/>
                  </a:lnTo>
                  <a:lnTo>
                    <a:pt x="107" y="123"/>
                  </a:lnTo>
                  <a:lnTo>
                    <a:pt x="88" y="114"/>
                  </a:lnTo>
                  <a:lnTo>
                    <a:pt x="73" y="105"/>
                  </a:lnTo>
                  <a:lnTo>
                    <a:pt x="61" y="98"/>
                  </a:lnTo>
                  <a:lnTo>
                    <a:pt x="54" y="92"/>
                  </a:lnTo>
                  <a:lnTo>
                    <a:pt x="51" y="83"/>
                  </a:lnTo>
                  <a:lnTo>
                    <a:pt x="48" y="73"/>
                  </a:lnTo>
                  <a:lnTo>
                    <a:pt x="39" y="74"/>
                  </a:lnTo>
                  <a:lnTo>
                    <a:pt x="32" y="73"/>
                  </a:lnTo>
                  <a:lnTo>
                    <a:pt x="26" y="72"/>
                  </a:lnTo>
                  <a:lnTo>
                    <a:pt x="21" y="70"/>
                  </a:lnTo>
                  <a:lnTo>
                    <a:pt x="17" y="67"/>
                  </a:lnTo>
                  <a:lnTo>
                    <a:pt x="14" y="63"/>
                  </a:lnTo>
                  <a:lnTo>
                    <a:pt x="11" y="59"/>
                  </a:lnTo>
                  <a:lnTo>
                    <a:pt x="9" y="54"/>
                  </a:lnTo>
                  <a:lnTo>
                    <a:pt x="4" y="31"/>
                  </a:lnTo>
                  <a:lnTo>
                    <a:pt x="0" y="6"/>
                  </a:lnTo>
                  <a:lnTo>
                    <a:pt x="34" y="0"/>
                  </a:lnTo>
                  <a:lnTo>
                    <a:pt x="48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856" name="Freeform 350"/>
            <p:cNvSpPr>
              <a:spLocks/>
            </p:cNvSpPr>
            <p:nvPr>
              <p:custDataLst>
                <p:tags r:id="rId248"/>
              </p:custDataLst>
            </p:nvPr>
          </p:nvSpPr>
          <p:spPr bwMode="auto">
            <a:xfrm>
              <a:off x="7446369" y="2553698"/>
              <a:ext cx="247930" cy="146792"/>
            </a:xfrm>
            <a:custGeom>
              <a:avLst/>
              <a:gdLst>
                <a:gd name="T0" fmla="*/ 46802 w 471"/>
                <a:gd name="T1" fmla="*/ 35000 h 234"/>
                <a:gd name="T2" fmla="*/ 73294 w 471"/>
                <a:gd name="T3" fmla="*/ 44925 h 234"/>
                <a:gd name="T4" fmla="*/ 120097 w 471"/>
                <a:gd name="T5" fmla="*/ 54850 h 234"/>
                <a:gd name="T6" fmla="*/ 164250 w 471"/>
                <a:gd name="T7" fmla="*/ 44925 h 234"/>
                <a:gd name="T8" fmla="*/ 169107 w 471"/>
                <a:gd name="T9" fmla="*/ 49627 h 234"/>
                <a:gd name="T10" fmla="*/ 172639 w 471"/>
                <a:gd name="T11" fmla="*/ 59552 h 234"/>
                <a:gd name="T12" fmla="*/ 179262 w 471"/>
                <a:gd name="T13" fmla="*/ 64776 h 234"/>
                <a:gd name="T14" fmla="*/ 187210 w 471"/>
                <a:gd name="T15" fmla="*/ 67388 h 234"/>
                <a:gd name="T16" fmla="*/ 191184 w 471"/>
                <a:gd name="T17" fmla="*/ 70000 h 234"/>
                <a:gd name="T18" fmla="*/ 194716 w 471"/>
                <a:gd name="T19" fmla="*/ 73656 h 234"/>
                <a:gd name="T20" fmla="*/ 197807 w 471"/>
                <a:gd name="T21" fmla="*/ 78880 h 234"/>
                <a:gd name="T22" fmla="*/ 200897 w 471"/>
                <a:gd name="T23" fmla="*/ 88805 h 234"/>
                <a:gd name="T24" fmla="*/ 207962 w 471"/>
                <a:gd name="T25" fmla="*/ 99253 h 234"/>
                <a:gd name="T26" fmla="*/ 154537 w 471"/>
                <a:gd name="T27" fmla="*/ 105522 h 234"/>
                <a:gd name="T28" fmla="*/ 145706 w 471"/>
                <a:gd name="T29" fmla="*/ 117014 h 234"/>
                <a:gd name="T30" fmla="*/ 139966 w 471"/>
                <a:gd name="T31" fmla="*/ 121716 h 234"/>
                <a:gd name="T32" fmla="*/ 135109 w 471"/>
                <a:gd name="T33" fmla="*/ 121716 h 234"/>
                <a:gd name="T34" fmla="*/ 131577 w 471"/>
                <a:gd name="T35" fmla="*/ 120148 h 234"/>
                <a:gd name="T36" fmla="*/ 128928 w 471"/>
                <a:gd name="T37" fmla="*/ 117014 h 234"/>
                <a:gd name="T38" fmla="*/ 127603 w 471"/>
                <a:gd name="T39" fmla="*/ 112835 h 234"/>
                <a:gd name="T40" fmla="*/ 125395 w 471"/>
                <a:gd name="T41" fmla="*/ 103955 h 234"/>
                <a:gd name="T42" fmla="*/ 122746 w 471"/>
                <a:gd name="T43" fmla="*/ 90895 h 234"/>
                <a:gd name="T44" fmla="*/ 118772 w 471"/>
                <a:gd name="T45" fmla="*/ 80970 h 234"/>
                <a:gd name="T46" fmla="*/ 113915 w 471"/>
                <a:gd name="T47" fmla="*/ 77313 h 234"/>
                <a:gd name="T48" fmla="*/ 108617 w 471"/>
                <a:gd name="T49" fmla="*/ 73656 h 234"/>
                <a:gd name="T50" fmla="*/ 104202 w 471"/>
                <a:gd name="T51" fmla="*/ 69477 h 234"/>
                <a:gd name="T52" fmla="*/ 98903 w 471"/>
                <a:gd name="T53" fmla="*/ 73134 h 234"/>
                <a:gd name="T54" fmla="*/ 91397 w 471"/>
                <a:gd name="T55" fmla="*/ 84626 h 234"/>
                <a:gd name="T56" fmla="*/ 88307 w 471"/>
                <a:gd name="T57" fmla="*/ 92462 h 234"/>
                <a:gd name="T58" fmla="*/ 83008 w 471"/>
                <a:gd name="T59" fmla="*/ 99253 h 234"/>
                <a:gd name="T60" fmla="*/ 73736 w 471"/>
                <a:gd name="T61" fmla="*/ 104999 h 234"/>
                <a:gd name="T62" fmla="*/ 64905 w 471"/>
                <a:gd name="T63" fmla="*/ 111268 h 234"/>
                <a:gd name="T64" fmla="*/ 57399 w 471"/>
                <a:gd name="T65" fmla="*/ 114402 h 234"/>
                <a:gd name="T66" fmla="*/ 50335 w 471"/>
                <a:gd name="T67" fmla="*/ 115969 h 234"/>
                <a:gd name="T68" fmla="*/ 42829 w 471"/>
                <a:gd name="T69" fmla="*/ 115447 h 234"/>
                <a:gd name="T70" fmla="*/ 36206 w 471"/>
                <a:gd name="T71" fmla="*/ 113357 h 234"/>
                <a:gd name="T72" fmla="*/ 27817 w 471"/>
                <a:gd name="T73" fmla="*/ 107089 h 234"/>
                <a:gd name="T74" fmla="*/ 26050 w 471"/>
                <a:gd name="T75" fmla="*/ 102910 h 234"/>
                <a:gd name="T76" fmla="*/ 26050 w 471"/>
                <a:gd name="T77" fmla="*/ 70522 h 234"/>
                <a:gd name="T78" fmla="*/ 0 w 471"/>
                <a:gd name="T79" fmla="*/ 51194 h 234"/>
                <a:gd name="T80" fmla="*/ 23401 w 471"/>
                <a:gd name="T81" fmla="*/ 41791 h 234"/>
                <a:gd name="T82" fmla="*/ 37972 w 471"/>
                <a:gd name="T83" fmla="*/ 15672 h 234"/>
                <a:gd name="T84" fmla="*/ 58724 w 471"/>
                <a:gd name="T85" fmla="*/ 0 h 234"/>
                <a:gd name="T86" fmla="*/ 73294 w 471"/>
                <a:gd name="T87" fmla="*/ 21940 h 23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71" h="234">
                  <a:moveTo>
                    <a:pt x="159" y="30"/>
                  </a:moveTo>
                  <a:lnTo>
                    <a:pt x="106" y="67"/>
                  </a:lnTo>
                  <a:lnTo>
                    <a:pt x="126" y="86"/>
                  </a:lnTo>
                  <a:lnTo>
                    <a:pt x="166" y="86"/>
                  </a:lnTo>
                  <a:lnTo>
                    <a:pt x="218" y="98"/>
                  </a:lnTo>
                  <a:lnTo>
                    <a:pt x="272" y="105"/>
                  </a:lnTo>
                  <a:lnTo>
                    <a:pt x="325" y="92"/>
                  </a:lnTo>
                  <a:lnTo>
                    <a:pt x="372" y="86"/>
                  </a:lnTo>
                  <a:lnTo>
                    <a:pt x="379" y="86"/>
                  </a:lnTo>
                  <a:lnTo>
                    <a:pt x="383" y="95"/>
                  </a:lnTo>
                  <a:lnTo>
                    <a:pt x="388" y="105"/>
                  </a:lnTo>
                  <a:lnTo>
                    <a:pt x="391" y="114"/>
                  </a:lnTo>
                  <a:lnTo>
                    <a:pt x="392" y="123"/>
                  </a:lnTo>
                  <a:lnTo>
                    <a:pt x="406" y="124"/>
                  </a:lnTo>
                  <a:lnTo>
                    <a:pt x="418" y="126"/>
                  </a:lnTo>
                  <a:lnTo>
                    <a:pt x="424" y="129"/>
                  </a:lnTo>
                  <a:lnTo>
                    <a:pt x="428" y="131"/>
                  </a:lnTo>
                  <a:lnTo>
                    <a:pt x="433" y="134"/>
                  </a:lnTo>
                  <a:lnTo>
                    <a:pt x="437" y="137"/>
                  </a:lnTo>
                  <a:lnTo>
                    <a:pt x="441" y="141"/>
                  </a:lnTo>
                  <a:lnTo>
                    <a:pt x="445" y="146"/>
                  </a:lnTo>
                  <a:lnTo>
                    <a:pt x="448" y="151"/>
                  </a:lnTo>
                  <a:lnTo>
                    <a:pt x="450" y="156"/>
                  </a:lnTo>
                  <a:lnTo>
                    <a:pt x="455" y="170"/>
                  </a:lnTo>
                  <a:lnTo>
                    <a:pt x="458" y="184"/>
                  </a:lnTo>
                  <a:lnTo>
                    <a:pt x="471" y="190"/>
                  </a:lnTo>
                  <a:lnTo>
                    <a:pt x="359" y="190"/>
                  </a:lnTo>
                  <a:lnTo>
                    <a:pt x="350" y="202"/>
                  </a:lnTo>
                  <a:lnTo>
                    <a:pt x="338" y="217"/>
                  </a:lnTo>
                  <a:lnTo>
                    <a:pt x="330" y="224"/>
                  </a:lnTo>
                  <a:lnTo>
                    <a:pt x="324" y="229"/>
                  </a:lnTo>
                  <a:lnTo>
                    <a:pt x="317" y="233"/>
                  </a:lnTo>
                  <a:lnTo>
                    <a:pt x="312" y="234"/>
                  </a:lnTo>
                  <a:lnTo>
                    <a:pt x="306" y="233"/>
                  </a:lnTo>
                  <a:lnTo>
                    <a:pt x="302" y="232"/>
                  </a:lnTo>
                  <a:lnTo>
                    <a:pt x="298" y="230"/>
                  </a:lnTo>
                  <a:lnTo>
                    <a:pt x="294" y="228"/>
                  </a:lnTo>
                  <a:lnTo>
                    <a:pt x="292" y="224"/>
                  </a:lnTo>
                  <a:lnTo>
                    <a:pt x="290" y="220"/>
                  </a:lnTo>
                  <a:lnTo>
                    <a:pt x="289" y="216"/>
                  </a:lnTo>
                  <a:lnTo>
                    <a:pt x="287" y="210"/>
                  </a:lnTo>
                  <a:lnTo>
                    <a:pt x="284" y="199"/>
                  </a:lnTo>
                  <a:lnTo>
                    <a:pt x="282" y="187"/>
                  </a:lnTo>
                  <a:lnTo>
                    <a:pt x="278" y="174"/>
                  </a:lnTo>
                  <a:lnTo>
                    <a:pt x="272" y="160"/>
                  </a:lnTo>
                  <a:lnTo>
                    <a:pt x="269" y="155"/>
                  </a:lnTo>
                  <a:lnTo>
                    <a:pt x="265" y="151"/>
                  </a:lnTo>
                  <a:lnTo>
                    <a:pt x="258" y="148"/>
                  </a:lnTo>
                  <a:lnTo>
                    <a:pt x="253" y="144"/>
                  </a:lnTo>
                  <a:lnTo>
                    <a:pt x="246" y="141"/>
                  </a:lnTo>
                  <a:lnTo>
                    <a:pt x="240" y="137"/>
                  </a:lnTo>
                  <a:lnTo>
                    <a:pt x="236" y="133"/>
                  </a:lnTo>
                  <a:lnTo>
                    <a:pt x="233" y="129"/>
                  </a:lnTo>
                  <a:lnTo>
                    <a:pt x="224" y="140"/>
                  </a:lnTo>
                  <a:lnTo>
                    <a:pt x="213" y="154"/>
                  </a:lnTo>
                  <a:lnTo>
                    <a:pt x="207" y="162"/>
                  </a:lnTo>
                  <a:lnTo>
                    <a:pt x="203" y="170"/>
                  </a:lnTo>
                  <a:lnTo>
                    <a:pt x="200" y="177"/>
                  </a:lnTo>
                  <a:lnTo>
                    <a:pt x="199" y="184"/>
                  </a:lnTo>
                  <a:lnTo>
                    <a:pt x="188" y="190"/>
                  </a:lnTo>
                  <a:lnTo>
                    <a:pt x="177" y="195"/>
                  </a:lnTo>
                  <a:lnTo>
                    <a:pt x="167" y="201"/>
                  </a:lnTo>
                  <a:lnTo>
                    <a:pt x="157" y="207"/>
                  </a:lnTo>
                  <a:lnTo>
                    <a:pt x="147" y="213"/>
                  </a:lnTo>
                  <a:lnTo>
                    <a:pt x="135" y="218"/>
                  </a:lnTo>
                  <a:lnTo>
                    <a:pt x="130" y="219"/>
                  </a:lnTo>
                  <a:lnTo>
                    <a:pt x="122" y="221"/>
                  </a:lnTo>
                  <a:lnTo>
                    <a:pt x="114" y="222"/>
                  </a:lnTo>
                  <a:lnTo>
                    <a:pt x="106" y="222"/>
                  </a:lnTo>
                  <a:lnTo>
                    <a:pt x="97" y="221"/>
                  </a:lnTo>
                  <a:lnTo>
                    <a:pt x="89" y="220"/>
                  </a:lnTo>
                  <a:lnTo>
                    <a:pt x="82" y="217"/>
                  </a:lnTo>
                  <a:lnTo>
                    <a:pt x="76" y="213"/>
                  </a:lnTo>
                  <a:lnTo>
                    <a:pt x="63" y="205"/>
                  </a:lnTo>
                  <a:lnTo>
                    <a:pt x="46" y="197"/>
                  </a:lnTo>
                  <a:lnTo>
                    <a:pt x="59" y="197"/>
                  </a:lnTo>
                  <a:lnTo>
                    <a:pt x="72" y="166"/>
                  </a:lnTo>
                  <a:lnTo>
                    <a:pt x="59" y="135"/>
                  </a:lnTo>
                  <a:lnTo>
                    <a:pt x="39" y="117"/>
                  </a:lnTo>
                  <a:lnTo>
                    <a:pt x="0" y="98"/>
                  </a:lnTo>
                  <a:lnTo>
                    <a:pt x="13" y="86"/>
                  </a:lnTo>
                  <a:lnTo>
                    <a:pt x="53" y="80"/>
                  </a:lnTo>
                  <a:lnTo>
                    <a:pt x="66" y="49"/>
                  </a:lnTo>
                  <a:lnTo>
                    <a:pt x="86" y="30"/>
                  </a:lnTo>
                  <a:lnTo>
                    <a:pt x="93" y="6"/>
                  </a:lnTo>
                  <a:lnTo>
                    <a:pt x="133" y="0"/>
                  </a:lnTo>
                  <a:lnTo>
                    <a:pt x="153" y="12"/>
                  </a:lnTo>
                  <a:lnTo>
                    <a:pt x="166" y="42"/>
                  </a:lnTo>
                  <a:lnTo>
                    <a:pt x="159" y="3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857" name="Freeform 351"/>
            <p:cNvSpPr>
              <a:spLocks/>
            </p:cNvSpPr>
            <p:nvPr>
              <p:custDataLst>
                <p:tags r:id="rId249"/>
              </p:custDataLst>
            </p:nvPr>
          </p:nvSpPr>
          <p:spPr bwMode="auto">
            <a:xfrm>
              <a:off x="7505041" y="2467911"/>
              <a:ext cx="268749" cy="150603"/>
            </a:xfrm>
            <a:custGeom>
              <a:avLst/>
              <a:gdLst>
                <a:gd name="T0" fmla="*/ 45514 w 525"/>
                <a:gd name="T1" fmla="*/ 96271 h 241"/>
                <a:gd name="T2" fmla="*/ 74283 w 525"/>
                <a:gd name="T3" fmla="*/ 77016 h 241"/>
                <a:gd name="T4" fmla="*/ 39932 w 525"/>
                <a:gd name="T5" fmla="*/ 54640 h 241"/>
                <a:gd name="T6" fmla="*/ 20181 w 525"/>
                <a:gd name="T7" fmla="*/ 60885 h 241"/>
                <a:gd name="T8" fmla="*/ 28339 w 525"/>
                <a:gd name="T9" fmla="*/ 31743 h 241"/>
                <a:gd name="T10" fmla="*/ 17175 w 525"/>
                <a:gd name="T11" fmla="*/ 22376 h 241"/>
                <a:gd name="T12" fmla="*/ 48091 w 525"/>
                <a:gd name="T13" fmla="*/ 13010 h 241"/>
                <a:gd name="T14" fmla="*/ 79865 w 525"/>
                <a:gd name="T15" fmla="*/ 0 h 241"/>
                <a:gd name="T16" fmla="*/ 133967 w 525"/>
                <a:gd name="T17" fmla="*/ 9887 h 241"/>
                <a:gd name="T18" fmla="*/ 188498 w 525"/>
                <a:gd name="T19" fmla="*/ 13010 h 241"/>
                <a:gd name="T20" fmla="*/ 225425 w 525"/>
                <a:gd name="T21" fmla="*/ 28621 h 241"/>
                <a:gd name="T22" fmla="*/ 222849 w 525"/>
                <a:gd name="T23" fmla="*/ 35906 h 241"/>
                <a:gd name="T24" fmla="*/ 218984 w 525"/>
                <a:gd name="T25" fmla="*/ 42671 h 241"/>
                <a:gd name="T26" fmla="*/ 214261 w 525"/>
                <a:gd name="T27" fmla="*/ 47875 h 241"/>
                <a:gd name="T28" fmla="*/ 208250 w 525"/>
                <a:gd name="T29" fmla="*/ 51518 h 241"/>
                <a:gd name="T30" fmla="*/ 189786 w 525"/>
                <a:gd name="T31" fmla="*/ 53599 h 241"/>
                <a:gd name="T32" fmla="*/ 179481 w 525"/>
                <a:gd name="T33" fmla="*/ 55681 h 241"/>
                <a:gd name="T34" fmla="*/ 174758 w 525"/>
                <a:gd name="T35" fmla="*/ 57762 h 241"/>
                <a:gd name="T36" fmla="*/ 171323 w 525"/>
                <a:gd name="T37" fmla="*/ 60885 h 241"/>
                <a:gd name="T38" fmla="*/ 166170 w 525"/>
                <a:gd name="T39" fmla="*/ 70772 h 241"/>
                <a:gd name="T40" fmla="*/ 162306 w 525"/>
                <a:gd name="T41" fmla="*/ 76496 h 241"/>
                <a:gd name="T42" fmla="*/ 156724 w 525"/>
                <a:gd name="T43" fmla="*/ 80139 h 241"/>
                <a:gd name="T44" fmla="*/ 130961 w 525"/>
                <a:gd name="T45" fmla="*/ 86383 h 241"/>
                <a:gd name="T46" fmla="*/ 117221 w 525"/>
                <a:gd name="T47" fmla="*/ 90026 h 241"/>
                <a:gd name="T48" fmla="*/ 111639 w 525"/>
                <a:gd name="T49" fmla="*/ 92628 h 241"/>
                <a:gd name="T50" fmla="*/ 112068 w 525"/>
                <a:gd name="T51" fmla="*/ 99913 h 241"/>
                <a:gd name="T52" fmla="*/ 112927 w 525"/>
                <a:gd name="T53" fmla="*/ 105637 h 241"/>
                <a:gd name="T54" fmla="*/ 117221 w 525"/>
                <a:gd name="T55" fmla="*/ 115525 h 241"/>
                <a:gd name="T56" fmla="*/ 94034 w 525"/>
                <a:gd name="T57" fmla="*/ 118647 h 241"/>
                <a:gd name="T58" fmla="*/ 48091 w 525"/>
                <a:gd name="T59" fmla="*/ 121769 h 241"/>
                <a:gd name="T60" fmla="*/ 8588 w 525"/>
                <a:gd name="T61" fmla="*/ 115525 h 241"/>
                <a:gd name="T62" fmla="*/ 22757 w 525"/>
                <a:gd name="T63" fmla="*/ 86383 h 24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525" h="241">
                  <a:moveTo>
                    <a:pt x="60" y="178"/>
                  </a:moveTo>
                  <a:lnTo>
                    <a:pt x="106" y="185"/>
                  </a:lnTo>
                  <a:lnTo>
                    <a:pt x="140" y="178"/>
                  </a:lnTo>
                  <a:lnTo>
                    <a:pt x="173" y="148"/>
                  </a:lnTo>
                  <a:lnTo>
                    <a:pt x="133" y="123"/>
                  </a:lnTo>
                  <a:lnTo>
                    <a:pt x="93" y="105"/>
                  </a:lnTo>
                  <a:lnTo>
                    <a:pt x="73" y="123"/>
                  </a:lnTo>
                  <a:lnTo>
                    <a:pt x="47" y="117"/>
                  </a:lnTo>
                  <a:lnTo>
                    <a:pt x="33" y="93"/>
                  </a:lnTo>
                  <a:lnTo>
                    <a:pt x="66" y="61"/>
                  </a:lnTo>
                  <a:lnTo>
                    <a:pt x="40" y="55"/>
                  </a:lnTo>
                  <a:lnTo>
                    <a:pt x="40" y="43"/>
                  </a:lnTo>
                  <a:lnTo>
                    <a:pt x="66" y="19"/>
                  </a:lnTo>
                  <a:lnTo>
                    <a:pt x="112" y="25"/>
                  </a:lnTo>
                  <a:lnTo>
                    <a:pt x="173" y="49"/>
                  </a:lnTo>
                  <a:lnTo>
                    <a:pt x="186" y="0"/>
                  </a:lnTo>
                  <a:lnTo>
                    <a:pt x="232" y="12"/>
                  </a:lnTo>
                  <a:lnTo>
                    <a:pt x="312" y="19"/>
                  </a:lnTo>
                  <a:lnTo>
                    <a:pt x="372" y="25"/>
                  </a:lnTo>
                  <a:lnTo>
                    <a:pt x="439" y="25"/>
                  </a:lnTo>
                  <a:lnTo>
                    <a:pt x="519" y="49"/>
                  </a:lnTo>
                  <a:lnTo>
                    <a:pt x="525" y="55"/>
                  </a:lnTo>
                  <a:lnTo>
                    <a:pt x="522" y="62"/>
                  </a:lnTo>
                  <a:lnTo>
                    <a:pt x="519" y="69"/>
                  </a:lnTo>
                  <a:lnTo>
                    <a:pt x="514" y="76"/>
                  </a:lnTo>
                  <a:lnTo>
                    <a:pt x="510" y="82"/>
                  </a:lnTo>
                  <a:lnTo>
                    <a:pt x="504" y="87"/>
                  </a:lnTo>
                  <a:lnTo>
                    <a:pt x="499" y="92"/>
                  </a:lnTo>
                  <a:lnTo>
                    <a:pt x="492" y="96"/>
                  </a:lnTo>
                  <a:lnTo>
                    <a:pt x="485" y="99"/>
                  </a:lnTo>
                  <a:lnTo>
                    <a:pt x="466" y="101"/>
                  </a:lnTo>
                  <a:lnTo>
                    <a:pt x="442" y="103"/>
                  </a:lnTo>
                  <a:lnTo>
                    <a:pt x="430" y="105"/>
                  </a:lnTo>
                  <a:lnTo>
                    <a:pt x="418" y="107"/>
                  </a:lnTo>
                  <a:lnTo>
                    <a:pt x="412" y="109"/>
                  </a:lnTo>
                  <a:lnTo>
                    <a:pt x="407" y="111"/>
                  </a:lnTo>
                  <a:lnTo>
                    <a:pt x="402" y="114"/>
                  </a:lnTo>
                  <a:lnTo>
                    <a:pt x="399" y="117"/>
                  </a:lnTo>
                  <a:lnTo>
                    <a:pt x="394" y="124"/>
                  </a:lnTo>
                  <a:lnTo>
                    <a:pt x="387" y="136"/>
                  </a:lnTo>
                  <a:lnTo>
                    <a:pt x="383" y="142"/>
                  </a:lnTo>
                  <a:lnTo>
                    <a:pt x="378" y="147"/>
                  </a:lnTo>
                  <a:lnTo>
                    <a:pt x="373" y="151"/>
                  </a:lnTo>
                  <a:lnTo>
                    <a:pt x="365" y="154"/>
                  </a:lnTo>
                  <a:lnTo>
                    <a:pt x="341" y="160"/>
                  </a:lnTo>
                  <a:lnTo>
                    <a:pt x="305" y="166"/>
                  </a:lnTo>
                  <a:lnTo>
                    <a:pt x="287" y="170"/>
                  </a:lnTo>
                  <a:lnTo>
                    <a:pt x="273" y="173"/>
                  </a:lnTo>
                  <a:lnTo>
                    <a:pt x="263" y="176"/>
                  </a:lnTo>
                  <a:lnTo>
                    <a:pt x="260" y="178"/>
                  </a:lnTo>
                  <a:lnTo>
                    <a:pt x="260" y="186"/>
                  </a:lnTo>
                  <a:lnTo>
                    <a:pt x="261" y="192"/>
                  </a:lnTo>
                  <a:lnTo>
                    <a:pt x="262" y="197"/>
                  </a:lnTo>
                  <a:lnTo>
                    <a:pt x="263" y="203"/>
                  </a:lnTo>
                  <a:lnTo>
                    <a:pt x="267" y="212"/>
                  </a:lnTo>
                  <a:lnTo>
                    <a:pt x="273" y="222"/>
                  </a:lnTo>
                  <a:lnTo>
                    <a:pt x="266" y="222"/>
                  </a:lnTo>
                  <a:lnTo>
                    <a:pt x="219" y="228"/>
                  </a:lnTo>
                  <a:lnTo>
                    <a:pt x="166" y="241"/>
                  </a:lnTo>
                  <a:lnTo>
                    <a:pt x="112" y="234"/>
                  </a:lnTo>
                  <a:lnTo>
                    <a:pt x="60" y="222"/>
                  </a:lnTo>
                  <a:lnTo>
                    <a:pt x="20" y="222"/>
                  </a:lnTo>
                  <a:lnTo>
                    <a:pt x="0" y="203"/>
                  </a:lnTo>
                  <a:lnTo>
                    <a:pt x="53" y="166"/>
                  </a:lnTo>
                  <a:lnTo>
                    <a:pt x="60" y="17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858" name="Freeform 352"/>
            <p:cNvSpPr>
              <a:spLocks/>
            </p:cNvSpPr>
            <p:nvPr>
              <p:custDataLst>
                <p:tags r:id="rId250"/>
              </p:custDataLst>
            </p:nvPr>
          </p:nvSpPr>
          <p:spPr bwMode="auto">
            <a:xfrm>
              <a:off x="7035674" y="2486975"/>
              <a:ext cx="408802" cy="272611"/>
            </a:xfrm>
            <a:custGeom>
              <a:avLst/>
              <a:gdLst>
                <a:gd name="T0" fmla="*/ 335902 w 784"/>
                <a:gd name="T1" fmla="*/ 154157 h 430"/>
                <a:gd name="T2" fmla="*/ 328467 w 784"/>
                <a:gd name="T3" fmla="*/ 154685 h 430"/>
                <a:gd name="T4" fmla="*/ 319719 w 784"/>
                <a:gd name="T5" fmla="*/ 159436 h 430"/>
                <a:gd name="T6" fmla="*/ 316220 w 784"/>
                <a:gd name="T7" fmla="*/ 162604 h 430"/>
                <a:gd name="T8" fmla="*/ 313596 w 784"/>
                <a:gd name="T9" fmla="*/ 175274 h 430"/>
                <a:gd name="T10" fmla="*/ 311847 w 784"/>
                <a:gd name="T11" fmla="*/ 190057 h 430"/>
                <a:gd name="T12" fmla="*/ 307910 w 784"/>
                <a:gd name="T13" fmla="*/ 198504 h 430"/>
                <a:gd name="T14" fmla="*/ 293477 w 784"/>
                <a:gd name="T15" fmla="*/ 212230 h 430"/>
                <a:gd name="T16" fmla="*/ 276857 w 784"/>
                <a:gd name="T17" fmla="*/ 221733 h 430"/>
                <a:gd name="T18" fmla="*/ 267672 w 784"/>
                <a:gd name="T19" fmla="*/ 223844 h 430"/>
                <a:gd name="T20" fmla="*/ 256738 w 784"/>
                <a:gd name="T21" fmla="*/ 226484 h 430"/>
                <a:gd name="T22" fmla="*/ 247990 w 784"/>
                <a:gd name="T23" fmla="*/ 225956 h 430"/>
                <a:gd name="T24" fmla="*/ 238368 w 784"/>
                <a:gd name="T25" fmla="*/ 204839 h 430"/>
                <a:gd name="T26" fmla="*/ 225247 w 784"/>
                <a:gd name="T27" fmla="*/ 181610 h 430"/>
                <a:gd name="T28" fmla="*/ 209064 w 784"/>
                <a:gd name="T29" fmla="*/ 176330 h 430"/>
                <a:gd name="T30" fmla="*/ 195943 w 784"/>
                <a:gd name="T31" fmla="*/ 166299 h 430"/>
                <a:gd name="T32" fmla="*/ 182384 w 784"/>
                <a:gd name="T33" fmla="*/ 155213 h 430"/>
                <a:gd name="T34" fmla="*/ 163140 w 784"/>
                <a:gd name="T35" fmla="*/ 144654 h 430"/>
                <a:gd name="T36" fmla="*/ 133836 w 784"/>
                <a:gd name="T37" fmla="*/ 136207 h 430"/>
                <a:gd name="T38" fmla="*/ 79602 w 784"/>
                <a:gd name="T39" fmla="*/ 149406 h 430"/>
                <a:gd name="T40" fmla="*/ 66043 w 784"/>
                <a:gd name="T41" fmla="*/ 161548 h 430"/>
                <a:gd name="T42" fmla="*/ 55546 w 784"/>
                <a:gd name="T43" fmla="*/ 162604 h 430"/>
                <a:gd name="T44" fmla="*/ 28867 w 784"/>
                <a:gd name="T45" fmla="*/ 133040 h 430"/>
                <a:gd name="T46" fmla="*/ 28867 w 784"/>
                <a:gd name="T47" fmla="*/ 107699 h 430"/>
                <a:gd name="T48" fmla="*/ 17495 w 784"/>
                <a:gd name="T49" fmla="*/ 94500 h 430"/>
                <a:gd name="T50" fmla="*/ 18370 w 784"/>
                <a:gd name="T51" fmla="*/ 105059 h 430"/>
                <a:gd name="T52" fmla="*/ 15745 w 784"/>
                <a:gd name="T53" fmla="*/ 115090 h 430"/>
                <a:gd name="T54" fmla="*/ 13121 w 784"/>
                <a:gd name="T55" fmla="*/ 116674 h 430"/>
                <a:gd name="T56" fmla="*/ 13559 w 784"/>
                <a:gd name="T57" fmla="*/ 107171 h 430"/>
                <a:gd name="T58" fmla="*/ 11809 w 784"/>
                <a:gd name="T59" fmla="*/ 91861 h 430"/>
                <a:gd name="T60" fmla="*/ 14433 w 784"/>
                <a:gd name="T61" fmla="*/ 86053 h 430"/>
                <a:gd name="T62" fmla="*/ 17495 w 784"/>
                <a:gd name="T63" fmla="*/ 80246 h 430"/>
                <a:gd name="T64" fmla="*/ 11809 w 784"/>
                <a:gd name="T65" fmla="*/ 68104 h 430"/>
                <a:gd name="T66" fmla="*/ 3062 w 784"/>
                <a:gd name="T67" fmla="*/ 66520 h 430"/>
                <a:gd name="T68" fmla="*/ 0 w 784"/>
                <a:gd name="T69" fmla="*/ 61768 h 430"/>
                <a:gd name="T70" fmla="*/ 1312 w 784"/>
                <a:gd name="T71" fmla="*/ 54905 h 430"/>
                <a:gd name="T72" fmla="*/ 4811 w 784"/>
                <a:gd name="T73" fmla="*/ 49626 h 430"/>
                <a:gd name="T74" fmla="*/ 11809 w 784"/>
                <a:gd name="T75" fmla="*/ 48570 h 430"/>
                <a:gd name="T76" fmla="*/ 17932 w 784"/>
                <a:gd name="T77" fmla="*/ 52266 h 430"/>
                <a:gd name="T78" fmla="*/ 24930 w 784"/>
                <a:gd name="T79" fmla="*/ 54905 h 430"/>
                <a:gd name="T80" fmla="*/ 31053 w 784"/>
                <a:gd name="T81" fmla="*/ 48570 h 430"/>
                <a:gd name="T82" fmla="*/ 36302 w 784"/>
                <a:gd name="T83" fmla="*/ 40651 h 430"/>
                <a:gd name="T84" fmla="*/ 38051 w 784"/>
                <a:gd name="T85" fmla="*/ 33788 h 430"/>
                <a:gd name="T86" fmla="*/ 34115 w 784"/>
                <a:gd name="T87" fmla="*/ 29036 h 430"/>
                <a:gd name="T88" fmla="*/ 24055 w 784"/>
                <a:gd name="T89" fmla="*/ 25869 h 430"/>
                <a:gd name="T90" fmla="*/ 20557 w 784"/>
                <a:gd name="T91" fmla="*/ 21117 h 430"/>
                <a:gd name="T92" fmla="*/ 17932 w 784"/>
                <a:gd name="T93" fmla="*/ 14782 h 430"/>
                <a:gd name="T94" fmla="*/ 46799 w 784"/>
                <a:gd name="T95" fmla="*/ 22701 h 430"/>
                <a:gd name="T96" fmla="*/ 95785 w 784"/>
                <a:gd name="T97" fmla="*/ 39067 h 430"/>
                <a:gd name="T98" fmla="*/ 119403 w 784"/>
                <a:gd name="T99" fmla="*/ 0 h 430"/>
                <a:gd name="T100" fmla="*/ 163140 w 784"/>
                <a:gd name="T101" fmla="*/ 22701 h 430"/>
                <a:gd name="T102" fmla="*/ 203378 w 784"/>
                <a:gd name="T103" fmla="*/ 48570 h 430"/>
                <a:gd name="T104" fmla="*/ 258487 w 784"/>
                <a:gd name="T105" fmla="*/ 110866 h 430"/>
                <a:gd name="T106" fmla="*/ 316658 w 784"/>
                <a:gd name="T107" fmla="*/ 139903 h 430"/>
                <a:gd name="T108" fmla="*/ 340276 w 784"/>
                <a:gd name="T109" fmla="*/ 155741 h 4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784" h="430">
                  <a:moveTo>
                    <a:pt x="778" y="295"/>
                  </a:moveTo>
                  <a:lnTo>
                    <a:pt x="772" y="294"/>
                  </a:lnTo>
                  <a:lnTo>
                    <a:pt x="768" y="292"/>
                  </a:lnTo>
                  <a:lnTo>
                    <a:pt x="762" y="292"/>
                  </a:lnTo>
                  <a:lnTo>
                    <a:pt x="757" y="292"/>
                  </a:lnTo>
                  <a:lnTo>
                    <a:pt x="751" y="293"/>
                  </a:lnTo>
                  <a:lnTo>
                    <a:pt x="745" y="295"/>
                  </a:lnTo>
                  <a:lnTo>
                    <a:pt x="738" y="298"/>
                  </a:lnTo>
                  <a:lnTo>
                    <a:pt x="731" y="302"/>
                  </a:lnTo>
                  <a:lnTo>
                    <a:pt x="727" y="303"/>
                  </a:lnTo>
                  <a:lnTo>
                    <a:pt x="725" y="305"/>
                  </a:lnTo>
                  <a:lnTo>
                    <a:pt x="723" y="308"/>
                  </a:lnTo>
                  <a:lnTo>
                    <a:pt x="721" y="312"/>
                  </a:lnTo>
                  <a:lnTo>
                    <a:pt x="718" y="322"/>
                  </a:lnTo>
                  <a:lnTo>
                    <a:pt x="717" y="332"/>
                  </a:lnTo>
                  <a:lnTo>
                    <a:pt x="716" y="343"/>
                  </a:lnTo>
                  <a:lnTo>
                    <a:pt x="714" y="354"/>
                  </a:lnTo>
                  <a:lnTo>
                    <a:pt x="713" y="360"/>
                  </a:lnTo>
                  <a:lnTo>
                    <a:pt x="711" y="365"/>
                  </a:lnTo>
                  <a:lnTo>
                    <a:pt x="708" y="370"/>
                  </a:lnTo>
                  <a:lnTo>
                    <a:pt x="704" y="376"/>
                  </a:lnTo>
                  <a:lnTo>
                    <a:pt x="694" y="385"/>
                  </a:lnTo>
                  <a:lnTo>
                    <a:pt x="683" y="394"/>
                  </a:lnTo>
                  <a:lnTo>
                    <a:pt x="671" y="402"/>
                  </a:lnTo>
                  <a:lnTo>
                    <a:pt x="659" y="409"/>
                  </a:lnTo>
                  <a:lnTo>
                    <a:pt x="647" y="416"/>
                  </a:lnTo>
                  <a:lnTo>
                    <a:pt x="633" y="420"/>
                  </a:lnTo>
                  <a:lnTo>
                    <a:pt x="626" y="422"/>
                  </a:lnTo>
                  <a:lnTo>
                    <a:pt x="620" y="424"/>
                  </a:lnTo>
                  <a:lnTo>
                    <a:pt x="612" y="424"/>
                  </a:lnTo>
                  <a:lnTo>
                    <a:pt x="604" y="425"/>
                  </a:lnTo>
                  <a:lnTo>
                    <a:pt x="596" y="426"/>
                  </a:lnTo>
                  <a:lnTo>
                    <a:pt x="587" y="429"/>
                  </a:lnTo>
                  <a:lnTo>
                    <a:pt x="581" y="430"/>
                  </a:lnTo>
                  <a:lnTo>
                    <a:pt x="575" y="430"/>
                  </a:lnTo>
                  <a:lnTo>
                    <a:pt x="567" y="428"/>
                  </a:lnTo>
                  <a:lnTo>
                    <a:pt x="558" y="425"/>
                  </a:lnTo>
                  <a:lnTo>
                    <a:pt x="553" y="406"/>
                  </a:lnTo>
                  <a:lnTo>
                    <a:pt x="545" y="388"/>
                  </a:lnTo>
                  <a:lnTo>
                    <a:pt x="537" y="367"/>
                  </a:lnTo>
                  <a:lnTo>
                    <a:pt x="532" y="345"/>
                  </a:lnTo>
                  <a:lnTo>
                    <a:pt x="515" y="344"/>
                  </a:lnTo>
                  <a:lnTo>
                    <a:pt x="501" y="342"/>
                  </a:lnTo>
                  <a:lnTo>
                    <a:pt x="489" y="339"/>
                  </a:lnTo>
                  <a:lnTo>
                    <a:pt x="478" y="334"/>
                  </a:lnTo>
                  <a:lnTo>
                    <a:pt x="467" y="329"/>
                  </a:lnTo>
                  <a:lnTo>
                    <a:pt x="458" y="323"/>
                  </a:lnTo>
                  <a:lnTo>
                    <a:pt x="448" y="315"/>
                  </a:lnTo>
                  <a:lnTo>
                    <a:pt x="439" y="308"/>
                  </a:lnTo>
                  <a:lnTo>
                    <a:pt x="429" y="301"/>
                  </a:lnTo>
                  <a:lnTo>
                    <a:pt x="417" y="294"/>
                  </a:lnTo>
                  <a:lnTo>
                    <a:pt x="404" y="287"/>
                  </a:lnTo>
                  <a:lnTo>
                    <a:pt x="389" y="280"/>
                  </a:lnTo>
                  <a:lnTo>
                    <a:pt x="373" y="274"/>
                  </a:lnTo>
                  <a:lnTo>
                    <a:pt x="354" y="268"/>
                  </a:lnTo>
                  <a:lnTo>
                    <a:pt x="331" y="262"/>
                  </a:lnTo>
                  <a:lnTo>
                    <a:pt x="306" y="258"/>
                  </a:lnTo>
                  <a:lnTo>
                    <a:pt x="212" y="258"/>
                  </a:lnTo>
                  <a:lnTo>
                    <a:pt x="204" y="267"/>
                  </a:lnTo>
                  <a:lnTo>
                    <a:pt x="182" y="283"/>
                  </a:lnTo>
                  <a:lnTo>
                    <a:pt x="171" y="292"/>
                  </a:lnTo>
                  <a:lnTo>
                    <a:pt x="160" y="300"/>
                  </a:lnTo>
                  <a:lnTo>
                    <a:pt x="151" y="306"/>
                  </a:lnTo>
                  <a:lnTo>
                    <a:pt x="146" y="308"/>
                  </a:lnTo>
                  <a:lnTo>
                    <a:pt x="137" y="308"/>
                  </a:lnTo>
                  <a:lnTo>
                    <a:pt x="127" y="308"/>
                  </a:lnTo>
                  <a:lnTo>
                    <a:pt x="119" y="308"/>
                  </a:lnTo>
                  <a:lnTo>
                    <a:pt x="113" y="308"/>
                  </a:lnTo>
                  <a:lnTo>
                    <a:pt x="66" y="252"/>
                  </a:lnTo>
                  <a:lnTo>
                    <a:pt x="66" y="237"/>
                  </a:lnTo>
                  <a:lnTo>
                    <a:pt x="66" y="223"/>
                  </a:lnTo>
                  <a:lnTo>
                    <a:pt x="66" y="204"/>
                  </a:lnTo>
                  <a:lnTo>
                    <a:pt x="66" y="179"/>
                  </a:lnTo>
                  <a:lnTo>
                    <a:pt x="53" y="179"/>
                  </a:lnTo>
                  <a:lnTo>
                    <a:pt x="40" y="179"/>
                  </a:lnTo>
                  <a:lnTo>
                    <a:pt x="42" y="185"/>
                  </a:lnTo>
                  <a:lnTo>
                    <a:pt x="42" y="192"/>
                  </a:lnTo>
                  <a:lnTo>
                    <a:pt x="42" y="199"/>
                  </a:lnTo>
                  <a:lnTo>
                    <a:pt x="41" y="205"/>
                  </a:lnTo>
                  <a:lnTo>
                    <a:pt x="39" y="212"/>
                  </a:lnTo>
                  <a:lnTo>
                    <a:pt x="36" y="218"/>
                  </a:lnTo>
                  <a:lnTo>
                    <a:pt x="31" y="223"/>
                  </a:lnTo>
                  <a:lnTo>
                    <a:pt x="27" y="228"/>
                  </a:lnTo>
                  <a:lnTo>
                    <a:pt x="30" y="221"/>
                  </a:lnTo>
                  <a:lnTo>
                    <a:pt x="32" y="215"/>
                  </a:lnTo>
                  <a:lnTo>
                    <a:pt x="32" y="208"/>
                  </a:lnTo>
                  <a:lnTo>
                    <a:pt x="31" y="203"/>
                  </a:lnTo>
                  <a:lnTo>
                    <a:pt x="29" y="191"/>
                  </a:lnTo>
                  <a:lnTo>
                    <a:pt x="27" y="179"/>
                  </a:lnTo>
                  <a:lnTo>
                    <a:pt x="27" y="174"/>
                  </a:lnTo>
                  <a:lnTo>
                    <a:pt x="29" y="170"/>
                  </a:lnTo>
                  <a:lnTo>
                    <a:pt x="31" y="167"/>
                  </a:lnTo>
                  <a:lnTo>
                    <a:pt x="33" y="163"/>
                  </a:lnTo>
                  <a:lnTo>
                    <a:pt x="36" y="160"/>
                  </a:lnTo>
                  <a:lnTo>
                    <a:pt x="38" y="156"/>
                  </a:lnTo>
                  <a:lnTo>
                    <a:pt x="40" y="152"/>
                  </a:lnTo>
                  <a:lnTo>
                    <a:pt x="40" y="147"/>
                  </a:lnTo>
                  <a:lnTo>
                    <a:pt x="31" y="136"/>
                  </a:lnTo>
                  <a:lnTo>
                    <a:pt x="27" y="129"/>
                  </a:lnTo>
                  <a:lnTo>
                    <a:pt x="20" y="129"/>
                  </a:lnTo>
                  <a:lnTo>
                    <a:pt x="11" y="128"/>
                  </a:lnTo>
                  <a:lnTo>
                    <a:pt x="7" y="126"/>
                  </a:lnTo>
                  <a:lnTo>
                    <a:pt x="4" y="124"/>
                  </a:lnTo>
                  <a:lnTo>
                    <a:pt x="1" y="121"/>
                  </a:lnTo>
                  <a:lnTo>
                    <a:pt x="0" y="117"/>
                  </a:lnTo>
                  <a:lnTo>
                    <a:pt x="0" y="113"/>
                  </a:lnTo>
                  <a:lnTo>
                    <a:pt x="1" y="108"/>
                  </a:lnTo>
                  <a:lnTo>
                    <a:pt x="3" y="104"/>
                  </a:lnTo>
                  <a:lnTo>
                    <a:pt x="5" y="100"/>
                  </a:lnTo>
                  <a:lnTo>
                    <a:pt x="8" y="96"/>
                  </a:lnTo>
                  <a:lnTo>
                    <a:pt x="11" y="94"/>
                  </a:lnTo>
                  <a:lnTo>
                    <a:pt x="16" y="92"/>
                  </a:lnTo>
                  <a:lnTo>
                    <a:pt x="20" y="92"/>
                  </a:lnTo>
                  <a:lnTo>
                    <a:pt x="27" y="92"/>
                  </a:lnTo>
                  <a:lnTo>
                    <a:pt x="32" y="94"/>
                  </a:lnTo>
                  <a:lnTo>
                    <a:pt x="37" y="96"/>
                  </a:lnTo>
                  <a:lnTo>
                    <a:pt x="41" y="99"/>
                  </a:lnTo>
                  <a:lnTo>
                    <a:pt x="45" y="101"/>
                  </a:lnTo>
                  <a:lnTo>
                    <a:pt x="51" y="103"/>
                  </a:lnTo>
                  <a:lnTo>
                    <a:pt x="57" y="104"/>
                  </a:lnTo>
                  <a:lnTo>
                    <a:pt x="66" y="105"/>
                  </a:lnTo>
                  <a:lnTo>
                    <a:pt x="67" y="99"/>
                  </a:lnTo>
                  <a:lnTo>
                    <a:pt x="71" y="92"/>
                  </a:lnTo>
                  <a:lnTo>
                    <a:pt x="75" y="87"/>
                  </a:lnTo>
                  <a:lnTo>
                    <a:pt x="79" y="82"/>
                  </a:lnTo>
                  <a:lnTo>
                    <a:pt x="83" y="77"/>
                  </a:lnTo>
                  <a:lnTo>
                    <a:pt x="86" y="71"/>
                  </a:lnTo>
                  <a:lnTo>
                    <a:pt x="87" y="67"/>
                  </a:lnTo>
                  <a:lnTo>
                    <a:pt x="87" y="64"/>
                  </a:lnTo>
                  <a:lnTo>
                    <a:pt x="87" y="60"/>
                  </a:lnTo>
                  <a:lnTo>
                    <a:pt x="86" y="56"/>
                  </a:lnTo>
                  <a:lnTo>
                    <a:pt x="78" y="55"/>
                  </a:lnTo>
                  <a:lnTo>
                    <a:pt x="71" y="54"/>
                  </a:lnTo>
                  <a:lnTo>
                    <a:pt x="63" y="52"/>
                  </a:lnTo>
                  <a:lnTo>
                    <a:pt x="55" y="49"/>
                  </a:lnTo>
                  <a:lnTo>
                    <a:pt x="52" y="47"/>
                  </a:lnTo>
                  <a:lnTo>
                    <a:pt x="50" y="44"/>
                  </a:lnTo>
                  <a:lnTo>
                    <a:pt x="47" y="40"/>
                  </a:lnTo>
                  <a:lnTo>
                    <a:pt x="44" y="37"/>
                  </a:lnTo>
                  <a:lnTo>
                    <a:pt x="42" y="33"/>
                  </a:lnTo>
                  <a:lnTo>
                    <a:pt x="41" y="28"/>
                  </a:lnTo>
                  <a:lnTo>
                    <a:pt x="40" y="24"/>
                  </a:lnTo>
                  <a:lnTo>
                    <a:pt x="40" y="18"/>
                  </a:lnTo>
                  <a:lnTo>
                    <a:pt x="107" y="43"/>
                  </a:lnTo>
                  <a:lnTo>
                    <a:pt x="133" y="80"/>
                  </a:lnTo>
                  <a:lnTo>
                    <a:pt x="179" y="86"/>
                  </a:lnTo>
                  <a:lnTo>
                    <a:pt x="219" y="74"/>
                  </a:lnTo>
                  <a:lnTo>
                    <a:pt x="212" y="43"/>
                  </a:lnTo>
                  <a:lnTo>
                    <a:pt x="253" y="24"/>
                  </a:lnTo>
                  <a:lnTo>
                    <a:pt x="273" y="0"/>
                  </a:lnTo>
                  <a:lnTo>
                    <a:pt x="306" y="6"/>
                  </a:lnTo>
                  <a:lnTo>
                    <a:pt x="339" y="24"/>
                  </a:lnTo>
                  <a:lnTo>
                    <a:pt x="373" y="43"/>
                  </a:lnTo>
                  <a:lnTo>
                    <a:pt x="386" y="80"/>
                  </a:lnTo>
                  <a:lnTo>
                    <a:pt x="425" y="92"/>
                  </a:lnTo>
                  <a:lnTo>
                    <a:pt x="465" y="92"/>
                  </a:lnTo>
                  <a:lnTo>
                    <a:pt x="512" y="141"/>
                  </a:lnTo>
                  <a:lnTo>
                    <a:pt x="545" y="179"/>
                  </a:lnTo>
                  <a:lnTo>
                    <a:pt x="591" y="210"/>
                  </a:lnTo>
                  <a:lnTo>
                    <a:pt x="632" y="222"/>
                  </a:lnTo>
                  <a:lnTo>
                    <a:pt x="678" y="252"/>
                  </a:lnTo>
                  <a:lnTo>
                    <a:pt x="724" y="265"/>
                  </a:lnTo>
                  <a:lnTo>
                    <a:pt x="758" y="277"/>
                  </a:lnTo>
                  <a:lnTo>
                    <a:pt x="784" y="289"/>
                  </a:lnTo>
                  <a:lnTo>
                    <a:pt x="778" y="29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859" name="Freeform 353"/>
            <p:cNvSpPr>
              <a:spLocks/>
            </p:cNvSpPr>
            <p:nvPr>
              <p:custDataLst>
                <p:tags r:id="rId251"/>
              </p:custDataLst>
            </p:nvPr>
          </p:nvSpPr>
          <p:spPr bwMode="auto">
            <a:xfrm>
              <a:off x="6093159" y="2351623"/>
              <a:ext cx="128697" cy="179200"/>
            </a:xfrm>
            <a:custGeom>
              <a:avLst/>
              <a:gdLst>
                <a:gd name="T0" fmla="*/ 13165 w 246"/>
                <a:gd name="T1" fmla="*/ 14187 h 284"/>
                <a:gd name="T2" fmla="*/ 12287 w 246"/>
                <a:gd name="T3" fmla="*/ 12611 h 284"/>
                <a:gd name="T4" fmla="*/ 10532 w 246"/>
                <a:gd name="T5" fmla="*/ 8932 h 284"/>
                <a:gd name="T6" fmla="*/ 15359 w 246"/>
                <a:gd name="T7" fmla="*/ 2627 h 284"/>
                <a:gd name="T8" fmla="*/ 29401 w 246"/>
                <a:gd name="T9" fmla="*/ 525 h 284"/>
                <a:gd name="T10" fmla="*/ 55291 w 246"/>
                <a:gd name="T11" fmla="*/ 6305 h 284"/>
                <a:gd name="T12" fmla="*/ 57486 w 246"/>
                <a:gd name="T13" fmla="*/ 15763 h 284"/>
                <a:gd name="T14" fmla="*/ 60996 w 246"/>
                <a:gd name="T15" fmla="*/ 24170 h 284"/>
                <a:gd name="T16" fmla="*/ 66262 w 246"/>
                <a:gd name="T17" fmla="*/ 29950 h 284"/>
                <a:gd name="T18" fmla="*/ 72405 w 246"/>
                <a:gd name="T19" fmla="*/ 35204 h 284"/>
                <a:gd name="T20" fmla="*/ 83815 w 246"/>
                <a:gd name="T21" fmla="*/ 45713 h 284"/>
                <a:gd name="T22" fmla="*/ 89081 w 246"/>
                <a:gd name="T23" fmla="*/ 53069 h 284"/>
                <a:gd name="T24" fmla="*/ 93030 w 246"/>
                <a:gd name="T25" fmla="*/ 61476 h 284"/>
                <a:gd name="T26" fmla="*/ 99174 w 246"/>
                <a:gd name="T27" fmla="*/ 61476 h 284"/>
                <a:gd name="T28" fmla="*/ 96979 w 246"/>
                <a:gd name="T29" fmla="*/ 65155 h 284"/>
                <a:gd name="T30" fmla="*/ 96979 w 246"/>
                <a:gd name="T31" fmla="*/ 67782 h 284"/>
                <a:gd name="T32" fmla="*/ 100051 w 246"/>
                <a:gd name="T33" fmla="*/ 73562 h 284"/>
                <a:gd name="T34" fmla="*/ 104878 w 246"/>
                <a:gd name="T35" fmla="*/ 80918 h 284"/>
                <a:gd name="T36" fmla="*/ 107072 w 246"/>
                <a:gd name="T37" fmla="*/ 85121 h 284"/>
                <a:gd name="T38" fmla="*/ 107950 w 246"/>
                <a:gd name="T39" fmla="*/ 90901 h 284"/>
                <a:gd name="T40" fmla="*/ 105756 w 246"/>
                <a:gd name="T41" fmla="*/ 96681 h 284"/>
                <a:gd name="T42" fmla="*/ 102245 w 246"/>
                <a:gd name="T43" fmla="*/ 100885 h 284"/>
                <a:gd name="T44" fmla="*/ 97857 w 246"/>
                <a:gd name="T45" fmla="*/ 104037 h 284"/>
                <a:gd name="T46" fmla="*/ 96541 w 246"/>
                <a:gd name="T47" fmla="*/ 107190 h 284"/>
                <a:gd name="T48" fmla="*/ 82937 w 246"/>
                <a:gd name="T49" fmla="*/ 112970 h 284"/>
                <a:gd name="T50" fmla="*/ 71967 w 246"/>
                <a:gd name="T51" fmla="*/ 120851 h 284"/>
                <a:gd name="T52" fmla="*/ 49587 w 246"/>
                <a:gd name="T53" fmla="*/ 139242 h 284"/>
                <a:gd name="T54" fmla="*/ 38616 w 246"/>
                <a:gd name="T55" fmla="*/ 121377 h 284"/>
                <a:gd name="T56" fmla="*/ 34667 w 246"/>
                <a:gd name="T57" fmla="*/ 115597 h 284"/>
                <a:gd name="T58" fmla="*/ 31595 w 246"/>
                <a:gd name="T59" fmla="*/ 113495 h 284"/>
                <a:gd name="T60" fmla="*/ 26329 w 246"/>
                <a:gd name="T61" fmla="*/ 114021 h 284"/>
                <a:gd name="T62" fmla="*/ 23696 w 246"/>
                <a:gd name="T63" fmla="*/ 116122 h 284"/>
                <a:gd name="T64" fmla="*/ 21502 w 246"/>
                <a:gd name="T65" fmla="*/ 119800 h 284"/>
                <a:gd name="T66" fmla="*/ 21063 w 246"/>
                <a:gd name="T67" fmla="*/ 124004 h 284"/>
                <a:gd name="T68" fmla="*/ 19747 w 246"/>
                <a:gd name="T69" fmla="*/ 135038 h 284"/>
                <a:gd name="T70" fmla="*/ 17992 w 246"/>
                <a:gd name="T71" fmla="*/ 141869 h 284"/>
                <a:gd name="T72" fmla="*/ 14481 w 246"/>
                <a:gd name="T73" fmla="*/ 149225 h 284"/>
                <a:gd name="T74" fmla="*/ 11409 w 246"/>
                <a:gd name="T75" fmla="*/ 127682 h 284"/>
                <a:gd name="T76" fmla="*/ 7460 w 246"/>
                <a:gd name="T77" fmla="*/ 119275 h 284"/>
                <a:gd name="T78" fmla="*/ 4827 w 246"/>
                <a:gd name="T79" fmla="*/ 116122 h 284"/>
                <a:gd name="T80" fmla="*/ 0 w 246"/>
                <a:gd name="T81" fmla="*/ 113495 h 284"/>
                <a:gd name="T82" fmla="*/ 439 w 246"/>
                <a:gd name="T83" fmla="*/ 107190 h 284"/>
                <a:gd name="T84" fmla="*/ 1755 w 246"/>
                <a:gd name="T85" fmla="*/ 101410 h 284"/>
                <a:gd name="T86" fmla="*/ 6582 w 246"/>
                <a:gd name="T87" fmla="*/ 92477 h 284"/>
                <a:gd name="T88" fmla="*/ 13603 w 246"/>
                <a:gd name="T89" fmla="*/ 84596 h 284"/>
                <a:gd name="T90" fmla="*/ 20186 w 246"/>
                <a:gd name="T91" fmla="*/ 74087 h 284"/>
                <a:gd name="T92" fmla="*/ 14481 w 246"/>
                <a:gd name="T93" fmla="*/ 23119 h 28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246" h="284">
                  <a:moveTo>
                    <a:pt x="33" y="44"/>
                  </a:moveTo>
                  <a:lnTo>
                    <a:pt x="30" y="27"/>
                  </a:lnTo>
                  <a:lnTo>
                    <a:pt x="28" y="24"/>
                  </a:lnTo>
                  <a:lnTo>
                    <a:pt x="26" y="22"/>
                  </a:lnTo>
                  <a:lnTo>
                    <a:pt x="24" y="17"/>
                  </a:lnTo>
                  <a:lnTo>
                    <a:pt x="20" y="6"/>
                  </a:lnTo>
                  <a:lnTo>
                    <a:pt x="35" y="5"/>
                  </a:lnTo>
                  <a:lnTo>
                    <a:pt x="50" y="3"/>
                  </a:lnTo>
                  <a:lnTo>
                    <a:pt x="67" y="1"/>
                  </a:lnTo>
                  <a:lnTo>
                    <a:pt x="87" y="0"/>
                  </a:lnTo>
                  <a:lnTo>
                    <a:pt x="126" y="12"/>
                  </a:lnTo>
                  <a:lnTo>
                    <a:pt x="127" y="22"/>
                  </a:lnTo>
                  <a:lnTo>
                    <a:pt x="131" y="30"/>
                  </a:lnTo>
                  <a:lnTo>
                    <a:pt x="135" y="39"/>
                  </a:lnTo>
                  <a:lnTo>
                    <a:pt x="139" y="46"/>
                  </a:lnTo>
                  <a:lnTo>
                    <a:pt x="145" y="52"/>
                  </a:lnTo>
                  <a:lnTo>
                    <a:pt x="151" y="57"/>
                  </a:lnTo>
                  <a:lnTo>
                    <a:pt x="157" y="62"/>
                  </a:lnTo>
                  <a:lnTo>
                    <a:pt x="165" y="67"/>
                  </a:lnTo>
                  <a:lnTo>
                    <a:pt x="178" y="77"/>
                  </a:lnTo>
                  <a:lnTo>
                    <a:pt x="191" y="87"/>
                  </a:lnTo>
                  <a:lnTo>
                    <a:pt x="198" y="94"/>
                  </a:lnTo>
                  <a:lnTo>
                    <a:pt x="203" y="101"/>
                  </a:lnTo>
                  <a:lnTo>
                    <a:pt x="209" y="109"/>
                  </a:lnTo>
                  <a:lnTo>
                    <a:pt x="212" y="117"/>
                  </a:lnTo>
                  <a:lnTo>
                    <a:pt x="220" y="117"/>
                  </a:lnTo>
                  <a:lnTo>
                    <a:pt x="226" y="117"/>
                  </a:lnTo>
                  <a:lnTo>
                    <a:pt x="223" y="121"/>
                  </a:lnTo>
                  <a:lnTo>
                    <a:pt x="221" y="124"/>
                  </a:lnTo>
                  <a:lnTo>
                    <a:pt x="220" y="126"/>
                  </a:lnTo>
                  <a:lnTo>
                    <a:pt x="221" y="129"/>
                  </a:lnTo>
                  <a:lnTo>
                    <a:pt x="223" y="135"/>
                  </a:lnTo>
                  <a:lnTo>
                    <a:pt x="228" y="140"/>
                  </a:lnTo>
                  <a:lnTo>
                    <a:pt x="234" y="146"/>
                  </a:lnTo>
                  <a:lnTo>
                    <a:pt x="239" y="154"/>
                  </a:lnTo>
                  <a:lnTo>
                    <a:pt x="241" y="158"/>
                  </a:lnTo>
                  <a:lnTo>
                    <a:pt x="244" y="162"/>
                  </a:lnTo>
                  <a:lnTo>
                    <a:pt x="245" y="167"/>
                  </a:lnTo>
                  <a:lnTo>
                    <a:pt x="246" y="173"/>
                  </a:lnTo>
                  <a:lnTo>
                    <a:pt x="245" y="179"/>
                  </a:lnTo>
                  <a:lnTo>
                    <a:pt x="241" y="184"/>
                  </a:lnTo>
                  <a:lnTo>
                    <a:pt x="237" y="189"/>
                  </a:lnTo>
                  <a:lnTo>
                    <a:pt x="233" y="192"/>
                  </a:lnTo>
                  <a:lnTo>
                    <a:pt x="227" y="196"/>
                  </a:lnTo>
                  <a:lnTo>
                    <a:pt x="223" y="198"/>
                  </a:lnTo>
                  <a:lnTo>
                    <a:pt x="221" y="201"/>
                  </a:lnTo>
                  <a:lnTo>
                    <a:pt x="220" y="204"/>
                  </a:lnTo>
                  <a:lnTo>
                    <a:pt x="203" y="209"/>
                  </a:lnTo>
                  <a:lnTo>
                    <a:pt x="189" y="215"/>
                  </a:lnTo>
                  <a:lnTo>
                    <a:pt x="176" y="222"/>
                  </a:lnTo>
                  <a:lnTo>
                    <a:pt x="164" y="230"/>
                  </a:lnTo>
                  <a:lnTo>
                    <a:pt x="139" y="246"/>
                  </a:lnTo>
                  <a:lnTo>
                    <a:pt x="113" y="265"/>
                  </a:lnTo>
                  <a:lnTo>
                    <a:pt x="99" y="247"/>
                  </a:lnTo>
                  <a:lnTo>
                    <a:pt x="88" y="231"/>
                  </a:lnTo>
                  <a:lnTo>
                    <a:pt x="83" y="225"/>
                  </a:lnTo>
                  <a:lnTo>
                    <a:pt x="79" y="220"/>
                  </a:lnTo>
                  <a:lnTo>
                    <a:pt x="76" y="217"/>
                  </a:lnTo>
                  <a:lnTo>
                    <a:pt x="72" y="216"/>
                  </a:lnTo>
                  <a:lnTo>
                    <a:pt x="66" y="216"/>
                  </a:lnTo>
                  <a:lnTo>
                    <a:pt x="60" y="217"/>
                  </a:lnTo>
                  <a:lnTo>
                    <a:pt x="57" y="219"/>
                  </a:lnTo>
                  <a:lnTo>
                    <a:pt x="54" y="221"/>
                  </a:lnTo>
                  <a:lnTo>
                    <a:pt x="52" y="224"/>
                  </a:lnTo>
                  <a:lnTo>
                    <a:pt x="49" y="228"/>
                  </a:lnTo>
                  <a:lnTo>
                    <a:pt x="48" y="231"/>
                  </a:lnTo>
                  <a:lnTo>
                    <a:pt x="48" y="236"/>
                  </a:lnTo>
                  <a:lnTo>
                    <a:pt x="47" y="246"/>
                  </a:lnTo>
                  <a:lnTo>
                    <a:pt x="45" y="257"/>
                  </a:lnTo>
                  <a:lnTo>
                    <a:pt x="43" y="264"/>
                  </a:lnTo>
                  <a:lnTo>
                    <a:pt x="41" y="270"/>
                  </a:lnTo>
                  <a:lnTo>
                    <a:pt x="37" y="277"/>
                  </a:lnTo>
                  <a:lnTo>
                    <a:pt x="33" y="284"/>
                  </a:lnTo>
                  <a:lnTo>
                    <a:pt x="30" y="262"/>
                  </a:lnTo>
                  <a:lnTo>
                    <a:pt x="26" y="243"/>
                  </a:lnTo>
                  <a:lnTo>
                    <a:pt x="23" y="234"/>
                  </a:lnTo>
                  <a:lnTo>
                    <a:pt x="17" y="227"/>
                  </a:lnTo>
                  <a:lnTo>
                    <a:pt x="14" y="224"/>
                  </a:lnTo>
                  <a:lnTo>
                    <a:pt x="11" y="221"/>
                  </a:lnTo>
                  <a:lnTo>
                    <a:pt x="5" y="218"/>
                  </a:lnTo>
                  <a:lnTo>
                    <a:pt x="0" y="216"/>
                  </a:lnTo>
                  <a:lnTo>
                    <a:pt x="0" y="210"/>
                  </a:lnTo>
                  <a:lnTo>
                    <a:pt x="1" y="204"/>
                  </a:lnTo>
                  <a:lnTo>
                    <a:pt x="2" y="197"/>
                  </a:lnTo>
                  <a:lnTo>
                    <a:pt x="4" y="193"/>
                  </a:lnTo>
                  <a:lnTo>
                    <a:pt x="9" y="184"/>
                  </a:lnTo>
                  <a:lnTo>
                    <a:pt x="15" y="176"/>
                  </a:lnTo>
                  <a:lnTo>
                    <a:pt x="23" y="169"/>
                  </a:lnTo>
                  <a:lnTo>
                    <a:pt x="31" y="161"/>
                  </a:lnTo>
                  <a:lnTo>
                    <a:pt x="38" y="153"/>
                  </a:lnTo>
                  <a:lnTo>
                    <a:pt x="46" y="141"/>
                  </a:lnTo>
                  <a:lnTo>
                    <a:pt x="0" y="62"/>
                  </a:lnTo>
                  <a:lnTo>
                    <a:pt x="33" y="4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860" name="Freeform 354"/>
            <p:cNvSpPr>
              <a:spLocks/>
            </p:cNvSpPr>
            <p:nvPr>
              <p:custDataLst>
                <p:tags r:id="rId252"/>
              </p:custDataLst>
            </p:nvPr>
          </p:nvSpPr>
          <p:spPr bwMode="auto">
            <a:xfrm>
              <a:off x="6149938" y="2481256"/>
              <a:ext cx="81382" cy="72442"/>
            </a:xfrm>
            <a:custGeom>
              <a:avLst/>
              <a:gdLst>
                <a:gd name="T0" fmla="*/ 48637 w 160"/>
                <a:gd name="T1" fmla="*/ 0 h 117"/>
                <a:gd name="T2" fmla="*/ 48637 w 160"/>
                <a:gd name="T3" fmla="*/ 4640 h 117"/>
                <a:gd name="T4" fmla="*/ 48637 w 160"/>
                <a:gd name="T5" fmla="*/ 9281 h 117"/>
                <a:gd name="T6" fmla="*/ 49064 w 160"/>
                <a:gd name="T7" fmla="*/ 12890 h 117"/>
                <a:gd name="T8" fmla="*/ 49917 w 160"/>
                <a:gd name="T9" fmla="*/ 16499 h 117"/>
                <a:gd name="T10" fmla="*/ 50771 w 160"/>
                <a:gd name="T11" fmla="*/ 17530 h 117"/>
                <a:gd name="T12" fmla="*/ 51624 w 160"/>
                <a:gd name="T13" fmla="*/ 19077 h 117"/>
                <a:gd name="T14" fmla="*/ 52477 w 160"/>
                <a:gd name="T15" fmla="*/ 19593 h 117"/>
                <a:gd name="T16" fmla="*/ 54184 w 160"/>
                <a:gd name="T17" fmla="*/ 20108 h 117"/>
                <a:gd name="T18" fmla="*/ 55890 w 160"/>
                <a:gd name="T19" fmla="*/ 20624 h 117"/>
                <a:gd name="T20" fmla="*/ 57597 w 160"/>
                <a:gd name="T21" fmla="*/ 20108 h 117"/>
                <a:gd name="T22" fmla="*/ 59730 w 160"/>
                <a:gd name="T23" fmla="*/ 19593 h 117"/>
                <a:gd name="T24" fmla="*/ 62290 w 160"/>
                <a:gd name="T25" fmla="*/ 18562 h 117"/>
                <a:gd name="T26" fmla="*/ 63570 w 160"/>
                <a:gd name="T27" fmla="*/ 22171 h 117"/>
                <a:gd name="T28" fmla="*/ 65276 w 160"/>
                <a:gd name="T29" fmla="*/ 26811 h 117"/>
                <a:gd name="T30" fmla="*/ 66983 w 160"/>
                <a:gd name="T31" fmla="*/ 32998 h 117"/>
                <a:gd name="T32" fmla="*/ 68263 w 160"/>
                <a:gd name="T33" fmla="*/ 38154 h 117"/>
                <a:gd name="T34" fmla="*/ 56744 w 160"/>
                <a:gd name="T35" fmla="*/ 45373 h 117"/>
                <a:gd name="T36" fmla="*/ 45224 w 160"/>
                <a:gd name="T37" fmla="*/ 52591 h 117"/>
                <a:gd name="T38" fmla="*/ 39251 w 160"/>
                <a:gd name="T39" fmla="*/ 55169 h 117"/>
                <a:gd name="T40" fmla="*/ 32425 w 160"/>
                <a:gd name="T41" fmla="*/ 58263 h 117"/>
                <a:gd name="T42" fmla="*/ 26452 w 160"/>
                <a:gd name="T43" fmla="*/ 59809 h 117"/>
                <a:gd name="T44" fmla="*/ 20052 w 160"/>
                <a:gd name="T45" fmla="*/ 60325 h 117"/>
                <a:gd name="T46" fmla="*/ 13653 w 160"/>
                <a:gd name="T47" fmla="*/ 51044 h 117"/>
                <a:gd name="T48" fmla="*/ 8960 w 160"/>
                <a:gd name="T49" fmla="*/ 42795 h 117"/>
                <a:gd name="T50" fmla="*/ 4266 w 160"/>
                <a:gd name="T51" fmla="*/ 35576 h 117"/>
                <a:gd name="T52" fmla="*/ 0 w 160"/>
                <a:gd name="T53" fmla="*/ 28358 h 117"/>
                <a:gd name="T54" fmla="*/ 5546 w 160"/>
                <a:gd name="T55" fmla="*/ 24749 h 117"/>
                <a:gd name="T56" fmla="*/ 17492 w 160"/>
                <a:gd name="T57" fmla="*/ 16499 h 117"/>
                <a:gd name="T58" fmla="*/ 25599 w 160"/>
                <a:gd name="T59" fmla="*/ 11859 h 117"/>
                <a:gd name="T60" fmla="*/ 33278 w 160"/>
                <a:gd name="T61" fmla="*/ 7218 h 117"/>
                <a:gd name="T62" fmla="*/ 41384 w 160"/>
                <a:gd name="T63" fmla="*/ 3094 h 117"/>
                <a:gd name="T64" fmla="*/ 48637 w 160"/>
                <a:gd name="T65" fmla="*/ 0 h 11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60" h="117">
                  <a:moveTo>
                    <a:pt x="114" y="0"/>
                  </a:moveTo>
                  <a:lnTo>
                    <a:pt x="114" y="9"/>
                  </a:lnTo>
                  <a:lnTo>
                    <a:pt x="114" y="18"/>
                  </a:lnTo>
                  <a:lnTo>
                    <a:pt x="115" y="25"/>
                  </a:lnTo>
                  <a:lnTo>
                    <a:pt x="117" y="32"/>
                  </a:lnTo>
                  <a:lnTo>
                    <a:pt x="119" y="34"/>
                  </a:lnTo>
                  <a:lnTo>
                    <a:pt x="121" y="37"/>
                  </a:lnTo>
                  <a:lnTo>
                    <a:pt x="123" y="38"/>
                  </a:lnTo>
                  <a:lnTo>
                    <a:pt x="127" y="39"/>
                  </a:lnTo>
                  <a:lnTo>
                    <a:pt x="131" y="40"/>
                  </a:lnTo>
                  <a:lnTo>
                    <a:pt x="135" y="39"/>
                  </a:lnTo>
                  <a:lnTo>
                    <a:pt x="140" y="38"/>
                  </a:lnTo>
                  <a:lnTo>
                    <a:pt x="146" y="36"/>
                  </a:lnTo>
                  <a:lnTo>
                    <a:pt x="149" y="43"/>
                  </a:lnTo>
                  <a:lnTo>
                    <a:pt x="153" y="52"/>
                  </a:lnTo>
                  <a:lnTo>
                    <a:pt x="157" y="64"/>
                  </a:lnTo>
                  <a:lnTo>
                    <a:pt x="160" y="74"/>
                  </a:lnTo>
                  <a:lnTo>
                    <a:pt x="133" y="88"/>
                  </a:lnTo>
                  <a:lnTo>
                    <a:pt x="106" y="102"/>
                  </a:lnTo>
                  <a:lnTo>
                    <a:pt x="92" y="107"/>
                  </a:lnTo>
                  <a:lnTo>
                    <a:pt x="76" y="113"/>
                  </a:lnTo>
                  <a:lnTo>
                    <a:pt x="62" y="116"/>
                  </a:lnTo>
                  <a:lnTo>
                    <a:pt x="47" y="117"/>
                  </a:lnTo>
                  <a:lnTo>
                    <a:pt x="32" y="99"/>
                  </a:lnTo>
                  <a:lnTo>
                    <a:pt x="21" y="83"/>
                  </a:lnTo>
                  <a:lnTo>
                    <a:pt x="10" y="69"/>
                  </a:lnTo>
                  <a:lnTo>
                    <a:pt x="0" y="55"/>
                  </a:lnTo>
                  <a:lnTo>
                    <a:pt x="13" y="48"/>
                  </a:lnTo>
                  <a:lnTo>
                    <a:pt x="41" y="32"/>
                  </a:lnTo>
                  <a:lnTo>
                    <a:pt x="60" y="23"/>
                  </a:lnTo>
                  <a:lnTo>
                    <a:pt x="78" y="14"/>
                  </a:lnTo>
                  <a:lnTo>
                    <a:pt x="97" y="6"/>
                  </a:lnTo>
                  <a:lnTo>
                    <a:pt x="114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861" name="Freeform 355"/>
            <p:cNvSpPr>
              <a:spLocks/>
            </p:cNvSpPr>
            <p:nvPr>
              <p:custDataLst>
                <p:tags r:id="rId253"/>
              </p:custDataLst>
            </p:nvPr>
          </p:nvSpPr>
          <p:spPr bwMode="auto">
            <a:xfrm>
              <a:off x="6250246" y="3230464"/>
              <a:ext cx="490183" cy="733955"/>
            </a:xfrm>
            <a:custGeom>
              <a:avLst/>
              <a:gdLst>
                <a:gd name="T0" fmla="*/ 323523 w 943"/>
                <a:gd name="T1" fmla="*/ 2607 h 1172"/>
                <a:gd name="T2" fmla="*/ 333551 w 943"/>
                <a:gd name="T3" fmla="*/ 11994 h 1172"/>
                <a:gd name="T4" fmla="*/ 350120 w 943"/>
                <a:gd name="T5" fmla="*/ 15645 h 1172"/>
                <a:gd name="T6" fmla="*/ 354916 w 943"/>
                <a:gd name="T7" fmla="*/ 28682 h 1172"/>
                <a:gd name="T8" fmla="*/ 364072 w 943"/>
                <a:gd name="T9" fmla="*/ 56842 h 1172"/>
                <a:gd name="T10" fmla="*/ 364944 w 943"/>
                <a:gd name="T11" fmla="*/ 97519 h 1172"/>
                <a:gd name="T12" fmla="*/ 373665 w 943"/>
                <a:gd name="T13" fmla="*/ 126722 h 1172"/>
                <a:gd name="T14" fmla="*/ 402006 w 943"/>
                <a:gd name="T15" fmla="*/ 152275 h 1172"/>
                <a:gd name="T16" fmla="*/ 383257 w 943"/>
                <a:gd name="T17" fmla="*/ 188258 h 1172"/>
                <a:gd name="T18" fmla="*/ 371049 w 943"/>
                <a:gd name="T19" fmla="*/ 213811 h 1172"/>
                <a:gd name="T20" fmla="*/ 352736 w 943"/>
                <a:gd name="T21" fmla="*/ 331147 h 1172"/>
                <a:gd name="T22" fmla="*/ 335731 w 943"/>
                <a:gd name="T23" fmla="*/ 353049 h 1172"/>
                <a:gd name="T24" fmla="*/ 332679 w 943"/>
                <a:gd name="T25" fmla="*/ 375995 h 1172"/>
                <a:gd name="T26" fmla="*/ 324831 w 943"/>
                <a:gd name="T27" fmla="*/ 383296 h 1172"/>
                <a:gd name="T28" fmla="*/ 315239 w 943"/>
                <a:gd name="T29" fmla="*/ 416150 h 1172"/>
                <a:gd name="T30" fmla="*/ 301722 w 943"/>
                <a:gd name="T31" fmla="*/ 457347 h 1172"/>
                <a:gd name="T32" fmla="*/ 288642 w 943"/>
                <a:gd name="T33" fmla="*/ 470906 h 1172"/>
                <a:gd name="T34" fmla="*/ 289514 w 943"/>
                <a:gd name="T35" fmla="*/ 487072 h 1172"/>
                <a:gd name="T36" fmla="*/ 299106 w 943"/>
                <a:gd name="T37" fmla="*/ 489680 h 1172"/>
                <a:gd name="T38" fmla="*/ 309135 w 943"/>
                <a:gd name="T39" fmla="*/ 495416 h 1172"/>
                <a:gd name="T40" fmla="*/ 323523 w 943"/>
                <a:gd name="T41" fmla="*/ 506367 h 1172"/>
                <a:gd name="T42" fmla="*/ 329627 w 943"/>
                <a:gd name="T43" fmla="*/ 525141 h 1172"/>
                <a:gd name="T44" fmla="*/ 337912 w 943"/>
                <a:gd name="T45" fmla="*/ 543915 h 1172"/>
                <a:gd name="T46" fmla="*/ 350120 w 943"/>
                <a:gd name="T47" fmla="*/ 549130 h 1172"/>
                <a:gd name="T48" fmla="*/ 352736 w 943"/>
                <a:gd name="T49" fmla="*/ 570511 h 1172"/>
                <a:gd name="T50" fmla="*/ 313059 w 943"/>
                <a:gd name="T51" fmla="*/ 581462 h 1172"/>
                <a:gd name="T52" fmla="*/ 299542 w 943"/>
                <a:gd name="T53" fmla="*/ 603365 h 1172"/>
                <a:gd name="T54" fmla="*/ 260737 w 943"/>
                <a:gd name="T55" fmla="*/ 610144 h 1172"/>
                <a:gd name="T56" fmla="*/ 224548 w 943"/>
                <a:gd name="T57" fmla="*/ 603886 h 1172"/>
                <a:gd name="T58" fmla="*/ 202311 w 943"/>
                <a:gd name="T59" fmla="*/ 585634 h 1172"/>
                <a:gd name="T60" fmla="*/ 170046 w 943"/>
                <a:gd name="T61" fmla="*/ 586677 h 1172"/>
                <a:gd name="T62" fmla="*/ 139089 w 943"/>
                <a:gd name="T63" fmla="*/ 584069 h 1172"/>
                <a:gd name="T64" fmla="*/ 129496 w 943"/>
                <a:gd name="T65" fmla="*/ 575726 h 1172"/>
                <a:gd name="T66" fmla="*/ 128188 w 943"/>
                <a:gd name="T67" fmla="*/ 560602 h 1172"/>
                <a:gd name="T68" fmla="*/ 119468 w 943"/>
                <a:gd name="T69" fmla="*/ 536614 h 1172"/>
                <a:gd name="T70" fmla="*/ 94179 w 943"/>
                <a:gd name="T71" fmla="*/ 507932 h 1172"/>
                <a:gd name="T72" fmla="*/ 84151 w 943"/>
                <a:gd name="T73" fmla="*/ 482379 h 1172"/>
                <a:gd name="T74" fmla="*/ 66274 w 943"/>
                <a:gd name="T75" fmla="*/ 470906 h 1172"/>
                <a:gd name="T76" fmla="*/ 52322 w 943"/>
                <a:gd name="T77" fmla="*/ 441181 h 1172"/>
                <a:gd name="T78" fmla="*/ 42293 w 943"/>
                <a:gd name="T79" fmla="*/ 410935 h 1172"/>
                <a:gd name="T80" fmla="*/ 28341 w 943"/>
                <a:gd name="T81" fmla="*/ 395290 h 1172"/>
                <a:gd name="T82" fmla="*/ 14388 w 943"/>
                <a:gd name="T83" fmla="*/ 352528 h 1172"/>
                <a:gd name="T84" fmla="*/ 1744 w 943"/>
                <a:gd name="T85" fmla="*/ 318631 h 1172"/>
                <a:gd name="T86" fmla="*/ 7848 w 943"/>
                <a:gd name="T87" fmla="*/ 300900 h 1172"/>
                <a:gd name="T88" fmla="*/ 12644 w 943"/>
                <a:gd name="T89" fmla="*/ 271697 h 1172"/>
                <a:gd name="T90" fmla="*/ 27905 w 943"/>
                <a:gd name="T91" fmla="*/ 247187 h 1172"/>
                <a:gd name="T92" fmla="*/ 49270 w 943"/>
                <a:gd name="T93" fmla="*/ 115771 h 1172"/>
                <a:gd name="T94" fmla="*/ 53630 w 943"/>
                <a:gd name="T95" fmla="*/ 93347 h 1172"/>
                <a:gd name="T96" fmla="*/ 66710 w 943"/>
                <a:gd name="T97" fmla="*/ 89175 h 1172"/>
                <a:gd name="T98" fmla="*/ 69762 w 943"/>
                <a:gd name="T99" fmla="*/ 63622 h 1172"/>
                <a:gd name="T100" fmla="*/ 69326 w 943"/>
                <a:gd name="T101" fmla="*/ 34940 h 1172"/>
                <a:gd name="T102" fmla="*/ 296054 w 943"/>
                <a:gd name="T103" fmla="*/ 35983 h 117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862" name="Freeform 356"/>
            <p:cNvSpPr>
              <a:spLocks/>
            </p:cNvSpPr>
            <p:nvPr>
              <p:custDataLst>
                <p:tags r:id="rId254"/>
              </p:custDataLst>
            </p:nvPr>
          </p:nvSpPr>
          <p:spPr bwMode="auto">
            <a:xfrm>
              <a:off x="6827489" y="3638427"/>
              <a:ext cx="291461" cy="518535"/>
            </a:xfrm>
            <a:custGeom>
              <a:avLst/>
              <a:gdLst>
                <a:gd name="T0" fmla="*/ 43091 w 556"/>
                <a:gd name="T1" fmla="*/ 32688 h 819"/>
                <a:gd name="T2" fmla="*/ 49247 w 556"/>
                <a:gd name="T3" fmla="*/ 29525 h 819"/>
                <a:gd name="T4" fmla="*/ 56722 w 556"/>
                <a:gd name="T5" fmla="*/ 36379 h 819"/>
                <a:gd name="T6" fmla="*/ 65516 w 556"/>
                <a:gd name="T7" fmla="*/ 44814 h 819"/>
                <a:gd name="T8" fmla="*/ 75189 w 556"/>
                <a:gd name="T9" fmla="*/ 48505 h 819"/>
                <a:gd name="T10" fmla="*/ 94536 w 556"/>
                <a:gd name="T11" fmla="*/ 46396 h 819"/>
                <a:gd name="T12" fmla="*/ 113004 w 556"/>
                <a:gd name="T13" fmla="*/ 43233 h 819"/>
                <a:gd name="T14" fmla="*/ 127954 w 556"/>
                <a:gd name="T15" fmla="*/ 41651 h 819"/>
                <a:gd name="T16" fmla="*/ 132351 w 556"/>
                <a:gd name="T17" fmla="*/ 39015 h 819"/>
                <a:gd name="T18" fmla="*/ 132351 w 556"/>
                <a:gd name="T19" fmla="*/ 35852 h 819"/>
                <a:gd name="T20" fmla="*/ 156095 w 556"/>
                <a:gd name="T21" fmla="*/ 33215 h 819"/>
                <a:gd name="T22" fmla="*/ 190831 w 556"/>
                <a:gd name="T23" fmla="*/ 23725 h 819"/>
                <a:gd name="T24" fmla="*/ 210618 w 556"/>
                <a:gd name="T25" fmla="*/ 14762 h 819"/>
                <a:gd name="T26" fmla="*/ 226007 w 556"/>
                <a:gd name="T27" fmla="*/ 4218 h 819"/>
                <a:gd name="T28" fmla="*/ 240518 w 556"/>
                <a:gd name="T29" fmla="*/ 16344 h 819"/>
                <a:gd name="T30" fmla="*/ 244035 w 556"/>
                <a:gd name="T31" fmla="*/ 30052 h 819"/>
                <a:gd name="T32" fmla="*/ 242716 w 556"/>
                <a:gd name="T33" fmla="*/ 59577 h 819"/>
                <a:gd name="T34" fmla="*/ 233922 w 556"/>
                <a:gd name="T35" fmla="*/ 91738 h 819"/>
                <a:gd name="T36" fmla="*/ 220731 w 556"/>
                <a:gd name="T37" fmla="*/ 121790 h 819"/>
                <a:gd name="T38" fmla="*/ 196547 w 556"/>
                <a:gd name="T39" fmla="*/ 169240 h 819"/>
                <a:gd name="T40" fmla="*/ 185994 w 556"/>
                <a:gd name="T41" fmla="*/ 197711 h 819"/>
                <a:gd name="T42" fmla="*/ 180278 w 556"/>
                <a:gd name="T43" fmla="*/ 218800 h 819"/>
                <a:gd name="T44" fmla="*/ 166648 w 556"/>
                <a:gd name="T45" fmla="*/ 249379 h 819"/>
                <a:gd name="T46" fmla="*/ 145102 w 556"/>
                <a:gd name="T47" fmla="*/ 279958 h 819"/>
                <a:gd name="T48" fmla="*/ 126635 w 556"/>
                <a:gd name="T49" fmla="*/ 298411 h 819"/>
                <a:gd name="T50" fmla="*/ 105089 w 556"/>
                <a:gd name="T51" fmla="*/ 316337 h 819"/>
                <a:gd name="T52" fmla="*/ 73870 w 556"/>
                <a:gd name="T53" fmla="*/ 343226 h 819"/>
                <a:gd name="T54" fmla="*/ 62878 w 556"/>
                <a:gd name="T55" fmla="*/ 358515 h 819"/>
                <a:gd name="T56" fmla="*/ 57601 w 556"/>
                <a:gd name="T57" fmla="*/ 369060 h 819"/>
                <a:gd name="T58" fmla="*/ 51006 w 556"/>
                <a:gd name="T59" fmla="*/ 378023 h 819"/>
                <a:gd name="T60" fmla="*/ 31219 w 556"/>
                <a:gd name="T61" fmla="*/ 392785 h 819"/>
                <a:gd name="T62" fmla="*/ 8354 w 556"/>
                <a:gd name="T63" fmla="*/ 422310 h 819"/>
                <a:gd name="T64" fmla="*/ 879 w 556"/>
                <a:gd name="T65" fmla="*/ 297357 h 819"/>
                <a:gd name="T66" fmla="*/ 1319 w 556"/>
                <a:gd name="T67" fmla="*/ 292084 h 819"/>
                <a:gd name="T68" fmla="*/ 11872 w 556"/>
                <a:gd name="T69" fmla="*/ 281013 h 819"/>
                <a:gd name="T70" fmla="*/ 18468 w 556"/>
                <a:gd name="T71" fmla="*/ 272050 h 819"/>
                <a:gd name="T72" fmla="*/ 26382 w 556"/>
                <a:gd name="T73" fmla="*/ 262032 h 819"/>
                <a:gd name="T74" fmla="*/ 48807 w 556"/>
                <a:gd name="T75" fmla="*/ 253070 h 819"/>
                <a:gd name="T76" fmla="*/ 52325 w 556"/>
                <a:gd name="T77" fmla="*/ 247797 h 819"/>
                <a:gd name="T78" fmla="*/ 56722 w 556"/>
                <a:gd name="T79" fmla="*/ 238307 h 819"/>
                <a:gd name="T80" fmla="*/ 66835 w 556"/>
                <a:gd name="T81" fmla="*/ 231980 h 819"/>
                <a:gd name="T82" fmla="*/ 76508 w 556"/>
                <a:gd name="T83" fmla="*/ 231453 h 819"/>
                <a:gd name="T84" fmla="*/ 86182 w 556"/>
                <a:gd name="T85" fmla="*/ 231453 h 819"/>
                <a:gd name="T86" fmla="*/ 100252 w 556"/>
                <a:gd name="T87" fmla="*/ 226181 h 819"/>
                <a:gd name="T88" fmla="*/ 110366 w 556"/>
                <a:gd name="T89" fmla="*/ 213527 h 819"/>
                <a:gd name="T90" fmla="*/ 116521 w 556"/>
                <a:gd name="T91" fmla="*/ 199820 h 819"/>
                <a:gd name="T92" fmla="*/ 130152 w 556"/>
                <a:gd name="T93" fmla="*/ 182948 h 819"/>
                <a:gd name="T94" fmla="*/ 155655 w 556"/>
                <a:gd name="T95" fmla="*/ 154478 h 819"/>
                <a:gd name="T96" fmla="*/ 165768 w 556"/>
                <a:gd name="T97" fmla="*/ 140243 h 819"/>
                <a:gd name="T98" fmla="*/ 142464 w 556"/>
                <a:gd name="T99" fmla="*/ 129698 h 819"/>
                <a:gd name="T100" fmla="*/ 113004 w 556"/>
                <a:gd name="T101" fmla="*/ 120208 h 819"/>
                <a:gd name="T102" fmla="*/ 80905 w 556"/>
                <a:gd name="T103" fmla="*/ 110191 h 819"/>
                <a:gd name="T104" fmla="*/ 65516 w 556"/>
                <a:gd name="T105" fmla="*/ 98592 h 819"/>
                <a:gd name="T106" fmla="*/ 49247 w 556"/>
                <a:gd name="T107" fmla="*/ 81193 h 819"/>
                <a:gd name="T108" fmla="*/ 39134 w 556"/>
                <a:gd name="T109" fmla="*/ 63795 h 819"/>
                <a:gd name="T110" fmla="*/ 33857 w 556"/>
                <a:gd name="T111" fmla="*/ 42178 h 819"/>
                <a:gd name="T112" fmla="*/ 28581 w 556"/>
                <a:gd name="T113" fmla="*/ 45869 h 819"/>
                <a:gd name="T114" fmla="*/ 36935 w 556"/>
                <a:gd name="T115" fmla="*/ 35852 h 819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556" h="819">
                  <a:moveTo>
                    <a:pt x="84" y="68"/>
                  </a:moveTo>
                  <a:lnTo>
                    <a:pt x="90" y="66"/>
                  </a:lnTo>
                  <a:lnTo>
                    <a:pt x="98" y="62"/>
                  </a:lnTo>
                  <a:lnTo>
                    <a:pt x="103" y="59"/>
                  </a:lnTo>
                  <a:lnTo>
                    <a:pt x="108" y="58"/>
                  </a:lnTo>
                  <a:lnTo>
                    <a:pt x="112" y="56"/>
                  </a:lnTo>
                  <a:lnTo>
                    <a:pt x="118" y="56"/>
                  </a:lnTo>
                  <a:lnTo>
                    <a:pt x="122" y="62"/>
                  </a:lnTo>
                  <a:lnTo>
                    <a:pt x="129" y="69"/>
                  </a:lnTo>
                  <a:lnTo>
                    <a:pt x="134" y="75"/>
                  </a:lnTo>
                  <a:lnTo>
                    <a:pt x="141" y="81"/>
                  </a:lnTo>
                  <a:lnTo>
                    <a:pt x="149" y="85"/>
                  </a:lnTo>
                  <a:lnTo>
                    <a:pt x="155" y="89"/>
                  </a:lnTo>
                  <a:lnTo>
                    <a:pt x="163" y="91"/>
                  </a:lnTo>
                  <a:lnTo>
                    <a:pt x="171" y="92"/>
                  </a:lnTo>
                  <a:lnTo>
                    <a:pt x="186" y="91"/>
                  </a:lnTo>
                  <a:lnTo>
                    <a:pt x="200" y="90"/>
                  </a:lnTo>
                  <a:lnTo>
                    <a:pt x="215" y="88"/>
                  </a:lnTo>
                  <a:lnTo>
                    <a:pt x="230" y="86"/>
                  </a:lnTo>
                  <a:lnTo>
                    <a:pt x="244" y="84"/>
                  </a:lnTo>
                  <a:lnTo>
                    <a:pt x="257" y="82"/>
                  </a:lnTo>
                  <a:lnTo>
                    <a:pt x="271" y="80"/>
                  </a:lnTo>
                  <a:lnTo>
                    <a:pt x="284" y="80"/>
                  </a:lnTo>
                  <a:lnTo>
                    <a:pt x="291" y="79"/>
                  </a:lnTo>
                  <a:lnTo>
                    <a:pt x="297" y="78"/>
                  </a:lnTo>
                  <a:lnTo>
                    <a:pt x="300" y="76"/>
                  </a:lnTo>
                  <a:lnTo>
                    <a:pt x="301" y="74"/>
                  </a:lnTo>
                  <a:lnTo>
                    <a:pt x="301" y="72"/>
                  </a:lnTo>
                  <a:lnTo>
                    <a:pt x="301" y="70"/>
                  </a:lnTo>
                  <a:lnTo>
                    <a:pt x="301" y="68"/>
                  </a:lnTo>
                  <a:lnTo>
                    <a:pt x="303" y="68"/>
                  </a:lnTo>
                  <a:lnTo>
                    <a:pt x="327" y="67"/>
                  </a:lnTo>
                  <a:lnTo>
                    <a:pt x="355" y="63"/>
                  </a:lnTo>
                  <a:lnTo>
                    <a:pt x="386" y="58"/>
                  </a:lnTo>
                  <a:lnTo>
                    <a:pt x="418" y="50"/>
                  </a:lnTo>
                  <a:lnTo>
                    <a:pt x="434" y="45"/>
                  </a:lnTo>
                  <a:lnTo>
                    <a:pt x="450" y="40"/>
                  </a:lnTo>
                  <a:lnTo>
                    <a:pt x="465" y="34"/>
                  </a:lnTo>
                  <a:lnTo>
                    <a:pt x="479" y="28"/>
                  </a:lnTo>
                  <a:lnTo>
                    <a:pt x="492" y="22"/>
                  </a:lnTo>
                  <a:lnTo>
                    <a:pt x="504" y="15"/>
                  </a:lnTo>
                  <a:lnTo>
                    <a:pt x="514" y="8"/>
                  </a:lnTo>
                  <a:lnTo>
                    <a:pt x="523" y="0"/>
                  </a:lnTo>
                  <a:lnTo>
                    <a:pt x="536" y="17"/>
                  </a:lnTo>
                  <a:lnTo>
                    <a:pt x="547" y="31"/>
                  </a:lnTo>
                  <a:lnTo>
                    <a:pt x="551" y="39"/>
                  </a:lnTo>
                  <a:lnTo>
                    <a:pt x="554" y="48"/>
                  </a:lnTo>
                  <a:lnTo>
                    <a:pt x="555" y="57"/>
                  </a:lnTo>
                  <a:lnTo>
                    <a:pt x="556" y="68"/>
                  </a:lnTo>
                  <a:lnTo>
                    <a:pt x="555" y="90"/>
                  </a:lnTo>
                  <a:lnTo>
                    <a:pt x="552" y="113"/>
                  </a:lnTo>
                  <a:lnTo>
                    <a:pt x="546" y="133"/>
                  </a:lnTo>
                  <a:lnTo>
                    <a:pt x="540" y="153"/>
                  </a:lnTo>
                  <a:lnTo>
                    <a:pt x="532" y="174"/>
                  </a:lnTo>
                  <a:lnTo>
                    <a:pt x="523" y="193"/>
                  </a:lnTo>
                  <a:lnTo>
                    <a:pt x="512" y="212"/>
                  </a:lnTo>
                  <a:lnTo>
                    <a:pt x="502" y="231"/>
                  </a:lnTo>
                  <a:lnTo>
                    <a:pt x="479" y="267"/>
                  </a:lnTo>
                  <a:lnTo>
                    <a:pt x="458" y="303"/>
                  </a:lnTo>
                  <a:lnTo>
                    <a:pt x="447" y="321"/>
                  </a:lnTo>
                  <a:lnTo>
                    <a:pt x="439" y="339"/>
                  </a:lnTo>
                  <a:lnTo>
                    <a:pt x="430" y="357"/>
                  </a:lnTo>
                  <a:lnTo>
                    <a:pt x="423" y="375"/>
                  </a:lnTo>
                  <a:lnTo>
                    <a:pt x="419" y="390"/>
                  </a:lnTo>
                  <a:lnTo>
                    <a:pt x="414" y="403"/>
                  </a:lnTo>
                  <a:lnTo>
                    <a:pt x="410" y="415"/>
                  </a:lnTo>
                  <a:lnTo>
                    <a:pt x="404" y="427"/>
                  </a:lnTo>
                  <a:lnTo>
                    <a:pt x="392" y="452"/>
                  </a:lnTo>
                  <a:lnTo>
                    <a:pt x="379" y="473"/>
                  </a:lnTo>
                  <a:lnTo>
                    <a:pt x="364" y="495"/>
                  </a:lnTo>
                  <a:lnTo>
                    <a:pt x="347" y="514"/>
                  </a:lnTo>
                  <a:lnTo>
                    <a:pt x="330" y="531"/>
                  </a:lnTo>
                  <a:lnTo>
                    <a:pt x="310" y="549"/>
                  </a:lnTo>
                  <a:lnTo>
                    <a:pt x="300" y="558"/>
                  </a:lnTo>
                  <a:lnTo>
                    <a:pt x="288" y="566"/>
                  </a:lnTo>
                  <a:lnTo>
                    <a:pt x="277" y="575"/>
                  </a:lnTo>
                  <a:lnTo>
                    <a:pt x="264" y="583"/>
                  </a:lnTo>
                  <a:lnTo>
                    <a:pt x="239" y="600"/>
                  </a:lnTo>
                  <a:lnTo>
                    <a:pt x="213" y="617"/>
                  </a:lnTo>
                  <a:lnTo>
                    <a:pt x="189" y="634"/>
                  </a:lnTo>
                  <a:lnTo>
                    <a:pt x="168" y="651"/>
                  </a:lnTo>
                  <a:lnTo>
                    <a:pt x="159" y="661"/>
                  </a:lnTo>
                  <a:lnTo>
                    <a:pt x="150" y="670"/>
                  </a:lnTo>
                  <a:lnTo>
                    <a:pt x="143" y="680"/>
                  </a:lnTo>
                  <a:lnTo>
                    <a:pt x="138" y="690"/>
                  </a:lnTo>
                  <a:lnTo>
                    <a:pt x="134" y="695"/>
                  </a:lnTo>
                  <a:lnTo>
                    <a:pt x="131" y="700"/>
                  </a:lnTo>
                  <a:lnTo>
                    <a:pt x="128" y="705"/>
                  </a:lnTo>
                  <a:lnTo>
                    <a:pt x="125" y="709"/>
                  </a:lnTo>
                  <a:lnTo>
                    <a:pt x="116" y="717"/>
                  </a:lnTo>
                  <a:lnTo>
                    <a:pt x="107" y="723"/>
                  </a:lnTo>
                  <a:lnTo>
                    <a:pt x="88" y="733"/>
                  </a:lnTo>
                  <a:lnTo>
                    <a:pt x="71" y="745"/>
                  </a:lnTo>
                  <a:lnTo>
                    <a:pt x="52" y="763"/>
                  </a:lnTo>
                  <a:lnTo>
                    <a:pt x="36" y="783"/>
                  </a:lnTo>
                  <a:lnTo>
                    <a:pt x="19" y="801"/>
                  </a:lnTo>
                  <a:lnTo>
                    <a:pt x="5" y="819"/>
                  </a:lnTo>
                  <a:lnTo>
                    <a:pt x="5" y="567"/>
                  </a:lnTo>
                  <a:lnTo>
                    <a:pt x="2" y="564"/>
                  </a:lnTo>
                  <a:lnTo>
                    <a:pt x="0" y="560"/>
                  </a:lnTo>
                  <a:lnTo>
                    <a:pt x="0" y="557"/>
                  </a:lnTo>
                  <a:lnTo>
                    <a:pt x="3" y="554"/>
                  </a:lnTo>
                  <a:lnTo>
                    <a:pt x="8" y="547"/>
                  </a:lnTo>
                  <a:lnTo>
                    <a:pt x="17" y="540"/>
                  </a:lnTo>
                  <a:lnTo>
                    <a:pt x="27" y="533"/>
                  </a:lnTo>
                  <a:lnTo>
                    <a:pt x="36" y="525"/>
                  </a:lnTo>
                  <a:lnTo>
                    <a:pt x="39" y="521"/>
                  </a:lnTo>
                  <a:lnTo>
                    <a:pt x="42" y="516"/>
                  </a:lnTo>
                  <a:lnTo>
                    <a:pt x="43" y="511"/>
                  </a:lnTo>
                  <a:lnTo>
                    <a:pt x="44" y="505"/>
                  </a:lnTo>
                  <a:lnTo>
                    <a:pt x="60" y="497"/>
                  </a:lnTo>
                  <a:lnTo>
                    <a:pt x="75" y="490"/>
                  </a:lnTo>
                  <a:lnTo>
                    <a:pt x="92" y="485"/>
                  </a:lnTo>
                  <a:lnTo>
                    <a:pt x="111" y="480"/>
                  </a:lnTo>
                  <a:lnTo>
                    <a:pt x="114" y="479"/>
                  </a:lnTo>
                  <a:lnTo>
                    <a:pt x="116" y="475"/>
                  </a:lnTo>
                  <a:lnTo>
                    <a:pt x="119" y="470"/>
                  </a:lnTo>
                  <a:lnTo>
                    <a:pt x="121" y="464"/>
                  </a:lnTo>
                  <a:lnTo>
                    <a:pt x="125" y="458"/>
                  </a:lnTo>
                  <a:lnTo>
                    <a:pt x="129" y="452"/>
                  </a:lnTo>
                  <a:lnTo>
                    <a:pt x="132" y="447"/>
                  </a:lnTo>
                  <a:lnTo>
                    <a:pt x="138" y="444"/>
                  </a:lnTo>
                  <a:lnTo>
                    <a:pt x="152" y="440"/>
                  </a:lnTo>
                  <a:lnTo>
                    <a:pt x="162" y="439"/>
                  </a:lnTo>
                  <a:lnTo>
                    <a:pt x="168" y="438"/>
                  </a:lnTo>
                  <a:lnTo>
                    <a:pt x="174" y="439"/>
                  </a:lnTo>
                  <a:lnTo>
                    <a:pt x="179" y="439"/>
                  </a:lnTo>
                  <a:lnTo>
                    <a:pt x="186" y="440"/>
                  </a:lnTo>
                  <a:lnTo>
                    <a:pt x="196" y="439"/>
                  </a:lnTo>
                  <a:lnTo>
                    <a:pt x="210" y="438"/>
                  </a:lnTo>
                  <a:lnTo>
                    <a:pt x="220" y="434"/>
                  </a:lnTo>
                  <a:lnTo>
                    <a:pt x="228" y="429"/>
                  </a:lnTo>
                  <a:lnTo>
                    <a:pt x="235" y="424"/>
                  </a:lnTo>
                  <a:lnTo>
                    <a:pt x="241" y="418"/>
                  </a:lnTo>
                  <a:lnTo>
                    <a:pt x="251" y="405"/>
                  </a:lnTo>
                  <a:lnTo>
                    <a:pt x="257" y="394"/>
                  </a:lnTo>
                  <a:lnTo>
                    <a:pt x="261" y="387"/>
                  </a:lnTo>
                  <a:lnTo>
                    <a:pt x="265" y="379"/>
                  </a:lnTo>
                  <a:lnTo>
                    <a:pt x="272" y="371"/>
                  </a:lnTo>
                  <a:lnTo>
                    <a:pt x="278" y="363"/>
                  </a:lnTo>
                  <a:lnTo>
                    <a:pt x="296" y="347"/>
                  </a:lnTo>
                  <a:lnTo>
                    <a:pt x="316" y="329"/>
                  </a:lnTo>
                  <a:lnTo>
                    <a:pt x="335" y="310"/>
                  </a:lnTo>
                  <a:lnTo>
                    <a:pt x="354" y="293"/>
                  </a:lnTo>
                  <a:lnTo>
                    <a:pt x="363" y="284"/>
                  </a:lnTo>
                  <a:lnTo>
                    <a:pt x="370" y="276"/>
                  </a:lnTo>
                  <a:lnTo>
                    <a:pt x="377" y="266"/>
                  </a:lnTo>
                  <a:lnTo>
                    <a:pt x="384" y="258"/>
                  </a:lnTo>
                  <a:lnTo>
                    <a:pt x="351" y="252"/>
                  </a:lnTo>
                  <a:lnTo>
                    <a:pt x="324" y="246"/>
                  </a:lnTo>
                  <a:lnTo>
                    <a:pt x="300" y="240"/>
                  </a:lnTo>
                  <a:lnTo>
                    <a:pt x="278" y="234"/>
                  </a:lnTo>
                  <a:lnTo>
                    <a:pt x="257" y="228"/>
                  </a:lnTo>
                  <a:lnTo>
                    <a:pt x="235" y="223"/>
                  </a:lnTo>
                  <a:lnTo>
                    <a:pt x="211" y="216"/>
                  </a:lnTo>
                  <a:lnTo>
                    <a:pt x="184" y="209"/>
                  </a:lnTo>
                  <a:lnTo>
                    <a:pt x="177" y="205"/>
                  </a:lnTo>
                  <a:lnTo>
                    <a:pt x="165" y="198"/>
                  </a:lnTo>
                  <a:lnTo>
                    <a:pt x="149" y="187"/>
                  </a:lnTo>
                  <a:lnTo>
                    <a:pt x="131" y="173"/>
                  </a:lnTo>
                  <a:lnTo>
                    <a:pt x="121" y="164"/>
                  </a:lnTo>
                  <a:lnTo>
                    <a:pt x="112" y="154"/>
                  </a:lnTo>
                  <a:lnTo>
                    <a:pt x="104" y="144"/>
                  </a:lnTo>
                  <a:lnTo>
                    <a:pt x="96" y="133"/>
                  </a:lnTo>
                  <a:lnTo>
                    <a:pt x="89" y="121"/>
                  </a:lnTo>
                  <a:lnTo>
                    <a:pt x="84" y="109"/>
                  </a:lnTo>
                  <a:lnTo>
                    <a:pt x="79" y="94"/>
                  </a:lnTo>
                  <a:lnTo>
                    <a:pt x="77" y="80"/>
                  </a:lnTo>
                  <a:lnTo>
                    <a:pt x="69" y="86"/>
                  </a:lnTo>
                  <a:lnTo>
                    <a:pt x="64" y="88"/>
                  </a:lnTo>
                  <a:lnTo>
                    <a:pt x="65" y="87"/>
                  </a:lnTo>
                  <a:lnTo>
                    <a:pt x="69" y="83"/>
                  </a:lnTo>
                  <a:lnTo>
                    <a:pt x="78" y="73"/>
                  </a:lnTo>
                  <a:lnTo>
                    <a:pt x="84" y="6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863" name="Freeform 357"/>
            <p:cNvSpPr>
              <a:spLocks/>
            </p:cNvSpPr>
            <p:nvPr>
              <p:custDataLst>
                <p:tags r:id="rId255"/>
              </p:custDataLst>
            </p:nvPr>
          </p:nvSpPr>
          <p:spPr bwMode="auto">
            <a:xfrm>
              <a:off x="6836952" y="3623177"/>
              <a:ext cx="45422" cy="70535"/>
            </a:xfrm>
            <a:custGeom>
              <a:avLst/>
              <a:gdLst>
                <a:gd name="T0" fmla="*/ 26138 w 86"/>
                <a:gd name="T1" fmla="*/ 0 h 97"/>
                <a:gd name="T2" fmla="*/ 24809 w 86"/>
                <a:gd name="T3" fmla="*/ 1211 h 97"/>
                <a:gd name="T4" fmla="*/ 23037 w 86"/>
                <a:gd name="T5" fmla="*/ 1817 h 97"/>
                <a:gd name="T6" fmla="*/ 20379 w 86"/>
                <a:gd name="T7" fmla="*/ 1817 h 97"/>
                <a:gd name="T8" fmla="*/ 17721 w 86"/>
                <a:gd name="T9" fmla="*/ 1817 h 97"/>
                <a:gd name="T10" fmla="*/ 14620 w 86"/>
                <a:gd name="T11" fmla="*/ 1817 h 97"/>
                <a:gd name="T12" fmla="*/ 11962 w 86"/>
                <a:gd name="T13" fmla="*/ 1817 h 97"/>
                <a:gd name="T14" fmla="*/ 10190 w 86"/>
                <a:gd name="T15" fmla="*/ 2422 h 97"/>
                <a:gd name="T16" fmla="*/ 8860 w 86"/>
                <a:gd name="T17" fmla="*/ 3633 h 97"/>
                <a:gd name="T18" fmla="*/ 7088 w 86"/>
                <a:gd name="T19" fmla="*/ 5450 h 97"/>
                <a:gd name="T20" fmla="*/ 5759 w 86"/>
                <a:gd name="T21" fmla="*/ 7266 h 97"/>
                <a:gd name="T22" fmla="*/ 4873 w 86"/>
                <a:gd name="T23" fmla="*/ 9083 h 97"/>
                <a:gd name="T24" fmla="*/ 3544 w 86"/>
                <a:gd name="T25" fmla="*/ 12111 h 97"/>
                <a:gd name="T26" fmla="*/ 1772 w 86"/>
                <a:gd name="T27" fmla="*/ 17561 h 97"/>
                <a:gd name="T28" fmla="*/ 886 w 86"/>
                <a:gd name="T29" fmla="*/ 23010 h 97"/>
                <a:gd name="T30" fmla="*/ 0 w 86"/>
                <a:gd name="T31" fmla="*/ 34516 h 97"/>
                <a:gd name="T32" fmla="*/ 0 w 86"/>
                <a:gd name="T33" fmla="*/ 45415 h 97"/>
                <a:gd name="T34" fmla="*/ 0 w 86"/>
                <a:gd name="T35" fmla="*/ 49048 h 97"/>
                <a:gd name="T36" fmla="*/ 443 w 86"/>
                <a:gd name="T37" fmla="*/ 52076 h 97"/>
                <a:gd name="T38" fmla="*/ 1329 w 86"/>
                <a:gd name="T39" fmla="*/ 54498 h 97"/>
                <a:gd name="T40" fmla="*/ 3101 w 86"/>
                <a:gd name="T41" fmla="*/ 56315 h 97"/>
                <a:gd name="T42" fmla="*/ 4430 w 86"/>
                <a:gd name="T43" fmla="*/ 57526 h 97"/>
                <a:gd name="T44" fmla="*/ 5759 w 86"/>
                <a:gd name="T45" fmla="*/ 58131 h 97"/>
                <a:gd name="T46" fmla="*/ 7974 w 86"/>
                <a:gd name="T47" fmla="*/ 58737 h 97"/>
                <a:gd name="T48" fmla="*/ 9303 w 86"/>
                <a:gd name="T49" fmla="*/ 58737 h 97"/>
                <a:gd name="T50" fmla="*/ 17721 w 86"/>
                <a:gd name="T51" fmla="*/ 57526 h 97"/>
                <a:gd name="T52" fmla="*/ 23480 w 86"/>
                <a:gd name="T53" fmla="*/ 56315 h 97"/>
                <a:gd name="T54" fmla="*/ 38100 w 86"/>
                <a:gd name="T55" fmla="*/ 41176 h 97"/>
                <a:gd name="T56" fmla="*/ 26138 w 86"/>
                <a:gd name="T57" fmla="*/ 0 h 97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86" h="97">
                  <a:moveTo>
                    <a:pt x="59" y="0"/>
                  </a:moveTo>
                  <a:lnTo>
                    <a:pt x="56" y="2"/>
                  </a:lnTo>
                  <a:lnTo>
                    <a:pt x="52" y="3"/>
                  </a:lnTo>
                  <a:lnTo>
                    <a:pt x="46" y="3"/>
                  </a:lnTo>
                  <a:lnTo>
                    <a:pt x="40" y="3"/>
                  </a:lnTo>
                  <a:lnTo>
                    <a:pt x="33" y="3"/>
                  </a:lnTo>
                  <a:lnTo>
                    <a:pt x="27" y="3"/>
                  </a:lnTo>
                  <a:lnTo>
                    <a:pt x="23" y="4"/>
                  </a:lnTo>
                  <a:lnTo>
                    <a:pt x="20" y="6"/>
                  </a:lnTo>
                  <a:lnTo>
                    <a:pt x="16" y="9"/>
                  </a:lnTo>
                  <a:lnTo>
                    <a:pt x="13" y="12"/>
                  </a:lnTo>
                  <a:lnTo>
                    <a:pt x="11" y="15"/>
                  </a:lnTo>
                  <a:lnTo>
                    <a:pt x="8" y="20"/>
                  </a:lnTo>
                  <a:lnTo>
                    <a:pt x="4" y="29"/>
                  </a:lnTo>
                  <a:lnTo>
                    <a:pt x="2" y="38"/>
                  </a:lnTo>
                  <a:lnTo>
                    <a:pt x="0" y="57"/>
                  </a:lnTo>
                  <a:lnTo>
                    <a:pt x="0" y="75"/>
                  </a:lnTo>
                  <a:lnTo>
                    <a:pt x="0" y="81"/>
                  </a:lnTo>
                  <a:lnTo>
                    <a:pt x="1" y="86"/>
                  </a:lnTo>
                  <a:lnTo>
                    <a:pt x="3" y="90"/>
                  </a:lnTo>
                  <a:lnTo>
                    <a:pt x="7" y="93"/>
                  </a:lnTo>
                  <a:lnTo>
                    <a:pt x="10" y="95"/>
                  </a:lnTo>
                  <a:lnTo>
                    <a:pt x="13" y="96"/>
                  </a:lnTo>
                  <a:lnTo>
                    <a:pt x="18" y="97"/>
                  </a:lnTo>
                  <a:lnTo>
                    <a:pt x="21" y="97"/>
                  </a:lnTo>
                  <a:lnTo>
                    <a:pt x="40" y="95"/>
                  </a:lnTo>
                  <a:lnTo>
                    <a:pt x="53" y="93"/>
                  </a:lnTo>
                  <a:lnTo>
                    <a:pt x="86" y="68"/>
                  </a:lnTo>
                  <a:lnTo>
                    <a:pt x="59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864" name="Freeform 358"/>
            <p:cNvSpPr>
              <a:spLocks/>
            </p:cNvSpPr>
            <p:nvPr>
              <p:custDataLst>
                <p:tags r:id="rId256"/>
              </p:custDataLst>
            </p:nvPr>
          </p:nvSpPr>
          <p:spPr bwMode="auto">
            <a:xfrm>
              <a:off x="6596591" y="3516420"/>
              <a:ext cx="433406" cy="451811"/>
            </a:xfrm>
            <a:custGeom>
              <a:avLst/>
              <a:gdLst>
                <a:gd name="T0" fmla="*/ 78300 w 845"/>
                <a:gd name="T1" fmla="*/ 18812 h 720"/>
                <a:gd name="T2" fmla="*/ 88196 w 845"/>
                <a:gd name="T3" fmla="*/ 14631 h 720"/>
                <a:gd name="T4" fmla="*/ 106265 w 845"/>
                <a:gd name="T5" fmla="*/ 0 h 720"/>
                <a:gd name="T6" fmla="*/ 117451 w 845"/>
                <a:gd name="T7" fmla="*/ 6271 h 720"/>
                <a:gd name="T8" fmla="*/ 140683 w 845"/>
                <a:gd name="T9" fmla="*/ 19334 h 720"/>
                <a:gd name="T10" fmla="*/ 163485 w 845"/>
                <a:gd name="T11" fmla="*/ 35011 h 720"/>
                <a:gd name="T12" fmla="*/ 183275 w 845"/>
                <a:gd name="T13" fmla="*/ 51210 h 720"/>
                <a:gd name="T14" fmla="*/ 190158 w 845"/>
                <a:gd name="T15" fmla="*/ 65319 h 720"/>
                <a:gd name="T16" fmla="*/ 190589 w 845"/>
                <a:gd name="T17" fmla="*/ 73157 h 720"/>
                <a:gd name="T18" fmla="*/ 197042 w 845"/>
                <a:gd name="T19" fmla="*/ 76815 h 720"/>
                <a:gd name="T20" fmla="*/ 214681 w 845"/>
                <a:gd name="T21" fmla="*/ 93014 h 720"/>
                <a:gd name="T22" fmla="*/ 217693 w 845"/>
                <a:gd name="T23" fmla="*/ 89879 h 720"/>
                <a:gd name="T24" fmla="*/ 209949 w 845"/>
                <a:gd name="T25" fmla="*/ 96149 h 720"/>
                <a:gd name="T26" fmla="*/ 206937 w 845"/>
                <a:gd name="T27" fmla="*/ 105555 h 720"/>
                <a:gd name="T28" fmla="*/ 206937 w 845"/>
                <a:gd name="T29" fmla="*/ 131683 h 720"/>
                <a:gd name="T30" fmla="*/ 212100 w 845"/>
                <a:gd name="T31" fmla="*/ 137954 h 720"/>
                <a:gd name="T32" fmla="*/ 226297 w 845"/>
                <a:gd name="T33" fmla="*/ 138476 h 720"/>
                <a:gd name="T34" fmla="*/ 234471 w 845"/>
                <a:gd name="T35" fmla="*/ 166694 h 720"/>
                <a:gd name="T36" fmla="*/ 250820 w 845"/>
                <a:gd name="T37" fmla="*/ 188641 h 720"/>
                <a:gd name="T38" fmla="*/ 277494 w 845"/>
                <a:gd name="T39" fmla="*/ 209021 h 720"/>
                <a:gd name="T40" fmla="*/ 317504 w 845"/>
                <a:gd name="T41" fmla="*/ 224697 h 720"/>
                <a:gd name="T42" fmla="*/ 363538 w 845"/>
                <a:gd name="T43" fmla="*/ 234626 h 720"/>
                <a:gd name="T44" fmla="*/ 348910 w 845"/>
                <a:gd name="T45" fmla="*/ 251870 h 720"/>
                <a:gd name="T46" fmla="*/ 314493 w 845"/>
                <a:gd name="T47" fmla="*/ 285836 h 720"/>
                <a:gd name="T48" fmla="*/ 306318 w 845"/>
                <a:gd name="T49" fmla="*/ 302557 h 720"/>
                <a:gd name="T50" fmla="*/ 299865 w 845"/>
                <a:gd name="T51" fmla="*/ 322414 h 720"/>
                <a:gd name="T52" fmla="*/ 289970 w 845"/>
                <a:gd name="T53" fmla="*/ 328685 h 720"/>
                <a:gd name="T54" fmla="*/ 249529 w 845"/>
                <a:gd name="T55" fmla="*/ 342271 h 720"/>
                <a:gd name="T56" fmla="*/ 240494 w 845"/>
                <a:gd name="T57" fmla="*/ 350632 h 720"/>
                <a:gd name="T58" fmla="*/ 225867 w 845"/>
                <a:gd name="T59" fmla="*/ 355857 h 720"/>
                <a:gd name="T60" fmla="*/ 207367 w 845"/>
                <a:gd name="T61" fmla="*/ 362128 h 720"/>
                <a:gd name="T62" fmla="*/ 198333 w 845"/>
                <a:gd name="T63" fmla="*/ 355335 h 720"/>
                <a:gd name="T64" fmla="*/ 183705 w 845"/>
                <a:gd name="T65" fmla="*/ 354812 h 720"/>
                <a:gd name="T66" fmla="*/ 174240 w 845"/>
                <a:gd name="T67" fmla="*/ 365263 h 720"/>
                <a:gd name="T68" fmla="*/ 167787 w 845"/>
                <a:gd name="T69" fmla="*/ 373102 h 720"/>
                <a:gd name="T70" fmla="*/ 154880 w 845"/>
                <a:gd name="T71" fmla="*/ 376237 h 720"/>
                <a:gd name="T72" fmla="*/ 136811 w 845"/>
                <a:gd name="T73" fmla="*/ 373102 h 720"/>
                <a:gd name="T74" fmla="*/ 124334 w 845"/>
                <a:gd name="T75" fmla="*/ 364741 h 720"/>
                <a:gd name="T76" fmla="*/ 105835 w 845"/>
                <a:gd name="T77" fmla="*/ 350632 h 720"/>
                <a:gd name="T78" fmla="*/ 77870 w 845"/>
                <a:gd name="T79" fmla="*/ 345406 h 720"/>
                <a:gd name="T80" fmla="*/ 60231 w 845"/>
                <a:gd name="T81" fmla="*/ 341226 h 720"/>
                <a:gd name="T82" fmla="*/ 64964 w 845"/>
                <a:gd name="T83" fmla="*/ 320847 h 720"/>
                <a:gd name="T84" fmla="*/ 54638 w 845"/>
                <a:gd name="T85" fmla="*/ 311441 h 720"/>
                <a:gd name="T86" fmla="*/ 46464 w 845"/>
                <a:gd name="T87" fmla="*/ 304647 h 720"/>
                <a:gd name="T88" fmla="*/ 40011 w 845"/>
                <a:gd name="T89" fmla="*/ 287926 h 720"/>
                <a:gd name="T90" fmla="*/ 33127 w 845"/>
                <a:gd name="T91" fmla="*/ 267024 h 720"/>
                <a:gd name="T92" fmla="*/ 21081 w 845"/>
                <a:gd name="T93" fmla="*/ 255528 h 720"/>
                <a:gd name="T94" fmla="*/ 6884 w 845"/>
                <a:gd name="T95" fmla="*/ 249257 h 720"/>
                <a:gd name="T96" fmla="*/ 2151 w 845"/>
                <a:gd name="T97" fmla="*/ 246644 h 720"/>
                <a:gd name="T98" fmla="*/ 860 w 845"/>
                <a:gd name="T99" fmla="*/ 234103 h 720"/>
                <a:gd name="T100" fmla="*/ 9035 w 845"/>
                <a:gd name="T101" fmla="*/ 220517 h 720"/>
                <a:gd name="T102" fmla="*/ 23662 w 845"/>
                <a:gd name="T103" fmla="*/ 215814 h 720"/>
                <a:gd name="T104" fmla="*/ 28825 w 845"/>
                <a:gd name="T105" fmla="*/ 167739 h 720"/>
                <a:gd name="T106" fmla="*/ 35278 w 845"/>
                <a:gd name="T107" fmla="*/ 143702 h 720"/>
                <a:gd name="T108" fmla="*/ 40871 w 845"/>
                <a:gd name="T109" fmla="*/ 135863 h 720"/>
                <a:gd name="T110" fmla="*/ 44313 w 845"/>
                <a:gd name="T111" fmla="*/ 123322 h 720"/>
                <a:gd name="T112" fmla="*/ 49906 w 845"/>
                <a:gd name="T113" fmla="*/ 107646 h 720"/>
                <a:gd name="T114" fmla="*/ 63673 w 845"/>
                <a:gd name="T115" fmla="*/ 93014 h 720"/>
                <a:gd name="T116" fmla="*/ 71847 w 845"/>
                <a:gd name="T117" fmla="*/ 83608 h 72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845" h="720">
                  <a:moveTo>
                    <a:pt x="174" y="25"/>
                  </a:moveTo>
                  <a:lnTo>
                    <a:pt x="175" y="27"/>
                  </a:lnTo>
                  <a:lnTo>
                    <a:pt x="179" y="33"/>
                  </a:lnTo>
                  <a:lnTo>
                    <a:pt x="182" y="36"/>
                  </a:lnTo>
                  <a:lnTo>
                    <a:pt x="185" y="38"/>
                  </a:lnTo>
                  <a:lnTo>
                    <a:pt x="189" y="38"/>
                  </a:lnTo>
                  <a:lnTo>
                    <a:pt x="194" y="37"/>
                  </a:lnTo>
                  <a:lnTo>
                    <a:pt x="205" y="28"/>
                  </a:lnTo>
                  <a:lnTo>
                    <a:pt x="218" y="19"/>
                  </a:lnTo>
                  <a:lnTo>
                    <a:pt x="229" y="14"/>
                  </a:lnTo>
                  <a:lnTo>
                    <a:pt x="234" y="12"/>
                  </a:lnTo>
                  <a:lnTo>
                    <a:pt x="247" y="0"/>
                  </a:lnTo>
                  <a:lnTo>
                    <a:pt x="250" y="1"/>
                  </a:lnTo>
                  <a:lnTo>
                    <a:pt x="258" y="6"/>
                  </a:lnTo>
                  <a:lnTo>
                    <a:pt x="267" y="10"/>
                  </a:lnTo>
                  <a:lnTo>
                    <a:pt x="273" y="12"/>
                  </a:lnTo>
                  <a:lnTo>
                    <a:pt x="284" y="15"/>
                  </a:lnTo>
                  <a:lnTo>
                    <a:pt x="300" y="21"/>
                  </a:lnTo>
                  <a:lnTo>
                    <a:pt x="316" y="31"/>
                  </a:lnTo>
                  <a:lnTo>
                    <a:pt x="327" y="37"/>
                  </a:lnTo>
                  <a:lnTo>
                    <a:pt x="337" y="41"/>
                  </a:lnTo>
                  <a:lnTo>
                    <a:pt x="353" y="50"/>
                  </a:lnTo>
                  <a:lnTo>
                    <a:pt x="370" y="60"/>
                  </a:lnTo>
                  <a:lnTo>
                    <a:pt x="380" y="67"/>
                  </a:lnTo>
                  <a:lnTo>
                    <a:pt x="393" y="76"/>
                  </a:lnTo>
                  <a:lnTo>
                    <a:pt x="406" y="86"/>
                  </a:lnTo>
                  <a:lnTo>
                    <a:pt x="419" y="95"/>
                  </a:lnTo>
                  <a:lnTo>
                    <a:pt x="426" y="98"/>
                  </a:lnTo>
                  <a:lnTo>
                    <a:pt x="430" y="105"/>
                  </a:lnTo>
                  <a:lnTo>
                    <a:pt x="440" y="116"/>
                  </a:lnTo>
                  <a:lnTo>
                    <a:pt x="441" y="121"/>
                  </a:lnTo>
                  <a:lnTo>
                    <a:pt x="442" y="125"/>
                  </a:lnTo>
                  <a:lnTo>
                    <a:pt x="443" y="130"/>
                  </a:lnTo>
                  <a:lnTo>
                    <a:pt x="443" y="134"/>
                  </a:lnTo>
                  <a:lnTo>
                    <a:pt x="443" y="137"/>
                  </a:lnTo>
                  <a:lnTo>
                    <a:pt x="443" y="140"/>
                  </a:lnTo>
                  <a:lnTo>
                    <a:pt x="444" y="141"/>
                  </a:lnTo>
                  <a:lnTo>
                    <a:pt x="447" y="142"/>
                  </a:lnTo>
                  <a:lnTo>
                    <a:pt x="450" y="143"/>
                  </a:lnTo>
                  <a:lnTo>
                    <a:pt x="458" y="147"/>
                  </a:lnTo>
                  <a:lnTo>
                    <a:pt x="466" y="153"/>
                  </a:lnTo>
                  <a:lnTo>
                    <a:pt x="475" y="160"/>
                  </a:lnTo>
                  <a:lnTo>
                    <a:pt x="492" y="172"/>
                  </a:lnTo>
                  <a:lnTo>
                    <a:pt x="499" y="178"/>
                  </a:lnTo>
                  <a:lnTo>
                    <a:pt x="500" y="175"/>
                  </a:lnTo>
                  <a:lnTo>
                    <a:pt x="503" y="173"/>
                  </a:lnTo>
                  <a:lnTo>
                    <a:pt x="505" y="172"/>
                  </a:lnTo>
                  <a:lnTo>
                    <a:pt x="506" y="172"/>
                  </a:lnTo>
                  <a:lnTo>
                    <a:pt x="500" y="174"/>
                  </a:lnTo>
                  <a:lnTo>
                    <a:pt x="495" y="177"/>
                  </a:lnTo>
                  <a:lnTo>
                    <a:pt x="492" y="181"/>
                  </a:lnTo>
                  <a:lnTo>
                    <a:pt x="488" y="184"/>
                  </a:lnTo>
                  <a:lnTo>
                    <a:pt x="485" y="189"/>
                  </a:lnTo>
                  <a:lnTo>
                    <a:pt x="483" y="193"/>
                  </a:lnTo>
                  <a:lnTo>
                    <a:pt x="482" y="197"/>
                  </a:lnTo>
                  <a:lnTo>
                    <a:pt x="481" y="202"/>
                  </a:lnTo>
                  <a:lnTo>
                    <a:pt x="478" y="221"/>
                  </a:lnTo>
                  <a:lnTo>
                    <a:pt x="480" y="240"/>
                  </a:lnTo>
                  <a:lnTo>
                    <a:pt x="480" y="247"/>
                  </a:lnTo>
                  <a:lnTo>
                    <a:pt x="481" y="252"/>
                  </a:lnTo>
                  <a:lnTo>
                    <a:pt x="483" y="256"/>
                  </a:lnTo>
                  <a:lnTo>
                    <a:pt x="486" y="260"/>
                  </a:lnTo>
                  <a:lnTo>
                    <a:pt x="488" y="262"/>
                  </a:lnTo>
                  <a:lnTo>
                    <a:pt x="493" y="264"/>
                  </a:lnTo>
                  <a:lnTo>
                    <a:pt x="496" y="265"/>
                  </a:lnTo>
                  <a:lnTo>
                    <a:pt x="500" y="266"/>
                  </a:lnTo>
                  <a:lnTo>
                    <a:pt x="516" y="266"/>
                  </a:lnTo>
                  <a:lnTo>
                    <a:pt x="526" y="265"/>
                  </a:lnTo>
                  <a:lnTo>
                    <a:pt x="528" y="279"/>
                  </a:lnTo>
                  <a:lnTo>
                    <a:pt x="532" y="293"/>
                  </a:lnTo>
                  <a:lnTo>
                    <a:pt x="538" y="307"/>
                  </a:lnTo>
                  <a:lnTo>
                    <a:pt x="545" y="319"/>
                  </a:lnTo>
                  <a:lnTo>
                    <a:pt x="554" y="330"/>
                  </a:lnTo>
                  <a:lnTo>
                    <a:pt x="563" y="341"/>
                  </a:lnTo>
                  <a:lnTo>
                    <a:pt x="573" y="351"/>
                  </a:lnTo>
                  <a:lnTo>
                    <a:pt x="583" y="361"/>
                  </a:lnTo>
                  <a:lnTo>
                    <a:pt x="604" y="376"/>
                  </a:lnTo>
                  <a:lnTo>
                    <a:pt x="622" y="388"/>
                  </a:lnTo>
                  <a:lnTo>
                    <a:pt x="637" y="396"/>
                  </a:lnTo>
                  <a:lnTo>
                    <a:pt x="645" y="400"/>
                  </a:lnTo>
                  <a:lnTo>
                    <a:pt x="673" y="408"/>
                  </a:lnTo>
                  <a:lnTo>
                    <a:pt x="696" y="417"/>
                  </a:lnTo>
                  <a:lnTo>
                    <a:pt x="718" y="424"/>
                  </a:lnTo>
                  <a:lnTo>
                    <a:pt x="738" y="430"/>
                  </a:lnTo>
                  <a:lnTo>
                    <a:pt x="758" y="435"/>
                  </a:lnTo>
                  <a:lnTo>
                    <a:pt x="783" y="440"/>
                  </a:lnTo>
                  <a:lnTo>
                    <a:pt x="811" y="445"/>
                  </a:lnTo>
                  <a:lnTo>
                    <a:pt x="845" y="449"/>
                  </a:lnTo>
                  <a:lnTo>
                    <a:pt x="838" y="457"/>
                  </a:lnTo>
                  <a:lnTo>
                    <a:pt x="830" y="465"/>
                  </a:lnTo>
                  <a:lnTo>
                    <a:pt x="821" y="474"/>
                  </a:lnTo>
                  <a:lnTo>
                    <a:pt x="811" y="482"/>
                  </a:lnTo>
                  <a:lnTo>
                    <a:pt x="790" y="498"/>
                  </a:lnTo>
                  <a:lnTo>
                    <a:pt x="768" y="514"/>
                  </a:lnTo>
                  <a:lnTo>
                    <a:pt x="749" y="531"/>
                  </a:lnTo>
                  <a:lnTo>
                    <a:pt x="731" y="547"/>
                  </a:lnTo>
                  <a:lnTo>
                    <a:pt x="723" y="555"/>
                  </a:lnTo>
                  <a:lnTo>
                    <a:pt x="718" y="562"/>
                  </a:lnTo>
                  <a:lnTo>
                    <a:pt x="715" y="570"/>
                  </a:lnTo>
                  <a:lnTo>
                    <a:pt x="712" y="579"/>
                  </a:lnTo>
                  <a:lnTo>
                    <a:pt x="709" y="592"/>
                  </a:lnTo>
                  <a:lnTo>
                    <a:pt x="706" y="602"/>
                  </a:lnTo>
                  <a:lnTo>
                    <a:pt x="701" y="610"/>
                  </a:lnTo>
                  <a:lnTo>
                    <a:pt x="697" y="617"/>
                  </a:lnTo>
                  <a:lnTo>
                    <a:pt x="693" y="622"/>
                  </a:lnTo>
                  <a:lnTo>
                    <a:pt x="686" y="625"/>
                  </a:lnTo>
                  <a:lnTo>
                    <a:pt x="681" y="628"/>
                  </a:lnTo>
                  <a:lnTo>
                    <a:pt x="674" y="629"/>
                  </a:lnTo>
                  <a:lnTo>
                    <a:pt x="643" y="630"/>
                  </a:lnTo>
                  <a:lnTo>
                    <a:pt x="606" y="635"/>
                  </a:lnTo>
                  <a:lnTo>
                    <a:pt x="594" y="643"/>
                  </a:lnTo>
                  <a:lnTo>
                    <a:pt x="580" y="655"/>
                  </a:lnTo>
                  <a:lnTo>
                    <a:pt x="573" y="661"/>
                  </a:lnTo>
                  <a:lnTo>
                    <a:pt x="567" y="666"/>
                  </a:lnTo>
                  <a:lnTo>
                    <a:pt x="563" y="670"/>
                  </a:lnTo>
                  <a:lnTo>
                    <a:pt x="559" y="671"/>
                  </a:lnTo>
                  <a:lnTo>
                    <a:pt x="548" y="673"/>
                  </a:lnTo>
                  <a:lnTo>
                    <a:pt x="539" y="676"/>
                  </a:lnTo>
                  <a:lnTo>
                    <a:pt x="531" y="678"/>
                  </a:lnTo>
                  <a:lnTo>
                    <a:pt x="525" y="681"/>
                  </a:lnTo>
                  <a:lnTo>
                    <a:pt x="513" y="687"/>
                  </a:lnTo>
                  <a:lnTo>
                    <a:pt x="499" y="696"/>
                  </a:lnTo>
                  <a:lnTo>
                    <a:pt x="488" y="696"/>
                  </a:lnTo>
                  <a:lnTo>
                    <a:pt x="482" y="693"/>
                  </a:lnTo>
                  <a:lnTo>
                    <a:pt x="476" y="691"/>
                  </a:lnTo>
                  <a:lnTo>
                    <a:pt x="472" y="686"/>
                  </a:lnTo>
                  <a:lnTo>
                    <a:pt x="468" y="683"/>
                  </a:lnTo>
                  <a:lnTo>
                    <a:pt x="461" y="680"/>
                  </a:lnTo>
                  <a:lnTo>
                    <a:pt x="452" y="678"/>
                  </a:lnTo>
                  <a:lnTo>
                    <a:pt x="440" y="677"/>
                  </a:lnTo>
                  <a:lnTo>
                    <a:pt x="432" y="678"/>
                  </a:lnTo>
                  <a:lnTo>
                    <a:pt x="427" y="679"/>
                  </a:lnTo>
                  <a:lnTo>
                    <a:pt x="421" y="681"/>
                  </a:lnTo>
                  <a:lnTo>
                    <a:pt x="418" y="684"/>
                  </a:lnTo>
                  <a:lnTo>
                    <a:pt x="410" y="692"/>
                  </a:lnTo>
                  <a:lnTo>
                    <a:pt x="405" y="699"/>
                  </a:lnTo>
                  <a:lnTo>
                    <a:pt x="402" y="703"/>
                  </a:lnTo>
                  <a:lnTo>
                    <a:pt x="398" y="707"/>
                  </a:lnTo>
                  <a:lnTo>
                    <a:pt x="394" y="711"/>
                  </a:lnTo>
                  <a:lnTo>
                    <a:pt x="390" y="714"/>
                  </a:lnTo>
                  <a:lnTo>
                    <a:pt x="383" y="717"/>
                  </a:lnTo>
                  <a:lnTo>
                    <a:pt x="376" y="719"/>
                  </a:lnTo>
                  <a:lnTo>
                    <a:pt x="369" y="720"/>
                  </a:lnTo>
                  <a:lnTo>
                    <a:pt x="360" y="720"/>
                  </a:lnTo>
                  <a:lnTo>
                    <a:pt x="348" y="720"/>
                  </a:lnTo>
                  <a:lnTo>
                    <a:pt x="337" y="719"/>
                  </a:lnTo>
                  <a:lnTo>
                    <a:pt x="327" y="717"/>
                  </a:lnTo>
                  <a:lnTo>
                    <a:pt x="318" y="714"/>
                  </a:lnTo>
                  <a:lnTo>
                    <a:pt x="310" y="710"/>
                  </a:lnTo>
                  <a:lnTo>
                    <a:pt x="303" y="706"/>
                  </a:lnTo>
                  <a:lnTo>
                    <a:pt x="295" y="702"/>
                  </a:lnTo>
                  <a:lnTo>
                    <a:pt x="289" y="698"/>
                  </a:lnTo>
                  <a:lnTo>
                    <a:pt x="275" y="688"/>
                  </a:lnTo>
                  <a:lnTo>
                    <a:pt x="261" y="679"/>
                  </a:lnTo>
                  <a:lnTo>
                    <a:pt x="253" y="675"/>
                  </a:lnTo>
                  <a:lnTo>
                    <a:pt x="246" y="671"/>
                  </a:lnTo>
                  <a:lnTo>
                    <a:pt x="237" y="668"/>
                  </a:lnTo>
                  <a:lnTo>
                    <a:pt x="227" y="665"/>
                  </a:lnTo>
                  <a:lnTo>
                    <a:pt x="205" y="662"/>
                  </a:lnTo>
                  <a:lnTo>
                    <a:pt x="181" y="661"/>
                  </a:lnTo>
                  <a:lnTo>
                    <a:pt x="170" y="660"/>
                  </a:lnTo>
                  <a:lnTo>
                    <a:pt x="159" y="659"/>
                  </a:lnTo>
                  <a:lnTo>
                    <a:pt x="149" y="657"/>
                  </a:lnTo>
                  <a:lnTo>
                    <a:pt x="140" y="653"/>
                  </a:lnTo>
                  <a:lnTo>
                    <a:pt x="149" y="632"/>
                  </a:lnTo>
                  <a:lnTo>
                    <a:pt x="153" y="622"/>
                  </a:lnTo>
                  <a:lnTo>
                    <a:pt x="152" y="618"/>
                  </a:lnTo>
                  <a:lnTo>
                    <a:pt x="151" y="614"/>
                  </a:lnTo>
                  <a:lnTo>
                    <a:pt x="147" y="607"/>
                  </a:lnTo>
                  <a:lnTo>
                    <a:pt x="140" y="597"/>
                  </a:lnTo>
                  <a:lnTo>
                    <a:pt x="134" y="597"/>
                  </a:lnTo>
                  <a:lnTo>
                    <a:pt x="127" y="596"/>
                  </a:lnTo>
                  <a:lnTo>
                    <a:pt x="122" y="593"/>
                  </a:lnTo>
                  <a:lnTo>
                    <a:pt x="116" y="590"/>
                  </a:lnTo>
                  <a:lnTo>
                    <a:pt x="112" y="587"/>
                  </a:lnTo>
                  <a:lnTo>
                    <a:pt x="108" y="583"/>
                  </a:lnTo>
                  <a:lnTo>
                    <a:pt x="104" y="577"/>
                  </a:lnTo>
                  <a:lnTo>
                    <a:pt x="102" y="572"/>
                  </a:lnTo>
                  <a:lnTo>
                    <a:pt x="96" y="562"/>
                  </a:lnTo>
                  <a:lnTo>
                    <a:pt x="93" y="551"/>
                  </a:lnTo>
                  <a:lnTo>
                    <a:pt x="90" y="540"/>
                  </a:lnTo>
                  <a:lnTo>
                    <a:pt x="88" y="530"/>
                  </a:lnTo>
                  <a:lnTo>
                    <a:pt x="82" y="519"/>
                  </a:lnTo>
                  <a:lnTo>
                    <a:pt x="77" y="511"/>
                  </a:lnTo>
                  <a:lnTo>
                    <a:pt x="70" y="505"/>
                  </a:lnTo>
                  <a:lnTo>
                    <a:pt x="63" y="499"/>
                  </a:lnTo>
                  <a:lnTo>
                    <a:pt x="57" y="494"/>
                  </a:lnTo>
                  <a:lnTo>
                    <a:pt x="49" y="489"/>
                  </a:lnTo>
                  <a:lnTo>
                    <a:pt x="41" y="483"/>
                  </a:lnTo>
                  <a:lnTo>
                    <a:pt x="34" y="474"/>
                  </a:lnTo>
                  <a:lnTo>
                    <a:pt x="24" y="477"/>
                  </a:lnTo>
                  <a:lnTo>
                    <a:pt x="16" y="477"/>
                  </a:lnTo>
                  <a:lnTo>
                    <a:pt x="12" y="476"/>
                  </a:lnTo>
                  <a:lnTo>
                    <a:pt x="10" y="475"/>
                  </a:lnTo>
                  <a:lnTo>
                    <a:pt x="6" y="474"/>
                  </a:lnTo>
                  <a:lnTo>
                    <a:pt x="5" y="472"/>
                  </a:lnTo>
                  <a:lnTo>
                    <a:pt x="2" y="467"/>
                  </a:lnTo>
                  <a:lnTo>
                    <a:pt x="0" y="461"/>
                  </a:lnTo>
                  <a:lnTo>
                    <a:pt x="1" y="454"/>
                  </a:lnTo>
                  <a:lnTo>
                    <a:pt x="2" y="448"/>
                  </a:lnTo>
                  <a:lnTo>
                    <a:pt x="5" y="441"/>
                  </a:lnTo>
                  <a:lnTo>
                    <a:pt x="9" y="434"/>
                  </a:lnTo>
                  <a:lnTo>
                    <a:pt x="14" y="428"/>
                  </a:lnTo>
                  <a:lnTo>
                    <a:pt x="21" y="422"/>
                  </a:lnTo>
                  <a:lnTo>
                    <a:pt x="27" y="418"/>
                  </a:lnTo>
                  <a:lnTo>
                    <a:pt x="36" y="415"/>
                  </a:lnTo>
                  <a:lnTo>
                    <a:pt x="45" y="413"/>
                  </a:lnTo>
                  <a:lnTo>
                    <a:pt x="55" y="413"/>
                  </a:lnTo>
                  <a:lnTo>
                    <a:pt x="57" y="384"/>
                  </a:lnTo>
                  <a:lnTo>
                    <a:pt x="60" y="360"/>
                  </a:lnTo>
                  <a:lnTo>
                    <a:pt x="63" y="339"/>
                  </a:lnTo>
                  <a:lnTo>
                    <a:pt x="67" y="321"/>
                  </a:lnTo>
                  <a:lnTo>
                    <a:pt x="71" y="306"/>
                  </a:lnTo>
                  <a:lnTo>
                    <a:pt x="74" y="293"/>
                  </a:lnTo>
                  <a:lnTo>
                    <a:pt x="79" y="283"/>
                  </a:lnTo>
                  <a:lnTo>
                    <a:pt x="82" y="275"/>
                  </a:lnTo>
                  <a:lnTo>
                    <a:pt x="87" y="269"/>
                  </a:lnTo>
                  <a:lnTo>
                    <a:pt x="90" y="265"/>
                  </a:lnTo>
                  <a:lnTo>
                    <a:pt x="93" y="262"/>
                  </a:lnTo>
                  <a:lnTo>
                    <a:pt x="95" y="260"/>
                  </a:lnTo>
                  <a:lnTo>
                    <a:pt x="100" y="259"/>
                  </a:lnTo>
                  <a:lnTo>
                    <a:pt x="101" y="259"/>
                  </a:lnTo>
                  <a:lnTo>
                    <a:pt x="101" y="247"/>
                  </a:lnTo>
                  <a:lnTo>
                    <a:pt x="103" y="236"/>
                  </a:lnTo>
                  <a:lnTo>
                    <a:pt x="105" y="227"/>
                  </a:lnTo>
                  <a:lnTo>
                    <a:pt x="108" y="219"/>
                  </a:lnTo>
                  <a:lnTo>
                    <a:pt x="112" y="212"/>
                  </a:lnTo>
                  <a:lnTo>
                    <a:pt x="116" y="206"/>
                  </a:lnTo>
                  <a:lnTo>
                    <a:pt x="122" y="200"/>
                  </a:lnTo>
                  <a:lnTo>
                    <a:pt x="126" y="196"/>
                  </a:lnTo>
                  <a:lnTo>
                    <a:pt x="137" y="186"/>
                  </a:lnTo>
                  <a:lnTo>
                    <a:pt x="148" y="178"/>
                  </a:lnTo>
                  <a:lnTo>
                    <a:pt x="153" y="174"/>
                  </a:lnTo>
                  <a:lnTo>
                    <a:pt x="159" y="170"/>
                  </a:lnTo>
                  <a:lnTo>
                    <a:pt x="163" y="165"/>
                  </a:lnTo>
                  <a:lnTo>
                    <a:pt x="167" y="160"/>
                  </a:lnTo>
                  <a:lnTo>
                    <a:pt x="174" y="2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865" name="Line 359"/>
            <p:cNvSpPr>
              <a:spLocks noChangeShapeType="1"/>
            </p:cNvSpPr>
            <p:nvPr>
              <p:custDataLst>
                <p:tags r:id="rId257"/>
              </p:custDataLst>
            </p:nvPr>
          </p:nvSpPr>
          <p:spPr bwMode="auto">
            <a:xfrm flipH="1">
              <a:off x="2853027" y="4139804"/>
              <a:ext cx="5678" cy="9532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866" name="Freeform 360"/>
            <p:cNvSpPr>
              <a:spLocks/>
            </p:cNvSpPr>
            <p:nvPr>
              <p:custDataLst>
                <p:tags r:id="rId258"/>
              </p:custDataLst>
            </p:nvPr>
          </p:nvSpPr>
          <p:spPr bwMode="auto">
            <a:xfrm>
              <a:off x="2853026" y="4149338"/>
              <a:ext cx="15141" cy="70535"/>
            </a:xfrm>
            <a:custGeom>
              <a:avLst/>
              <a:gdLst>
                <a:gd name="T0" fmla="*/ 0 w 33"/>
                <a:gd name="T1" fmla="*/ 0 h 6"/>
                <a:gd name="T2" fmla="*/ 2694 w 33"/>
                <a:gd name="T3" fmla="*/ 9790 h 6"/>
                <a:gd name="T4" fmla="*/ 5773 w 33"/>
                <a:gd name="T5" fmla="*/ 29369 h 6"/>
                <a:gd name="T6" fmla="*/ 8852 w 33"/>
                <a:gd name="T7" fmla="*/ 48948 h 6"/>
                <a:gd name="T8" fmla="*/ 12700 w 33"/>
                <a:gd name="T9" fmla="*/ 5873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3" h="6">
                  <a:moveTo>
                    <a:pt x="0" y="0"/>
                  </a:moveTo>
                  <a:lnTo>
                    <a:pt x="7" y="1"/>
                  </a:lnTo>
                  <a:lnTo>
                    <a:pt x="15" y="3"/>
                  </a:lnTo>
                  <a:lnTo>
                    <a:pt x="23" y="5"/>
                  </a:lnTo>
                  <a:lnTo>
                    <a:pt x="33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867" name="Freeform 361"/>
            <p:cNvSpPr>
              <a:spLocks/>
            </p:cNvSpPr>
            <p:nvPr>
              <p:custDataLst>
                <p:tags r:id="rId259"/>
              </p:custDataLst>
            </p:nvPr>
          </p:nvSpPr>
          <p:spPr bwMode="auto">
            <a:xfrm>
              <a:off x="2862490" y="4134086"/>
              <a:ext cx="5677" cy="68630"/>
            </a:xfrm>
            <a:custGeom>
              <a:avLst/>
              <a:gdLst>
                <a:gd name="T0" fmla="*/ 4762 w 13"/>
                <a:gd name="T1" fmla="*/ 57150 h 30"/>
                <a:gd name="T2" fmla="*/ 4762 w 13"/>
                <a:gd name="T3" fmla="*/ 0 h 30"/>
                <a:gd name="T4" fmla="*/ 0 w 13"/>
                <a:gd name="T5" fmla="*/ 0 h 3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3" h="30">
                  <a:moveTo>
                    <a:pt x="13" y="30"/>
                  </a:moveTo>
                  <a:lnTo>
                    <a:pt x="13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grpSp>
          <p:nvGrpSpPr>
            <p:cNvPr id="868" name="Group 362"/>
            <p:cNvGrpSpPr>
              <a:grpSpLocks/>
            </p:cNvGrpSpPr>
            <p:nvPr>
              <p:custDataLst>
                <p:tags r:id="rId260"/>
              </p:custDataLst>
            </p:nvPr>
          </p:nvGrpSpPr>
          <p:grpSpPr bwMode="auto">
            <a:xfrm>
              <a:off x="2853027" y="4055925"/>
              <a:ext cx="497755" cy="242111"/>
              <a:chOff x="912" y="2626"/>
              <a:chExt cx="311" cy="127"/>
            </a:xfrm>
            <a:grpFill/>
          </p:grpSpPr>
          <p:sp>
            <p:nvSpPr>
              <p:cNvPr id="1055" name="Freeform 363"/>
              <p:cNvSpPr>
                <a:spLocks/>
              </p:cNvSpPr>
              <p:nvPr/>
            </p:nvSpPr>
            <p:spPr bwMode="auto">
              <a:xfrm>
                <a:off x="1110" y="2626"/>
                <a:ext cx="113" cy="127"/>
              </a:xfrm>
              <a:custGeom>
                <a:avLst/>
                <a:gdLst>
                  <a:gd name="T0" fmla="*/ 100 w 352"/>
                  <a:gd name="T1" fmla="*/ 26 h 387"/>
                  <a:gd name="T2" fmla="*/ 92 w 352"/>
                  <a:gd name="T3" fmla="*/ 26 h 387"/>
                  <a:gd name="T4" fmla="*/ 85 w 352"/>
                  <a:gd name="T5" fmla="*/ 26 h 387"/>
                  <a:gd name="T6" fmla="*/ 80 w 352"/>
                  <a:gd name="T7" fmla="*/ 24 h 387"/>
                  <a:gd name="T8" fmla="*/ 71 w 352"/>
                  <a:gd name="T9" fmla="*/ 19 h 387"/>
                  <a:gd name="T10" fmla="*/ 54 w 352"/>
                  <a:gd name="T11" fmla="*/ 7 h 387"/>
                  <a:gd name="T12" fmla="*/ 44 w 352"/>
                  <a:gd name="T13" fmla="*/ 2 h 387"/>
                  <a:gd name="T14" fmla="*/ 41 w 352"/>
                  <a:gd name="T15" fmla="*/ 6 h 387"/>
                  <a:gd name="T16" fmla="*/ 38 w 352"/>
                  <a:gd name="T17" fmla="*/ 10 h 387"/>
                  <a:gd name="T18" fmla="*/ 34 w 352"/>
                  <a:gd name="T19" fmla="*/ 11 h 387"/>
                  <a:gd name="T20" fmla="*/ 28 w 352"/>
                  <a:gd name="T21" fmla="*/ 18 h 387"/>
                  <a:gd name="T22" fmla="*/ 17 w 352"/>
                  <a:gd name="T23" fmla="*/ 32 h 387"/>
                  <a:gd name="T24" fmla="*/ 10 w 352"/>
                  <a:gd name="T25" fmla="*/ 43 h 387"/>
                  <a:gd name="T26" fmla="*/ 5 w 352"/>
                  <a:gd name="T27" fmla="*/ 51 h 387"/>
                  <a:gd name="T28" fmla="*/ 2 w 352"/>
                  <a:gd name="T29" fmla="*/ 58 h 387"/>
                  <a:gd name="T30" fmla="*/ 0 w 352"/>
                  <a:gd name="T31" fmla="*/ 65 h 387"/>
                  <a:gd name="T32" fmla="*/ 0 w 352"/>
                  <a:gd name="T33" fmla="*/ 70 h 387"/>
                  <a:gd name="T34" fmla="*/ 1 w 352"/>
                  <a:gd name="T35" fmla="*/ 73 h 387"/>
                  <a:gd name="T36" fmla="*/ 3 w 352"/>
                  <a:gd name="T37" fmla="*/ 76 h 387"/>
                  <a:gd name="T38" fmla="*/ 8 w 352"/>
                  <a:gd name="T39" fmla="*/ 79 h 387"/>
                  <a:gd name="T40" fmla="*/ 13 w 352"/>
                  <a:gd name="T41" fmla="*/ 80 h 387"/>
                  <a:gd name="T42" fmla="*/ 17 w 352"/>
                  <a:gd name="T43" fmla="*/ 80 h 387"/>
                  <a:gd name="T44" fmla="*/ 20 w 352"/>
                  <a:gd name="T45" fmla="*/ 79 h 387"/>
                  <a:gd name="T46" fmla="*/ 23 w 352"/>
                  <a:gd name="T47" fmla="*/ 77 h 387"/>
                  <a:gd name="T48" fmla="*/ 25 w 352"/>
                  <a:gd name="T49" fmla="*/ 77 h 387"/>
                  <a:gd name="T50" fmla="*/ 26 w 352"/>
                  <a:gd name="T51" fmla="*/ 78 h 387"/>
                  <a:gd name="T52" fmla="*/ 26 w 352"/>
                  <a:gd name="T53" fmla="*/ 84 h 387"/>
                  <a:gd name="T54" fmla="*/ 24 w 352"/>
                  <a:gd name="T55" fmla="*/ 92 h 387"/>
                  <a:gd name="T56" fmla="*/ 23 w 352"/>
                  <a:gd name="T57" fmla="*/ 95 h 387"/>
                  <a:gd name="T58" fmla="*/ 23 w 352"/>
                  <a:gd name="T59" fmla="*/ 101 h 387"/>
                  <a:gd name="T60" fmla="*/ 26 w 352"/>
                  <a:gd name="T61" fmla="*/ 109 h 387"/>
                  <a:gd name="T62" fmla="*/ 29 w 352"/>
                  <a:gd name="T63" fmla="*/ 115 h 387"/>
                  <a:gd name="T64" fmla="*/ 39 w 352"/>
                  <a:gd name="T65" fmla="*/ 122 h 387"/>
                  <a:gd name="T66" fmla="*/ 46 w 352"/>
                  <a:gd name="T67" fmla="*/ 126 h 387"/>
                  <a:gd name="T68" fmla="*/ 49 w 352"/>
                  <a:gd name="T69" fmla="*/ 127 h 387"/>
                  <a:gd name="T70" fmla="*/ 52 w 352"/>
                  <a:gd name="T71" fmla="*/ 124 h 387"/>
                  <a:gd name="T72" fmla="*/ 56 w 352"/>
                  <a:gd name="T73" fmla="*/ 119 h 387"/>
                  <a:gd name="T74" fmla="*/ 57 w 352"/>
                  <a:gd name="T75" fmla="*/ 115 h 387"/>
                  <a:gd name="T76" fmla="*/ 58 w 352"/>
                  <a:gd name="T77" fmla="*/ 111 h 387"/>
                  <a:gd name="T78" fmla="*/ 59 w 352"/>
                  <a:gd name="T79" fmla="*/ 106 h 387"/>
                  <a:gd name="T80" fmla="*/ 63 w 352"/>
                  <a:gd name="T81" fmla="*/ 100 h 387"/>
                  <a:gd name="T82" fmla="*/ 69 w 352"/>
                  <a:gd name="T83" fmla="*/ 92 h 387"/>
                  <a:gd name="T84" fmla="*/ 76 w 352"/>
                  <a:gd name="T85" fmla="*/ 86 h 387"/>
                  <a:gd name="T86" fmla="*/ 85 w 352"/>
                  <a:gd name="T87" fmla="*/ 82 h 387"/>
                  <a:gd name="T88" fmla="*/ 96 w 352"/>
                  <a:gd name="T89" fmla="*/ 75 h 387"/>
                  <a:gd name="T90" fmla="*/ 104 w 352"/>
                  <a:gd name="T91" fmla="*/ 70 h 387"/>
                  <a:gd name="T92" fmla="*/ 109 w 352"/>
                  <a:gd name="T93" fmla="*/ 65 h 387"/>
                  <a:gd name="T94" fmla="*/ 111 w 352"/>
                  <a:gd name="T95" fmla="*/ 61 h 387"/>
                  <a:gd name="T96" fmla="*/ 113 w 352"/>
                  <a:gd name="T97" fmla="*/ 55 h 387"/>
                  <a:gd name="T98" fmla="*/ 113 w 352"/>
                  <a:gd name="T99" fmla="*/ 49 h 387"/>
                  <a:gd name="T100" fmla="*/ 110 w 352"/>
                  <a:gd name="T101" fmla="*/ 41 h 387"/>
                  <a:gd name="T102" fmla="*/ 106 w 352"/>
                  <a:gd name="T103" fmla="*/ 30 h 387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352" h="387">
                    <a:moveTo>
                      <a:pt x="325" y="79"/>
                    </a:moveTo>
                    <a:lnTo>
                      <a:pt x="312" y="79"/>
                    </a:lnTo>
                    <a:lnTo>
                      <a:pt x="299" y="79"/>
                    </a:lnTo>
                    <a:lnTo>
                      <a:pt x="286" y="79"/>
                    </a:lnTo>
                    <a:lnTo>
                      <a:pt x="273" y="79"/>
                    </a:lnTo>
                    <a:lnTo>
                      <a:pt x="265" y="79"/>
                    </a:lnTo>
                    <a:lnTo>
                      <a:pt x="256" y="77"/>
                    </a:lnTo>
                    <a:lnTo>
                      <a:pt x="249" y="74"/>
                    </a:lnTo>
                    <a:lnTo>
                      <a:pt x="240" y="70"/>
                    </a:lnTo>
                    <a:lnTo>
                      <a:pt x="222" y="59"/>
                    </a:lnTo>
                    <a:lnTo>
                      <a:pt x="204" y="46"/>
                    </a:lnTo>
                    <a:lnTo>
                      <a:pt x="168" y="20"/>
                    </a:lnTo>
                    <a:lnTo>
                      <a:pt x="140" y="0"/>
                    </a:lnTo>
                    <a:lnTo>
                      <a:pt x="137" y="6"/>
                    </a:lnTo>
                    <a:lnTo>
                      <a:pt x="133" y="13"/>
                    </a:lnTo>
                    <a:lnTo>
                      <a:pt x="129" y="19"/>
                    </a:lnTo>
                    <a:lnTo>
                      <a:pt x="125" y="25"/>
                    </a:lnTo>
                    <a:lnTo>
                      <a:pt x="119" y="29"/>
                    </a:lnTo>
                    <a:lnTo>
                      <a:pt x="114" y="33"/>
                    </a:lnTo>
                    <a:lnTo>
                      <a:pt x="107" y="35"/>
                    </a:lnTo>
                    <a:lnTo>
                      <a:pt x="100" y="36"/>
                    </a:lnTo>
                    <a:lnTo>
                      <a:pt x="86" y="56"/>
                    </a:lnTo>
                    <a:lnTo>
                      <a:pt x="71" y="76"/>
                    </a:lnTo>
                    <a:lnTo>
                      <a:pt x="53" y="97"/>
                    </a:lnTo>
                    <a:lnTo>
                      <a:pt x="38" y="120"/>
                    </a:lnTo>
                    <a:lnTo>
                      <a:pt x="30" y="131"/>
                    </a:lnTo>
                    <a:lnTo>
                      <a:pt x="22" y="143"/>
                    </a:lnTo>
                    <a:lnTo>
                      <a:pt x="17" y="154"/>
                    </a:lnTo>
                    <a:lnTo>
                      <a:pt x="11" y="165"/>
                    </a:lnTo>
                    <a:lnTo>
                      <a:pt x="7" y="177"/>
                    </a:lnTo>
                    <a:lnTo>
                      <a:pt x="3" y="187"/>
                    </a:lnTo>
                    <a:lnTo>
                      <a:pt x="0" y="198"/>
                    </a:lnTo>
                    <a:lnTo>
                      <a:pt x="0" y="208"/>
                    </a:lnTo>
                    <a:lnTo>
                      <a:pt x="0" y="213"/>
                    </a:lnTo>
                    <a:lnTo>
                      <a:pt x="2" y="217"/>
                    </a:lnTo>
                    <a:lnTo>
                      <a:pt x="3" y="222"/>
                    </a:lnTo>
                    <a:lnTo>
                      <a:pt x="5" y="225"/>
                    </a:lnTo>
                    <a:lnTo>
                      <a:pt x="9" y="231"/>
                    </a:lnTo>
                    <a:lnTo>
                      <a:pt x="16" y="237"/>
                    </a:lnTo>
                    <a:lnTo>
                      <a:pt x="24" y="241"/>
                    </a:lnTo>
                    <a:lnTo>
                      <a:pt x="31" y="243"/>
                    </a:lnTo>
                    <a:lnTo>
                      <a:pt x="39" y="245"/>
                    </a:lnTo>
                    <a:lnTo>
                      <a:pt x="47" y="246"/>
                    </a:lnTo>
                    <a:lnTo>
                      <a:pt x="52" y="245"/>
                    </a:lnTo>
                    <a:lnTo>
                      <a:pt x="58" y="243"/>
                    </a:lnTo>
                    <a:lnTo>
                      <a:pt x="63" y="241"/>
                    </a:lnTo>
                    <a:lnTo>
                      <a:pt x="69" y="238"/>
                    </a:lnTo>
                    <a:lnTo>
                      <a:pt x="73" y="236"/>
                    </a:lnTo>
                    <a:lnTo>
                      <a:pt x="76" y="235"/>
                    </a:lnTo>
                    <a:lnTo>
                      <a:pt x="78" y="236"/>
                    </a:lnTo>
                    <a:lnTo>
                      <a:pt x="80" y="236"/>
                    </a:lnTo>
                    <a:lnTo>
                      <a:pt x="80" y="238"/>
                    </a:lnTo>
                    <a:lnTo>
                      <a:pt x="80" y="240"/>
                    </a:lnTo>
                    <a:lnTo>
                      <a:pt x="80" y="257"/>
                    </a:lnTo>
                    <a:lnTo>
                      <a:pt x="78" y="271"/>
                    </a:lnTo>
                    <a:lnTo>
                      <a:pt x="76" y="279"/>
                    </a:lnTo>
                    <a:lnTo>
                      <a:pt x="74" y="285"/>
                    </a:lnTo>
                    <a:lnTo>
                      <a:pt x="71" y="290"/>
                    </a:lnTo>
                    <a:lnTo>
                      <a:pt x="66" y="295"/>
                    </a:lnTo>
                    <a:lnTo>
                      <a:pt x="73" y="307"/>
                    </a:lnTo>
                    <a:lnTo>
                      <a:pt x="80" y="319"/>
                    </a:lnTo>
                    <a:lnTo>
                      <a:pt x="80" y="331"/>
                    </a:lnTo>
                    <a:lnTo>
                      <a:pt x="80" y="344"/>
                    </a:lnTo>
                    <a:lnTo>
                      <a:pt x="89" y="351"/>
                    </a:lnTo>
                    <a:lnTo>
                      <a:pt x="110" y="366"/>
                    </a:lnTo>
                    <a:lnTo>
                      <a:pt x="122" y="373"/>
                    </a:lnTo>
                    <a:lnTo>
                      <a:pt x="133" y="380"/>
                    </a:lnTo>
                    <a:lnTo>
                      <a:pt x="142" y="385"/>
                    </a:lnTo>
                    <a:lnTo>
                      <a:pt x="147" y="387"/>
                    </a:lnTo>
                    <a:lnTo>
                      <a:pt x="152" y="386"/>
                    </a:lnTo>
                    <a:lnTo>
                      <a:pt x="158" y="382"/>
                    </a:lnTo>
                    <a:lnTo>
                      <a:pt x="163" y="377"/>
                    </a:lnTo>
                    <a:lnTo>
                      <a:pt x="168" y="370"/>
                    </a:lnTo>
                    <a:lnTo>
                      <a:pt x="173" y="363"/>
                    </a:lnTo>
                    <a:lnTo>
                      <a:pt x="176" y="356"/>
                    </a:lnTo>
                    <a:lnTo>
                      <a:pt x="178" y="350"/>
                    </a:lnTo>
                    <a:lnTo>
                      <a:pt x="179" y="344"/>
                    </a:lnTo>
                    <a:lnTo>
                      <a:pt x="181" y="338"/>
                    </a:lnTo>
                    <a:lnTo>
                      <a:pt x="182" y="330"/>
                    </a:lnTo>
                    <a:lnTo>
                      <a:pt x="184" y="323"/>
                    </a:lnTo>
                    <a:lnTo>
                      <a:pt x="187" y="317"/>
                    </a:lnTo>
                    <a:lnTo>
                      <a:pt x="195" y="304"/>
                    </a:lnTo>
                    <a:lnTo>
                      <a:pt x="206" y="292"/>
                    </a:lnTo>
                    <a:lnTo>
                      <a:pt x="216" y="281"/>
                    </a:lnTo>
                    <a:lnTo>
                      <a:pt x="228" y="271"/>
                    </a:lnTo>
                    <a:lnTo>
                      <a:pt x="238" y="263"/>
                    </a:lnTo>
                    <a:lnTo>
                      <a:pt x="246" y="258"/>
                    </a:lnTo>
                    <a:lnTo>
                      <a:pt x="264" y="249"/>
                    </a:lnTo>
                    <a:lnTo>
                      <a:pt x="283" y="239"/>
                    </a:lnTo>
                    <a:lnTo>
                      <a:pt x="300" y="229"/>
                    </a:lnTo>
                    <a:lnTo>
                      <a:pt x="317" y="217"/>
                    </a:lnTo>
                    <a:lnTo>
                      <a:pt x="324" y="212"/>
                    </a:lnTo>
                    <a:lnTo>
                      <a:pt x="331" y="205"/>
                    </a:lnTo>
                    <a:lnTo>
                      <a:pt x="338" y="199"/>
                    </a:lnTo>
                    <a:lnTo>
                      <a:pt x="342" y="192"/>
                    </a:lnTo>
                    <a:lnTo>
                      <a:pt x="346" y="185"/>
                    </a:lnTo>
                    <a:lnTo>
                      <a:pt x="350" y="177"/>
                    </a:lnTo>
                    <a:lnTo>
                      <a:pt x="352" y="169"/>
                    </a:lnTo>
                    <a:lnTo>
                      <a:pt x="352" y="159"/>
                    </a:lnTo>
                    <a:lnTo>
                      <a:pt x="351" y="149"/>
                    </a:lnTo>
                    <a:lnTo>
                      <a:pt x="349" y="137"/>
                    </a:lnTo>
                    <a:lnTo>
                      <a:pt x="344" y="125"/>
                    </a:lnTo>
                    <a:lnTo>
                      <a:pt x="339" y="113"/>
                    </a:lnTo>
                    <a:lnTo>
                      <a:pt x="330" y="91"/>
                    </a:lnTo>
                    <a:lnTo>
                      <a:pt x="325" y="79"/>
                    </a:lnTo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056" name="Freeform 364"/>
              <p:cNvSpPr>
                <a:spLocks/>
              </p:cNvSpPr>
              <p:nvPr/>
            </p:nvSpPr>
            <p:spPr bwMode="auto">
              <a:xfrm>
                <a:off x="923" y="2662"/>
                <a:ext cx="17" cy="26"/>
              </a:xfrm>
              <a:custGeom>
                <a:avLst/>
                <a:gdLst>
                  <a:gd name="T0" fmla="*/ 5 w 52"/>
                  <a:gd name="T1" fmla="*/ 0 h 78"/>
                  <a:gd name="T2" fmla="*/ 7 w 52"/>
                  <a:gd name="T3" fmla="*/ 0 h 78"/>
                  <a:gd name="T4" fmla="*/ 8 w 52"/>
                  <a:gd name="T5" fmla="*/ 1 h 78"/>
                  <a:gd name="T6" fmla="*/ 10 w 52"/>
                  <a:gd name="T7" fmla="*/ 2 h 78"/>
                  <a:gd name="T8" fmla="*/ 12 w 52"/>
                  <a:gd name="T9" fmla="*/ 3 h 78"/>
                  <a:gd name="T10" fmla="*/ 13 w 52"/>
                  <a:gd name="T11" fmla="*/ 4 h 78"/>
                  <a:gd name="T12" fmla="*/ 15 w 52"/>
                  <a:gd name="T13" fmla="*/ 6 h 78"/>
                  <a:gd name="T14" fmla="*/ 15 w 52"/>
                  <a:gd name="T15" fmla="*/ 7 h 78"/>
                  <a:gd name="T16" fmla="*/ 16 w 52"/>
                  <a:gd name="T17" fmla="*/ 8 h 78"/>
                  <a:gd name="T18" fmla="*/ 17 w 52"/>
                  <a:gd name="T19" fmla="*/ 11 h 78"/>
                  <a:gd name="T20" fmla="*/ 17 w 52"/>
                  <a:gd name="T21" fmla="*/ 14 h 78"/>
                  <a:gd name="T22" fmla="*/ 17 w 52"/>
                  <a:gd name="T23" fmla="*/ 15 h 78"/>
                  <a:gd name="T24" fmla="*/ 16 w 52"/>
                  <a:gd name="T25" fmla="*/ 17 h 78"/>
                  <a:gd name="T26" fmla="*/ 15 w 52"/>
                  <a:gd name="T27" fmla="*/ 18 h 78"/>
                  <a:gd name="T28" fmla="*/ 14 w 52"/>
                  <a:gd name="T29" fmla="*/ 20 h 78"/>
                  <a:gd name="T30" fmla="*/ 13 w 52"/>
                  <a:gd name="T31" fmla="*/ 22 h 78"/>
                  <a:gd name="T32" fmla="*/ 13 w 52"/>
                  <a:gd name="T33" fmla="*/ 24 h 78"/>
                  <a:gd name="T34" fmla="*/ 9 w 52"/>
                  <a:gd name="T35" fmla="*/ 25 h 78"/>
                  <a:gd name="T36" fmla="*/ 5 w 52"/>
                  <a:gd name="T37" fmla="*/ 26 h 78"/>
                  <a:gd name="T38" fmla="*/ 4 w 52"/>
                  <a:gd name="T39" fmla="*/ 26 h 78"/>
                  <a:gd name="T40" fmla="*/ 2 w 52"/>
                  <a:gd name="T41" fmla="*/ 26 h 78"/>
                  <a:gd name="T42" fmla="*/ 1 w 52"/>
                  <a:gd name="T43" fmla="*/ 26 h 78"/>
                  <a:gd name="T44" fmla="*/ 1 w 52"/>
                  <a:gd name="T45" fmla="*/ 26 h 78"/>
                  <a:gd name="T46" fmla="*/ 1 w 52"/>
                  <a:gd name="T47" fmla="*/ 25 h 78"/>
                  <a:gd name="T48" fmla="*/ 0 w 52"/>
                  <a:gd name="T49" fmla="*/ 24 h 78"/>
                  <a:gd name="T50" fmla="*/ 0 w 52"/>
                  <a:gd name="T51" fmla="*/ 23 h 78"/>
                  <a:gd name="T52" fmla="*/ 0 w 52"/>
                  <a:gd name="T53" fmla="*/ 21 h 78"/>
                  <a:gd name="T54" fmla="*/ 1 w 52"/>
                  <a:gd name="T55" fmla="*/ 20 h 78"/>
                  <a:gd name="T56" fmla="*/ 2 w 52"/>
                  <a:gd name="T57" fmla="*/ 19 h 78"/>
                  <a:gd name="T58" fmla="*/ 6 w 52"/>
                  <a:gd name="T59" fmla="*/ 16 h 78"/>
                  <a:gd name="T60" fmla="*/ 9 w 52"/>
                  <a:gd name="T61" fmla="*/ 14 h 78"/>
                  <a:gd name="T62" fmla="*/ 8 w 52"/>
                  <a:gd name="T63" fmla="*/ 11 h 78"/>
                  <a:gd name="T64" fmla="*/ 7 w 52"/>
                  <a:gd name="T65" fmla="*/ 7 h 78"/>
                  <a:gd name="T66" fmla="*/ 6 w 52"/>
                  <a:gd name="T67" fmla="*/ 3 h 78"/>
                  <a:gd name="T68" fmla="*/ 5 w 52"/>
                  <a:gd name="T69" fmla="*/ 0 h 78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52" h="78">
                    <a:moveTo>
                      <a:pt x="14" y="0"/>
                    </a:moveTo>
                    <a:lnTo>
                      <a:pt x="20" y="0"/>
                    </a:lnTo>
                    <a:lnTo>
                      <a:pt x="25" y="2"/>
                    </a:lnTo>
                    <a:lnTo>
                      <a:pt x="30" y="6"/>
                    </a:lnTo>
                    <a:lnTo>
                      <a:pt x="36" y="9"/>
                    </a:lnTo>
                    <a:lnTo>
                      <a:pt x="40" y="13"/>
                    </a:lnTo>
                    <a:lnTo>
                      <a:pt x="45" y="17"/>
                    </a:lnTo>
                    <a:lnTo>
                      <a:pt x="47" y="21"/>
                    </a:lnTo>
                    <a:lnTo>
                      <a:pt x="48" y="24"/>
                    </a:lnTo>
                    <a:lnTo>
                      <a:pt x="51" y="34"/>
                    </a:lnTo>
                    <a:lnTo>
                      <a:pt x="52" y="41"/>
                    </a:lnTo>
                    <a:lnTo>
                      <a:pt x="51" y="46"/>
                    </a:lnTo>
                    <a:lnTo>
                      <a:pt x="49" y="50"/>
                    </a:lnTo>
                    <a:lnTo>
                      <a:pt x="47" y="54"/>
                    </a:lnTo>
                    <a:lnTo>
                      <a:pt x="44" y="60"/>
                    </a:lnTo>
                    <a:lnTo>
                      <a:pt x="41" y="65"/>
                    </a:lnTo>
                    <a:lnTo>
                      <a:pt x="41" y="73"/>
                    </a:lnTo>
                    <a:lnTo>
                      <a:pt x="29" y="75"/>
                    </a:lnTo>
                    <a:lnTo>
                      <a:pt x="16" y="78"/>
                    </a:lnTo>
                    <a:lnTo>
                      <a:pt x="11" y="78"/>
                    </a:lnTo>
                    <a:lnTo>
                      <a:pt x="5" y="78"/>
                    </a:lnTo>
                    <a:lnTo>
                      <a:pt x="4" y="78"/>
                    </a:lnTo>
                    <a:lnTo>
                      <a:pt x="2" y="77"/>
                    </a:lnTo>
                    <a:lnTo>
                      <a:pt x="2" y="75"/>
                    </a:lnTo>
                    <a:lnTo>
                      <a:pt x="1" y="73"/>
                    </a:lnTo>
                    <a:lnTo>
                      <a:pt x="0" y="69"/>
                    </a:lnTo>
                    <a:lnTo>
                      <a:pt x="1" y="64"/>
                    </a:lnTo>
                    <a:lnTo>
                      <a:pt x="3" y="60"/>
                    </a:lnTo>
                    <a:lnTo>
                      <a:pt x="7" y="56"/>
                    </a:lnTo>
                    <a:lnTo>
                      <a:pt x="17" y="47"/>
                    </a:lnTo>
                    <a:lnTo>
                      <a:pt x="28" y="42"/>
                    </a:lnTo>
                    <a:lnTo>
                      <a:pt x="24" y="32"/>
                    </a:lnTo>
                    <a:lnTo>
                      <a:pt x="21" y="21"/>
                    </a:lnTo>
                    <a:lnTo>
                      <a:pt x="18" y="10"/>
                    </a:lnTo>
                    <a:lnTo>
                      <a:pt x="14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057" name="Freeform 365"/>
              <p:cNvSpPr>
                <a:spLocks/>
              </p:cNvSpPr>
              <p:nvPr/>
            </p:nvSpPr>
            <p:spPr bwMode="auto">
              <a:xfrm>
                <a:off x="912" y="2666"/>
                <a:ext cx="9" cy="10"/>
              </a:xfrm>
              <a:custGeom>
                <a:avLst/>
                <a:gdLst>
                  <a:gd name="T0" fmla="*/ 4 w 33"/>
                  <a:gd name="T1" fmla="*/ 2 h 30"/>
                  <a:gd name="T2" fmla="*/ 0 w 33"/>
                  <a:gd name="T3" fmla="*/ 8 h 30"/>
                  <a:gd name="T4" fmla="*/ 2 w 33"/>
                  <a:gd name="T5" fmla="*/ 8 h 30"/>
                  <a:gd name="T6" fmla="*/ 4 w 33"/>
                  <a:gd name="T7" fmla="*/ 9 h 30"/>
                  <a:gd name="T8" fmla="*/ 6 w 33"/>
                  <a:gd name="T9" fmla="*/ 10 h 30"/>
                  <a:gd name="T10" fmla="*/ 9 w 33"/>
                  <a:gd name="T11" fmla="*/ 10 h 30"/>
                  <a:gd name="T12" fmla="*/ 9 w 33"/>
                  <a:gd name="T13" fmla="*/ 0 h 30"/>
                  <a:gd name="T14" fmla="*/ 5 w 33"/>
                  <a:gd name="T15" fmla="*/ 0 h 30"/>
                  <a:gd name="T16" fmla="*/ 4 w 33"/>
                  <a:gd name="T17" fmla="*/ 2 h 3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3" h="30">
                    <a:moveTo>
                      <a:pt x="13" y="6"/>
                    </a:moveTo>
                    <a:lnTo>
                      <a:pt x="0" y="24"/>
                    </a:lnTo>
                    <a:lnTo>
                      <a:pt x="7" y="25"/>
                    </a:lnTo>
                    <a:lnTo>
                      <a:pt x="15" y="27"/>
                    </a:lnTo>
                    <a:lnTo>
                      <a:pt x="23" y="29"/>
                    </a:lnTo>
                    <a:lnTo>
                      <a:pt x="33" y="30"/>
                    </a:lnTo>
                    <a:lnTo>
                      <a:pt x="33" y="0"/>
                    </a:lnTo>
                    <a:lnTo>
                      <a:pt x="20" y="0"/>
                    </a:lnTo>
                    <a:lnTo>
                      <a:pt x="13" y="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869" name="Freeform 366"/>
            <p:cNvSpPr>
              <a:spLocks/>
            </p:cNvSpPr>
            <p:nvPr>
              <p:custDataLst>
                <p:tags r:id="rId261"/>
              </p:custDataLst>
            </p:nvPr>
          </p:nvSpPr>
          <p:spPr bwMode="auto">
            <a:xfrm>
              <a:off x="7202223" y="4917606"/>
              <a:ext cx="22711" cy="70537"/>
            </a:xfrm>
            <a:custGeom>
              <a:avLst/>
              <a:gdLst>
                <a:gd name="T0" fmla="*/ 5269 w 47"/>
                <a:gd name="T1" fmla="*/ 0 h 28"/>
                <a:gd name="T2" fmla="*/ 10133 w 47"/>
                <a:gd name="T3" fmla="*/ 0 h 28"/>
                <a:gd name="T4" fmla="*/ 12565 w 47"/>
                <a:gd name="T5" fmla="*/ 4196 h 28"/>
                <a:gd name="T6" fmla="*/ 13376 w 47"/>
                <a:gd name="T7" fmla="*/ 8391 h 28"/>
                <a:gd name="T8" fmla="*/ 13376 w 47"/>
                <a:gd name="T9" fmla="*/ 12587 h 28"/>
                <a:gd name="T10" fmla="*/ 12970 w 47"/>
                <a:gd name="T11" fmla="*/ 16782 h 28"/>
                <a:gd name="T12" fmla="*/ 13376 w 47"/>
                <a:gd name="T13" fmla="*/ 20978 h 28"/>
                <a:gd name="T14" fmla="*/ 14997 w 47"/>
                <a:gd name="T15" fmla="*/ 25173 h 28"/>
                <a:gd name="T16" fmla="*/ 19050 w 47"/>
                <a:gd name="T17" fmla="*/ 25173 h 28"/>
                <a:gd name="T18" fmla="*/ 17023 w 47"/>
                <a:gd name="T19" fmla="*/ 39858 h 28"/>
                <a:gd name="T20" fmla="*/ 14997 w 47"/>
                <a:gd name="T21" fmla="*/ 52445 h 28"/>
                <a:gd name="T22" fmla="*/ 13376 w 47"/>
                <a:gd name="T23" fmla="*/ 56640 h 28"/>
                <a:gd name="T24" fmla="*/ 11349 w 47"/>
                <a:gd name="T25" fmla="*/ 58738 h 28"/>
                <a:gd name="T26" fmla="*/ 6485 w 47"/>
                <a:gd name="T27" fmla="*/ 56640 h 28"/>
                <a:gd name="T28" fmla="*/ 0 w 47"/>
                <a:gd name="T29" fmla="*/ 52445 h 28"/>
                <a:gd name="T30" fmla="*/ 405 w 47"/>
                <a:gd name="T31" fmla="*/ 39858 h 28"/>
                <a:gd name="T32" fmla="*/ 811 w 47"/>
                <a:gd name="T33" fmla="*/ 31467 h 28"/>
                <a:gd name="T34" fmla="*/ 1621 w 47"/>
                <a:gd name="T35" fmla="*/ 27271 h 28"/>
                <a:gd name="T36" fmla="*/ 2432 w 47"/>
                <a:gd name="T37" fmla="*/ 25173 h 28"/>
                <a:gd name="T38" fmla="*/ 3648 w 47"/>
                <a:gd name="T39" fmla="*/ 23076 h 28"/>
                <a:gd name="T40" fmla="*/ 4459 w 47"/>
                <a:gd name="T41" fmla="*/ 18880 h 28"/>
                <a:gd name="T42" fmla="*/ 5269 w 47"/>
                <a:gd name="T43" fmla="*/ 10489 h 28"/>
                <a:gd name="T44" fmla="*/ 5269 w 47"/>
                <a:gd name="T45" fmla="*/ 0 h 2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47" h="28">
                  <a:moveTo>
                    <a:pt x="13" y="0"/>
                  </a:moveTo>
                  <a:lnTo>
                    <a:pt x="25" y="0"/>
                  </a:lnTo>
                  <a:lnTo>
                    <a:pt x="31" y="2"/>
                  </a:lnTo>
                  <a:lnTo>
                    <a:pt x="33" y="4"/>
                  </a:lnTo>
                  <a:lnTo>
                    <a:pt x="33" y="6"/>
                  </a:lnTo>
                  <a:lnTo>
                    <a:pt x="32" y="8"/>
                  </a:lnTo>
                  <a:lnTo>
                    <a:pt x="33" y="10"/>
                  </a:lnTo>
                  <a:lnTo>
                    <a:pt x="37" y="12"/>
                  </a:lnTo>
                  <a:lnTo>
                    <a:pt x="47" y="12"/>
                  </a:lnTo>
                  <a:lnTo>
                    <a:pt x="42" y="19"/>
                  </a:lnTo>
                  <a:lnTo>
                    <a:pt x="37" y="25"/>
                  </a:lnTo>
                  <a:lnTo>
                    <a:pt x="33" y="27"/>
                  </a:lnTo>
                  <a:lnTo>
                    <a:pt x="28" y="28"/>
                  </a:lnTo>
                  <a:lnTo>
                    <a:pt x="16" y="27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5"/>
                  </a:lnTo>
                  <a:lnTo>
                    <a:pt x="4" y="13"/>
                  </a:lnTo>
                  <a:lnTo>
                    <a:pt x="6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3" y="5"/>
                  </a:lnTo>
                  <a:lnTo>
                    <a:pt x="1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870" name="Freeform 367"/>
            <p:cNvSpPr>
              <a:spLocks/>
            </p:cNvSpPr>
            <p:nvPr>
              <p:custDataLst>
                <p:tags r:id="rId262"/>
              </p:custDataLst>
            </p:nvPr>
          </p:nvSpPr>
          <p:spPr bwMode="auto">
            <a:xfrm>
              <a:off x="7168158" y="4950015"/>
              <a:ext cx="28390" cy="68630"/>
            </a:xfrm>
            <a:custGeom>
              <a:avLst/>
              <a:gdLst>
                <a:gd name="T0" fmla="*/ 5841 w 53"/>
                <a:gd name="T1" fmla="*/ 0 h 33"/>
                <a:gd name="T2" fmla="*/ 11682 w 53"/>
                <a:gd name="T3" fmla="*/ 1732 h 33"/>
                <a:gd name="T4" fmla="*/ 15276 w 53"/>
                <a:gd name="T5" fmla="*/ 1732 h 33"/>
                <a:gd name="T6" fmla="*/ 16624 w 53"/>
                <a:gd name="T7" fmla="*/ 5195 h 33"/>
                <a:gd name="T8" fmla="*/ 16624 w 53"/>
                <a:gd name="T9" fmla="*/ 6927 h 33"/>
                <a:gd name="T10" fmla="*/ 16624 w 53"/>
                <a:gd name="T11" fmla="*/ 10391 h 33"/>
                <a:gd name="T12" fmla="*/ 17523 w 53"/>
                <a:gd name="T13" fmla="*/ 13855 h 33"/>
                <a:gd name="T14" fmla="*/ 19769 w 53"/>
                <a:gd name="T15" fmla="*/ 17318 h 33"/>
                <a:gd name="T16" fmla="*/ 23813 w 53"/>
                <a:gd name="T17" fmla="*/ 20782 h 33"/>
                <a:gd name="T18" fmla="*/ 21566 w 53"/>
                <a:gd name="T19" fmla="*/ 38100 h 33"/>
                <a:gd name="T20" fmla="*/ 19769 w 53"/>
                <a:gd name="T21" fmla="*/ 48491 h 33"/>
                <a:gd name="T22" fmla="*/ 18871 w 53"/>
                <a:gd name="T23" fmla="*/ 53686 h 33"/>
                <a:gd name="T24" fmla="*/ 17073 w 53"/>
                <a:gd name="T25" fmla="*/ 55418 h 33"/>
                <a:gd name="T26" fmla="*/ 16175 w 53"/>
                <a:gd name="T27" fmla="*/ 57150 h 33"/>
                <a:gd name="T28" fmla="*/ 15276 w 53"/>
                <a:gd name="T29" fmla="*/ 57150 h 33"/>
                <a:gd name="T30" fmla="*/ 8986 w 53"/>
                <a:gd name="T31" fmla="*/ 51955 h 33"/>
                <a:gd name="T32" fmla="*/ 0 w 53"/>
                <a:gd name="T33" fmla="*/ 41564 h 33"/>
                <a:gd name="T34" fmla="*/ 0 w 53"/>
                <a:gd name="T35" fmla="*/ 32905 h 33"/>
                <a:gd name="T36" fmla="*/ 899 w 53"/>
                <a:gd name="T37" fmla="*/ 27709 h 33"/>
                <a:gd name="T38" fmla="*/ 1797 w 53"/>
                <a:gd name="T39" fmla="*/ 24245 h 33"/>
                <a:gd name="T40" fmla="*/ 3145 w 53"/>
                <a:gd name="T41" fmla="*/ 20782 h 33"/>
                <a:gd name="T42" fmla="*/ 4044 w 53"/>
                <a:gd name="T43" fmla="*/ 19050 h 33"/>
                <a:gd name="T44" fmla="*/ 4942 w 53"/>
                <a:gd name="T45" fmla="*/ 15586 h 33"/>
                <a:gd name="T46" fmla="*/ 5392 w 53"/>
                <a:gd name="T47" fmla="*/ 10391 h 33"/>
                <a:gd name="T48" fmla="*/ 5841 w 53"/>
                <a:gd name="T49" fmla="*/ 0 h 3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53" h="33">
                  <a:moveTo>
                    <a:pt x="13" y="0"/>
                  </a:moveTo>
                  <a:lnTo>
                    <a:pt x="26" y="1"/>
                  </a:lnTo>
                  <a:lnTo>
                    <a:pt x="34" y="1"/>
                  </a:lnTo>
                  <a:lnTo>
                    <a:pt x="37" y="3"/>
                  </a:lnTo>
                  <a:lnTo>
                    <a:pt x="37" y="4"/>
                  </a:lnTo>
                  <a:lnTo>
                    <a:pt x="37" y="6"/>
                  </a:lnTo>
                  <a:lnTo>
                    <a:pt x="39" y="8"/>
                  </a:lnTo>
                  <a:lnTo>
                    <a:pt x="44" y="10"/>
                  </a:lnTo>
                  <a:lnTo>
                    <a:pt x="53" y="12"/>
                  </a:lnTo>
                  <a:lnTo>
                    <a:pt x="48" y="22"/>
                  </a:lnTo>
                  <a:lnTo>
                    <a:pt x="44" y="28"/>
                  </a:lnTo>
                  <a:lnTo>
                    <a:pt x="42" y="31"/>
                  </a:lnTo>
                  <a:lnTo>
                    <a:pt x="38" y="32"/>
                  </a:lnTo>
                  <a:lnTo>
                    <a:pt x="36" y="33"/>
                  </a:lnTo>
                  <a:lnTo>
                    <a:pt x="34" y="33"/>
                  </a:lnTo>
                  <a:lnTo>
                    <a:pt x="20" y="30"/>
                  </a:lnTo>
                  <a:lnTo>
                    <a:pt x="0" y="24"/>
                  </a:lnTo>
                  <a:lnTo>
                    <a:pt x="0" y="19"/>
                  </a:lnTo>
                  <a:lnTo>
                    <a:pt x="2" y="16"/>
                  </a:lnTo>
                  <a:lnTo>
                    <a:pt x="4" y="14"/>
                  </a:lnTo>
                  <a:lnTo>
                    <a:pt x="7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2" y="6"/>
                  </a:lnTo>
                  <a:lnTo>
                    <a:pt x="1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grpSp>
          <p:nvGrpSpPr>
            <p:cNvPr id="871" name="Group 368"/>
            <p:cNvGrpSpPr>
              <a:grpSpLocks/>
            </p:cNvGrpSpPr>
            <p:nvPr>
              <p:custDataLst>
                <p:tags r:id="rId263"/>
              </p:custDataLst>
            </p:nvPr>
          </p:nvGrpSpPr>
          <p:grpSpPr bwMode="auto">
            <a:xfrm>
              <a:off x="6978898" y="4339976"/>
              <a:ext cx="200616" cy="123914"/>
              <a:chOff x="3481" y="2773"/>
              <a:chExt cx="125" cy="65"/>
            </a:xfrm>
            <a:grpFill/>
          </p:grpSpPr>
          <p:sp>
            <p:nvSpPr>
              <p:cNvPr id="1044" name="Freeform 369"/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5 w 13"/>
                  <a:gd name="T1" fmla="*/ 0 h 18"/>
                  <a:gd name="T2" fmla="*/ 4 w 13"/>
                  <a:gd name="T3" fmla="*/ 3 h 18"/>
                  <a:gd name="T4" fmla="*/ 2 w 13"/>
                  <a:gd name="T5" fmla="*/ 6 h 18"/>
                  <a:gd name="T6" fmla="*/ 2 w 13"/>
                  <a:gd name="T7" fmla="*/ 6 h 18"/>
                  <a:gd name="T8" fmla="*/ 1 w 13"/>
                  <a:gd name="T9" fmla="*/ 5 h 18"/>
                  <a:gd name="T10" fmla="*/ 0 w 13"/>
                  <a:gd name="T11" fmla="*/ 3 h 18"/>
                  <a:gd name="T12" fmla="*/ 0 w 13"/>
                  <a:gd name="T13" fmla="*/ 2 h 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045" name="Line 370"/>
              <p:cNvSpPr>
                <a:spLocks noChangeShapeType="1"/>
              </p:cNvSpPr>
              <p:nvPr/>
            </p:nvSpPr>
            <p:spPr bwMode="auto">
              <a:xfrm>
                <a:off x="3583" y="2800"/>
                <a:ext cx="2" cy="1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046" name="Freeform 371"/>
              <p:cNvSpPr>
                <a:spLocks/>
              </p:cNvSpPr>
              <p:nvPr/>
            </p:nvSpPr>
            <p:spPr bwMode="auto">
              <a:xfrm>
                <a:off x="3554" y="2819"/>
                <a:ext cx="5" cy="6"/>
              </a:xfrm>
              <a:custGeom>
                <a:avLst/>
                <a:gdLst>
                  <a:gd name="T0" fmla="*/ 5 w 14"/>
                  <a:gd name="T1" fmla="*/ 6 h 19"/>
                  <a:gd name="T2" fmla="*/ 0 w 14"/>
                  <a:gd name="T3" fmla="*/ 0 h 19"/>
                  <a:gd name="T4" fmla="*/ 5 w 14"/>
                  <a:gd name="T5" fmla="*/ 6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4" h="19">
                    <a:moveTo>
                      <a:pt x="14" y="19"/>
                    </a:moveTo>
                    <a:lnTo>
                      <a:pt x="0" y="0"/>
                    </a:lnTo>
                    <a:lnTo>
                      <a:pt x="14" y="19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047" name="Freeform 372"/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2 h 18"/>
                  <a:gd name="T2" fmla="*/ 2 w 7"/>
                  <a:gd name="T3" fmla="*/ 6 h 18"/>
                  <a:gd name="T4" fmla="*/ 0 w 7"/>
                  <a:gd name="T5" fmla="*/ 6 h 18"/>
                  <a:gd name="T6" fmla="*/ 0 w 7"/>
                  <a:gd name="T7" fmla="*/ 0 h 18"/>
                  <a:gd name="T8" fmla="*/ 2 w 7"/>
                  <a:gd name="T9" fmla="*/ 0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048" name="Freeform 373"/>
              <p:cNvSpPr>
                <a:spLocks/>
              </p:cNvSpPr>
              <p:nvPr/>
            </p:nvSpPr>
            <p:spPr bwMode="auto">
              <a:xfrm>
                <a:off x="3599" y="2773"/>
                <a:ext cx="7" cy="4"/>
              </a:xfrm>
              <a:custGeom>
                <a:avLst/>
                <a:gdLst>
                  <a:gd name="T0" fmla="*/ 7 w 20"/>
                  <a:gd name="T1" fmla="*/ 4 h 12"/>
                  <a:gd name="T2" fmla="*/ 4 w 20"/>
                  <a:gd name="T3" fmla="*/ 3 h 12"/>
                  <a:gd name="T4" fmla="*/ 0 w 20"/>
                  <a:gd name="T5" fmla="*/ 2 h 12"/>
                  <a:gd name="T6" fmla="*/ 0 w 20"/>
                  <a:gd name="T7" fmla="*/ 2 h 12"/>
                  <a:gd name="T8" fmla="*/ 1 w 20"/>
                  <a:gd name="T9" fmla="*/ 1 h 12"/>
                  <a:gd name="T10" fmla="*/ 3 w 20"/>
                  <a:gd name="T11" fmla="*/ 0 h 12"/>
                  <a:gd name="T12" fmla="*/ 5 w 20"/>
                  <a:gd name="T13" fmla="*/ 0 h 1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0" h="12">
                    <a:moveTo>
                      <a:pt x="20" y="12"/>
                    </a:moveTo>
                    <a:lnTo>
                      <a:pt x="10" y="9"/>
                    </a:lnTo>
                    <a:lnTo>
                      <a:pt x="0" y="6"/>
                    </a:lnTo>
                    <a:lnTo>
                      <a:pt x="1" y="5"/>
                    </a:lnTo>
                    <a:lnTo>
                      <a:pt x="3" y="3"/>
                    </a:lnTo>
                    <a:lnTo>
                      <a:pt x="8" y="1"/>
                    </a:lnTo>
                    <a:lnTo>
                      <a:pt x="13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049" name="Line 374"/>
              <p:cNvSpPr>
                <a:spLocks noChangeShapeType="1"/>
              </p:cNvSpPr>
              <p:nvPr/>
            </p:nvSpPr>
            <p:spPr bwMode="auto">
              <a:xfrm>
                <a:off x="3603" y="2773"/>
                <a:ext cx="1" cy="2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050" name="Freeform 375"/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6 h 18"/>
                  <a:gd name="T4" fmla="*/ 7 w 20"/>
                  <a:gd name="T5" fmla="*/ 6 h 18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051" name="Freeform 376"/>
              <p:cNvSpPr>
                <a:spLocks/>
              </p:cNvSpPr>
              <p:nvPr/>
            </p:nvSpPr>
            <p:spPr bwMode="auto">
              <a:xfrm>
                <a:off x="3485" y="2830"/>
                <a:ext cx="3" cy="4"/>
              </a:xfrm>
              <a:custGeom>
                <a:avLst/>
                <a:gdLst>
                  <a:gd name="T0" fmla="*/ 3 w 7"/>
                  <a:gd name="T1" fmla="*/ 4 h 12"/>
                  <a:gd name="T2" fmla="*/ 2 w 7"/>
                  <a:gd name="T3" fmla="*/ 2 h 12"/>
                  <a:gd name="T4" fmla="*/ 0 w 7"/>
                  <a:gd name="T5" fmla="*/ 0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7" h="12">
                    <a:moveTo>
                      <a:pt x="7" y="12"/>
                    </a:moveTo>
                    <a:lnTo>
                      <a:pt x="4" y="6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052" name="Freeform 377"/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6 h 18"/>
                  <a:gd name="T4" fmla="*/ 7 w 20"/>
                  <a:gd name="T5" fmla="*/ 6 h 18"/>
                  <a:gd name="T6" fmla="*/ 6 w 20"/>
                  <a:gd name="T7" fmla="*/ 4 h 18"/>
                  <a:gd name="T8" fmla="*/ 5 w 20"/>
                  <a:gd name="T9" fmla="*/ 2 h 18"/>
                  <a:gd name="T10" fmla="*/ 0 w 20"/>
                  <a:gd name="T11" fmla="*/ 0 h 1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  <a:lnTo>
                      <a:pt x="17" y="12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053" name="Freeform 378"/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2 h 18"/>
                  <a:gd name="T2" fmla="*/ 2 w 7"/>
                  <a:gd name="T3" fmla="*/ 6 h 18"/>
                  <a:gd name="T4" fmla="*/ 0 w 7"/>
                  <a:gd name="T5" fmla="*/ 6 h 18"/>
                  <a:gd name="T6" fmla="*/ 0 w 7"/>
                  <a:gd name="T7" fmla="*/ 0 h 18"/>
                  <a:gd name="T8" fmla="*/ 2 w 7"/>
                  <a:gd name="T9" fmla="*/ 0 h 18"/>
                  <a:gd name="T10" fmla="*/ 0 w 7"/>
                  <a:gd name="T11" fmla="*/ 2 h 1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  <a:lnTo>
                      <a:pt x="0" y="6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054" name="Freeform 379"/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5 w 13"/>
                  <a:gd name="T1" fmla="*/ 0 h 18"/>
                  <a:gd name="T2" fmla="*/ 4 w 13"/>
                  <a:gd name="T3" fmla="*/ 3 h 18"/>
                  <a:gd name="T4" fmla="*/ 2 w 13"/>
                  <a:gd name="T5" fmla="*/ 6 h 18"/>
                  <a:gd name="T6" fmla="*/ 2 w 13"/>
                  <a:gd name="T7" fmla="*/ 6 h 18"/>
                  <a:gd name="T8" fmla="*/ 1 w 13"/>
                  <a:gd name="T9" fmla="*/ 5 h 18"/>
                  <a:gd name="T10" fmla="*/ 0 w 13"/>
                  <a:gd name="T11" fmla="*/ 3 h 18"/>
                  <a:gd name="T12" fmla="*/ 0 w 13"/>
                  <a:gd name="T13" fmla="*/ 2 h 18"/>
                  <a:gd name="T14" fmla="*/ 2 w 13"/>
                  <a:gd name="T15" fmla="*/ 2 h 18"/>
                  <a:gd name="T16" fmla="*/ 5 w 13"/>
                  <a:gd name="T17" fmla="*/ 0 h 1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  <a:lnTo>
                      <a:pt x="6" y="6"/>
                    </a:lnTo>
                    <a:lnTo>
                      <a:pt x="13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872" name="Freeform 380"/>
            <p:cNvSpPr>
              <a:spLocks/>
            </p:cNvSpPr>
            <p:nvPr>
              <p:custDataLst>
                <p:tags r:id="rId264"/>
              </p:custDataLst>
            </p:nvPr>
          </p:nvSpPr>
          <p:spPr bwMode="auto">
            <a:xfrm>
              <a:off x="5939860" y="4330443"/>
              <a:ext cx="380412" cy="455625"/>
            </a:xfrm>
            <a:custGeom>
              <a:avLst/>
              <a:gdLst>
                <a:gd name="T0" fmla="*/ 26013 w 736"/>
                <a:gd name="T1" fmla="*/ 360469 h 721"/>
                <a:gd name="T2" fmla="*/ 39452 w 736"/>
                <a:gd name="T3" fmla="*/ 351523 h 721"/>
                <a:gd name="T4" fmla="*/ 54626 w 736"/>
                <a:gd name="T5" fmla="*/ 351523 h 721"/>
                <a:gd name="T6" fmla="*/ 84974 w 736"/>
                <a:gd name="T7" fmla="*/ 364152 h 721"/>
                <a:gd name="T8" fmla="*/ 106218 w 736"/>
                <a:gd name="T9" fmla="*/ 370993 h 721"/>
                <a:gd name="T10" fmla="*/ 126594 w 736"/>
                <a:gd name="T11" fmla="*/ 369941 h 721"/>
                <a:gd name="T12" fmla="*/ 264894 w 736"/>
                <a:gd name="T13" fmla="*/ 377308 h 721"/>
                <a:gd name="T14" fmla="*/ 282236 w 736"/>
                <a:gd name="T15" fmla="*/ 372046 h 721"/>
                <a:gd name="T16" fmla="*/ 271831 w 736"/>
                <a:gd name="T17" fmla="*/ 345734 h 721"/>
                <a:gd name="T18" fmla="*/ 287872 w 736"/>
                <a:gd name="T19" fmla="*/ 227858 h 721"/>
                <a:gd name="T20" fmla="*/ 307381 w 736"/>
                <a:gd name="T21" fmla="*/ 225753 h 721"/>
                <a:gd name="T22" fmla="*/ 313451 w 736"/>
                <a:gd name="T23" fmla="*/ 218912 h 721"/>
                <a:gd name="T24" fmla="*/ 318220 w 736"/>
                <a:gd name="T25" fmla="*/ 189443 h 721"/>
                <a:gd name="T26" fmla="*/ 313017 w 736"/>
                <a:gd name="T27" fmla="*/ 158922 h 721"/>
                <a:gd name="T28" fmla="*/ 306948 w 736"/>
                <a:gd name="T29" fmla="*/ 159974 h 721"/>
                <a:gd name="T30" fmla="*/ 293074 w 736"/>
                <a:gd name="T31" fmla="*/ 157869 h 721"/>
                <a:gd name="T32" fmla="*/ 274866 w 736"/>
                <a:gd name="T33" fmla="*/ 157343 h 721"/>
                <a:gd name="T34" fmla="*/ 270097 w 736"/>
                <a:gd name="T35" fmla="*/ 152607 h 721"/>
                <a:gd name="T36" fmla="*/ 267495 w 736"/>
                <a:gd name="T37" fmla="*/ 133137 h 721"/>
                <a:gd name="T38" fmla="*/ 263160 w 736"/>
                <a:gd name="T39" fmla="*/ 115245 h 721"/>
                <a:gd name="T40" fmla="*/ 258825 w 736"/>
                <a:gd name="T41" fmla="*/ 97879 h 721"/>
                <a:gd name="T42" fmla="*/ 263160 w 736"/>
                <a:gd name="T43" fmla="*/ 87881 h 721"/>
                <a:gd name="T44" fmla="*/ 267495 w 736"/>
                <a:gd name="T45" fmla="*/ 77882 h 721"/>
                <a:gd name="T46" fmla="*/ 264894 w 736"/>
                <a:gd name="T47" fmla="*/ 52623 h 721"/>
                <a:gd name="T48" fmla="*/ 235847 w 736"/>
                <a:gd name="T49" fmla="*/ 36836 h 721"/>
                <a:gd name="T50" fmla="*/ 206800 w 736"/>
                <a:gd name="T51" fmla="*/ 34731 h 721"/>
                <a:gd name="T52" fmla="*/ 204198 w 736"/>
                <a:gd name="T53" fmla="*/ 42625 h 721"/>
                <a:gd name="T54" fmla="*/ 200730 w 736"/>
                <a:gd name="T55" fmla="*/ 53149 h 721"/>
                <a:gd name="T56" fmla="*/ 190759 w 736"/>
                <a:gd name="T57" fmla="*/ 64200 h 721"/>
                <a:gd name="T58" fmla="*/ 169949 w 736"/>
                <a:gd name="T59" fmla="*/ 68410 h 721"/>
                <a:gd name="T60" fmla="*/ 157809 w 736"/>
                <a:gd name="T61" fmla="*/ 60517 h 721"/>
                <a:gd name="T62" fmla="*/ 146971 w 736"/>
                <a:gd name="T63" fmla="*/ 43151 h 721"/>
                <a:gd name="T64" fmla="*/ 138300 w 736"/>
                <a:gd name="T65" fmla="*/ 20523 h 721"/>
                <a:gd name="T66" fmla="*/ 135265 w 736"/>
                <a:gd name="T67" fmla="*/ 0 h 721"/>
                <a:gd name="T68" fmla="*/ 13006 w 736"/>
                <a:gd name="T69" fmla="*/ 7893 h 721"/>
                <a:gd name="T70" fmla="*/ 20376 w 736"/>
                <a:gd name="T71" fmla="*/ 15261 h 721"/>
                <a:gd name="T72" fmla="*/ 32516 w 736"/>
                <a:gd name="T73" fmla="*/ 39467 h 721"/>
                <a:gd name="T74" fmla="*/ 44221 w 736"/>
                <a:gd name="T75" fmla="*/ 68410 h 721"/>
                <a:gd name="T76" fmla="*/ 44655 w 736"/>
                <a:gd name="T77" fmla="*/ 89986 h 721"/>
                <a:gd name="T78" fmla="*/ 40319 w 736"/>
                <a:gd name="T79" fmla="*/ 106825 h 721"/>
                <a:gd name="T80" fmla="*/ 41620 w 736"/>
                <a:gd name="T81" fmla="*/ 120507 h 721"/>
                <a:gd name="T82" fmla="*/ 51592 w 736"/>
                <a:gd name="T83" fmla="*/ 143135 h 721"/>
                <a:gd name="T84" fmla="*/ 56794 w 736"/>
                <a:gd name="T85" fmla="*/ 161553 h 721"/>
                <a:gd name="T86" fmla="*/ 55060 w 736"/>
                <a:gd name="T87" fmla="*/ 185234 h 721"/>
                <a:gd name="T88" fmla="*/ 45955 w 736"/>
                <a:gd name="T89" fmla="*/ 212071 h 721"/>
                <a:gd name="T90" fmla="*/ 33383 w 736"/>
                <a:gd name="T91" fmla="*/ 234699 h 721"/>
                <a:gd name="T92" fmla="*/ 17775 w 736"/>
                <a:gd name="T93" fmla="*/ 251012 h 721"/>
                <a:gd name="T94" fmla="*/ 10839 w 736"/>
                <a:gd name="T95" fmla="*/ 311003 h 721"/>
                <a:gd name="T96" fmla="*/ 4769 w 736"/>
                <a:gd name="T97" fmla="*/ 329947 h 72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736" h="721">
                  <a:moveTo>
                    <a:pt x="0" y="691"/>
                  </a:moveTo>
                  <a:lnTo>
                    <a:pt x="46" y="697"/>
                  </a:lnTo>
                  <a:lnTo>
                    <a:pt x="53" y="690"/>
                  </a:lnTo>
                  <a:lnTo>
                    <a:pt x="60" y="685"/>
                  </a:lnTo>
                  <a:lnTo>
                    <a:pt x="68" y="679"/>
                  </a:lnTo>
                  <a:lnTo>
                    <a:pt x="75" y="674"/>
                  </a:lnTo>
                  <a:lnTo>
                    <a:pt x="83" y="671"/>
                  </a:lnTo>
                  <a:lnTo>
                    <a:pt x="91" y="668"/>
                  </a:lnTo>
                  <a:lnTo>
                    <a:pt x="97" y="666"/>
                  </a:lnTo>
                  <a:lnTo>
                    <a:pt x="105" y="666"/>
                  </a:lnTo>
                  <a:lnTo>
                    <a:pt x="116" y="666"/>
                  </a:lnTo>
                  <a:lnTo>
                    <a:pt x="126" y="668"/>
                  </a:lnTo>
                  <a:lnTo>
                    <a:pt x="137" y="671"/>
                  </a:lnTo>
                  <a:lnTo>
                    <a:pt x="149" y="674"/>
                  </a:lnTo>
                  <a:lnTo>
                    <a:pt x="172" y="683"/>
                  </a:lnTo>
                  <a:lnTo>
                    <a:pt x="196" y="692"/>
                  </a:lnTo>
                  <a:lnTo>
                    <a:pt x="208" y="696"/>
                  </a:lnTo>
                  <a:lnTo>
                    <a:pt x="220" y="700"/>
                  </a:lnTo>
                  <a:lnTo>
                    <a:pt x="232" y="703"/>
                  </a:lnTo>
                  <a:lnTo>
                    <a:pt x="245" y="705"/>
                  </a:lnTo>
                  <a:lnTo>
                    <a:pt x="257" y="706"/>
                  </a:lnTo>
                  <a:lnTo>
                    <a:pt x="269" y="707"/>
                  </a:lnTo>
                  <a:lnTo>
                    <a:pt x="280" y="706"/>
                  </a:lnTo>
                  <a:lnTo>
                    <a:pt x="292" y="703"/>
                  </a:lnTo>
                  <a:lnTo>
                    <a:pt x="411" y="703"/>
                  </a:lnTo>
                  <a:lnTo>
                    <a:pt x="411" y="721"/>
                  </a:lnTo>
                  <a:lnTo>
                    <a:pt x="604" y="721"/>
                  </a:lnTo>
                  <a:lnTo>
                    <a:pt x="611" y="717"/>
                  </a:lnTo>
                  <a:lnTo>
                    <a:pt x="619" y="714"/>
                  </a:lnTo>
                  <a:lnTo>
                    <a:pt x="627" y="712"/>
                  </a:lnTo>
                  <a:lnTo>
                    <a:pt x="634" y="710"/>
                  </a:lnTo>
                  <a:lnTo>
                    <a:pt x="651" y="707"/>
                  </a:lnTo>
                  <a:lnTo>
                    <a:pt x="671" y="703"/>
                  </a:lnTo>
                  <a:lnTo>
                    <a:pt x="658" y="691"/>
                  </a:lnTo>
                  <a:lnTo>
                    <a:pt x="643" y="674"/>
                  </a:lnTo>
                  <a:lnTo>
                    <a:pt x="627" y="657"/>
                  </a:lnTo>
                  <a:lnTo>
                    <a:pt x="610" y="641"/>
                  </a:lnTo>
                  <a:lnTo>
                    <a:pt x="610" y="432"/>
                  </a:lnTo>
                  <a:lnTo>
                    <a:pt x="631" y="433"/>
                  </a:lnTo>
                  <a:lnTo>
                    <a:pt x="664" y="433"/>
                  </a:lnTo>
                  <a:lnTo>
                    <a:pt x="680" y="433"/>
                  </a:lnTo>
                  <a:lnTo>
                    <a:pt x="696" y="432"/>
                  </a:lnTo>
                  <a:lnTo>
                    <a:pt x="703" y="431"/>
                  </a:lnTo>
                  <a:lnTo>
                    <a:pt x="709" y="429"/>
                  </a:lnTo>
                  <a:lnTo>
                    <a:pt x="713" y="428"/>
                  </a:lnTo>
                  <a:lnTo>
                    <a:pt x="717" y="426"/>
                  </a:lnTo>
                  <a:lnTo>
                    <a:pt x="720" y="421"/>
                  </a:lnTo>
                  <a:lnTo>
                    <a:pt x="723" y="416"/>
                  </a:lnTo>
                  <a:lnTo>
                    <a:pt x="725" y="408"/>
                  </a:lnTo>
                  <a:lnTo>
                    <a:pt x="728" y="400"/>
                  </a:lnTo>
                  <a:lnTo>
                    <a:pt x="732" y="380"/>
                  </a:lnTo>
                  <a:lnTo>
                    <a:pt x="734" y="360"/>
                  </a:lnTo>
                  <a:lnTo>
                    <a:pt x="736" y="324"/>
                  </a:lnTo>
                  <a:lnTo>
                    <a:pt x="736" y="309"/>
                  </a:lnTo>
                  <a:lnTo>
                    <a:pt x="728" y="304"/>
                  </a:lnTo>
                  <a:lnTo>
                    <a:pt x="722" y="302"/>
                  </a:lnTo>
                  <a:lnTo>
                    <a:pt x="718" y="302"/>
                  </a:lnTo>
                  <a:lnTo>
                    <a:pt x="714" y="303"/>
                  </a:lnTo>
                  <a:lnTo>
                    <a:pt x="711" y="304"/>
                  </a:lnTo>
                  <a:lnTo>
                    <a:pt x="708" y="304"/>
                  </a:lnTo>
                  <a:lnTo>
                    <a:pt x="703" y="302"/>
                  </a:lnTo>
                  <a:lnTo>
                    <a:pt x="697" y="297"/>
                  </a:lnTo>
                  <a:lnTo>
                    <a:pt x="685" y="298"/>
                  </a:lnTo>
                  <a:lnTo>
                    <a:pt x="676" y="300"/>
                  </a:lnTo>
                  <a:lnTo>
                    <a:pt x="666" y="302"/>
                  </a:lnTo>
                  <a:lnTo>
                    <a:pt x="650" y="303"/>
                  </a:lnTo>
                  <a:lnTo>
                    <a:pt x="641" y="302"/>
                  </a:lnTo>
                  <a:lnTo>
                    <a:pt x="634" y="299"/>
                  </a:lnTo>
                  <a:lnTo>
                    <a:pt x="631" y="298"/>
                  </a:lnTo>
                  <a:lnTo>
                    <a:pt x="628" y="295"/>
                  </a:lnTo>
                  <a:lnTo>
                    <a:pt x="626" y="293"/>
                  </a:lnTo>
                  <a:lnTo>
                    <a:pt x="623" y="290"/>
                  </a:lnTo>
                  <a:lnTo>
                    <a:pt x="620" y="282"/>
                  </a:lnTo>
                  <a:lnTo>
                    <a:pt x="619" y="274"/>
                  </a:lnTo>
                  <a:lnTo>
                    <a:pt x="618" y="264"/>
                  </a:lnTo>
                  <a:lnTo>
                    <a:pt x="617" y="253"/>
                  </a:lnTo>
                  <a:lnTo>
                    <a:pt x="616" y="244"/>
                  </a:lnTo>
                  <a:lnTo>
                    <a:pt x="613" y="236"/>
                  </a:lnTo>
                  <a:lnTo>
                    <a:pt x="610" y="227"/>
                  </a:lnTo>
                  <a:lnTo>
                    <a:pt x="607" y="219"/>
                  </a:lnTo>
                  <a:lnTo>
                    <a:pt x="604" y="211"/>
                  </a:lnTo>
                  <a:lnTo>
                    <a:pt x="600" y="203"/>
                  </a:lnTo>
                  <a:lnTo>
                    <a:pt x="598" y="195"/>
                  </a:lnTo>
                  <a:lnTo>
                    <a:pt x="597" y="186"/>
                  </a:lnTo>
                  <a:lnTo>
                    <a:pt x="598" y="181"/>
                  </a:lnTo>
                  <a:lnTo>
                    <a:pt x="600" y="177"/>
                  </a:lnTo>
                  <a:lnTo>
                    <a:pt x="604" y="171"/>
                  </a:lnTo>
                  <a:lnTo>
                    <a:pt x="607" y="167"/>
                  </a:lnTo>
                  <a:lnTo>
                    <a:pt x="610" y="162"/>
                  </a:lnTo>
                  <a:lnTo>
                    <a:pt x="613" y="157"/>
                  </a:lnTo>
                  <a:lnTo>
                    <a:pt x="616" y="153"/>
                  </a:lnTo>
                  <a:lnTo>
                    <a:pt x="617" y="148"/>
                  </a:lnTo>
                  <a:lnTo>
                    <a:pt x="616" y="136"/>
                  </a:lnTo>
                  <a:lnTo>
                    <a:pt x="612" y="120"/>
                  </a:lnTo>
                  <a:lnTo>
                    <a:pt x="611" y="109"/>
                  </a:lnTo>
                  <a:lnTo>
                    <a:pt x="611" y="100"/>
                  </a:lnTo>
                  <a:lnTo>
                    <a:pt x="613" y="90"/>
                  </a:lnTo>
                  <a:lnTo>
                    <a:pt x="617" y="81"/>
                  </a:lnTo>
                  <a:lnTo>
                    <a:pt x="594" y="77"/>
                  </a:lnTo>
                  <a:lnTo>
                    <a:pt x="544" y="70"/>
                  </a:lnTo>
                  <a:lnTo>
                    <a:pt x="517" y="67"/>
                  </a:lnTo>
                  <a:lnTo>
                    <a:pt x="494" y="66"/>
                  </a:lnTo>
                  <a:lnTo>
                    <a:pt x="484" y="65"/>
                  </a:lnTo>
                  <a:lnTo>
                    <a:pt x="477" y="66"/>
                  </a:lnTo>
                  <a:lnTo>
                    <a:pt x="473" y="67"/>
                  </a:lnTo>
                  <a:lnTo>
                    <a:pt x="471" y="69"/>
                  </a:lnTo>
                  <a:lnTo>
                    <a:pt x="471" y="73"/>
                  </a:lnTo>
                  <a:lnTo>
                    <a:pt x="471" y="81"/>
                  </a:lnTo>
                  <a:lnTo>
                    <a:pt x="470" y="86"/>
                  </a:lnTo>
                  <a:lnTo>
                    <a:pt x="469" y="91"/>
                  </a:lnTo>
                  <a:lnTo>
                    <a:pt x="466" y="96"/>
                  </a:lnTo>
                  <a:lnTo>
                    <a:pt x="463" y="101"/>
                  </a:lnTo>
                  <a:lnTo>
                    <a:pt x="460" y="107"/>
                  </a:lnTo>
                  <a:lnTo>
                    <a:pt x="454" y="112"/>
                  </a:lnTo>
                  <a:lnTo>
                    <a:pt x="448" y="117"/>
                  </a:lnTo>
                  <a:lnTo>
                    <a:pt x="440" y="122"/>
                  </a:lnTo>
                  <a:lnTo>
                    <a:pt x="430" y="125"/>
                  </a:lnTo>
                  <a:lnTo>
                    <a:pt x="419" y="128"/>
                  </a:lnTo>
                  <a:lnTo>
                    <a:pt x="406" y="130"/>
                  </a:lnTo>
                  <a:lnTo>
                    <a:pt x="392" y="130"/>
                  </a:lnTo>
                  <a:lnTo>
                    <a:pt x="385" y="129"/>
                  </a:lnTo>
                  <a:lnTo>
                    <a:pt x="378" y="127"/>
                  </a:lnTo>
                  <a:lnTo>
                    <a:pt x="372" y="122"/>
                  </a:lnTo>
                  <a:lnTo>
                    <a:pt x="364" y="115"/>
                  </a:lnTo>
                  <a:lnTo>
                    <a:pt x="358" y="108"/>
                  </a:lnTo>
                  <a:lnTo>
                    <a:pt x="351" y="100"/>
                  </a:lnTo>
                  <a:lnTo>
                    <a:pt x="344" y="91"/>
                  </a:lnTo>
                  <a:lnTo>
                    <a:pt x="339" y="82"/>
                  </a:lnTo>
                  <a:lnTo>
                    <a:pt x="333" y="72"/>
                  </a:lnTo>
                  <a:lnTo>
                    <a:pt x="328" y="60"/>
                  </a:lnTo>
                  <a:lnTo>
                    <a:pt x="324" y="50"/>
                  </a:lnTo>
                  <a:lnTo>
                    <a:pt x="319" y="39"/>
                  </a:lnTo>
                  <a:lnTo>
                    <a:pt x="316" y="29"/>
                  </a:lnTo>
                  <a:lnTo>
                    <a:pt x="314" y="19"/>
                  </a:lnTo>
                  <a:lnTo>
                    <a:pt x="312" y="10"/>
                  </a:lnTo>
                  <a:lnTo>
                    <a:pt x="312" y="0"/>
                  </a:lnTo>
                  <a:lnTo>
                    <a:pt x="26" y="0"/>
                  </a:lnTo>
                  <a:lnTo>
                    <a:pt x="26" y="5"/>
                  </a:lnTo>
                  <a:lnTo>
                    <a:pt x="28" y="10"/>
                  </a:lnTo>
                  <a:lnTo>
                    <a:pt x="30" y="15"/>
                  </a:lnTo>
                  <a:lnTo>
                    <a:pt x="34" y="19"/>
                  </a:lnTo>
                  <a:lnTo>
                    <a:pt x="38" y="22"/>
                  </a:lnTo>
                  <a:lnTo>
                    <a:pt x="42" y="26"/>
                  </a:lnTo>
                  <a:lnTo>
                    <a:pt x="47" y="29"/>
                  </a:lnTo>
                  <a:lnTo>
                    <a:pt x="52" y="31"/>
                  </a:lnTo>
                  <a:lnTo>
                    <a:pt x="58" y="47"/>
                  </a:lnTo>
                  <a:lnTo>
                    <a:pt x="67" y="61"/>
                  </a:lnTo>
                  <a:lnTo>
                    <a:pt x="75" y="75"/>
                  </a:lnTo>
                  <a:lnTo>
                    <a:pt x="84" y="89"/>
                  </a:lnTo>
                  <a:lnTo>
                    <a:pt x="92" y="104"/>
                  </a:lnTo>
                  <a:lnTo>
                    <a:pt x="98" y="121"/>
                  </a:lnTo>
                  <a:lnTo>
                    <a:pt x="102" y="130"/>
                  </a:lnTo>
                  <a:lnTo>
                    <a:pt x="104" y="139"/>
                  </a:lnTo>
                  <a:lnTo>
                    <a:pt x="105" y="150"/>
                  </a:lnTo>
                  <a:lnTo>
                    <a:pt x="105" y="161"/>
                  </a:lnTo>
                  <a:lnTo>
                    <a:pt x="103" y="171"/>
                  </a:lnTo>
                  <a:lnTo>
                    <a:pt x="98" y="183"/>
                  </a:lnTo>
                  <a:lnTo>
                    <a:pt x="96" y="190"/>
                  </a:lnTo>
                  <a:lnTo>
                    <a:pt x="94" y="196"/>
                  </a:lnTo>
                  <a:lnTo>
                    <a:pt x="93" y="203"/>
                  </a:lnTo>
                  <a:lnTo>
                    <a:pt x="92" y="210"/>
                  </a:lnTo>
                  <a:lnTo>
                    <a:pt x="93" y="217"/>
                  </a:lnTo>
                  <a:lnTo>
                    <a:pt x="94" y="223"/>
                  </a:lnTo>
                  <a:lnTo>
                    <a:pt x="96" y="229"/>
                  </a:lnTo>
                  <a:lnTo>
                    <a:pt x="98" y="236"/>
                  </a:lnTo>
                  <a:lnTo>
                    <a:pt x="105" y="248"/>
                  </a:lnTo>
                  <a:lnTo>
                    <a:pt x="112" y="260"/>
                  </a:lnTo>
                  <a:lnTo>
                    <a:pt x="119" y="272"/>
                  </a:lnTo>
                  <a:lnTo>
                    <a:pt x="126" y="285"/>
                  </a:lnTo>
                  <a:lnTo>
                    <a:pt x="128" y="293"/>
                  </a:lnTo>
                  <a:lnTo>
                    <a:pt x="130" y="300"/>
                  </a:lnTo>
                  <a:lnTo>
                    <a:pt x="131" y="307"/>
                  </a:lnTo>
                  <a:lnTo>
                    <a:pt x="133" y="315"/>
                  </a:lnTo>
                  <a:lnTo>
                    <a:pt x="131" y="326"/>
                  </a:lnTo>
                  <a:lnTo>
                    <a:pt x="129" y="338"/>
                  </a:lnTo>
                  <a:lnTo>
                    <a:pt x="127" y="352"/>
                  </a:lnTo>
                  <a:lnTo>
                    <a:pt x="123" y="364"/>
                  </a:lnTo>
                  <a:lnTo>
                    <a:pt x="118" y="377"/>
                  </a:lnTo>
                  <a:lnTo>
                    <a:pt x="113" y="389"/>
                  </a:lnTo>
                  <a:lnTo>
                    <a:pt x="106" y="403"/>
                  </a:lnTo>
                  <a:lnTo>
                    <a:pt x="100" y="414"/>
                  </a:lnTo>
                  <a:lnTo>
                    <a:pt x="92" y="426"/>
                  </a:lnTo>
                  <a:lnTo>
                    <a:pt x="84" y="436"/>
                  </a:lnTo>
                  <a:lnTo>
                    <a:pt x="77" y="446"/>
                  </a:lnTo>
                  <a:lnTo>
                    <a:pt x="68" y="457"/>
                  </a:lnTo>
                  <a:lnTo>
                    <a:pt x="59" y="465"/>
                  </a:lnTo>
                  <a:lnTo>
                    <a:pt x="50" y="471"/>
                  </a:lnTo>
                  <a:lnTo>
                    <a:pt x="41" y="477"/>
                  </a:lnTo>
                  <a:lnTo>
                    <a:pt x="33" y="481"/>
                  </a:lnTo>
                  <a:lnTo>
                    <a:pt x="33" y="586"/>
                  </a:lnTo>
                  <a:lnTo>
                    <a:pt x="28" y="588"/>
                  </a:lnTo>
                  <a:lnTo>
                    <a:pt x="25" y="591"/>
                  </a:lnTo>
                  <a:lnTo>
                    <a:pt x="23" y="595"/>
                  </a:lnTo>
                  <a:lnTo>
                    <a:pt x="19" y="600"/>
                  </a:lnTo>
                  <a:lnTo>
                    <a:pt x="15" y="612"/>
                  </a:lnTo>
                  <a:lnTo>
                    <a:pt x="11" y="627"/>
                  </a:lnTo>
                  <a:lnTo>
                    <a:pt x="4" y="659"/>
                  </a:lnTo>
                  <a:lnTo>
                    <a:pt x="0" y="69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873" name="Freeform 381"/>
            <p:cNvSpPr>
              <a:spLocks/>
            </p:cNvSpPr>
            <p:nvPr>
              <p:custDataLst>
                <p:tags r:id="rId265"/>
              </p:custDataLst>
            </p:nvPr>
          </p:nvSpPr>
          <p:spPr bwMode="auto">
            <a:xfrm>
              <a:off x="5953108" y="4298035"/>
              <a:ext cx="18926" cy="72442"/>
            </a:xfrm>
            <a:custGeom>
              <a:avLst/>
              <a:gdLst>
                <a:gd name="T0" fmla="*/ 0 w 39"/>
                <a:gd name="T1" fmla="*/ 60325 h 31"/>
                <a:gd name="T2" fmla="*/ 4885 w 39"/>
                <a:gd name="T3" fmla="*/ 54487 h 31"/>
                <a:gd name="T4" fmla="*/ 8955 w 39"/>
                <a:gd name="T5" fmla="*/ 54487 h 31"/>
                <a:gd name="T6" fmla="*/ 10583 w 39"/>
                <a:gd name="T7" fmla="*/ 54487 h 31"/>
                <a:gd name="T8" fmla="*/ 12212 w 39"/>
                <a:gd name="T9" fmla="*/ 54487 h 31"/>
                <a:gd name="T10" fmla="*/ 14247 w 39"/>
                <a:gd name="T11" fmla="*/ 52541 h 31"/>
                <a:gd name="T12" fmla="*/ 15875 w 39"/>
                <a:gd name="T13" fmla="*/ 48649 h 31"/>
                <a:gd name="T14" fmla="*/ 15875 w 39"/>
                <a:gd name="T15" fmla="*/ 0 h 31"/>
                <a:gd name="T16" fmla="*/ 10583 w 39"/>
                <a:gd name="T17" fmla="*/ 0 h 31"/>
                <a:gd name="T18" fmla="*/ 6920 w 39"/>
                <a:gd name="T19" fmla="*/ 0 h 31"/>
                <a:gd name="T20" fmla="*/ 3256 w 39"/>
                <a:gd name="T21" fmla="*/ 0 h 31"/>
                <a:gd name="T22" fmla="*/ 0 w 39"/>
                <a:gd name="T23" fmla="*/ 0 h 31"/>
                <a:gd name="T24" fmla="*/ 0 w 39"/>
                <a:gd name="T25" fmla="*/ 60325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9" h="31">
                  <a:moveTo>
                    <a:pt x="0" y="31"/>
                  </a:moveTo>
                  <a:lnTo>
                    <a:pt x="12" y="28"/>
                  </a:lnTo>
                  <a:lnTo>
                    <a:pt x="22" y="28"/>
                  </a:lnTo>
                  <a:lnTo>
                    <a:pt x="26" y="28"/>
                  </a:lnTo>
                  <a:lnTo>
                    <a:pt x="30" y="28"/>
                  </a:lnTo>
                  <a:lnTo>
                    <a:pt x="35" y="27"/>
                  </a:lnTo>
                  <a:lnTo>
                    <a:pt x="39" y="25"/>
                  </a:lnTo>
                  <a:lnTo>
                    <a:pt x="39" y="0"/>
                  </a:lnTo>
                  <a:lnTo>
                    <a:pt x="26" y="0"/>
                  </a:lnTo>
                  <a:lnTo>
                    <a:pt x="17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3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874" name="Freeform 382"/>
            <p:cNvSpPr>
              <a:spLocks/>
            </p:cNvSpPr>
            <p:nvPr>
              <p:custDataLst>
                <p:tags r:id="rId266"/>
              </p:custDataLst>
            </p:nvPr>
          </p:nvSpPr>
          <p:spPr bwMode="auto">
            <a:xfrm>
              <a:off x="6074234" y="4950015"/>
              <a:ext cx="473150" cy="478500"/>
            </a:xfrm>
            <a:custGeom>
              <a:avLst/>
              <a:gdLst>
                <a:gd name="T0" fmla="*/ 395117 w 903"/>
                <a:gd name="T1" fmla="*/ 152770 h 759"/>
                <a:gd name="T2" fmla="*/ 379295 w 903"/>
                <a:gd name="T3" fmla="*/ 203693 h 759"/>
                <a:gd name="T4" fmla="*/ 365670 w 903"/>
                <a:gd name="T5" fmla="*/ 217343 h 759"/>
                <a:gd name="T6" fmla="*/ 334465 w 903"/>
                <a:gd name="T7" fmla="*/ 266166 h 759"/>
                <a:gd name="T8" fmla="*/ 316445 w 903"/>
                <a:gd name="T9" fmla="*/ 294515 h 759"/>
                <a:gd name="T10" fmla="*/ 284361 w 903"/>
                <a:gd name="T11" fmla="*/ 321815 h 759"/>
                <a:gd name="T12" fmla="*/ 256233 w 903"/>
                <a:gd name="T13" fmla="*/ 349639 h 759"/>
                <a:gd name="T14" fmla="*/ 244806 w 903"/>
                <a:gd name="T15" fmla="*/ 366438 h 759"/>
                <a:gd name="T16" fmla="*/ 228544 w 903"/>
                <a:gd name="T17" fmla="*/ 370113 h 759"/>
                <a:gd name="T18" fmla="*/ 217996 w 903"/>
                <a:gd name="T19" fmla="*/ 372738 h 759"/>
                <a:gd name="T20" fmla="*/ 213161 w 903"/>
                <a:gd name="T21" fmla="*/ 381663 h 759"/>
                <a:gd name="T22" fmla="*/ 163497 w 903"/>
                <a:gd name="T23" fmla="*/ 381663 h 759"/>
                <a:gd name="T24" fmla="*/ 148993 w 903"/>
                <a:gd name="T25" fmla="*/ 384287 h 759"/>
                <a:gd name="T26" fmla="*/ 138884 w 903"/>
                <a:gd name="T27" fmla="*/ 384287 h 759"/>
                <a:gd name="T28" fmla="*/ 125699 w 903"/>
                <a:gd name="T29" fmla="*/ 381663 h 759"/>
                <a:gd name="T30" fmla="*/ 115590 w 903"/>
                <a:gd name="T31" fmla="*/ 386912 h 759"/>
                <a:gd name="T32" fmla="*/ 64168 w 903"/>
                <a:gd name="T33" fmla="*/ 398462 h 759"/>
                <a:gd name="T34" fmla="*/ 50983 w 903"/>
                <a:gd name="T35" fmla="*/ 395312 h 759"/>
                <a:gd name="T36" fmla="*/ 39556 w 903"/>
                <a:gd name="T37" fmla="*/ 387962 h 759"/>
                <a:gd name="T38" fmla="*/ 33403 w 903"/>
                <a:gd name="T39" fmla="*/ 377463 h 759"/>
                <a:gd name="T40" fmla="*/ 34721 w 903"/>
                <a:gd name="T41" fmla="*/ 365913 h 759"/>
                <a:gd name="T42" fmla="*/ 32963 w 903"/>
                <a:gd name="T43" fmla="*/ 329689 h 759"/>
                <a:gd name="T44" fmla="*/ 34721 w 903"/>
                <a:gd name="T45" fmla="*/ 319190 h 759"/>
                <a:gd name="T46" fmla="*/ 29886 w 903"/>
                <a:gd name="T47" fmla="*/ 300290 h 759"/>
                <a:gd name="T48" fmla="*/ 9669 w 903"/>
                <a:gd name="T49" fmla="*/ 270891 h 759"/>
                <a:gd name="T50" fmla="*/ 5274 w 903"/>
                <a:gd name="T51" fmla="*/ 254092 h 759"/>
                <a:gd name="T52" fmla="*/ 4395 w 903"/>
                <a:gd name="T53" fmla="*/ 230467 h 759"/>
                <a:gd name="T54" fmla="*/ 0 w 903"/>
                <a:gd name="T55" fmla="*/ 197919 h 759"/>
                <a:gd name="T56" fmla="*/ 17141 w 903"/>
                <a:gd name="T57" fmla="*/ 197919 h 759"/>
                <a:gd name="T58" fmla="*/ 25052 w 903"/>
                <a:gd name="T59" fmla="*/ 207893 h 759"/>
                <a:gd name="T60" fmla="*/ 41314 w 903"/>
                <a:gd name="T61" fmla="*/ 215243 h 759"/>
                <a:gd name="T62" fmla="*/ 59333 w 903"/>
                <a:gd name="T63" fmla="*/ 215768 h 759"/>
                <a:gd name="T64" fmla="*/ 70321 w 903"/>
                <a:gd name="T65" fmla="*/ 209993 h 759"/>
                <a:gd name="T66" fmla="*/ 79990 w 903"/>
                <a:gd name="T67" fmla="*/ 195294 h 759"/>
                <a:gd name="T68" fmla="*/ 86583 w 903"/>
                <a:gd name="T69" fmla="*/ 120221 h 759"/>
                <a:gd name="T70" fmla="*/ 89659 w 903"/>
                <a:gd name="T71" fmla="*/ 96597 h 759"/>
                <a:gd name="T72" fmla="*/ 92297 w 903"/>
                <a:gd name="T73" fmla="*/ 88197 h 759"/>
                <a:gd name="T74" fmla="*/ 105042 w 903"/>
                <a:gd name="T75" fmla="*/ 93447 h 759"/>
                <a:gd name="T76" fmla="*/ 107679 w 903"/>
                <a:gd name="T77" fmla="*/ 124946 h 759"/>
                <a:gd name="T78" fmla="*/ 108558 w 903"/>
                <a:gd name="T79" fmla="*/ 143845 h 759"/>
                <a:gd name="T80" fmla="*/ 112514 w 903"/>
                <a:gd name="T81" fmla="*/ 150670 h 759"/>
                <a:gd name="T82" fmla="*/ 126139 w 903"/>
                <a:gd name="T83" fmla="*/ 154870 h 759"/>
                <a:gd name="T84" fmla="*/ 137126 w 903"/>
                <a:gd name="T85" fmla="*/ 153820 h 759"/>
                <a:gd name="T86" fmla="*/ 146356 w 903"/>
                <a:gd name="T87" fmla="*/ 142795 h 759"/>
                <a:gd name="T88" fmla="*/ 153828 w 903"/>
                <a:gd name="T89" fmla="*/ 122846 h 759"/>
                <a:gd name="T90" fmla="*/ 161739 w 903"/>
                <a:gd name="T91" fmla="*/ 105522 h 759"/>
                <a:gd name="T92" fmla="*/ 170089 w 903"/>
                <a:gd name="T93" fmla="*/ 100272 h 759"/>
                <a:gd name="T94" fmla="*/ 181956 w 903"/>
                <a:gd name="T95" fmla="*/ 101322 h 759"/>
                <a:gd name="T96" fmla="*/ 198218 w 903"/>
                <a:gd name="T97" fmla="*/ 109196 h 759"/>
                <a:gd name="T98" fmla="*/ 210084 w 903"/>
                <a:gd name="T99" fmla="*/ 113396 h 759"/>
                <a:gd name="T100" fmla="*/ 225028 w 903"/>
                <a:gd name="T101" fmla="*/ 111821 h 759"/>
                <a:gd name="T102" fmla="*/ 233378 w 903"/>
                <a:gd name="T103" fmla="*/ 104997 h 759"/>
                <a:gd name="T104" fmla="*/ 247882 w 903"/>
                <a:gd name="T105" fmla="*/ 66673 h 759"/>
                <a:gd name="T106" fmla="*/ 272494 w 903"/>
                <a:gd name="T107" fmla="*/ 41999 h 759"/>
                <a:gd name="T108" fmla="*/ 321719 w 903"/>
                <a:gd name="T109" fmla="*/ 5775 h 759"/>
                <a:gd name="T110" fmla="*/ 354243 w 903"/>
                <a:gd name="T111" fmla="*/ 1575 h 759"/>
                <a:gd name="T112" fmla="*/ 364791 w 903"/>
                <a:gd name="T113" fmla="*/ 3150 h 759"/>
                <a:gd name="T114" fmla="*/ 375339 w 903"/>
                <a:gd name="T115" fmla="*/ 18374 h 759"/>
                <a:gd name="T116" fmla="*/ 383690 w 903"/>
                <a:gd name="T117" fmla="*/ 37274 h 759"/>
                <a:gd name="T118" fmla="*/ 388085 w 903"/>
                <a:gd name="T119" fmla="*/ 56173 h 759"/>
                <a:gd name="T120" fmla="*/ 381492 w 903"/>
                <a:gd name="T121" fmla="*/ 108671 h 759"/>
                <a:gd name="T122" fmla="*/ 364791 w 903"/>
                <a:gd name="T123" fmla="*/ 107097 h 759"/>
                <a:gd name="T124" fmla="*/ 363033 w 903"/>
                <a:gd name="T125" fmla="*/ 147520 h 759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903" h="759">
                  <a:moveTo>
                    <a:pt x="870" y="296"/>
                  </a:moveTo>
                  <a:lnTo>
                    <a:pt x="875" y="295"/>
                  </a:lnTo>
                  <a:lnTo>
                    <a:pt x="886" y="293"/>
                  </a:lnTo>
                  <a:lnTo>
                    <a:pt x="899" y="291"/>
                  </a:lnTo>
                  <a:lnTo>
                    <a:pt x="903" y="290"/>
                  </a:lnTo>
                  <a:lnTo>
                    <a:pt x="863" y="364"/>
                  </a:lnTo>
                  <a:lnTo>
                    <a:pt x="863" y="376"/>
                  </a:lnTo>
                  <a:lnTo>
                    <a:pt x="863" y="388"/>
                  </a:lnTo>
                  <a:lnTo>
                    <a:pt x="857" y="392"/>
                  </a:lnTo>
                  <a:lnTo>
                    <a:pt x="849" y="397"/>
                  </a:lnTo>
                  <a:lnTo>
                    <a:pt x="840" y="405"/>
                  </a:lnTo>
                  <a:lnTo>
                    <a:pt x="832" y="414"/>
                  </a:lnTo>
                  <a:lnTo>
                    <a:pt x="813" y="436"/>
                  </a:lnTo>
                  <a:lnTo>
                    <a:pt x="794" y="460"/>
                  </a:lnTo>
                  <a:lnTo>
                    <a:pt x="776" y="485"/>
                  </a:lnTo>
                  <a:lnTo>
                    <a:pt x="761" y="507"/>
                  </a:lnTo>
                  <a:lnTo>
                    <a:pt x="749" y="525"/>
                  </a:lnTo>
                  <a:lnTo>
                    <a:pt x="744" y="537"/>
                  </a:lnTo>
                  <a:lnTo>
                    <a:pt x="732" y="550"/>
                  </a:lnTo>
                  <a:lnTo>
                    <a:pt x="720" y="561"/>
                  </a:lnTo>
                  <a:lnTo>
                    <a:pt x="706" y="571"/>
                  </a:lnTo>
                  <a:lnTo>
                    <a:pt x="694" y="581"/>
                  </a:lnTo>
                  <a:lnTo>
                    <a:pt x="670" y="598"/>
                  </a:lnTo>
                  <a:lnTo>
                    <a:pt x="647" y="613"/>
                  </a:lnTo>
                  <a:lnTo>
                    <a:pt x="624" y="628"/>
                  </a:lnTo>
                  <a:lnTo>
                    <a:pt x="603" y="646"/>
                  </a:lnTo>
                  <a:lnTo>
                    <a:pt x="592" y="655"/>
                  </a:lnTo>
                  <a:lnTo>
                    <a:pt x="583" y="666"/>
                  </a:lnTo>
                  <a:lnTo>
                    <a:pt x="574" y="677"/>
                  </a:lnTo>
                  <a:lnTo>
                    <a:pt x="565" y="690"/>
                  </a:lnTo>
                  <a:lnTo>
                    <a:pt x="561" y="694"/>
                  </a:lnTo>
                  <a:lnTo>
                    <a:pt x="557" y="698"/>
                  </a:lnTo>
                  <a:lnTo>
                    <a:pt x="553" y="700"/>
                  </a:lnTo>
                  <a:lnTo>
                    <a:pt x="546" y="702"/>
                  </a:lnTo>
                  <a:lnTo>
                    <a:pt x="534" y="704"/>
                  </a:lnTo>
                  <a:lnTo>
                    <a:pt x="520" y="705"/>
                  </a:lnTo>
                  <a:lnTo>
                    <a:pt x="513" y="705"/>
                  </a:lnTo>
                  <a:lnTo>
                    <a:pt x="507" y="706"/>
                  </a:lnTo>
                  <a:lnTo>
                    <a:pt x="501" y="708"/>
                  </a:lnTo>
                  <a:lnTo>
                    <a:pt x="496" y="710"/>
                  </a:lnTo>
                  <a:lnTo>
                    <a:pt x="491" y="713"/>
                  </a:lnTo>
                  <a:lnTo>
                    <a:pt x="488" y="716"/>
                  </a:lnTo>
                  <a:lnTo>
                    <a:pt x="486" y="721"/>
                  </a:lnTo>
                  <a:lnTo>
                    <a:pt x="485" y="727"/>
                  </a:lnTo>
                  <a:lnTo>
                    <a:pt x="444" y="727"/>
                  </a:lnTo>
                  <a:lnTo>
                    <a:pt x="415" y="727"/>
                  </a:lnTo>
                  <a:lnTo>
                    <a:pt x="395" y="727"/>
                  </a:lnTo>
                  <a:lnTo>
                    <a:pt x="372" y="727"/>
                  </a:lnTo>
                  <a:lnTo>
                    <a:pt x="359" y="727"/>
                  </a:lnTo>
                  <a:lnTo>
                    <a:pt x="348" y="729"/>
                  </a:lnTo>
                  <a:lnTo>
                    <a:pt x="344" y="730"/>
                  </a:lnTo>
                  <a:lnTo>
                    <a:pt x="339" y="732"/>
                  </a:lnTo>
                  <a:lnTo>
                    <a:pt x="332" y="735"/>
                  </a:lnTo>
                  <a:lnTo>
                    <a:pt x="325" y="739"/>
                  </a:lnTo>
                  <a:lnTo>
                    <a:pt x="320" y="735"/>
                  </a:lnTo>
                  <a:lnTo>
                    <a:pt x="316" y="732"/>
                  </a:lnTo>
                  <a:lnTo>
                    <a:pt x="310" y="730"/>
                  </a:lnTo>
                  <a:lnTo>
                    <a:pt x="306" y="729"/>
                  </a:lnTo>
                  <a:lnTo>
                    <a:pt x="296" y="727"/>
                  </a:lnTo>
                  <a:lnTo>
                    <a:pt x="286" y="727"/>
                  </a:lnTo>
                  <a:lnTo>
                    <a:pt x="283" y="730"/>
                  </a:lnTo>
                  <a:lnTo>
                    <a:pt x="278" y="732"/>
                  </a:lnTo>
                  <a:lnTo>
                    <a:pt x="272" y="735"/>
                  </a:lnTo>
                  <a:lnTo>
                    <a:pt x="263" y="737"/>
                  </a:lnTo>
                  <a:lnTo>
                    <a:pt x="242" y="742"/>
                  </a:lnTo>
                  <a:lnTo>
                    <a:pt x="218" y="747"/>
                  </a:lnTo>
                  <a:lnTo>
                    <a:pt x="173" y="756"/>
                  </a:lnTo>
                  <a:lnTo>
                    <a:pt x="146" y="759"/>
                  </a:lnTo>
                  <a:lnTo>
                    <a:pt x="139" y="758"/>
                  </a:lnTo>
                  <a:lnTo>
                    <a:pt x="131" y="757"/>
                  </a:lnTo>
                  <a:lnTo>
                    <a:pt x="123" y="756"/>
                  </a:lnTo>
                  <a:lnTo>
                    <a:pt x="116" y="753"/>
                  </a:lnTo>
                  <a:lnTo>
                    <a:pt x="109" y="750"/>
                  </a:lnTo>
                  <a:lnTo>
                    <a:pt x="103" y="746"/>
                  </a:lnTo>
                  <a:lnTo>
                    <a:pt x="96" y="743"/>
                  </a:lnTo>
                  <a:lnTo>
                    <a:pt x="90" y="739"/>
                  </a:lnTo>
                  <a:lnTo>
                    <a:pt x="85" y="734"/>
                  </a:lnTo>
                  <a:lnTo>
                    <a:pt x="82" y="730"/>
                  </a:lnTo>
                  <a:lnTo>
                    <a:pt x="78" y="725"/>
                  </a:lnTo>
                  <a:lnTo>
                    <a:pt x="76" y="719"/>
                  </a:lnTo>
                  <a:lnTo>
                    <a:pt x="75" y="714"/>
                  </a:lnTo>
                  <a:lnTo>
                    <a:pt x="75" y="708"/>
                  </a:lnTo>
                  <a:lnTo>
                    <a:pt x="76" y="703"/>
                  </a:lnTo>
                  <a:lnTo>
                    <a:pt x="79" y="697"/>
                  </a:lnTo>
                  <a:lnTo>
                    <a:pt x="60" y="648"/>
                  </a:lnTo>
                  <a:lnTo>
                    <a:pt x="65" y="639"/>
                  </a:lnTo>
                  <a:lnTo>
                    <a:pt x="72" y="632"/>
                  </a:lnTo>
                  <a:lnTo>
                    <a:pt x="75" y="628"/>
                  </a:lnTo>
                  <a:lnTo>
                    <a:pt x="77" y="625"/>
                  </a:lnTo>
                  <a:lnTo>
                    <a:pt x="79" y="621"/>
                  </a:lnTo>
                  <a:lnTo>
                    <a:pt x="79" y="616"/>
                  </a:lnTo>
                  <a:lnTo>
                    <a:pt x="79" y="608"/>
                  </a:lnTo>
                  <a:lnTo>
                    <a:pt x="78" y="600"/>
                  </a:lnTo>
                  <a:lnTo>
                    <a:pt x="76" y="592"/>
                  </a:lnTo>
                  <a:lnTo>
                    <a:pt x="74" y="584"/>
                  </a:lnTo>
                  <a:lnTo>
                    <a:pt x="68" y="572"/>
                  </a:lnTo>
                  <a:lnTo>
                    <a:pt x="61" y="561"/>
                  </a:lnTo>
                  <a:lnTo>
                    <a:pt x="43" y="542"/>
                  </a:lnTo>
                  <a:lnTo>
                    <a:pt x="27" y="524"/>
                  </a:lnTo>
                  <a:lnTo>
                    <a:pt x="22" y="516"/>
                  </a:lnTo>
                  <a:lnTo>
                    <a:pt x="18" y="509"/>
                  </a:lnTo>
                  <a:lnTo>
                    <a:pt x="16" y="502"/>
                  </a:lnTo>
                  <a:lnTo>
                    <a:pt x="14" y="496"/>
                  </a:lnTo>
                  <a:lnTo>
                    <a:pt x="12" y="484"/>
                  </a:lnTo>
                  <a:lnTo>
                    <a:pt x="11" y="472"/>
                  </a:lnTo>
                  <a:lnTo>
                    <a:pt x="11" y="461"/>
                  </a:lnTo>
                  <a:lnTo>
                    <a:pt x="11" y="450"/>
                  </a:lnTo>
                  <a:lnTo>
                    <a:pt x="10" y="439"/>
                  </a:lnTo>
                  <a:lnTo>
                    <a:pt x="7" y="426"/>
                  </a:lnTo>
                  <a:lnTo>
                    <a:pt x="6" y="412"/>
                  </a:lnTo>
                  <a:lnTo>
                    <a:pt x="4" y="395"/>
                  </a:lnTo>
                  <a:lnTo>
                    <a:pt x="0" y="377"/>
                  </a:lnTo>
                  <a:lnTo>
                    <a:pt x="0" y="364"/>
                  </a:lnTo>
                  <a:lnTo>
                    <a:pt x="33" y="364"/>
                  </a:lnTo>
                  <a:lnTo>
                    <a:pt x="36" y="371"/>
                  </a:lnTo>
                  <a:lnTo>
                    <a:pt x="39" y="377"/>
                  </a:lnTo>
                  <a:lnTo>
                    <a:pt x="43" y="382"/>
                  </a:lnTo>
                  <a:lnTo>
                    <a:pt x="48" y="387"/>
                  </a:lnTo>
                  <a:lnTo>
                    <a:pt x="52" y="392"/>
                  </a:lnTo>
                  <a:lnTo>
                    <a:pt x="57" y="396"/>
                  </a:lnTo>
                  <a:lnTo>
                    <a:pt x="63" y="399"/>
                  </a:lnTo>
                  <a:lnTo>
                    <a:pt x="68" y="402"/>
                  </a:lnTo>
                  <a:lnTo>
                    <a:pt x="81" y="407"/>
                  </a:lnTo>
                  <a:lnTo>
                    <a:pt x="94" y="410"/>
                  </a:lnTo>
                  <a:lnTo>
                    <a:pt x="107" y="412"/>
                  </a:lnTo>
                  <a:lnTo>
                    <a:pt x="119" y="413"/>
                  </a:lnTo>
                  <a:lnTo>
                    <a:pt x="128" y="412"/>
                  </a:lnTo>
                  <a:lnTo>
                    <a:pt x="135" y="411"/>
                  </a:lnTo>
                  <a:lnTo>
                    <a:pt x="142" y="409"/>
                  </a:lnTo>
                  <a:lnTo>
                    <a:pt x="149" y="407"/>
                  </a:lnTo>
                  <a:lnTo>
                    <a:pt x="154" y="404"/>
                  </a:lnTo>
                  <a:lnTo>
                    <a:pt x="160" y="400"/>
                  </a:lnTo>
                  <a:lnTo>
                    <a:pt x="164" y="396"/>
                  </a:lnTo>
                  <a:lnTo>
                    <a:pt x="168" y="392"/>
                  </a:lnTo>
                  <a:lnTo>
                    <a:pt x="176" y="382"/>
                  </a:lnTo>
                  <a:lnTo>
                    <a:pt x="182" y="372"/>
                  </a:lnTo>
                  <a:lnTo>
                    <a:pt x="187" y="361"/>
                  </a:lnTo>
                  <a:lnTo>
                    <a:pt x="193" y="351"/>
                  </a:lnTo>
                  <a:lnTo>
                    <a:pt x="193" y="240"/>
                  </a:lnTo>
                  <a:lnTo>
                    <a:pt x="197" y="229"/>
                  </a:lnTo>
                  <a:lnTo>
                    <a:pt x="199" y="217"/>
                  </a:lnTo>
                  <a:lnTo>
                    <a:pt x="201" y="206"/>
                  </a:lnTo>
                  <a:lnTo>
                    <a:pt x="202" y="194"/>
                  </a:lnTo>
                  <a:lnTo>
                    <a:pt x="204" y="184"/>
                  </a:lnTo>
                  <a:lnTo>
                    <a:pt x="206" y="176"/>
                  </a:lnTo>
                  <a:lnTo>
                    <a:pt x="207" y="173"/>
                  </a:lnTo>
                  <a:lnTo>
                    <a:pt x="208" y="170"/>
                  </a:lnTo>
                  <a:lnTo>
                    <a:pt x="210" y="168"/>
                  </a:lnTo>
                  <a:lnTo>
                    <a:pt x="212" y="167"/>
                  </a:lnTo>
                  <a:lnTo>
                    <a:pt x="220" y="171"/>
                  </a:lnTo>
                  <a:lnTo>
                    <a:pt x="229" y="175"/>
                  </a:lnTo>
                  <a:lnTo>
                    <a:pt x="239" y="178"/>
                  </a:lnTo>
                  <a:lnTo>
                    <a:pt x="245" y="179"/>
                  </a:lnTo>
                  <a:lnTo>
                    <a:pt x="245" y="201"/>
                  </a:lnTo>
                  <a:lnTo>
                    <a:pt x="245" y="219"/>
                  </a:lnTo>
                  <a:lnTo>
                    <a:pt x="245" y="238"/>
                  </a:lnTo>
                  <a:lnTo>
                    <a:pt x="245" y="259"/>
                  </a:lnTo>
                  <a:lnTo>
                    <a:pt x="246" y="265"/>
                  </a:lnTo>
                  <a:lnTo>
                    <a:pt x="246" y="270"/>
                  </a:lnTo>
                  <a:lnTo>
                    <a:pt x="247" y="274"/>
                  </a:lnTo>
                  <a:lnTo>
                    <a:pt x="250" y="278"/>
                  </a:lnTo>
                  <a:lnTo>
                    <a:pt x="252" y="281"/>
                  </a:lnTo>
                  <a:lnTo>
                    <a:pt x="254" y="284"/>
                  </a:lnTo>
                  <a:lnTo>
                    <a:pt x="256" y="287"/>
                  </a:lnTo>
                  <a:lnTo>
                    <a:pt x="260" y="289"/>
                  </a:lnTo>
                  <a:lnTo>
                    <a:pt x="267" y="292"/>
                  </a:lnTo>
                  <a:lnTo>
                    <a:pt x="276" y="294"/>
                  </a:lnTo>
                  <a:lnTo>
                    <a:pt x="287" y="295"/>
                  </a:lnTo>
                  <a:lnTo>
                    <a:pt x="299" y="296"/>
                  </a:lnTo>
                  <a:lnTo>
                    <a:pt x="303" y="295"/>
                  </a:lnTo>
                  <a:lnTo>
                    <a:pt x="308" y="295"/>
                  </a:lnTo>
                  <a:lnTo>
                    <a:pt x="312" y="293"/>
                  </a:lnTo>
                  <a:lnTo>
                    <a:pt x="316" y="291"/>
                  </a:lnTo>
                  <a:lnTo>
                    <a:pt x="322" y="286"/>
                  </a:lnTo>
                  <a:lnTo>
                    <a:pt x="329" y="280"/>
                  </a:lnTo>
                  <a:lnTo>
                    <a:pt x="333" y="272"/>
                  </a:lnTo>
                  <a:lnTo>
                    <a:pt x="337" y="263"/>
                  </a:lnTo>
                  <a:lnTo>
                    <a:pt x="342" y="254"/>
                  </a:lnTo>
                  <a:lnTo>
                    <a:pt x="345" y="243"/>
                  </a:lnTo>
                  <a:lnTo>
                    <a:pt x="350" y="234"/>
                  </a:lnTo>
                  <a:lnTo>
                    <a:pt x="353" y="224"/>
                  </a:lnTo>
                  <a:lnTo>
                    <a:pt x="357" y="216"/>
                  </a:lnTo>
                  <a:lnTo>
                    <a:pt x="363" y="208"/>
                  </a:lnTo>
                  <a:lnTo>
                    <a:pt x="368" y="201"/>
                  </a:lnTo>
                  <a:lnTo>
                    <a:pt x="375" y="195"/>
                  </a:lnTo>
                  <a:lnTo>
                    <a:pt x="378" y="193"/>
                  </a:lnTo>
                  <a:lnTo>
                    <a:pt x="382" y="192"/>
                  </a:lnTo>
                  <a:lnTo>
                    <a:pt x="387" y="191"/>
                  </a:lnTo>
                  <a:lnTo>
                    <a:pt x="392" y="191"/>
                  </a:lnTo>
                  <a:lnTo>
                    <a:pt x="400" y="191"/>
                  </a:lnTo>
                  <a:lnTo>
                    <a:pt x="408" y="192"/>
                  </a:lnTo>
                  <a:lnTo>
                    <a:pt x="414" y="193"/>
                  </a:lnTo>
                  <a:lnTo>
                    <a:pt x="421" y="195"/>
                  </a:lnTo>
                  <a:lnTo>
                    <a:pt x="431" y="200"/>
                  </a:lnTo>
                  <a:lnTo>
                    <a:pt x="441" y="204"/>
                  </a:lnTo>
                  <a:lnTo>
                    <a:pt x="451" y="208"/>
                  </a:lnTo>
                  <a:lnTo>
                    <a:pt x="460" y="212"/>
                  </a:lnTo>
                  <a:lnTo>
                    <a:pt x="466" y="214"/>
                  </a:lnTo>
                  <a:lnTo>
                    <a:pt x="471" y="215"/>
                  </a:lnTo>
                  <a:lnTo>
                    <a:pt x="478" y="216"/>
                  </a:lnTo>
                  <a:lnTo>
                    <a:pt x="485" y="216"/>
                  </a:lnTo>
                  <a:lnTo>
                    <a:pt x="496" y="216"/>
                  </a:lnTo>
                  <a:lnTo>
                    <a:pt x="504" y="215"/>
                  </a:lnTo>
                  <a:lnTo>
                    <a:pt x="512" y="213"/>
                  </a:lnTo>
                  <a:lnTo>
                    <a:pt x="518" y="211"/>
                  </a:lnTo>
                  <a:lnTo>
                    <a:pt x="523" y="208"/>
                  </a:lnTo>
                  <a:lnTo>
                    <a:pt x="527" y="204"/>
                  </a:lnTo>
                  <a:lnTo>
                    <a:pt x="531" y="200"/>
                  </a:lnTo>
                  <a:lnTo>
                    <a:pt x="534" y="194"/>
                  </a:lnTo>
                  <a:lnTo>
                    <a:pt x="544" y="169"/>
                  </a:lnTo>
                  <a:lnTo>
                    <a:pt x="558" y="135"/>
                  </a:lnTo>
                  <a:lnTo>
                    <a:pt x="564" y="127"/>
                  </a:lnTo>
                  <a:lnTo>
                    <a:pt x="572" y="119"/>
                  </a:lnTo>
                  <a:lnTo>
                    <a:pt x="582" y="110"/>
                  </a:lnTo>
                  <a:lnTo>
                    <a:pt x="593" y="100"/>
                  </a:lnTo>
                  <a:lnTo>
                    <a:pt x="620" y="80"/>
                  </a:lnTo>
                  <a:lnTo>
                    <a:pt x="649" y="61"/>
                  </a:lnTo>
                  <a:lnTo>
                    <a:pt x="679" y="43"/>
                  </a:lnTo>
                  <a:lnTo>
                    <a:pt x="708" y="25"/>
                  </a:lnTo>
                  <a:lnTo>
                    <a:pt x="732" y="11"/>
                  </a:lnTo>
                  <a:lnTo>
                    <a:pt x="750" y="0"/>
                  </a:lnTo>
                  <a:lnTo>
                    <a:pt x="777" y="1"/>
                  </a:lnTo>
                  <a:lnTo>
                    <a:pt x="798" y="3"/>
                  </a:lnTo>
                  <a:lnTo>
                    <a:pt x="806" y="3"/>
                  </a:lnTo>
                  <a:lnTo>
                    <a:pt x="815" y="3"/>
                  </a:lnTo>
                  <a:lnTo>
                    <a:pt x="823" y="2"/>
                  </a:lnTo>
                  <a:lnTo>
                    <a:pt x="830" y="0"/>
                  </a:lnTo>
                  <a:lnTo>
                    <a:pt x="830" y="6"/>
                  </a:lnTo>
                  <a:lnTo>
                    <a:pt x="850" y="6"/>
                  </a:lnTo>
                  <a:lnTo>
                    <a:pt x="850" y="17"/>
                  </a:lnTo>
                  <a:lnTo>
                    <a:pt x="851" y="26"/>
                  </a:lnTo>
                  <a:lnTo>
                    <a:pt x="854" y="35"/>
                  </a:lnTo>
                  <a:lnTo>
                    <a:pt x="856" y="41"/>
                  </a:lnTo>
                  <a:lnTo>
                    <a:pt x="861" y="52"/>
                  </a:lnTo>
                  <a:lnTo>
                    <a:pt x="867" y="62"/>
                  </a:lnTo>
                  <a:lnTo>
                    <a:pt x="873" y="71"/>
                  </a:lnTo>
                  <a:lnTo>
                    <a:pt x="879" y="82"/>
                  </a:lnTo>
                  <a:lnTo>
                    <a:pt x="880" y="90"/>
                  </a:lnTo>
                  <a:lnTo>
                    <a:pt x="882" y="98"/>
                  </a:lnTo>
                  <a:lnTo>
                    <a:pt x="883" y="107"/>
                  </a:lnTo>
                  <a:lnTo>
                    <a:pt x="883" y="117"/>
                  </a:lnTo>
                  <a:lnTo>
                    <a:pt x="883" y="204"/>
                  </a:lnTo>
                  <a:lnTo>
                    <a:pt x="875" y="206"/>
                  </a:lnTo>
                  <a:lnTo>
                    <a:pt x="868" y="207"/>
                  </a:lnTo>
                  <a:lnTo>
                    <a:pt x="860" y="207"/>
                  </a:lnTo>
                  <a:lnTo>
                    <a:pt x="852" y="206"/>
                  </a:lnTo>
                  <a:lnTo>
                    <a:pt x="838" y="205"/>
                  </a:lnTo>
                  <a:lnTo>
                    <a:pt x="830" y="204"/>
                  </a:lnTo>
                  <a:lnTo>
                    <a:pt x="826" y="236"/>
                  </a:lnTo>
                  <a:lnTo>
                    <a:pt x="825" y="262"/>
                  </a:lnTo>
                  <a:lnTo>
                    <a:pt x="826" y="272"/>
                  </a:lnTo>
                  <a:lnTo>
                    <a:pt x="826" y="281"/>
                  </a:lnTo>
                  <a:lnTo>
                    <a:pt x="828" y="289"/>
                  </a:lnTo>
                  <a:lnTo>
                    <a:pt x="830" y="296"/>
                  </a:lnTo>
                  <a:lnTo>
                    <a:pt x="870" y="29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875" name="Freeform 383"/>
            <p:cNvSpPr>
              <a:spLocks/>
            </p:cNvSpPr>
            <p:nvPr>
              <p:custDataLst>
                <p:tags r:id="rId267"/>
              </p:custDataLst>
            </p:nvPr>
          </p:nvSpPr>
          <p:spPr bwMode="auto">
            <a:xfrm>
              <a:off x="6250246" y="3230464"/>
              <a:ext cx="490183" cy="733955"/>
            </a:xfrm>
            <a:custGeom>
              <a:avLst/>
              <a:gdLst>
                <a:gd name="T0" fmla="*/ 323523 w 943"/>
                <a:gd name="T1" fmla="*/ 2607 h 1172"/>
                <a:gd name="T2" fmla="*/ 333551 w 943"/>
                <a:gd name="T3" fmla="*/ 11994 h 1172"/>
                <a:gd name="T4" fmla="*/ 350120 w 943"/>
                <a:gd name="T5" fmla="*/ 15645 h 1172"/>
                <a:gd name="T6" fmla="*/ 354916 w 943"/>
                <a:gd name="T7" fmla="*/ 28682 h 1172"/>
                <a:gd name="T8" fmla="*/ 364072 w 943"/>
                <a:gd name="T9" fmla="*/ 56842 h 1172"/>
                <a:gd name="T10" fmla="*/ 364944 w 943"/>
                <a:gd name="T11" fmla="*/ 97519 h 1172"/>
                <a:gd name="T12" fmla="*/ 373665 w 943"/>
                <a:gd name="T13" fmla="*/ 126722 h 1172"/>
                <a:gd name="T14" fmla="*/ 402006 w 943"/>
                <a:gd name="T15" fmla="*/ 152275 h 1172"/>
                <a:gd name="T16" fmla="*/ 383257 w 943"/>
                <a:gd name="T17" fmla="*/ 188258 h 1172"/>
                <a:gd name="T18" fmla="*/ 371049 w 943"/>
                <a:gd name="T19" fmla="*/ 213811 h 1172"/>
                <a:gd name="T20" fmla="*/ 352736 w 943"/>
                <a:gd name="T21" fmla="*/ 331147 h 1172"/>
                <a:gd name="T22" fmla="*/ 335731 w 943"/>
                <a:gd name="T23" fmla="*/ 353049 h 1172"/>
                <a:gd name="T24" fmla="*/ 332679 w 943"/>
                <a:gd name="T25" fmla="*/ 375995 h 1172"/>
                <a:gd name="T26" fmla="*/ 324831 w 943"/>
                <a:gd name="T27" fmla="*/ 383296 h 1172"/>
                <a:gd name="T28" fmla="*/ 315239 w 943"/>
                <a:gd name="T29" fmla="*/ 416150 h 1172"/>
                <a:gd name="T30" fmla="*/ 301722 w 943"/>
                <a:gd name="T31" fmla="*/ 457347 h 1172"/>
                <a:gd name="T32" fmla="*/ 288642 w 943"/>
                <a:gd name="T33" fmla="*/ 470906 h 1172"/>
                <a:gd name="T34" fmla="*/ 289514 w 943"/>
                <a:gd name="T35" fmla="*/ 487072 h 1172"/>
                <a:gd name="T36" fmla="*/ 299106 w 943"/>
                <a:gd name="T37" fmla="*/ 489680 h 1172"/>
                <a:gd name="T38" fmla="*/ 309135 w 943"/>
                <a:gd name="T39" fmla="*/ 495416 h 1172"/>
                <a:gd name="T40" fmla="*/ 323523 w 943"/>
                <a:gd name="T41" fmla="*/ 506367 h 1172"/>
                <a:gd name="T42" fmla="*/ 329627 w 943"/>
                <a:gd name="T43" fmla="*/ 525141 h 1172"/>
                <a:gd name="T44" fmla="*/ 337912 w 943"/>
                <a:gd name="T45" fmla="*/ 543915 h 1172"/>
                <a:gd name="T46" fmla="*/ 350120 w 943"/>
                <a:gd name="T47" fmla="*/ 549130 h 1172"/>
                <a:gd name="T48" fmla="*/ 352736 w 943"/>
                <a:gd name="T49" fmla="*/ 570511 h 1172"/>
                <a:gd name="T50" fmla="*/ 313059 w 943"/>
                <a:gd name="T51" fmla="*/ 581462 h 1172"/>
                <a:gd name="T52" fmla="*/ 299542 w 943"/>
                <a:gd name="T53" fmla="*/ 603365 h 1172"/>
                <a:gd name="T54" fmla="*/ 260737 w 943"/>
                <a:gd name="T55" fmla="*/ 610144 h 1172"/>
                <a:gd name="T56" fmla="*/ 224548 w 943"/>
                <a:gd name="T57" fmla="*/ 603886 h 1172"/>
                <a:gd name="T58" fmla="*/ 202311 w 943"/>
                <a:gd name="T59" fmla="*/ 585634 h 1172"/>
                <a:gd name="T60" fmla="*/ 170046 w 943"/>
                <a:gd name="T61" fmla="*/ 586677 h 1172"/>
                <a:gd name="T62" fmla="*/ 139089 w 943"/>
                <a:gd name="T63" fmla="*/ 584069 h 1172"/>
                <a:gd name="T64" fmla="*/ 129496 w 943"/>
                <a:gd name="T65" fmla="*/ 575726 h 1172"/>
                <a:gd name="T66" fmla="*/ 128188 w 943"/>
                <a:gd name="T67" fmla="*/ 560602 h 1172"/>
                <a:gd name="T68" fmla="*/ 119468 w 943"/>
                <a:gd name="T69" fmla="*/ 536614 h 1172"/>
                <a:gd name="T70" fmla="*/ 94179 w 943"/>
                <a:gd name="T71" fmla="*/ 507932 h 1172"/>
                <a:gd name="T72" fmla="*/ 84151 w 943"/>
                <a:gd name="T73" fmla="*/ 482379 h 1172"/>
                <a:gd name="T74" fmla="*/ 66274 w 943"/>
                <a:gd name="T75" fmla="*/ 470906 h 1172"/>
                <a:gd name="T76" fmla="*/ 52322 w 943"/>
                <a:gd name="T77" fmla="*/ 441181 h 1172"/>
                <a:gd name="T78" fmla="*/ 42293 w 943"/>
                <a:gd name="T79" fmla="*/ 410935 h 1172"/>
                <a:gd name="T80" fmla="*/ 28341 w 943"/>
                <a:gd name="T81" fmla="*/ 395290 h 1172"/>
                <a:gd name="T82" fmla="*/ 14388 w 943"/>
                <a:gd name="T83" fmla="*/ 352528 h 1172"/>
                <a:gd name="T84" fmla="*/ 1744 w 943"/>
                <a:gd name="T85" fmla="*/ 318631 h 1172"/>
                <a:gd name="T86" fmla="*/ 7848 w 943"/>
                <a:gd name="T87" fmla="*/ 300900 h 1172"/>
                <a:gd name="T88" fmla="*/ 12644 w 943"/>
                <a:gd name="T89" fmla="*/ 271697 h 1172"/>
                <a:gd name="T90" fmla="*/ 27905 w 943"/>
                <a:gd name="T91" fmla="*/ 247187 h 1172"/>
                <a:gd name="T92" fmla="*/ 49270 w 943"/>
                <a:gd name="T93" fmla="*/ 115771 h 1172"/>
                <a:gd name="T94" fmla="*/ 53630 w 943"/>
                <a:gd name="T95" fmla="*/ 93347 h 1172"/>
                <a:gd name="T96" fmla="*/ 66710 w 943"/>
                <a:gd name="T97" fmla="*/ 89175 h 1172"/>
                <a:gd name="T98" fmla="*/ 69762 w 943"/>
                <a:gd name="T99" fmla="*/ 63622 h 1172"/>
                <a:gd name="T100" fmla="*/ 69326 w 943"/>
                <a:gd name="T101" fmla="*/ 34940 h 1172"/>
                <a:gd name="T102" fmla="*/ 296054 w 943"/>
                <a:gd name="T103" fmla="*/ 35983 h 117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grpSp>
          <p:nvGrpSpPr>
            <p:cNvPr id="876" name="Group 384"/>
            <p:cNvGrpSpPr>
              <a:grpSpLocks/>
            </p:cNvGrpSpPr>
            <p:nvPr>
              <p:custDataLst>
                <p:tags r:id="rId268"/>
              </p:custDataLst>
            </p:nvPr>
          </p:nvGrpSpPr>
          <p:grpSpPr bwMode="auto">
            <a:xfrm>
              <a:off x="4800513" y="3472572"/>
              <a:ext cx="96522" cy="99132"/>
              <a:chOff x="2352" y="2343"/>
              <a:chExt cx="65" cy="53"/>
            </a:xfrm>
            <a:grpFill/>
          </p:grpSpPr>
          <p:sp>
            <p:nvSpPr>
              <p:cNvPr id="1038" name="Freeform 385"/>
              <p:cNvSpPr>
                <a:spLocks/>
              </p:cNvSpPr>
              <p:nvPr/>
            </p:nvSpPr>
            <p:spPr bwMode="auto">
              <a:xfrm>
                <a:off x="2352" y="2343"/>
                <a:ext cx="16" cy="11"/>
              </a:xfrm>
              <a:custGeom>
                <a:avLst/>
                <a:gdLst>
                  <a:gd name="T0" fmla="*/ 14 w 51"/>
                  <a:gd name="T1" fmla="*/ 0 h 33"/>
                  <a:gd name="T2" fmla="*/ 0 w 51"/>
                  <a:gd name="T3" fmla="*/ 2 h 33"/>
                  <a:gd name="T4" fmla="*/ 1 w 51"/>
                  <a:gd name="T5" fmla="*/ 9 h 33"/>
                  <a:gd name="T6" fmla="*/ 3 w 51"/>
                  <a:gd name="T7" fmla="*/ 11 h 33"/>
                  <a:gd name="T8" fmla="*/ 11 w 51"/>
                  <a:gd name="T9" fmla="*/ 8 h 33"/>
                  <a:gd name="T10" fmla="*/ 15 w 51"/>
                  <a:gd name="T11" fmla="*/ 5 h 33"/>
                  <a:gd name="T12" fmla="*/ 16 w 51"/>
                  <a:gd name="T13" fmla="*/ 3 h 33"/>
                  <a:gd name="T14" fmla="*/ 14 w 51"/>
                  <a:gd name="T15" fmla="*/ 0 h 3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51" h="33">
                    <a:moveTo>
                      <a:pt x="46" y="0"/>
                    </a:moveTo>
                    <a:lnTo>
                      <a:pt x="0" y="5"/>
                    </a:lnTo>
                    <a:lnTo>
                      <a:pt x="4" y="28"/>
                    </a:lnTo>
                    <a:lnTo>
                      <a:pt x="10" y="33"/>
                    </a:lnTo>
                    <a:lnTo>
                      <a:pt x="35" y="25"/>
                    </a:lnTo>
                    <a:lnTo>
                      <a:pt x="48" y="15"/>
                    </a:lnTo>
                    <a:lnTo>
                      <a:pt x="51" y="8"/>
                    </a:lnTo>
                    <a:lnTo>
                      <a:pt x="46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039" name="Freeform 386"/>
              <p:cNvSpPr>
                <a:spLocks/>
              </p:cNvSpPr>
              <p:nvPr/>
            </p:nvSpPr>
            <p:spPr bwMode="auto">
              <a:xfrm>
                <a:off x="2372" y="2354"/>
                <a:ext cx="20" cy="7"/>
              </a:xfrm>
              <a:custGeom>
                <a:avLst/>
                <a:gdLst>
                  <a:gd name="T0" fmla="*/ 20 w 61"/>
                  <a:gd name="T1" fmla="*/ 2 h 20"/>
                  <a:gd name="T2" fmla="*/ 17 w 61"/>
                  <a:gd name="T3" fmla="*/ 1 h 20"/>
                  <a:gd name="T4" fmla="*/ 0 w 61"/>
                  <a:gd name="T5" fmla="*/ 0 h 20"/>
                  <a:gd name="T6" fmla="*/ 1 w 61"/>
                  <a:gd name="T7" fmla="*/ 5 h 20"/>
                  <a:gd name="T8" fmla="*/ 2 w 61"/>
                  <a:gd name="T9" fmla="*/ 7 h 20"/>
                  <a:gd name="T10" fmla="*/ 6 w 61"/>
                  <a:gd name="T11" fmla="*/ 5 h 20"/>
                  <a:gd name="T12" fmla="*/ 20 w 61"/>
                  <a:gd name="T13" fmla="*/ 2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1" h="20">
                    <a:moveTo>
                      <a:pt x="61" y="6"/>
                    </a:moveTo>
                    <a:lnTo>
                      <a:pt x="53" y="2"/>
                    </a:lnTo>
                    <a:lnTo>
                      <a:pt x="0" y="0"/>
                    </a:lnTo>
                    <a:lnTo>
                      <a:pt x="2" y="14"/>
                    </a:lnTo>
                    <a:lnTo>
                      <a:pt x="7" y="20"/>
                    </a:lnTo>
                    <a:lnTo>
                      <a:pt x="18" y="13"/>
                    </a:lnTo>
                    <a:lnTo>
                      <a:pt x="61" y="6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040" name="Freeform 387"/>
              <p:cNvSpPr>
                <a:spLocks/>
              </p:cNvSpPr>
              <p:nvPr/>
            </p:nvSpPr>
            <p:spPr bwMode="auto">
              <a:xfrm>
                <a:off x="2407" y="2346"/>
                <a:ext cx="5" cy="12"/>
              </a:xfrm>
              <a:custGeom>
                <a:avLst/>
                <a:gdLst>
                  <a:gd name="T0" fmla="*/ 1 w 15"/>
                  <a:gd name="T1" fmla="*/ 0 h 36"/>
                  <a:gd name="T2" fmla="*/ 0 w 15"/>
                  <a:gd name="T3" fmla="*/ 7 h 36"/>
                  <a:gd name="T4" fmla="*/ 0 w 15"/>
                  <a:gd name="T5" fmla="*/ 12 h 36"/>
                  <a:gd name="T6" fmla="*/ 4 w 15"/>
                  <a:gd name="T7" fmla="*/ 12 h 36"/>
                  <a:gd name="T8" fmla="*/ 5 w 15"/>
                  <a:gd name="T9" fmla="*/ 5 h 36"/>
                  <a:gd name="T10" fmla="*/ 1 w 15"/>
                  <a:gd name="T11" fmla="*/ 0 h 3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5" h="36">
                    <a:moveTo>
                      <a:pt x="2" y="0"/>
                    </a:moveTo>
                    <a:lnTo>
                      <a:pt x="0" y="20"/>
                    </a:lnTo>
                    <a:lnTo>
                      <a:pt x="0" y="36"/>
                    </a:lnTo>
                    <a:lnTo>
                      <a:pt x="11" y="35"/>
                    </a:lnTo>
                    <a:lnTo>
                      <a:pt x="15" y="14"/>
                    </a:lnTo>
                    <a:lnTo>
                      <a:pt x="2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041" name="Freeform 388"/>
              <p:cNvSpPr>
                <a:spLocks/>
              </p:cNvSpPr>
              <p:nvPr/>
            </p:nvSpPr>
            <p:spPr bwMode="auto">
              <a:xfrm>
                <a:off x="2406" y="2361"/>
                <a:ext cx="11" cy="11"/>
              </a:xfrm>
              <a:custGeom>
                <a:avLst/>
                <a:gdLst>
                  <a:gd name="T0" fmla="*/ 1 w 37"/>
                  <a:gd name="T1" fmla="*/ 1 h 33"/>
                  <a:gd name="T2" fmla="*/ 7 w 37"/>
                  <a:gd name="T3" fmla="*/ 0 h 33"/>
                  <a:gd name="T4" fmla="*/ 10 w 37"/>
                  <a:gd name="T5" fmla="*/ 2 h 33"/>
                  <a:gd name="T6" fmla="*/ 11 w 37"/>
                  <a:gd name="T7" fmla="*/ 7 h 33"/>
                  <a:gd name="T8" fmla="*/ 7 w 37"/>
                  <a:gd name="T9" fmla="*/ 11 h 33"/>
                  <a:gd name="T10" fmla="*/ 3 w 37"/>
                  <a:gd name="T11" fmla="*/ 11 h 33"/>
                  <a:gd name="T12" fmla="*/ 1 w 37"/>
                  <a:gd name="T13" fmla="*/ 8 h 33"/>
                  <a:gd name="T14" fmla="*/ 0 w 37"/>
                  <a:gd name="T15" fmla="*/ 5 h 33"/>
                  <a:gd name="T16" fmla="*/ 1 w 37"/>
                  <a:gd name="T17" fmla="*/ 1 h 3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7" h="33">
                    <a:moveTo>
                      <a:pt x="4" y="4"/>
                    </a:moveTo>
                    <a:lnTo>
                      <a:pt x="22" y="0"/>
                    </a:lnTo>
                    <a:lnTo>
                      <a:pt x="35" y="6"/>
                    </a:lnTo>
                    <a:lnTo>
                      <a:pt x="37" y="22"/>
                    </a:lnTo>
                    <a:lnTo>
                      <a:pt x="24" y="33"/>
                    </a:lnTo>
                    <a:lnTo>
                      <a:pt x="11" y="33"/>
                    </a:lnTo>
                    <a:lnTo>
                      <a:pt x="2" y="24"/>
                    </a:lnTo>
                    <a:lnTo>
                      <a:pt x="0" y="16"/>
                    </a:lnTo>
                    <a:lnTo>
                      <a:pt x="4" y="4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042" name="Freeform 389"/>
              <p:cNvSpPr>
                <a:spLocks/>
              </p:cNvSpPr>
              <p:nvPr/>
            </p:nvSpPr>
            <p:spPr bwMode="auto">
              <a:xfrm>
                <a:off x="2388" y="2378"/>
                <a:ext cx="16" cy="18"/>
              </a:xfrm>
              <a:custGeom>
                <a:avLst/>
                <a:gdLst>
                  <a:gd name="T0" fmla="*/ 1 w 49"/>
                  <a:gd name="T1" fmla="*/ 0 h 54"/>
                  <a:gd name="T2" fmla="*/ 0 w 49"/>
                  <a:gd name="T3" fmla="*/ 0 h 54"/>
                  <a:gd name="T4" fmla="*/ 1 w 49"/>
                  <a:gd name="T5" fmla="*/ 17 h 54"/>
                  <a:gd name="T6" fmla="*/ 6 w 49"/>
                  <a:gd name="T7" fmla="*/ 18 h 54"/>
                  <a:gd name="T8" fmla="*/ 14 w 49"/>
                  <a:gd name="T9" fmla="*/ 15 h 54"/>
                  <a:gd name="T10" fmla="*/ 16 w 49"/>
                  <a:gd name="T11" fmla="*/ 10 h 54"/>
                  <a:gd name="T12" fmla="*/ 13 w 49"/>
                  <a:gd name="T13" fmla="*/ 7 h 54"/>
                  <a:gd name="T14" fmla="*/ 6 w 49"/>
                  <a:gd name="T15" fmla="*/ 3 h 54"/>
                  <a:gd name="T16" fmla="*/ 1 w 49"/>
                  <a:gd name="T17" fmla="*/ 0 h 5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49" h="54">
                    <a:moveTo>
                      <a:pt x="2" y="0"/>
                    </a:moveTo>
                    <a:lnTo>
                      <a:pt x="0" y="0"/>
                    </a:lnTo>
                    <a:lnTo>
                      <a:pt x="2" y="50"/>
                    </a:lnTo>
                    <a:lnTo>
                      <a:pt x="18" y="54"/>
                    </a:lnTo>
                    <a:lnTo>
                      <a:pt x="44" y="45"/>
                    </a:lnTo>
                    <a:lnTo>
                      <a:pt x="49" y="31"/>
                    </a:lnTo>
                    <a:lnTo>
                      <a:pt x="40" y="21"/>
                    </a:lnTo>
                    <a:lnTo>
                      <a:pt x="19" y="8"/>
                    </a:lnTo>
                    <a:lnTo>
                      <a:pt x="2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043" name="Freeform 390"/>
              <p:cNvSpPr>
                <a:spLocks/>
              </p:cNvSpPr>
              <p:nvPr/>
            </p:nvSpPr>
            <p:spPr bwMode="auto">
              <a:xfrm>
                <a:off x="2374" y="2388"/>
                <a:ext cx="9" cy="7"/>
              </a:xfrm>
              <a:custGeom>
                <a:avLst/>
                <a:gdLst>
                  <a:gd name="T0" fmla="*/ 6 w 26"/>
                  <a:gd name="T1" fmla="*/ 0 h 22"/>
                  <a:gd name="T2" fmla="*/ 1 w 26"/>
                  <a:gd name="T3" fmla="*/ 1 h 22"/>
                  <a:gd name="T4" fmla="*/ 0 w 26"/>
                  <a:gd name="T5" fmla="*/ 5 h 22"/>
                  <a:gd name="T6" fmla="*/ 2 w 26"/>
                  <a:gd name="T7" fmla="*/ 7 h 22"/>
                  <a:gd name="T8" fmla="*/ 7 w 26"/>
                  <a:gd name="T9" fmla="*/ 7 h 22"/>
                  <a:gd name="T10" fmla="*/ 9 w 26"/>
                  <a:gd name="T11" fmla="*/ 4 h 22"/>
                  <a:gd name="T12" fmla="*/ 6 w 26"/>
                  <a:gd name="T13" fmla="*/ 0 h 2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6" h="22">
                    <a:moveTo>
                      <a:pt x="18" y="0"/>
                    </a:moveTo>
                    <a:lnTo>
                      <a:pt x="3" y="2"/>
                    </a:lnTo>
                    <a:lnTo>
                      <a:pt x="0" y="15"/>
                    </a:lnTo>
                    <a:lnTo>
                      <a:pt x="6" y="21"/>
                    </a:lnTo>
                    <a:lnTo>
                      <a:pt x="19" y="22"/>
                    </a:lnTo>
                    <a:lnTo>
                      <a:pt x="26" y="11"/>
                    </a:lnTo>
                    <a:lnTo>
                      <a:pt x="18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877" name="Group 391"/>
            <p:cNvGrpSpPr>
              <a:grpSpLocks/>
            </p:cNvGrpSpPr>
            <p:nvPr>
              <p:custDataLst>
                <p:tags r:id="rId269"/>
              </p:custDataLst>
            </p:nvPr>
          </p:nvGrpSpPr>
          <p:grpSpPr bwMode="auto">
            <a:xfrm>
              <a:off x="2232254" y="1142979"/>
              <a:ext cx="2261659" cy="1361154"/>
              <a:chOff x="527" y="1110"/>
              <a:chExt cx="1410" cy="709"/>
            </a:xfrm>
            <a:grpFill/>
          </p:grpSpPr>
          <p:sp>
            <p:nvSpPr>
              <p:cNvPr id="996" name="Freeform 392"/>
              <p:cNvSpPr>
                <a:spLocks/>
              </p:cNvSpPr>
              <p:nvPr/>
            </p:nvSpPr>
            <p:spPr bwMode="auto">
              <a:xfrm>
                <a:off x="1401" y="1427"/>
                <a:ext cx="31" cy="17"/>
              </a:xfrm>
              <a:custGeom>
                <a:avLst/>
                <a:gdLst>
                  <a:gd name="T0" fmla="*/ 0 w 98"/>
                  <a:gd name="T1" fmla="*/ 13 h 54"/>
                  <a:gd name="T2" fmla="*/ 2 w 98"/>
                  <a:gd name="T3" fmla="*/ 14 h 54"/>
                  <a:gd name="T4" fmla="*/ 4 w 98"/>
                  <a:gd name="T5" fmla="*/ 16 h 54"/>
                  <a:gd name="T6" fmla="*/ 7 w 98"/>
                  <a:gd name="T7" fmla="*/ 17 h 54"/>
                  <a:gd name="T8" fmla="*/ 10 w 98"/>
                  <a:gd name="T9" fmla="*/ 17 h 54"/>
                  <a:gd name="T10" fmla="*/ 12 w 98"/>
                  <a:gd name="T11" fmla="*/ 17 h 54"/>
                  <a:gd name="T12" fmla="*/ 14 w 98"/>
                  <a:gd name="T13" fmla="*/ 17 h 54"/>
                  <a:gd name="T14" fmla="*/ 16 w 98"/>
                  <a:gd name="T15" fmla="*/ 16 h 54"/>
                  <a:gd name="T16" fmla="*/ 18 w 98"/>
                  <a:gd name="T17" fmla="*/ 15 h 54"/>
                  <a:gd name="T18" fmla="*/ 21 w 98"/>
                  <a:gd name="T19" fmla="*/ 13 h 54"/>
                  <a:gd name="T20" fmla="*/ 24 w 98"/>
                  <a:gd name="T21" fmla="*/ 11 h 54"/>
                  <a:gd name="T22" fmla="*/ 27 w 98"/>
                  <a:gd name="T23" fmla="*/ 9 h 54"/>
                  <a:gd name="T24" fmla="*/ 29 w 98"/>
                  <a:gd name="T25" fmla="*/ 6 h 54"/>
                  <a:gd name="T26" fmla="*/ 30 w 98"/>
                  <a:gd name="T27" fmla="*/ 4 h 54"/>
                  <a:gd name="T28" fmla="*/ 31 w 98"/>
                  <a:gd name="T29" fmla="*/ 1 h 54"/>
                  <a:gd name="T30" fmla="*/ 29 w 98"/>
                  <a:gd name="T31" fmla="*/ 1 h 54"/>
                  <a:gd name="T32" fmla="*/ 26 w 98"/>
                  <a:gd name="T33" fmla="*/ 0 h 54"/>
                  <a:gd name="T34" fmla="*/ 24 w 98"/>
                  <a:gd name="T35" fmla="*/ 0 h 54"/>
                  <a:gd name="T36" fmla="*/ 22 w 98"/>
                  <a:gd name="T37" fmla="*/ 0 h 54"/>
                  <a:gd name="T38" fmla="*/ 19 w 98"/>
                  <a:gd name="T39" fmla="*/ 0 h 54"/>
                  <a:gd name="T40" fmla="*/ 16 w 98"/>
                  <a:gd name="T41" fmla="*/ 1 h 54"/>
                  <a:gd name="T42" fmla="*/ 14 w 98"/>
                  <a:gd name="T43" fmla="*/ 2 h 54"/>
                  <a:gd name="T44" fmla="*/ 12 w 98"/>
                  <a:gd name="T45" fmla="*/ 3 h 54"/>
                  <a:gd name="T46" fmla="*/ 7 w 98"/>
                  <a:gd name="T47" fmla="*/ 5 h 54"/>
                  <a:gd name="T48" fmla="*/ 4 w 98"/>
                  <a:gd name="T49" fmla="*/ 8 h 54"/>
                  <a:gd name="T50" fmla="*/ 2 w 98"/>
                  <a:gd name="T51" fmla="*/ 9 h 54"/>
                  <a:gd name="T52" fmla="*/ 1 w 98"/>
                  <a:gd name="T53" fmla="*/ 10 h 54"/>
                  <a:gd name="T54" fmla="*/ 0 w 98"/>
                  <a:gd name="T55" fmla="*/ 12 h 54"/>
                  <a:gd name="T56" fmla="*/ 0 w 98"/>
                  <a:gd name="T57" fmla="*/ 13 h 54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98" h="54">
                    <a:moveTo>
                      <a:pt x="0" y="41"/>
                    </a:moveTo>
                    <a:lnTo>
                      <a:pt x="5" y="46"/>
                    </a:lnTo>
                    <a:lnTo>
                      <a:pt x="13" y="50"/>
                    </a:lnTo>
                    <a:lnTo>
                      <a:pt x="23" y="53"/>
                    </a:lnTo>
                    <a:lnTo>
                      <a:pt x="32" y="54"/>
                    </a:lnTo>
                    <a:lnTo>
                      <a:pt x="38" y="54"/>
                    </a:lnTo>
                    <a:lnTo>
                      <a:pt x="45" y="53"/>
                    </a:lnTo>
                    <a:lnTo>
                      <a:pt x="50" y="51"/>
                    </a:lnTo>
                    <a:lnTo>
                      <a:pt x="56" y="49"/>
                    </a:lnTo>
                    <a:lnTo>
                      <a:pt x="67" y="42"/>
                    </a:lnTo>
                    <a:lnTo>
                      <a:pt x="75" y="35"/>
                    </a:lnTo>
                    <a:lnTo>
                      <a:pt x="84" y="28"/>
                    </a:lnTo>
                    <a:lnTo>
                      <a:pt x="91" y="20"/>
                    </a:lnTo>
                    <a:lnTo>
                      <a:pt x="95" y="12"/>
                    </a:lnTo>
                    <a:lnTo>
                      <a:pt x="98" y="4"/>
                    </a:lnTo>
                    <a:lnTo>
                      <a:pt x="91" y="2"/>
                    </a:lnTo>
                    <a:lnTo>
                      <a:pt x="83" y="0"/>
                    </a:lnTo>
                    <a:lnTo>
                      <a:pt x="75" y="0"/>
                    </a:lnTo>
                    <a:lnTo>
                      <a:pt x="68" y="0"/>
                    </a:lnTo>
                    <a:lnTo>
                      <a:pt x="59" y="1"/>
                    </a:lnTo>
                    <a:lnTo>
                      <a:pt x="51" y="3"/>
                    </a:lnTo>
                    <a:lnTo>
                      <a:pt x="43" y="6"/>
                    </a:lnTo>
                    <a:lnTo>
                      <a:pt x="37" y="9"/>
                    </a:lnTo>
                    <a:lnTo>
                      <a:pt x="23" y="17"/>
                    </a:lnTo>
                    <a:lnTo>
                      <a:pt x="12" y="25"/>
                    </a:lnTo>
                    <a:lnTo>
                      <a:pt x="7" y="29"/>
                    </a:lnTo>
                    <a:lnTo>
                      <a:pt x="4" y="33"/>
                    </a:lnTo>
                    <a:lnTo>
                      <a:pt x="1" y="37"/>
                    </a:lnTo>
                    <a:lnTo>
                      <a:pt x="0" y="4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997" name="Freeform 393"/>
              <p:cNvSpPr>
                <a:spLocks/>
              </p:cNvSpPr>
              <p:nvPr/>
            </p:nvSpPr>
            <p:spPr bwMode="auto">
              <a:xfrm>
                <a:off x="1387" y="1551"/>
                <a:ext cx="21" cy="8"/>
              </a:xfrm>
              <a:custGeom>
                <a:avLst/>
                <a:gdLst>
                  <a:gd name="T0" fmla="*/ 0 w 67"/>
                  <a:gd name="T1" fmla="*/ 8 h 28"/>
                  <a:gd name="T2" fmla="*/ 3 w 67"/>
                  <a:gd name="T3" fmla="*/ 8 h 28"/>
                  <a:gd name="T4" fmla="*/ 7 w 67"/>
                  <a:gd name="T5" fmla="*/ 8 h 28"/>
                  <a:gd name="T6" fmla="*/ 10 w 67"/>
                  <a:gd name="T7" fmla="*/ 7 h 28"/>
                  <a:gd name="T8" fmla="*/ 13 w 67"/>
                  <a:gd name="T9" fmla="*/ 6 h 28"/>
                  <a:gd name="T10" fmla="*/ 15 w 67"/>
                  <a:gd name="T11" fmla="*/ 5 h 28"/>
                  <a:gd name="T12" fmla="*/ 18 w 67"/>
                  <a:gd name="T13" fmla="*/ 3 h 28"/>
                  <a:gd name="T14" fmla="*/ 20 w 67"/>
                  <a:gd name="T15" fmla="*/ 2 h 28"/>
                  <a:gd name="T16" fmla="*/ 21 w 67"/>
                  <a:gd name="T17" fmla="*/ 1 h 28"/>
                  <a:gd name="T18" fmla="*/ 18 w 67"/>
                  <a:gd name="T19" fmla="*/ 0 h 28"/>
                  <a:gd name="T20" fmla="*/ 14 w 67"/>
                  <a:gd name="T21" fmla="*/ 0 h 28"/>
                  <a:gd name="T22" fmla="*/ 11 w 67"/>
                  <a:gd name="T23" fmla="*/ 0 h 28"/>
                  <a:gd name="T24" fmla="*/ 8 w 67"/>
                  <a:gd name="T25" fmla="*/ 1 h 28"/>
                  <a:gd name="T26" fmla="*/ 5 w 67"/>
                  <a:gd name="T27" fmla="*/ 2 h 28"/>
                  <a:gd name="T28" fmla="*/ 3 w 67"/>
                  <a:gd name="T29" fmla="*/ 3 h 28"/>
                  <a:gd name="T30" fmla="*/ 2 w 67"/>
                  <a:gd name="T31" fmla="*/ 4 h 28"/>
                  <a:gd name="T32" fmla="*/ 1 w 67"/>
                  <a:gd name="T33" fmla="*/ 5 h 28"/>
                  <a:gd name="T34" fmla="*/ 1 w 67"/>
                  <a:gd name="T35" fmla="*/ 6 h 28"/>
                  <a:gd name="T36" fmla="*/ 0 w 67"/>
                  <a:gd name="T37" fmla="*/ 8 h 28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67" h="28">
                    <a:moveTo>
                      <a:pt x="0" y="27"/>
                    </a:moveTo>
                    <a:lnTo>
                      <a:pt x="11" y="28"/>
                    </a:lnTo>
                    <a:lnTo>
                      <a:pt x="21" y="27"/>
                    </a:lnTo>
                    <a:lnTo>
                      <a:pt x="31" y="25"/>
                    </a:lnTo>
                    <a:lnTo>
                      <a:pt x="41" y="21"/>
                    </a:lnTo>
                    <a:lnTo>
                      <a:pt x="49" y="17"/>
                    </a:lnTo>
                    <a:lnTo>
                      <a:pt x="57" y="12"/>
                    </a:lnTo>
                    <a:lnTo>
                      <a:pt x="63" y="7"/>
                    </a:lnTo>
                    <a:lnTo>
                      <a:pt x="67" y="3"/>
                    </a:lnTo>
                    <a:lnTo>
                      <a:pt x="57" y="1"/>
                    </a:lnTo>
                    <a:lnTo>
                      <a:pt x="46" y="0"/>
                    </a:lnTo>
                    <a:lnTo>
                      <a:pt x="36" y="1"/>
                    </a:lnTo>
                    <a:lnTo>
                      <a:pt x="26" y="3"/>
                    </a:lnTo>
                    <a:lnTo>
                      <a:pt x="17" y="7"/>
                    </a:lnTo>
                    <a:lnTo>
                      <a:pt x="10" y="12"/>
                    </a:lnTo>
                    <a:lnTo>
                      <a:pt x="7" y="15"/>
                    </a:lnTo>
                    <a:lnTo>
                      <a:pt x="4" y="19"/>
                    </a:lnTo>
                    <a:lnTo>
                      <a:pt x="2" y="22"/>
                    </a:lnTo>
                    <a:lnTo>
                      <a:pt x="0" y="2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998" name="Freeform 394"/>
              <p:cNvSpPr>
                <a:spLocks/>
              </p:cNvSpPr>
              <p:nvPr/>
            </p:nvSpPr>
            <p:spPr bwMode="auto">
              <a:xfrm>
                <a:off x="1332" y="1608"/>
                <a:ext cx="11" cy="11"/>
              </a:xfrm>
              <a:custGeom>
                <a:avLst/>
                <a:gdLst>
                  <a:gd name="T0" fmla="*/ 0 w 32"/>
                  <a:gd name="T1" fmla="*/ 6 h 36"/>
                  <a:gd name="T2" fmla="*/ 0 w 32"/>
                  <a:gd name="T3" fmla="*/ 7 h 36"/>
                  <a:gd name="T4" fmla="*/ 1 w 32"/>
                  <a:gd name="T5" fmla="*/ 9 h 36"/>
                  <a:gd name="T6" fmla="*/ 2 w 32"/>
                  <a:gd name="T7" fmla="*/ 10 h 36"/>
                  <a:gd name="T8" fmla="*/ 3 w 32"/>
                  <a:gd name="T9" fmla="*/ 10 h 36"/>
                  <a:gd name="T10" fmla="*/ 4 w 32"/>
                  <a:gd name="T11" fmla="*/ 11 h 36"/>
                  <a:gd name="T12" fmla="*/ 4 w 32"/>
                  <a:gd name="T13" fmla="*/ 11 h 36"/>
                  <a:gd name="T14" fmla="*/ 11 w 32"/>
                  <a:gd name="T15" fmla="*/ 11 h 36"/>
                  <a:gd name="T16" fmla="*/ 11 w 32"/>
                  <a:gd name="T17" fmla="*/ 7 h 36"/>
                  <a:gd name="T18" fmla="*/ 11 w 32"/>
                  <a:gd name="T19" fmla="*/ 4 h 36"/>
                  <a:gd name="T20" fmla="*/ 10 w 32"/>
                  <a:gd name="T21" fmla="*/ 2 h 36"/>
                  <a:gd name="T22" fmla="*/ 9 w 32"/>
                  <a:gd name="T23" fmla="*/ 0 h 36"/>
                  <a:gd name="T24" fmla="*/ 7 w 32"/>
                  <a:gd name="T25" fmla="*/ 1 h 36"/>
                  <a:gd name="T26" fmla="*/ 4 w 32"/>
                  <a:gd name="T27" fmla="*/ 2 h 36"/>
                  <a:gd name="T28" fmla="*/ 2 w 32"/>
                  <a:gd name="T29" fmla="*/ 3 h 36"/>
                  <a:gd name="T30" fmla="*/ 1 w 32"/>
                  <a:gd name="T31" fmla="*/ 4 h 36"/>
                  <a:gd name="T32" fmla="*/ 0 w 32"/>
                  <a:gd name="T33" fmla="*/ 5 h 36"/>
                  <a:gd name="T34" fmla="*/ 0 w 32"/>
                  <a:gd name="T35" fmla="*/ 6 h 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32" h="36">
                    <a:moveTo>
                      <a:pt x="0" y="18"/>
                    </a:moveTo>
                    <a:lnTo>
                      <a:pt x="1" y="24"/>
                    </a:lnTo>
                    <a:lnTo>
                      <a:pt x="4" y="29"/>
                    </a:lnTo>
                    <a:lnTo>
                      <a:pt x="6" y="32"/>
                    </a:lnTo>
                    <a:lnTo>
                      <a:pt x="8" y="34"/>
                    </a:lnTo>
                    <a:lnTo>
                      <a:pt x="11" y="36"/>
                    </a:lnTo>
                    <a:lnTo>
                      <a:pt x="13" y="36"/>
                    </a:lnTo>
                    <a:lnTo>
                      <a:pt x="32" y="36"/>
                    </a:lnTo>
                    <a:lnTo>
                      <a:pt x="32" y="22"/>
                    </a:lnTo>
                    <a:lnTo>
                      <a:pt x="31" y="14"/>
                    </a:lnTo>
                    <a:lnTo>
                      <a:pt x="30" y="7"/>
                    </a:lnTo>
                    <a:lnTo>
                      <a:pt x="26" y="0"/>
                    </a:lnTo>
                    <a:lnTo>
                      <a:pt x="19" y="2"/>
                    </a:lnTo>
                    <a:lnTo>
                      <a:pt x="11" y="7"/>
                    </a:lnTo>
                    <a:lnTo>
                      <a:pt x="6" y="10"/>
                    </a:lnTo>
                    <a:lnTo>
                      <a:pt x="3" y="13"/>
                    </a:lnTo>
                    <a:lnTo>
                      <a:pt x="1" y="16"/>
                    </a:lnTo>
                    <a:lnTo>
                      <a:pt x="0" y="18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999" name="Freeform 395"/>
              <p:cNvSpPr>
                <a:spLocks/>
              </p:cNvSpPr>
              <p:nvPr/>
            </p:nvSpPr>
            <p:spPr bwMode="auto">
              <a:xfrm>
                <a:off x="1279" y="1314"/>
                <a:ext cx="46" cy="17"/>
              </a:xfrm>
              <a:custGeom>
                <a:avLst/>
                <a:gdLst>
                  <a:gd name="T0" fmla="*/ 0 w 146"/>
                  <a:gd name="T1" fmla="*/ 14 h 52"/>
                  <a:gd name="T2" fmla="*/ 3 w 146"/>
                  <a:gd name="T3" fmla="*/ 15 h 52"/>
                  <a:gd name="T4" fmla="*/ 7 w 146"/>
                  <a:gd name="T5" fmla="*/ 16 h 52"/>
                  <a:gd name="T6" fmla="*/ 10 w 146"/>
                  <a:gd name="T7" fmla="*/ 17 h 52"/>
                  <a:gd name="T8" fmla="*/ 14 w 146"/>
                  <a:gd name="T9" fmla="*/ 17 h 52"/>
                  <a:gd name="T10" fmla="*/ 20 w 146"/>
                  <a:gd name="T11" fmla="*/ 17 h 52"/>
                  <a:gd name="T12" fmla="*/ 26 w 146"/>
                  <a:gd name="T13" fmla="*/ 17 h 52"/>
                  <a:gd name="T14" fmla="*/ 37 w 146"/>
                  <a:gd name="T15" fmla="*/ 15 h 52"/>
                  <a:gd name="T16" fmla="*/ 46 w 146"/>
                  <a:gd name="T17" fmla="*/ 14 h 52"/>
                  <a:gd name="T18" fmla="*/ 45 w 146"/>
                  <a:gd name="T19" fmla="*/ 12 h 52"/>
                  <a:gd name="T20" fmla="*/ 45 w 146"/>
                  <a:gd name="T21" fmla="*/ 10 h 52"/>
                  <a:gd name="T22" fmla="*/ 44 w 146"/>
                  <a:gd name="T23" fmla="*/ 8 h 52"/>
                  <a:gd name="T24" fmla="*/ 43 w 146"/>
                  <a:gd name="T25" fmla="*/ 6 h 52"/>
                  <a:gd name="T26" fmla="*/ 42 w 146"/>
                  <a:gd name="T27" fmla="*/ 5 h 52"/>
                  <a:gd name="T28" fmla="*/ 41 w 146"/>
                  <a:gd name="T29" fmla="*/ 4 h 52"/>
                  <a:gd name="T30" fmla="*/ 39 w 146"/>
                  <a:gd name="T31" fmla="*/ 3 h 52"/>
                  <a:gd name="T32" fmla="*/ 38 w 146"/>
                  <a:gd name="T33" fmla="*/ 2 h 52"/>
                  <a:gd name="T34" fmla="*/ 35 w 146"/>
                  <a:gd name="T35" fmla="*/ 1 h 52"/>
                  <a:gd name="T36" fmla="*/ 32 w 146"/>
                  <a:gd name="T37" fmla="*/ 0 h 52"/>
                  <a:gd name="T38" fmla="*/ 28 w 146"/>
                  <a:gd name="T39" fmla="*/ 0 h 52"/>
                  <a:gd name="T40" fmla="*/ 25 w 146"/>
                  <a:gd name="T41" fmla="*/ 1 h 52"/>
                  <a:gd name="T42" fmla="*/ 21 w 146"/>
                  <a:gd name="T43" fmla="*/ 2 h 52"/>
                  <a:gd name="T44" fmla="*/ 17 w 146"/>
                  <a:gd name="T45" fmla="*/ 3 h 52"/>
                  <a:gd name="T46" fmla="*/ 14 w 146"/>
                  <a:gd name="T47" fmla="*/ 5 h 52"/>
                  <a:gd name="T48" fmla="*/ 10 w 146"/>
                  <a:gd name="T49" fmla="*/ 6 h 52"/>
                  <a:gd name="T50" fmla="*/ 7 w 146"/>
                  <a:gd name="T51" fmla="*/ 8 h 52"/>
                  <a:gd name="T52" fmla="*/ 4 w 146"/>
                  <a:gd name="T53" fmla="*/ 10 h 52"/>
                  <a:gd name="T54" fmla="*/ 2 w 146"/>
                  <a:gd name="T55" fmla="*/ 12 h 52"/>
                  <a:gd name="T56" fmla="*/ 0 w 146"/>
                  <a:gd name="T57" fmla="*/ 14 h 52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146" h="52">
                    <a:moveTo>
                      <a:pt x="0" y="43"/>
                    </a:moveTo>
                    <a:lnTo>
                      <a:pt x="11" y="46"/>
                    </a:lnTo>
                    <a:lnTo>
                      <a:pt x="22" y="48"/>
                    </a:lnTo>
                    <a:lnTo>
                      <a:pt x="33" y="51"/>
                    </a:lnTo>
                    <a:lnTo>
                      <a:pt x="43" y="52"/>
                    </a:lnTo>
                    <a:lnTo>
                      <a:pt x="63" y="52"/>
                    </a:lnTo>
                    <a:lnTo>
                      <a:pt x="82" y="51"/>
                    </a:lnTo>
                    <a:lnTo>
                      <a:pt x="117" y="46"/>
                    </a:lnTo>
                    <a:lnTo>
                      <a:pt x="146" y="43"/>
                    </a:lnTo>
                    <a:lnTo>
                      <a:pt x="144" y="36"/>
                    </a:lnTo>
                    <a:lnTo>
                      <a:pt x="142" y="30"/>
                    </a:lnTo>
                    <a:lnTo>
                      <a:pt x="139" y="24"/>
                    </a:lnTo>
                    <a:lnTo>
                      <a:pt x="137" y="19"/>
                    </a:lnTo>
                    <a:lnTo>
                      <a:pt x="134" y="15"/>
                    </a:lnTo>
                    <a:lnTo>
                      <a:pt x="129" y="11"/>
                    </a:lnTo>
                    <a:lnTo>
                      <a:pt x="125" y="8"/>
                    </a:lnTo>
                    <a:lnTo>
                      <a:pt x="121" y="6"/>
                    </a:lnTo>
                    <a:lnTo>
                      <a:pt x="111" y="2"/>
                    </a:lnTo>
                    <a:lnTo>
                      <a:pt x="101" y="0"/>
                    </a:lnTo>
                    <a:lnTo>
                      <a:pt x="89" y="1"/>
                    </a:lnTo>
                    <a:lnTo>
                      <a:pt x="78" y="2"/>
                    </a:lnTo>
                    <a:lnTo>
                      <a:pt x="66" y="5"/>
                    </a:lnTo>
                    <a:lnTo>
                      <a:pt x="54" y="9"/>
                    </a:lnTo>
                    <a:lnTo>
                      <a:pt x="43" y="14"/>
                    </a:lnTo>
                    <a:lnTo>
                      <a:pt x="32" y="19"/>
                    </a:lnTo>
                    <a:lnTo>
                      <a:pt x="22" y="25"/>
                    </a:lnTo>
                    <a:lnTo>
                      <a:pt x="13" y="31"/>
                    </a:lnTo>
                    <a:lnTo>
                      <a:pt x="5" y="37"/>
                    </a:lnTo>
                    <a:lnTo>
                      <a:pt x="0" y="4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000" name="Freeform 396"/>
              <p:cNvSpPr>
                <a:spLocks/>
              </p:cNvSpPr>
              <p:nvPr/>
            </p:nvSpPr>
            <p:spPr bwMode="auto">
              <a:xfrm>
                <a:off x="1261" y="1252"/>
                <a:ext cx="20" cy="10"/>
              </a:xfrm>
              <a:custGeom>
                <a:avLst/>
                <a:gdLst>
                  <a:gd name="T0" fmla="*/ 20 w 60"/>
                  <a:gd name="T1" fmla="*/ 0 h 31"/>
                  <a:gd name="T2" fmla="*/ 16 w 60"/>
                  <a:gd name="T3" fmla="*/ 0 h 31"/>
                  <a:gd name="T4" fmla="*/ 13 w 60"/>
                  <a:gd name="T5" fmla="*/ 0 h 31"/>
                  <a:gd name="T6" fmla="*/ 10 w 60"/>
                  <a:gd name="T7" fmla="*/ 0 h 31"/>
                  <a:gd name="T8" fmla="*/ 9 w 60"/>
                  <a:gd name="T9" fmla="*/ 0 h 31"/>
                  <a:gd name="T10" fmla="*/ 6 w 60"/>
                  <a:gd name="T11" fmla="*/ 0 h 31"/>
                  <a:gd name="T12" fmla="*/ 3 w 60"/>
                  <a:gd name="T13" fmla="*/ 1 h 31"/>
                  <a:gd name="T14" fmla="*/ 2 w 60"/>
                  <a:gd name="T15" fmla="*/ 1 h 31"/>
                  <a:gd name="T16" fmla="*/ 1 w 60"/>
                  <a:gd name="T17" fmla="*/ 2 h 31"/>
                  <a:gd name="T18" fmla="*/ 0 w 60"/>
                  <a:gd name="T19" fmla="*/ 3 h 31"/>
                  <a:gd name="T20" fmla="*/ 0 w 60"/>
                  <a:gd name="T21" fmla="*/ 4 h 31"/>
                  <a:gd name="T22" fmla="*/ 0 w 60"/>
                  <a:gd name="T23" fmla="*/ 5 h 31"/>
                  <a:gd name="T24" fmla="*/ 1 w 60"/>
                  <a:gd name="T25" fmla="*/ 6 h 31"/>
                  <a:gd name="T26" fmla="*/ 2 w 60"/>
                  <a:gd name="T27" fmla="*/ 7 h 31"/>
                  <a:gd name="T28" fmla="*/ 3 w 60"/>
                  <a:gd name="T29" fmla="*/ 8 h 31"/>
                  <a:gd name="T30" fmla="*/ 4 w 60"/>
                  <a:gd name="T31" fmla="*/ 9 h 31"/>
                  <a:gd name="T32" fmla="*/ 6 w 60"/>
                  <a:gd name="T33" fmla="*/ 9 h 31"/>
                  <a:gd name="T34" fmla="*/ 7 w 60"/>
                  <a:gd name="T35" fmla="*/ 10 h 31"/>
                  <a:gd name="T36" fmla="*/ 9 w 60"/>
                  <a:gd name="T37" fmla="*/ 10 h 31"/>
                  <a:gd name="T38" fmla="*/ 11 w 60"/>
                  <a:gd name="T39" fmla="*/ 10 h 31"/>
                  <a:gd name="T40" fmla="*/ 12 w 60"/>
                  <a:gd name="T41" fmla="*/ 9 h 31"/>
                  <a:gd name="T42" fmla="*/ 14 w 60"/>
                  <a:gd name="T43" fmla="*/ 8 h 31"/>
                  <a:gd name="T44" fmla="*/ 16 w 60"/>
                  <a:gd name="T45" fmla="*/ 6 h 31"/>
                  <a:gd name="T46" fmla="*/ 19 w 60"/>
                  <a:gd name="T47" fmla="*/ 3 h 31"/>
                  <a:gd name="T48" fmla="*/ 20 w 60"/>
                  <a:gd name="T49" fmla="*/ 2 h 31"/>
                  <a:gd name="T50" fmla="*/ 20 w 60"/>
                  <a:gd name="T51" fmla="*/ 0 h 31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60" h="31">
                    <a:moveTo>
                      <a:pt x="60" y="0"/>
                    </a:moveTo>
                    <a:lnTo>
                      <a:pt x="49" y="0"/>
                    </a:lnTo>
                    <a:lnTo>
                      <a:pt x="38" y="0"/>
                    </a:lnTo>
                    <a:lnTo>
                      <a:pt x="31" y="0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9" y="2"/>
                    </a:lnTo>
                    <a:lnTo>
                      <a:pt x="5" y="3"/>
                    </a:lnTo>
                    <a:lnTo>
                      <a:pt x="2" y="5"/>
                    </a:lnTo>
                    <a:lnTo>
                      <a:pt x="1" y="8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2" y="18"/>
                    </a:lnTo>
                    <a:lnTo>
                      <a:pt x="5" y="22"/>
                    </a:lnTo>
                    <a:lnTo>
                      <a:pt x="9" y="24"/>
                    </a:lnTo>
                    <a:lnTo>
                      <a:pt x="12" y="27"/>
                    </a:lnTo>
                    <a:lnTo>
                      <a:pt x="18" y="29"/>
                    </a:lnTo>
                    <a:lnTo>
                      <a:pt x="22" y="31"/>
                    </a:lnTo>
                    <a:lnTo>
                      <a:pt x="27" y="31"/>
                    </a:lnTo>
                    <a:lnTo>
                      <a:pt x="32" y="30"/>
                    </a:lnTo>
                    <a:lnTo>
                      <a:pt x="37" y="28"/>
                    </a:lnTo>
                    <a:lnTo>
                      <a:pt x="43" y="24"/>
                    </a:lnTo>
                    <a:lnTo>
                      <a:pt x="48" y="18"/>
                    </a:lnTo>
                    <a:lnTo>
                      <a:pt x="57" y="10"/>
                    </a:lnTo>
                    <a:lnTo>
                      <a:pt x="60" y="6"/>
                    </a:lnTo>
                    <a:lnTo>
                      <a:pt x="6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001" name="Freeform 397"/>
              <p:cNvSpPr>
                <a:spLocks/>
              </p:cNvSpPr>
              <p:nvPr/>
            </p:nvSpPr>
            <p:spPr bwMode="auto">
              <a:xfrm>
                <a:off x="1730" y="1713"/>
                <a:ext cx="26" cy="20"/>
              </a:xfrm>
              <a:custGeom>
                <a:avLst/>
                <a:gdLst>
                  <a:gd name="T0" fmla="*/ 0 w 80"/>
                  <a:gd name="T1" fmla="*/ 14 h 62"/>
                  <a:gd name="T2" fmla="*/ 0 w 80"/>
                  <a:gd name="T3" fmla="*/ 15 h 62"/>
                  <a:gd name="T4" fmla="*/ 0 w 80"/>
                  <a:gd name="T5" fmla="*/ 16 h 62"/>
                  <a:gd name="T6" fmla="*/ 1 w 80"/>
                  <a:gd name="T7" fmla="*/ 16 h 62"/>
                  <a:gd name="T8" fmla="*/ 1 w 80"/>
                  <a:gd name="T9" fmla="*/ 17 h 62"/>
                  <a:gd name="T10" fmla="*/ 3 w 80"/>
                  <a:gd name="T11" fmla="*/ 18 h 62"/>
                  <a:gd name="T12" fmla="*/ 5 w 80"/>
                  <a:gd name="T13" fmla="*/ 19 h 62"/>
                  <a:gd name="T14" fmla="*/ 9 w 80"/>
                  <a:gd name="T15" fmla="*/ 20 h 62"/>
                  <a:gd name="T16" fmla="*/ 13 w 80"/>
                  <a:gd name="T17" fmla="*/ 20 h 62"/>
                  <a:gd name="T18" fmla="*/ 15 w 80"/>
                  <a:gd name="T19" fmla="*/ 20 h 62"/>
                  <a:gd name="T20" fmla="*/ 16 w 80"/>
                  <a:gd name="T21" fmla="*/ 19 h 62"/>
                  <a:gd name="T22" fmla="*/ 18 w 80"/>
                  <a:gd name="T23" fmla="*/ 18 h 62"/>
                  <a:gd name="T24" fmla="*/ 19 w 80"/>
                  <a:gd name="T25" fmla="*/ 17 h 62"/>
                  <a:gd name="T26" fmla="*/ 21 w 80"/>
                  <a:gd name="T27" fmla="*/ 15 h 62"/>
                  <a:gd name="T28" fmla="*/ 23 w 80"/>
                  <a:gd name="T29" fmla="*/ 12 h 62"/>
                  <a:gd name="T30" fmla="*/ 24 w 80"/>
                  <a:gd name="T31" fmla="*/ 9 h 62"/>
                  <a:gd name="T32" fmla="*/ 25 w 80"/>
                  <a:gd name="T33" fmla="*/ 6 h 62"/>
                  <a:gd name="T34" fmla="*/ 26 w 80"/>
                  <a:gd name="T35" fmla="*/ 3 h 62"/>
                  <a:gd name="T36" fmla="*/ 26 w 80"/>
                  <a:gd name="T37" fmla="*/ 0 h 62"/>
                  <a:gd name="T38" fmla="*/ 23 w 80"/>
                  <a:gd name="T39" fmla="*/ 0 h 62"/>
                  <a:gd name="T40" fmla="*/ 19 w 80"/>
                  <a:gd name="T41" fmla="*/ 1 h 62"/>
                  <a:gd name="T42" fmla="*/ 15 w 80"/>
                  <a:gd name="T43" fmla="*/ 3 h 62"/>
                  <a:gd name="T44" fmla="*/ 11 w 80"/>
                  <a:gd name="T45" fmla="*/ 4 h 62"/>
                  <a:gd name="T46" fmla="*/ 7 w 80"/>
                  <a:gd name="T47" fmla="*/ 6 h 62"/>
                  <a:gd name="T48" fmla="*/ 3 w 80"/>
                  <a:gd name="T49" fmla="*/ 8 h 62"/>
                  <a:gd name="T50" fmla="*/ 2 w 80"/>
                  <a:gd name="T51" fmla="*/ 10 h 62"/>
                  <a:gd name="T52" fmla="*/ 1 w 80"/>
                  <a:gd name="T53" fmla="*/ 11 h 62"/>
                  <a:gd name="T54" fmla="*/ 0 w 80"/>
                  <a:gd name="T55" fmla="*/ 13 h 62"/>
                  <a:gd name="T56" fmla="*/ 0 w 80"/>
                  <a:gd name="T57" fmla="*/ 14 h 62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80" h="62">
                    <a:moveTo>
                      <a:pt x="0" y="43"/>
                    </a:moveTo>
                    <a:lnTo>
                      <a:pt x="1" y="46"/>
                    </a:lnTo>
                    <a:lnTo>
                      <a:pt x="1" y="49"/>
                    </a:lnTo>
                    <a:lnTo>
                      <a:pt x="3" y="51"/>
                    </a:lnTo>
                    <a:lnTo>
                      <a:pt x="4" y="53"/>
                    </a:lnTo>
                    <a:lnTo>
                      <a:pt x="10" y="57"/>
                    </a:lnTo>
                    <a:lnTo>
                      <a:pt x="15" y="59"/>
                    </a:lnTo>
                    <a:lnTo>
                      <a:pt x="28" y="62"/>
                    </a:lnTo>
                    <a:lnTo>
                      <a:pt x="40" y="62"/>
                    </a:lnTo>
                    <a:lnTo>
                      <a:pt x="45" y="62"/>
                    </a:lnTo>
                    <a:lnTo>
                      <a:pt x="49" y="59"/>
                    </a:lnTo>
                    <a:lnTo>
                      <a:pt x="54" y="57"/>
                    </a:lnTo>
                    <a:lnTo>
                      <a:pt x="58" y="54"/>
                    </a:lnTo>
                    <a:lnTo>
                      <a:pt x="65" y="47"/>
                    </a:lnTo>
                    <a:lnTo>
                      <a:pt x="70" y="38"/>
                    </a:lnTo>
                    <a:lnTo>
                      <a:pt x="74" y="28"/>
                    </a:lnTo>
                    <a:lnTo>
                      <a:pt x="78" y="18"/>
                    </a:lnTo>
                    <a:lnTo>
                      <a:pt x="79" y="8"/>
                    </a:lnTo>
                    <a:lnTo>
                      <a:pt x="80" y="0"/>
                    </a:lnTo>
                    <a:lnTo>
                      <a:pt x="71" y="0"/>
                    </a:lnTo>
                    <a:lnTo>
                      <a:pt x="59" y="3"/>
                    </a:lnTo>
                    <a:lnTo>
                      <a:pt x="46" y="8"/>
                    </a:lnTo>
                    <a:lnTo>
                      <a:pt x="33" y="13"/>
                    </a:lnTo>
                    <a:lnTo>
                      <a:pt x="21" y="19"/>
                    </a:lnTo>
                    <a:lnTo>
                      <a:pt x="10" y="26"/>
                    </a:lnTo>
                    <a:lnTo>
                      <a:pt x="6" y="30"/>
                    </a:lnTo>
                    <a:lnTo>
                      <a:pt x="3" y="34"/>
                    </a:lnTo>
                    <a:lnTo>
                      <a:pt x="1" y="39"/>
                    </a:lnTo>
                    <a:lnTo>
                      <a:pt x="0" y="4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002" name="Freeform 398"/>
              <p:cNvSpPr>
                <a:spLocks/>
              </p:cNvSpPr>
              <p:nvPr/>
            </p:nvSpPr>
            <p:spPr bwMode="auto">
              <a:xfrm>
                <a:off x="1583" y="1674"/>
                <a:ext cx="33" cy="16"/>
              </a:xfrm>
              <a:custGeom>
                <a:avLst/>
                <a:gdLst>
                  <a:gd name="T0" fmla="*/ 25 w 106"/>
                  <a:gd name="T1" fmla="*/ 4 h 49"/>
                  <a:gd name="T2" fmla="*/ 22 w 106"/>
                  <a:gd name="T3" fmla="*/ 4 h 49"/>
                  <a:gd name="T4" fmla="*/ 21 w 106"/>
                  <a:gd name="T5" fmla="*/ 4 h 49"/>
                  <a:gd name="T6" fmla="*/ 18 w 106"/>
                  <a:gd name="T7" fmla="*/ 3 h 49"/>
                  <a:gd name="T8" fmla="*/ 17 w 106"/>
                  <a:gd name="T9" fmla="*/ 2 h 49"/>
                  <a:gd name="T10" fmla="*/ 15 w 106"/>
                  <a:gd name="T11" fmla="*/ 1 h 49"/>
                  <a:gd name="T12" fmla="*/ 13 w 106"/>
                  <a:gd name="T13" fmla="*/ 1 h 49"/>
                  <a:gd name="T14" fmla="*/ 11 w 106"/>
                  <a:gd name="T15" fmla="*/ 0 h 49"/>
                  <a:gd name="T16" fmla="*/ 8 w 106"/>
                  <a:gd name="T17" fmla="*/ 0 h 49"/>
                  <a:gd name="T18" fmla="*/ 5 w 106"/>
                  <a:gd name="T19" fmla="*/ 0 h 49"/>
                  <a:gd name="T20" fmla="*/ 0 w 106"/>
                  <a:gd name="T21" fmla="*/ 0 h 49"/>
                  <a:gd name="T22" fmla="*/ 3 w 106"/>
                  <a:gd name="T23" fmla="*/ 4 h 49"/>
                  <a:gd name="T24" fmla="*/ 5 w 106"/>
                  <a:gd name="T25" fmla="*/ 7 h 49"/>
                  <a:gd name="T26" fmla="*/ 8 w 106"/>
                  <a:gd name="T27" fmla="*/ 9 h 49"/>
                  <a:gd name="T28" fmla="*/ 11 w 106"/>
                  <a:gd name="T29" fmla="*/ 12 h 49"/>
                  <a:gd name="T30" fmla="*/ 13 w 106"/>
                  <a:gd name="T31" fmla="*/ 14 h 49"/>
                  <a:gd name="T32" fmla="*/ 16 w 106"/>
                  <a:gd name="T33" fmla="*/ 15 h 49"/>
                  <a:gd name="T34" fmla="*/ 19 w 106"/>
                  <a:gd name="T35" fmla="*/ 16 h 49"/>
                  <a:gd name="T36" fmla="*/ 22 w 106"/>
                  <a:gd name="T37" fmla="*/ 16 h 49"/>
                  <a:gd name="T38" fmla="*/ 25 w 106"/>
                  <a:gd name="T39" fmla="*/ 16 h 49"/>
                  <a:gd name="T40" fmla="*/ 27 w 106"/>
                  <a:gd name="T41" fmla="*/ 15 h 49"/>
                  <a:gd name="T42" fmla="*/ 30 w 106"/>
                  <a:gd name="T43" fmla="*/ 13 h 49"/>
                  <a:gd name="T44" fmla="*/ 33 w 106"/>
                  <a:gd name="T45" fmla="*/ 10 h 49"/>
                  <a:gd name="T46" fmla="*/ 31 w 106"/>
                  <a:gd name="T47" fmla="*/ 10 h 49"/>
                  <a:gd name="T48" fmla="*/ 31 w 106"/>
                  <a:gd name="T49" fmla="*/ 9 h 49"/>
                  <a:gd name="T50" fmla="*/ 29 w 106"/>
                  <a:gd name="T51" fmla="*/ 8 h 49"/>
                  <a:gd name="T52" fmla="*/ 28 w 106"/>
                  <a:gd name="T53" fmla="*/ 7 h 49"/>
                  <a:gd name="T54" fmla="*/ 27 w 106"/>
                  <a:gd name="T55" fmla="*/ 6 h 49"/>
                  <a:gd name="T56" fmla="*/ 26 w 106"/>
                  <a:gd name="T57" fmla="*/ 5 h 49"/>
                  <a:gd name="T58" fmla="*/ 26 w 106"/>
                  <a:gd name="T59" fmla="*/ 5 h 49"/>
                  <a:gd name="T60" fmla="*/ 25 w 106"/>
                  <a:gd name="T61" fmla="*/ 4 h 49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106" h="49">
                    <a:moveTo>
                      <a:pt x="80" y="13"/>
                    </a:moveTo>
                    <a:lnTo>
                      <a:pt x="72" y="12"/>
                    </a:lnTo>
                    <a:lnTo>
                      <a:pt x="66" y="11"/>
                    </a:lnTo>
                    <a:lnTo>
                      <a:pt x="59" y="8"/>
                    </a:lnTo>
                    <a:lnTo>
                      <a:pt x="53" y="6"/>
                    </a:lnTo>
                    <a:lnTo>
                      <a:pt x="47" y="4"/>
                    </a:lnTo>
                    <a:lnTo>
                      <a:pt x="41" y="2"/>
                    </a:lnTo>
                    <a:lnTo>
                      <a:pt x="34" y="0"/>
                    </a:lnTo>
                    <a:lnTo>
                      <a:pt x="26" y="0"/>
                    </a:lnTo>
                    <a:lnTo>
                      <a:pt x="15" y="0"/>
                    </a:lnTo>
                    <a:lnTo>
                      <a:pt x="0" y="0"/>
                    </a:lnTo>
                    <a:lnTo>
                      <a:pt x="9" y="11"/>
                    </a:lnTo>
                    <a:lnTo>
                      <a:pt x="17" y="21"/>
                    </a:lnTo>
                    <a:lnTo>
                      <a:pt x="26" y="29"/>
                    </a:lnTo>
                    <a:lnTo>
                      <a:pt x="34" y="36"/>
                    </a:lnTo>
                    <a:lnTo>
                      <a:pt x="42" y="42"/>
                    </a:lnTo>
                    <a:lnTo>
                      <a:pt x="52" y="46"/>
                    </a:lnTo>
                    <a:lnTo>
                      <a:pt x="61" y="48"/>
                    </a:lnTo>
                    <a:lnTo>
                      <a:pt x="72" y="49"/>
                    </a:lnTo>
                    <a:lnTo>
                      <a:pt x="79" y="48"/>
                    </a:lnTo>
                    <a:lnTo>
                      <a:pt x="87" y="45"/>
                    </a:lnTo>
                    <a:lnTo>
                      <a:pt x="97" y="39"/>
                    </a:lnTo>
                    <a:lnTo>
                      <a:pt x="106" y="31"/>
                    </a:lnTo>
                    <a:lnTo>
                      <a:pt x="101" y="30"/>
                    </a:lnTo>
                    <a:lnTo>
                      <a:pt x="98" y="28"/>
                    </a:lnTo>
                    <a:lnTo>
                      <a:pt x="93" y="25"/>
                    </a:lnTo>
                    <a:lnTo>
                      <a:pt x="90" y="22"/>
                    </a:lnTo>
                    <a:lnTo>
                      <a:pt x="88" y="19"/>
                    </a:lnTo>
                    <a:lnTo>
                      <a:pt x="84" y="16"/>
                    </a:lnTo>
                    <a:lnTo>
                      <a:pt x="82" y="14"/>
                    </a:lnTo>
                    <a:lnTo>
                      <a:pt x="80" y="1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003" name="Freeform 399"/>
              <p:cNvSpPr>
                <a:spLocks/>
              </p:cNvSpPr>
              <p:nvPr/>
            </p:nvSpPr>
            <p:spPr bwMode="auto">
              <a:xfrm>
                <a:off x="1599" y="1713"/>
                <a:ext cx="15" cy="7"/>
              </a:xfrm>
              <a:custGeom>
                <a:avLst/>
                <a:gdLst>
                  <a:gd name="T0" fmla="*/ 0 w 47"/>
                  <a:gd name="T1" fmla="*/ 6 h 22"/>
                  <a:gd name="T2" fmla="*/ 2 w 47"/>
                  <a:gd name="T3" fmla="*/ 7 h 22"/>
                  <a:gd name="T4" fmla="*/ 4 w 47"/>
                  <a:gd name="T5" fmla="*/ 7 h 22"/>
                  <a:gd name="T6" fmla="*/ 6 w 47"/>
                  <a:gd name="T7" fmla="*/ 7 h 22"/>
                  <a:gd name="T8" fmla="*/ 8 w 47"/>
                  <a:gd name="T9" fmla="*/ 7 h 22"/>
                  <a:gd name="T10" fmla="*/ 11 w 47"/>
                  <a:gd name="T11" fmla="*/ 6 h 22"/>
                  <a:gd name="T12" fmla="*/ 12 w 47"/>
                  <a:gd name="T13" fmla="*/ 5 h 22"/>
                  <a:gd name="T14" fmla="*/ 13 w 47"/>
                  <a:gd name="T15" fmla="*/ 4 h 22"/>
                  <a:gd name="T16" fmla="*/ 14 w 47"/>
                  <a:gd name="T17" fmla="*/ 3 h 22"/>
                  <a:gd name="T18" fmla="*/ 14 w 47"/>
                  <a:gd name="T19" fmla="*/ 2 h 22"/>
                  <a:gd name="T20" fmla="*/ 15 w 47"/>
                  <a:gd name="T21" fmla="*/ 0 h 22"/>
                  <a:gd name="T22" fmla="*/ 0 w 47"/>
                  <a:gd name="T23" fmla="*/ 6 h 22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47" h="22">
                    <a:moveTo>
                      <a:pt x="0" y="19"/>
                    </a:moveTo>
                    <a:lnTo>
                      <a:pt x="5" y="21"/>
                    </a:lnTo>
                    <a:lnTo>
                      <a:pt x="12" y="22"/>
                    </a:lnTo>
                    <a:lnTo>
                      <a:pt x="18" y="22"/>
                    </a:lnTo>
                    <a:lnTo>
                      <a:pt x="26" y="21"/>
                    </a:lnTo>
                    <a:lnTo>
                      <a:pt x="33" y="19"/>
                    </a:lnTo>
                    <a:lnTo>
                      <a:pt x="38" y="15"/>
                    </a:lnTo>
                    <a:lnTo>
                      <a:pt x="41" y="12"/>
                    </a:lnTo>
                    <a:lnTo>
                      <a:pt x="44" y="9"/>
                    </a:lnTo>
                    <a:lnTo>
                      <a:pt x="45" y="5"/>
                    </a:lnTo>
                    <a:lnTo>
                      <a:pt x="47" y="0"/>
                    </a:lnTo>
                    <a:lnTo>
                      <a:pt x="0" y="1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004" name="Freeform 400"/>
              <p:cNvSpPr>
                <a:spLocks/>
              </p:cNvSpPr>
              <p:nvPr/>
            </p:nvSpPr>
            <p:spPr bwMode="auto">
              <a:xfrm>
                <a:off x="1608" y="1742"/>
                <a:ext cx="17" cy="11"/>
              </a:xfrm>
              <a:custGeom>
                <a:avLst/>
                <a:gdLst>
                  <a:gd name="T0" fmla="*/ 17 w 53"/>
                  <a:gd name="T1" fmla="*/ 0 h 32"/>
                  <a:gd name="T2" fmla="*/ 12 w 53"/>
                  <a:gd name="T3" fmla="*/ 3 h 32"/>
                  <a:gd name="T4" fmla="*/ 7 w 53"/>
                  <a:gd name="T5" fmla="*/ 6 h 32"/>
                  <a:gd name="T6" fmla="*/ 4 w 53"/>
                  <a:gd name="T7" fmla="*/ 9 h 32"/>
                  <a:gd name="T8" fmla="*/ 0 w 53"/>
                  <a:gd name="T9" fmla="*/ 11 h 32"/>
                  <a:gd name="T10" fmla="*/ 4 w 53"/>
                  <a:gd name="T11" fmla="*/ 11 h 32"/>
                  <a:gd name="T12" fmla="*/ 8 w 53"/>
                  <a:gd name="T13" fmla="*/ 11 h 32"/>
                  <a:gd name="T14" fmla="*/ 13 w 53"/>
                  <a:gd name="T15" fmla="*/ 11 h 32"/>
                  <a:gd name="T16" fmla="*/ 17 w 53"/>
                  <a:gd name="T17" fmla="*/ 11 h 32"/>
                  <a:gd name="T18" fmla="*/ 17 w 53"/>
                  <a:gd name="T19" fmla="*/ 8 h 32"/>
                  <a:gd name="T20" fmla="*/ 17 w 53"/>
                  <a:gd name="T21" fmla="*/ 6 h 32"/>
                  <a:gd name="T22" fmla="*/ 17 w 53"/>
                  <a:gd name="T23" fmla="*/ 3 h 32"/>
                  <a:gd name="T24" fmla="*/ 17 w 53"/>
                  <a:gd name="T25" fmla="*/ 0 h 3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53" h="32">
                    <a:moveTo>
                      <a:pt x="53" y="0"/>
                    </a:moveTo>
                    <a:lnTo>
                      <a:pt x="37" y="9"/>
                    </a:lnTo>
                    <a:lnTo>
                      <a:pt x="23" y="18"/>
                    </a:lnTo>
                    <a:lnTo>
                      <a:pt x="11" y="26"/>
                    </a:lnTo>
                    <a:lnTo>
                      <a:pt x="0" y="32"/>
                    </a:lnTo>
                    <a:lnTo>
                      <a:pt x="13" y="32"/>
                    </a:lnTo>
                    <a:lnTo>
                      <a:pt x="26" y="32"/>
                    </a:lnTo>
                    <a:lnTo>
                      <a:pt x="39" y="32"/>
                    </a:lnTo>
                    <a:lnTo>
                      <a:pt x="53" y="32"/>
                    </a:lnTo>
                    <a:lnTo>
                      <a:pt x="53" y="24"/>
                    </a:lnTo>
                    <a:lnTo>
                      <a:pt x="53" y="16"/>
                    </a:lnTo>
                    <a:lnTo>
                      <a:pt x="53" y="9"/>
                    </a:lnTo>
                    <a:lnTo>
                      <a:pt x="5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005" name="Freeform 401"/>
              <p:cNvSpPr>
                <a:spLocks/>
              </p:cNvSpPr>
              <p:nvPr/>
            </p:nvSpPr>
            <p:spPr bwMode="auto">
              <a:xfrm>
                <a:off x="1450" y="1438"/>
                <a:ext cx="14" cy="12"/>
              </a:xfrm>
              <a:custGeom>
                <a:avLst/>
                <a:gdLst>
                  <a:gd name="T0" fmla="*/ 8 w 46"/>
                  <a:gd name="T1" fmla="*/ 1 h 34"/>
                  <a:gd name="T2" fmla="*/ 0 w 46"/>
                  <a:gd name="T3" fmla="*/ 6 h 34"/>
                  <a:gd name="T4" fmla="*/ 0 w 46"/>
                  <a:gd name="T5" fmla="*/ 12 h 34"/>
                  <a:gd name="T6" fmla="*/ 8 w 46"/>
                  <a:gd name="T7" fmla="*/ 12 h 34"/>
                  <a:gd name="T8" fmla="*/ 9 w 46"/>
                  <a:gd name="T9" fmla="*/ 11 h 34"/>
                  <a:gd name="T10" fmla="*/ 11 w 46"/>
                  <a:gd name="T11" fmla="*/ 10 h 34"/>
                  <a:gd name="T12" fmla="*/ 12 w 46"/>
                  <a:gd name="T13" fmla="*/ 9 h 34"/>
                  <a:gd name="T14" fmla="*/ 13 w 46"/>
                  <a:gd name="T15" fmla="*/ 7 h 34"/>
                  <a:gd name="T16" fmla="*/ 13 w 46"/>
                  <a:gd name="T17" fmla="*/ 6 h 34"/>
                  <a:gd name="T18" fmla="*/ 14 w 46"/>
                  <a:gd name="T19" fmla="*/ 5 h 34"/>
                  <a:gd name="T20" fmla="*/ 14 w 46"/>
                  <a:gd name="T21" fmla="*/ 3 h 34"/>
                  <a:gd name="T22" fmla="*/ 14 w 46"/>
                  <a:gd name="T23" fmla="*/ 1 h 34"/>
                  <a:gd name="T24" fmla="*/ 14 w 46"/>
                  <a:gd name="T25" fmla="*/ 0 h 34"/>
                  <a:gd name="T26" fmla="*/ 13 w 46"/>
                  <a:gd name="T27" fmla="*/ 0 h 34"/>
                  <a:gd name="T28" fmla="*/ 13 w 46"/>
                  <a:gd name="T29" fmla="*/ 0 h 34"/>
                  <a:gd name="T30" fmla="*/ 12 w 46"/>
                  <a:gd name="T31" fmla="*/ 0 h 34"/>
                  <a:gd name="T32" fmla="*/ 10 w 46"/>
                  <a:gd name="T33" fmla="*/ 1 h 34"/>
                  <a:gd name="T34" fmla="*/ 8 w 46"/>
                  <a:gd name="T35" fmla="*/ 1 h 34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46" h="34">
                    <a:moveTo>
                      <a:pt x="27" y="3"/>
                    </a:moveTo>
                    <a:lnTo>
                      <a:pt x="0" y="16"/>
                    </a:lnTo>
                    <a:lnTo>
                      <a:pt x="0" y="34"/>
                    </a:lnTo>
                    <a:lnTo>
                      <a:pt x="27" y="34"/>
                    </a:lnTo>
                    <a:lnTo>
                      <a:pt x="31" y="32"/>
                    </a:lnTo>
                    <a:lnTo>
                      <a:pt x="35" y="28"/>
                    </a:lnTo>
                    <a:lnTo>
                      <a:pt x="39" y="25"/>
                    </a:lnTo>
                    <a:lnTo>
                      <a:pt x="42" y="21"/>
                    </a:lnTo>
                    <a:lnTo>
                      <a:pt x="44" y="17"/>
                    </a:lnTo>
                    <a:lnTo>
                      <a:pt x="45" y="13"/>
                    </a:lnTo>
                    <a:lnTo>
                      <a:pt x="46" y="8"/>
                    </a:lnTo>
                    <a:lnTo>
                      <a:pt x="46" y="3"/>
                    </a:lnTo>
                    <a:lnTo>
                      <a:pt x="46" y="1"/>
                    </a:lnTo>
                    <a:lnTo>
                      <a:pt x="44" y="0"/>
                    </a:lnTo>
                    <a:lnTo>
                      <a:pt x="42" y="0"/>
                    </a:lnTo>
                    <a:lnTo>
                      <a:pt x="39" y="0"/>
                    </a:lnTo>
                    <a:lnTo>
                      <a:pt x="32" y="2"/>
                    </a:lnTo>
                    <a:lnTo>
                      <a:pt x="27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006" name="Freeform 402"/>
              <p:cNvSpPr>
                <a:spLocks/>
              </p:cNvSpPr>
              <p:nvPr/>
            </p:nvSpPr>
            <p:spPr bwMode="auto">
              <a:xfrm>
                <a:off x="1305" y="1224"/>
                <a:ext cx="16" cy="8"/>
              </a:xfrm>
              <a:custGeom>
                <a:avLst/>
                <a:gdLst>
                  <a:gd name="T0" fmla="*/ 0 w 48"/>
                  <a:gd name="T1" fmla="*/ 8 h 25"/>
                  <a:gd name="T2" fmla="*/ 5 w 48"/>
                  <a:gd name="T3" fmla="*/ 8 h 25"/>
                  <a:gd name="T4" fmla="*/ 9 w 48"/>
                  <a:gd name="T5" fmla="*/ 8 h 25"/>
                  <a:gd name="T6" fmla="*/ 10 w 48"/>
                  <a:gd name="T7" fmla="*/ 8 h 25"/>
                  <a:gd name="T8" fmla="*/ 11 w 48"/>
                  <a:gd name="T9" fmla="*/ 7 h 25"/>
                  <a:gd name="T10" fmla="*/ 12 w 48"/>
                  <a:gd name="T11" fmla="*/ 6 h 25"/>
                  <a:gd name="T12" fmla="*/ 13 w 48"/>
                  <a:gd name="T13" fmla="*/ 5 h 25"/>
                  <a:gd name="T14" fmla="*/ 15 w 48"/>
                  <a:gd name="T15" fmla="*/ 2 h 25"/>
                  <a:gd name="T16" fmla="*/ 16 w 48"/>
                  <a:gd name="T17" fmla="*/ 0 h 25"/>
                  <a:gd name="T18" fmla="*/ 13 w 48"/>
                  <a:gd name="T19" fmla="*/ 0 h 25"/>
                  <a:gd name="T20" fmla="*/ 11 w 48"/>
                  <a:gd name="T21" fmla="*/ 1 h 25"/>
                  <a:gd name="T22" fmla="*/ 9 w 48"/>
                  <a:gd name="T23" fmla="*/ 2 h 25"/>
                  <a:gd name="T24" fmla="*/ 7 w 48"/>
                  <a:gd name="T25" fmla="*/ 3 h 25"/>
                  <a:gd name="T26" fmla="*/ 4 w 48"/>
                  <a:gd name="T27" fmla="*/ 5 h 25"/>
                  <a:gd name="T28" fmla="*/ 0 w 48"/>
                  <a:gd name="T29" fmla="*/ 8 h 2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48" h="25">
                    <a:moveTo>
                      <a:pt x="0" y="25"/>
                    </a:moveTo>
                    <a:lnTo>
                      <a:pt x="14" y="25"/>
                    </a:lnTo>
                    <a:lnTo>
                      <a:pt x="28" y="25"/>
                    </a:lnTo>
                    <a:lnTo>
                      <a:pt x="30" y="24"/>
                    </a:lnTo>
                    <a:lnTo>
                      <a:pt x="33" y="22"/>
                    </a:lnTo>
                    <a:lnTo>
                      <a:pt x="37" y="18"/>
                    </a:lnTo>
                    <a:lnTo>
                      <a:pt x="40" y="15"/>
                    </a:lnTo>
                    <a:lnTo>
                      <a:pt x="45" y="7"/>
                    </a:lnTo>
                    <a:lnTo>
                      <a:pt x="48" y="0"/>
                    </a:lnTo>
                    <a:lnTo>
                      <a:pt x="40" y="1"/>
                    </a:lnTo>
                    <a:lnTo>
                      <a:pt x="33" y="2"/>
                    </a:lnTo>
                    <a:lnTo>
                      <a:pt x="28" y="5"/>
                    </a:lnTo>
                    <a:lnTo>
                      <a:pt x="21" y="8"/>
                    </a:lnTo>
                    <a:lnTo>
                      <a:pt x="11" y="16"/>
                    </a:lnTo>
                    <a:lnTo>
                      <a:pt x="0" y="25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007" name="Freeform 403"/>
              <p:cNvSpPr>
                <a:spLocks/>
              </p:cNvSpPr>
              <p:nvPr/>
            </p:nvSpPr>
            <p:spPr bwMode="auto">
              <a:xfrm>
                <a:off x="1343" y="1188"/>
                <a:ext cx="8" cy="11"/>
              </a:xfrm>
              <a:custGeom>
                <a:avLst/>
                <a:gdLst>
                  <a:gd name="T0" fmla="*/ 0 w 30"/>
                  <a:gd name="T1" fmla="*/ 0 h 37"/>
                  <a:gd name="T2" fmla="*/ 0 w 30"/>
                  <a:gd name="T3" fmla="*/ 11 h 37"/>
                  <a:gd name="T4" fmla="*/ 3 w 30"/>
                  <a:gd name="T5" fmla="*/ 11 h 37"/>
                  <a:gd name="T6" fmla="*/ 5 w 30"/>
                  <a:gd name="T7" fmla="*/ 10 h 37"/>
                  <a:gd name="T8" fmla="*/ 6 w 30"/>
                  <a:gd name="T9" fmla="*/ 10 h 37"/>
                  <a:gd name="T10" fmla="*/ 7 w 30"/>
                  <a:gd name="T11" fmla="*/ 10 h 37"/>
                  <a:gd name="T12" fmla="*/ 7 w 30"/>
                  <a:gd name="T13" fmla="*/ 9 h 37"/>
                  <a:gd name="T14" fmla="*/ 8 w 30"/>
                  <a:gd name="T15" fmla="*/ 8 h 37"/>
                  <a:gd name="T16" fmla="*/ 8 w 30"/>
                  <a:gd name="T17" fmla="*/ 7 h 37"/>
                  <a:gd name="T18" fmla="*/ 8 w 30"/>
                  <a:gd name="T19" fmla="*/ 5 h 37"/>
                  <a:gd name="T20" fmla="*/ 8 w 30"/>
                  <a:gd name="T21" fmla="*/ 3 h 37"/>
                  <a:gd name="T22" fmla="*/ 7 w 30"/>
                  <a:gd name="T23" fmla="*/ 0 h 37"/>
                  <a:gd name="T24" fmla="*/ 0 w 30"/>
                  <a:gd name="T25" fmla="*/ 0 h 37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0" h="37">
                    <a:moveTo>
                      <a:pt x="0" y="0"/>
                    </a:moveTo>
                    <a:lnTo>
                      <a:pt x="0" y="37"/>
                    </a:lnTo>
                    <a:lnTo>
                      <a:pt x="11" y="36"/>
                    </a:lnTo>
                    <a:lnTo>
                      <a:pt x="20" y="34"/>
                    </a:lnTo>
                    <a:lnTo>
                      <a:pt x="22" y="33"/>
                    </a:lnTo>
                    <a:lnTo>
                      <a:pt x="26" y="32"/>
                    </a:lnTo>
                    <a:lnTo>
                      <a:pt x="28" y="30"/>
                    </a:lnTo>
                    <a:lnTo>
                      <a:pt x="29" y="28"/>
                    </a:lnTo>
                    <a:lnTo>
                      <a:pt x="30" y="23"/>
                    </a:lnTo>
                    <a:lnTo>
                      <a:pt x="30" y="16"/>
                    </a:lnTo>
                    <a:lnTo>
                      <a:pt x="29" y="9"/>
                    </a:lnTo>
                    <a:lnTo>
                      <a:pt x="27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008" name="Freeform 404"/>
              <p:cNvSpPr>
                <a:spLocks/>
              </p:cNvSpPr>
              <p:nvPr/>
            </p:nvSpPr>
            <p:spPr bwMode="auto">
              <a:xfrm>
                <a:off x="1334" y="1208"/>
                <a:ext cx="36" cy="16"/>
              </a:xfrm>
              <a:custGeom>
                <a:avLst/>
                <a:gdLst>
                  <a:gd name="T0" fmla="*/ 11 w 113"/>
                  <a:gd name="T1" fmla="*/ 1 h 46"/>
                  <a:gd name="T2" fmla="*/ 7 w 113"/>
                  <a:gd name="T3" fmla="*/ 1 h 46"/>
                  <a:gd name="T4" fmla="*/ 4 w 113"/>
                  <a:gd name="T5" fmla="*/ 2 h 46"/>
                  <a:gd name="T6" fmla="*/ 2 w 113"/>
                  <a:gd name="T7" fmla="*/ 2 h 46"/>
                  <a:gd name="T8" fmla="*/ 1 w 113"/>
                  <a:gd name="T9" fmla="*/ 4 h 46"/>
                  <a:gd name="T10" fmla="*/ 0 w 113"/>
                  <a:gd name="T11" fmla="*/ 5 h 46"/>
                  <a:gd name="T12" fmla="*/ 0 w 113"/>
                  <a:gd name="T13" fmla="*/ 7 h 46"/>
                  <a:gd name="T14" fmla="*/ 2 w 113"/>
                  <a:gd name="T15" fmla="*/ 9 h 46"/>
                  <a:gd name="T16" fmla="*/ 3 w 113"/>
                  <a:gd name="T17" fmla="*/ 11 h 46"/>
                  <a:gd name="T18" fmla="*/ 5 w 113"/>
                  <a:gd name="T19" fmla="*/ 13 h 46"/>
                  <a:gd name="T20" fmla="*/ 6 w 113"/>
                  <a:gd name="T21" fmla="*/ 14 h 46"/>
                  <a:gd name="T22" fmla="*/ 8 w 113"/>
                  <a:gd name="T23" fmla="*/ 15 h 46"/>
                  <a:gd name="T24" fmla="*/ 10 w 113"/>
                  <a:gd name="T25" fmla="*/ 16 h 46"/>
                  <a:gd name="T26" fmla="*/ 11 w 113"/>
                  <a:gd name="T27" fmla="*/ 16 h 46"/>
                  <a:gd name="T28" fmla="*/ 13 w 113"/>
                  <a:gd name="T29" fmla="*/ 16 h 46"/>
                  <a:gd name="T30" fmla="*/ 18 w 113"/>
                  <a:gd name="T31" fmla="*/ 16 h 46"/>
                  <a:gd name="T32" fmla="*/ 22 w 113"/>
                  <a:gd name="T33" fmla="*/ 15 h 46"/>
                  <a:gd name="T34" fmla="*/ 24 w 113"/>
                  <a:gd name="T35" fmla="*/ 14 h 46"/>
                  <a:gd name="T36" fmla="*/ 26 w 113"/>
                  <a:gd name="T37" fmla="*/ 13 h 46"/>
                  <a:gd name="T38" fmla="*/ 28 w 113"/>
                  <a:gd name="T39" fmla="*/ 13 h 46"/>
                  <a:gd name="T40" fmla="*/ 29 w 113"/>
                  <a:gd name="T41" fmla="*/ 11 h 46"/>
                  <a:gd name="T42" fmla="*/ 32 w 113"/>
                  <a:gd name="T43" fmla="*/ 9 h 46"/>
                  <a:gd name="T44" fmla="*/ 34 w 113"/>
                  <a:gd name="T45" fmla="*/ 7 h 46"/>
                  <a:gd name="T46" fmla="*/ 35 w 113"/>
                  <a:gd name="T47" fmla="*/ 4 h 46"/>
                  <a:gd name="T48" fmla="*/ 36 w 113"/>
                  <a:gd name="T49" fmla="*/ 1 h 46"/>
                  <a:gd name="T50" fmla="*/ 32 w 113"/>
                  <a:gd name="T51" fmla="*/ 0 h 46"/>
                  <a:gd name="T52" fmla="*/ 28 w 113"/>
                  <a:gd name="T53" fmla="*/ 0 h 46"/>
                  <a:gd name="T54" fmla="*/ 24 w 113"/>
                  <a:gd name="T55" fmla="*/ 0 h 46"/>
                  <a:gd name="T56" fmla="*/ 21 w 113"/>
                  <a:gd name="T57" fmla="*/ 0 h 46"/>
                  <a:gd name="T58" fmla="*/ 15 w 113"/>
                  <a:gd name="T59" fmla="*/ 1 h 46"/>
                  <a:gd name="T60" fmla="*/ 11 w 113"/>
                  <a:gd name="T61" fmla="*/ 1 h 4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113" h="46">
                    <a:moveTo>
                      <a:pt x="33" y="3"/>
                    </a:moveTo>
                    <a:lnTo>
                      <a:pt x="22" y="3"/>
                    </a:lnTo>
                    <a:lnTo>
                      <a:pt x="12" y="5"/>
                    </a:lnTo>
                    <a:lnTo>
                      <a:pt x="7" y="7"/>
                    </a:lnTo>
                    <a:lnTo>
                      <a:pt x="3" y="11"/>
                    </a:lnTo>
                    <a:lnTo>
                      <a:pt x="1" y="15"/>
                    </a:lnTo>
                    <a:lnTo>
                      <a:pt x="0" y="21"/>
                    </a:lnTo>
                    <a:lnTo>
                      <a:pt x="6" y="27"/>
                    </a:lnTo>
                    <a:lnTo>
                      <a:pt x="10" y="33"/>
                    </a:lnTo>
                    <a:lnTo>
                      <a:pt x="16" y="37"/>
                    </a:lnTo>
                    <a:lnTo>
                      <a:pt x="20" y="41"/>
                    </a:lnTo>
                    <a:lnTo>
                      <a:pt x="25" y="43"/>
                    </a:lnTo>
                    <a:lnTo>
                      <a:pt x="30" y="45"/>
                    </a:lnTo>
                    <a:lnTo>
                      <a:pt x="35" y="46"/>
                    </a:lnTo>
                    <a:lnTo>
                      <a:pt x="40" y="46"/>
                    </a:lnTo>
                    <a:lnTo>
                      <a:pt x="56" y="46"/>
                    </a:lnTo>
                    <a:lnTo>
                      <a:pt x="70" y="43"/>
                    </a:lnTo>
                    <a:lnTo>
                      <a:pt x="76" y="41"/>
                    </a:lnTo>
                    <a:lnTo>
                      <a:pt x="81" y="38"/>
                    </a:lnTo>
                    <a:lnTo>
                      <a:pt x="87" y="36"/>
                    </a:lnTo>
                    <a:lnTo>
                      <a:pt x="91" y="33"/>
                    </a:lnTo>
                    <a:lnTo>
                      <a:pt x="99" y="27"/>
                    </a:lnTo>
                    <a:lnTo>
                      <a:pt x="106" y="20"/>
                    </a:lnTo>
                    <a:lnTo>
                      <a:pt x="110" y="12"/>
                    </a:lnTo>
                    <a:lnTo>
                      <a:pt x="113" y="3"/>
                    </a:lnTo>
                    <a:lnTo>
                      <a:pt x="99" y="1"/>
                    </a:lnTo>
                    <a:lnTo>
                      <a:pt x="87" y="0"/>
                    </a:lnTo>
                    <a:lnTo>
                      <a:pt x="76" y="0"/>
                    </a:lnTo>
                    <a:lnTo>
                      <a:pt x="66" y="1"/>
                    </a:lnTo>
                    <a:lnTo>
                      <a:pt x="48" y="2"/>
                    </a:lnTo>
                    <a:lnTo>
                      <a:pt x="33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009" name="Freeform 405"/>
              <p:cNvSpPr>
                <a:spLocks/>
              </p:cNvSpPr>
              <p:nvPr/>
            </p:nvSpPr>
            <p:spPr bwMode="auto">
              <a:xfrm>
                <a:off x="1365" y="1201"/>
                <a:ext cx="49" cy="28"/>
              </a:xfrm>
              <a:custGeom>
                <a:avLst/>
                <a:gdLst>
                  <a:gd name="T0" fmla="*/ 0 w 153"/>
                  <a:gd name="T1" fmla="*/ 27 h 82"/>
                  <a:gd name="T2" fmla="*/ 1 w 153"/>
                  <a:gd name="T3" fmla="*/ 28 h 82"/>
                  <a:gd name="T4" fmla="*/ 2 w 153"/>
                  <a:gd name="T5" fmla="*/ 28 h 82"/>
                  <a:gd name="T6" fmla="*/ 3 w 153"/>
                  <a:gd name="T7" fmla="*/ 28 h 82"/>
                  <a:gd name="T8" fmla="*/ 4 w 153"/>
                  <a:gd name="T9" fmla="*/ 28 h 82"/>
                  <a:gd name="T10" fmla="*/ 7 w 153"/>
                  <a:gd name="T11" fmla="*/ 27 h 82"/>
                  <a:gd name="T12" fmla="*/ 11 w 153"/>
                  <a:gd name="T13" fmla="*/ 27 h 82"/>
                  <a:gd name="T14" fmla="*/ 13 w 153"/>
                  <a:gd name="T15" fmla="*/ 27 h 82"/>
                  <a:gd name="T16" fmla="*/ 15 w 153"/>
                  <a:gd name="T17" fmla="*/ 27 h 82"/>
                  <a:gd name="T18" fmla="*/ 18 w 153"/>
                  <a:gd name="T19" fmla="*/ 26 h 82"/>
                  <a:gd name="T20" fmla="*/ 21 w 153"/>
                  <a:gd name="T21" fmla="*/ 25 h 82"/>
                  <a:gd name="T22" fmla="*/ 27 w 153"/>
                  <a:gd name="T23" fmla="*/ 23 h 82"/>
                  <a:gd name="T24" fmla="*/ 33 w 153"/>
                  <a:gd name="T25" fmla="*/ 20 h 82"/>
                  <a:gd name="T26" fmla="*/ 36 w 153"/>
                  <a:gd name="T27" fmla="*/ 18 h 82"/>
                  <a:gd name="T28" fmla="*/ 39 w 153"/>
                  <a:gd name="T29" fmla="*/ 17 h 82"/>
                  <a:gd name="T30" fmla="*/ 41 w 153"/>
                  <a:gd name="T31" fmla="*/ 15 h 82"/>
                  <a:gd name="T32" fmla="*/ 44 w 153"/>
                  <a:gd name="T33" fmla="*/ 13 h 82"/>
                  <a:gd name="T34" fmla="*/ 45 w 153"/>
                  <a:gd name="T35" fmla="*/ 11 h 82"/>
                  <a:gd name="T36" fmla="*/ 47 w 153"/>
                  <a:gd name="T37" fmla="*/ 9 h 82"/>
                  <a:gd name="T38" fmla="*/ 48 w 153"/>
                  <a:gd name="T39" fmla="*/ 6 h 82"/>
                  <a:gd name="T40" fmla="*/ 49 w 153"/>
                  <a:gd name="T41" fmla="*/ 4 h 82"/>
                  <a:gd name="T42" fmla="*/ 43 w 153"/>
                  <a:gd name="T43" fmla="*/ 3 h 82"/>
                  <a:gd name="T44" fmla="*/ 37 w 153"/>
                  <a:gd name="T45" fmla="*/ 1 h 82"/>
                  <a:gd name="T46" fmla="*/ 31 w 153"/>
                  <a:gd name="T47" fmla="*/ 0 h 82"/>
                  <a:gd name="T48" fmla="*/ 25 w 153"/>
                  <a:gd name="T49" fmla="*/ 0 h 82"/>
                  <a:gd name="T50" fmla="*/ 22 w 153"/>
                  <a:gd name="T51" fmla="*/ 0 h 82"/>
                  <a:gd name="T52" fmla="*/ 19 w 153"/>
                  <a:gd name="T53" fmla="*/ 0 h 82"/>
                  <a:gd name="T54" fmla="*/ 17 w 153"/>
                  <a:gd name="T55" fmla="*/ 1 h 82"/>
                  <a:gd name="T56" fmla="*/ 14 w 153"/>
                  <a:gd name="T57" fmla="*/ 1 h 82"/>
                  <a:gd name="T58" fmla="*/ 12 w 153"/>
                  <a:gd name="T59" fmla="*/ 2 h 82"/>
                  <a:gd name="T60" fmla="*/ 11 w 153"/>
                  <a:gd name="T61" fmla="*/ 3 h 82"/>
                  <a:gd name="T62" fmla="*/ 10 w 153"/>
                  <a:gd name="T63" fmla="*/ 5 h 82"/>
                  <a:gd name="T64" fmla="*/ 8 w 153"/>
                  <a:gd name="T65" fmla="*/ 6 h 82"/>
                  <a:gd name="T66" fmla="*/ 10 w 153"/>
                  <a:gd name="T67" fmla="*/ 8 h 82"/>
                  <a:gd name="T68" fmla="*/ 12 w 153"/>
                  <a:gd name="T69" fmla="*/ 10 h 82"/>
                  <a:gd name="T70" fmla="*/ 12 w 153"/>
                  <a:gd name="T71" fmla="*/ 11 h 82"/>
                  <a:gd name="T72" fmla="*/ 13 w 153"/>
                  <a:gd name="T73" fmla="*/ 12 h 82"/>
                  <a:gd name="T74" fmla="*/ 14 w 153"/>
                  <a:gd name="T75" fmla="*/ 12 h 82"/>
                  <a:gd name="T76" fmla="*/ 15 w 153"/>
                  <a:gd name="T77" fmla="*/ 12 h 82"/>
                  <a:gd name="T78" fmla="*/ 13 w 153"/>
                  <a:gd name="T79" fmla="*/ 14 h 82"/>
                  <a:gd name="T80" fmla="*/ 11 w 153"/>
                  <a:gd name="T81" fmla="*/ 16 h 82"/>
                  <a:gd name="T82" fmla="*/ 9 w 153"/>
                  <a:gd name="T83" fmla="*/ 18 h 82"/>
                  <a:gd name="T84" fmla="*/ 7 w 153"/>
                  <a:gd name="T85" fmla="*/ 19 h 82"/>
                  <a:gd name="T86" fmla="*/ 6 w 153"/>
                  <a:gd name="T87" fmla="*/ 22 h 82"/>
                  <a:gd name="T88" fmla="*/ 4 w 153"/>
                  <a:gd name="T89" fmla="*/ 24 h 82"/>
                  <a:gd name="T90" fmla="*/ 2 w 153"/>
                  <a:gd name="T91" fmla="*/ 26 h 82"/>
                  <a:gd name="T92" fmla="*/ 0 w 153"/>
                  <a:gd name="T93" fmla="*/ 27 h 82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153" h="82">
                    <a:moveTo>
                      <a:pt x="0" y="79"/>
                    </a:moveTo>
                    <a:lnTo>
                      <a:pt x="2" y="81"/>
                    </a:lnTo>
                    <a:lnTo>
                      <a:pt x="6" y="82"/>
                    </a:lnTo>
                    <a:lnTo>
                      <a:pt x="10" y="82"/>
                    </a:lnTo>
                    <a:lnTo>
                      <a:pt x="14" y="82"/>
                    </a:lnTo>
                    <a:lnTo>
                      <a:pt x="23" y="80"/>
                    </a:lnTo>
                    <a:lnTo>
                      <a:pt x="33" y="79"/>
                    </a:lnTo>
                    <a:lnTo>
                      <a:pt x="40" y="79"/>
                    </a:lnTo>
                    <a:lnTo>
                      <a:pt x="47" y="78"/>
                    </a:lnTo>
                    <a:lnTo>
                      <a:pt x="56" y="76"/>
                    </a:lnTo>
                    <a:lnTo>
                      <a:pt x="65" y="74"/>
                    </a:lnTo>
                    <a:lnTo>
                      <a:pt x="83" y="68"/>
                    </a:lnTo>
                    <a:lnTo>
                      <a:pt x="103" y="59"/>
                    </a:lnTo>
                    <a:lnTo>
                      <a:pt x="112" y="54"/>
                    </a:lnTo>
                    <a:lnTo>
                      <a:pt x="121" y="49"/>
                    </a:lnTo>
                    <a:lnTo>
                      <a:pt x="129" y="43"/>
                    </a:lnTo>
                    <a:lnTo>
                      <a:pt x="136" y="38"/>
                    </a:lnTo>
                    <a:lnTo>
                      <a:pt x="142" y="32"/>
                    </a:lnTo>
                    <a:lnTo>
                      <a:pt x="147" y="25"/>
                    </a:lnTo>
                    <a:lnTo>
                      <a:pt x="150" y="19"/>
                    </a:lnTo>
                    <a:lnTo>
                      <a:pt x="153" y="12"/>
                    </a:lnTo>
                    <a:lnTo>
                      <a:pt x="134" y="8"/>
                    </a:lnTo>
                    <a:lnTo>
                      <a:pt x="115" y="3"/>
                    </a:lnTo>
                    <a:lnTo>
                      <a:pt x="96" y="1"/>
                    </a:lnTo>
                    <a:lnTo>
                      <a:pt x="77" y="0"/>
                    </a:lnTo>
                    <a:lnTo>
                      <a:pt x="68" y="1"/>
                    </a:lnTo>
                    <a:lnTo>
                      <a:pt x="60" y="1"/>
                    </a:lnTo>
                    <a:lnTo>
                      <a:pt x="52" y="2"/>
                    </a:lnTo>
                    <a:lnTo>
                      <a:pt x="45" y="4"/>
                    </a:lnTo>
                    <a:lnTo>
                      <a:pt x="38" y="7"/>
                    </a:lnTo>
                    <a:lnTo>
                      <a:pt x="34" y="10"/>
                    </a:lnTo>
                    <a:lnTo>
                      <a:pt x="30" y="14"/>
                    </a:lnTo>
                    <a:lnTo>
                      <a:pt x="26" y="18"/>
                    </a:lnTo>
                    <a:lnTo>
                      <a:pt x="32" y="23"/>
                    </a:lnTo>
                    <a:lnTo>
                      <a:pt x="36" y="29"/>
                    </a:lnTo>
                    <a:lnTo>
                      <a:pt x="38" y="32"/>
                    </a:lnTo>
                    <a:lnTo>
                      <a:pt x="42" y="34"/>
                    </a:lnTo>
                    <a:lnTo>
                      <a:pt x="44" y="36"/>
                    </a:lnTo>
                    <a:lnTo>
                      <a:pt x="46" y="36"/>
                    </a:lnTo>
                    <a:lnTo>
                      <a:pt x="40" y="41"/>
                    </a:lnTo>
                    <a:lnTo>
                      <a:pt x="33" y="46"/>
                    </a:lnTo>
                    <a:lnTo>
                      <a:pt x="29" y="52"/>
                    </a:lnTo>
                    <a:lnTo>
                      <a:pt x="23" y="57"/>
                    </a:lnTo>
                    <a:lnTo>
                      <a:pt x="18" y="64"/>
                    </a:lnTo>
                    <a:lnTo>
                      <a:pt x="13" y="69"/>
                    </a:lnTo>
                    <a:lnTo>
                      <a:pt x="7" y="75"/>
                    </a:lnTo>
                    <a:lnTo>
                      <a:pt x="0" y="7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010" name="Freeform 406"/>
              <p:cNvSpPr>
                <a:spLocks/>
              </p:cNvSpPr>
              <p:nvPr/>
            </p:nvSpPr>
            <p:spPr bwMode="auto">
              <a:xfrm>
                <a:off x="1414" y="1217"/>
                <a:ext cx="29" cy="17"/>
              </a:xfrm>
              <a:custGeom>
                <a:avLst/>
                <a:gdLst>
                  <a:gd name="T0" fmla="*/ 0 w 86"/>
                  <a:gd name="T1" fmla="*/ 13 h 50"/>
                  <a:gd name="T2" fmla="*/ 2 w 86"/>
                  <a:gd name="T3" fmla="*/ 14 h 50"/>
                  <a:gd name="T4" fmla="*/ 4 w 86"/>
                  <a:gd name="T5" fmla="*/ 15 h 50"/>
                  <a:gd name="T6" fmla="*/ 5 w 86"/>
                  <a:gd name="T7" fmla="*/ 16 h 50"/>
                  <a:gd name="T8" fmla="*/ 8 w 86"/>
                  <a:gd name="T9" fmla="*/ 16 h 50"/>
                  <a:gd name="T10" fmla="*/ 12 w 86"/>
                  <a:gd name="T11" fmla="*/ 17 h 50"/>
                  <a:gd name="T12" fmla="*/ 16 w 86"/>
                  <a:gd name="T13" fmla="*/ 17 h 50"/>
                  <a:gd name="T14" fmla="*/ 20 w 86"/>
                  <a:gd name="T15" fmla="*/ 17 h 50"/>
                  <a:gd name="T16" fmla="*/ 23 w 86"/>
                  <a:gd name="T17" fmla="*/ 16 h 50"/>
                  <a:gd name="T18" fmla="*/ 25 w 86"/>
                  <a:gd name="T19" fmla="*/ 16 h 50"/>
                  <a:gd name="T20" fmla="*/ 27 w 86"/>
                  <a:gd name="T21" fmla="*/ 15 h 50"/>
                  <a:gd name="T22" fmla="*/ 28 w 86"/>
                  <a:gd name="T23" fmla="*/ 14 h 50"/>
                  <a:gd name="T24" fmla="*/ 28 w 86"/>
                  <a:gd name="T25" fmla="*/ 13 h 50"/>
                  <a:gd name="T26" fmla="*/ 29 w 86"/>
                  <a:gd name="T27" fmla="*/ 11 h 50"/>
                  <a:gd name="T28" fmla="*/ 29 w 86"/>
                  <a:gd name="T29" fmla="*/ 9 h 50"/>
                  <a:gd name="T30" fmla="*/ 29 w 86"/>
                  <a:gd name="T31" fmla="*/ 6 h 50"/>
                  <a:gd name="T32" fmla="*/ 28 w 86"/>
                  <a:gd name="T33" fmla="*/ 3 h 50"/>
                  <a:gd name="T34" fmla="*/ 28 w 86"/>
                  <a:gd name="T35" fmla="*/ 2 h 50"/>
                  <a:gd name="T36" fmla="*/ 27 w 86"/>
                  <a:gd name="T37" fmla="*/ 2 h 50"/>
                  <a:gd name="T38" fmla="*/ 26 w 86"/>
                  <a:gd name="T39" fmla="*/ 1 h 50"/>
                  <a:gd name="T40" fmla="*/ 25 w 86"/>
                  <a:gd name="T41" fmla="*/ 0 h 50"/>
                  <a:gd name="T42" fmla="*/ 0 w 86"/>
                  <a:gd name="T43" fmla="*/ 13 h 50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86" h="50">
                    <a:moveTo>
                      <a:pt x="0" y="37"/>
                    </a:moveTo>
                    <a:lnTo>
                      <a:pt x="5" y="41"/>
                    </a:lnTo>
                    <a:lnTo>
                      <a:pt x="11" y="44"/>
                    </a:lnTo>
                    <a:lnTo>
                      <a:pt x="16" y="47"/>
                    </a:lnTo>
                    <a:lnTo>
                      <a:pt x="23" y="48"/>
                    </a:lnTo>
                    <a:lnTo>
                      <a:pt x="35" y="49"/>
                    </a:lnTo>
                    <a:lnTo>
                      <a:pt x="46" y="50"/>
                    </a:lnTo>
                    <a:lnTo>
                      <a:pt x="58" y="49"/>
                    </a:lnTo>
                    <a:lnTo>
                      <a:pt x="67" y="48"/>
                    </a:lnTo>
                    <a:lnTo>
                      <a:pt x="73" y="47"/>
                    </a:lnTo>
                    <a:lnTo>
                      <a:pt x="79" y="44"/>
                    </a:lnTo>
                    <a:lnTo>
                      <a:pt x="82" y="41"/>
                    </a:lnTo>
                    <a:lnTo>
                      <a:pt x="84" y="37"/>
                    </a:lnTo>
                    <a:lnTo>
                      <a:pt x="85" y="32"/>
                    </a:lnTo>
                    <a:lnTo>
                      <a:pt x="86" y="25"/>
                    </a:lnTo>
                    <a:lnTo>
                      <a:pt x="85" y="17"/>
                    </a:lnTo>
                    <a:lnTo>
                      <a:pt x="84" y="10"/>
                    </a:lnTo>
                    <a:lnTo>
                      <a:pt x="83" y="7"/>
                    </a:lnTo>
                    <a:lnTo>
                      <a:pt x="81" y="5"/>
                    </a:lnTo>
                    <a:lnTo>
                      <a:pt x="77" y="2"/>
                    </a:lnTo>
                    <a:lnTo>
                      <a:pt x="73" y="0"/>
                    </a:lnTo>
                    <a:lnTo>
                      <a:pt x="0" y="3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011" name="Freeform 407"/>
              <p:cNvSpPr>
                <a:spLocks/>
              </p:cNvSpPr>
              <p:nvPr/>
            </p:nvSpPr>
            <p:spPr bwMode="auto">
              <a:xfrm>
                <a:off x="1379" y="1163"/>
                <a:ext cx="55" cy="25"/>
              </a:xfrm>
              <a:custGeom>
                <a:avLst/>
                <a:gdLst>
                  <a:gd name="T0" fmla="*/ 38 w 172"/>
                  <a:gd name="T1" fmla="*/ 21 h 74"/>
                  <a:gd name="T2" fmla="*/ 35 w 172"/>
                  <a:gd name="T3" fmla="*/ 21 h 74"/>
                  <a:gd name="T4" fmla="*/ 32 w 172"/>
                  <a:gd name="T5" fmla="*/ 21 h 74"/>
                  <a:gd name="T6" fmla="*/ 29 w 172"/>
                  <a:gd name="T7" fmla="*/ 21 h 74"/>
                  <a:gd name="T8" fmla="*/ 26 w 172"/>
                  <a:gd name="T9" fmla="*/ 21 h 74"/>
                  <a:gd name="T10" fmla="*/ 19 w 172"/>
                  <a:gd name="T11" fmla="*/ 25 h 74"/>
                  <a:gd name="T12" fmla="*/ 11 w 172"/>
                  <a:gd name="T13" fmla="*/ 25 h 74"/>
                  <a:gd name="T14" fmla="*/ 12 w 172"/>
                  <a:gd name="T15" fmla="*/ 21 h 74"/>
                  <a:gd name="T16" fmla="*/ 12 w 172"/>
                  <a:gd name="T17" fmla="*/ 17 h 74"/>
                  <a:gd name="T18" fmla="*/ 10 w 172"/>
                  <a:gd name="T19" fmla="*/ 17 h 74"/>
                  <a:gd name="T20" fmla="*/ 7 w 172"/>
                  <a:gd name="T21" fmla="*/ 16 h 74"/>
                  <a:gd name="T22" fmla="*/ 5 w 172"/>
                  <a:gd name="T23" fmla="*/ 16 h 74"/>
                  <a:gd name="T24" fmla="*/ 3 w 172"/>
                  <a:gd name="T25" fmla="*/ 15 h 74"/>
                  <a:gd name="T26" fmla="*/ 2 w 172"/>
                  <a:gd name="T27" fmla="*/ 14 h 74"/>
                  <a:gd name="T28" fmla="*/ 1 w 172"/>
                  <a:gd name="T29" fmla="*/ 13 h 74"/>
                  <a:gd name="T30" fmla="*/ 0 w 172"/>
                  <a:gd name="T31" fmla="*/ 12 h 74"/>
                  <a:gd name="T32" fmla="*/ 0 w 172"/>
                  <a:gd name="T33" fmla="*/ 10 h 74"/>
                  <a:gd name="T34" fmla="*/ 0 w 172"/>
                  <a:gd name="T35" fmla="*/ 9 h 74"/>
                  <a:gd name="T36" fmla="*/ 1 w 172"/>
                  <a:gd name="T37" fmla="*/ 7 h 74"/>
                  <a:gd name="T38" fmla="*/ 2 w 172"/>
                  <a:gd name="T39" fmla="*/ 6 h 74"/>
                  <a:gd name="T40" fmla="*/ 3 w 172"/>
                  <a:gd name="T41" fmla="*/ 5 h 74"/>
                  <a:gd name="T42" fmla="*/ 4 w 172"/>
                  <a:gd name="T43" fmla="*/ 3 h 74"/>
                  <a:gd name="T44" fmla="*/ 6 w 172"/>
                  <a:gd name="T45" fmla="*/ 2 h 74"/>
                  <a:gd name="T46" fmla="*/ 8 w 172"/>
                  <a:gd name="T47" fmla="*/ 2 h 74"/>
                  <a:gd name="T48" fmla="*/ 9 w 172"/>
                  <a:gd name="T49" fmla="*/ 1 h 74"/>
                  <a:gd name="T50" fmla="*/ 13 w 172"/>
                  <a:gd name="T51" fmla="*/ 0 h 74"/>
                  <a:gd name="T52" fmla="*/ 18 w 172"/>
                  <a:gd name="T53" fmla="*/ 0 h 74"/>
                  <a:gd name="T54" fmla="*/ 22 w 172"/>
                  <a:gd name="T55" fmla="*/ 0 h 74"/>
                  <a:gd name="T56" fmla="*/ 26 w 172"/>
                  <a:gd name="T57" fmla="*/ 0 h 74"/>
                  <a:gd name="T58" fmla="*/ 30 w 172"/>
                  <a:gd name="T59" fmla="*/ 0 h 74"/>
                  <a:gd name="T60" fmla="*/ 34 w 172"/>
                  <a:gd name="T61" fmla="*/ 1 h 74"/>
                  <a:gd name="T62" fmla="*/ 37 w 172"/>
                  <a:gd name="T63" fmla="*/ 2 h 74"/>
                  <a:gd name="T64" fmla="*/ 41 w 172"/>
                  <a:gd name="T65" fmla="*/ 4 h 74"/>
                  <a:gd name="T66" fmla="*/ 44 w 172"/>
                  <a:gd name="T67" fmla="*/ 6 h 74"/>
                  <a:gd name="T68" fmla="*/ 48 w 172"/>
                  <a:gd name="T69" fmla="*/ 7 h 74"/>
                  <a:gd name="T70" fmla="*/ 51 w 172"/>
                  <a:gd name="T71" fmla="*/ 8 h 74"/>
                  <a:gd name="T72" fmla="*/ 55 w 172"/>
                  <a:gd name="T73" fmla="*/ 8 h 74"/>
                  <a:gd name="T74" fmla="*/ 55 w 172"/>
                  <a:gd name="T75" fmla="*/ 15 h 74"/>
                  <a:gd name="T76" fmla="*/ 54 w 172"/>
                  <a:gd name="T77" fmla="*/ 16 h 74"/>
                  <a:gd name="T78" fmla="*/ 53 w 172"/>
                  <a:gd name="T79" fmla="*/ 18 h 74"/>
                  <a:gd name="T80" fmla="*/ 51 w 172"/>
                  <a:gd name="T81" fmla="*/ 19 h 74"/>
                  <a:gd name="T82" fmla="*/ 51 w 172"/>
                  <a:gd name="T83" fmla="*/ 20 h 74"/>
                  <a:gd name="T84" fmla="*/ 49 w 172"/>
                  <a:gd name="T85" fmla="*/ 21 h 74"/>
                  <a:gd name="T86" fmla="*/ 48 w 172"/>
                  <a:gd name="T87" fmla="*/ 21 h 74"/>
                  <a:gd name="T88" fmla="*/ 47 w 172"/>
                  <a:gd name="T89" fmla="*/ 22 h 74"/>
                  <a:gd name="T90" fmla="*/ 45 w 172"/>
                  <a:gd name="T91" fmla="*/ 22 h 74"/>
                  <a:gd name="T92" fmla="*/ 42 w 172"/>
                  <a:gd name="T93" fmla="*/ 22 h 74"/>
                  <a:gd name="T94" fmla="*/ 39 w 172"/>
                  <a:gd name="T95" fmla="*/ 21 h 74"/>
                  <a:gd name="T96" fmla="*/ 36 w 172"/>
                  <a:gd name="T97" fmla="*/ 20 h 74"/>
                  <a:gd name="T98" fmla="*/ 32 w 172"/>
                  <a:gd name="T99" fmla="*/ 19 h 74"/>
                  <a:gd name="T100" fmla="*/ 34 w 172"/>
                  <a:gd name="T101" fmla="*/ 19 h 74"/>
                  <a:gd name="T102" fmla="*/ 38 w 172"/>
                  <a:gd name="T103" fmla="*/ 21 h 74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172" h="74">
                    <a:moveTo>
                      <a:pt x="119" y="61"/>
                    </a:moveTo>
                    <a:lnTo>
                      <a:pt x="109" y="61"/>
                    </a:lnTo>
                    <a:lnTo>
                      <a:pt x="99" y="61"/>
                    </a:lnTo>
                    <a:lnTo>
                      <a:pt x="90" y="61"/>
                    </a:lnTo>
                    <a:lnTo>
                      <a:pt x="80" y="61"/>
                    </a:lnTo>
                    <a:lnTo>
                      <a:pt x="60" y="74"/>
                    </a:lnTo>
                    <a:lnTo>
                      <a:pt x="33" y="74"/>
                    </a:lnTo>
                    <a:lnTo>
                      <a:pt x="36" y="61"/>
                    </a:lnTo>
                    <a:lnTo>
                      <a:pt x="39" y="49"/>
                    </a:lnTo>
                    <a:lnTo>
                      <a:pt x="30" y="49"/>
                    </a:lnTo>
                    <a:lnTo>
                      <a:pt x="23" y="48"/>
                    </a:lnTo>
                    <a:lnTo>
                      <a:pt x="15" y="47"/>
                    </a:lnTo>
                    <a:lnTo>
                      <a:pt x="9" y="45"/>
                    </a:lnTo>
                    <a:lnTo>
                      <a:pt x="5" y="42"/>
                    </a:lnTo>
                    <a:lnTo>
                      <a:pt x="2" y="39"/>
                    </a:lnTo>
                    <a:lnTo>
                      <a:pt x="1" y="35"/>
                    </a:lnTo>
                    <a:lnTo>
                      <a:pt x="0" y="31"/>
                    </a:lnTo>
                    <a:lnTo>
                      <a:pt x="1" y="26"/>
                    </a:lnTo>
                    <a:lnTo>
                      <a:pt x="2" y="21"/>
                    </a:lnTo>
                    <a:lnTo>
                      <a:pt x="5" y="17"/>
                    </a:lnTo>
                    <a:lnTo>
                      <a:pt x="8" y="14"/>
                    </a:lnTo>
                    <a:lnTo>
                      <a:pt x="13" y="10"/>
                    </a:lnTo>
                    <a:lnTo>
                      <a:pt x="18" y="7"/>
                    </a:lnTo>
                    <a:lnTo>
                      <a:pt x="24" y="5"/>
                    </a:lnTo>
                    <a:lnTo>
                      <a:pt x="29" y="4"/>
                    </a:lnTo>
                    <a:lnTo>
                      <a:pt x="42" y="1"/>
                    </a:lnTo>
                    <a:lnTo>
                      <a:pt x="56" y="0"/>
                    </a:lnTo>
                    <a:lnTo>
                      <a:pt x="69" y="0"/>
                    </a:lnTo>
                    <a:lnTo>
                      <a:pt x="80" y="0"/>
                    </a:lnTo>
                    <a:lnTo>
                      <a:pt x="94" y="1"/>
                    </a:lnTo>
                    <a:lnTo>
                      <a:pt x="106" y="4"/>
                    </a:lnTo>
                    <a:lnTo>
                      <a:pt x="117" y="7"/>
                    </a:lnTo>
                    <a:lnTo>
                      <a:pt x="128" y="13"/>
                    </a:lnTo>
                    <a:lnTo>
                      <a:pt x="139" y="17"/>
                    </a:lnTo>
                    <a:lnTo>
                      <a:pt x="150" y="21"/>
                    </a:lnTo>
                    <a:lnTo>
                      <a:pt x="161" y="24"/>
                    </a:lnTo>
                    <a:lnTo>
                      <a:pt x="172" y="25"/>
                    </a:lnTo>
                    <a:lnTo>
                      <a:pt x="172" y="43"/>
                    </a:lnTo>
                    <a:lnTo>
                      <a:pt x="169" y="48"/>
                    </a:lnTo>
                    <a:lnTo>
                      <a:pt x="165" y="53"/>
                    </a:lnTo>
                    <a:lnTo>
                      <a:pt x="161" y="57"/>
                    </a:lnTo>
                    <a:lnTo>
                      <a:pt x="158" y="60"/>
                    </a:lnTo>
                    <a:lnTo>
                      <a:pt x="153" y="62"/>
                    </a:lnTo>
                    <a:lnTo>
                      <a:pt x="149" y="63"/>
                    </a:lnTo>
                    <a:lnTo>
                      <a:pt x="146" y="65"/>
                    </a:lnTo>
                    <a:lnTo>
                      <a:pt x="141" y="65"/>
                    </a:lnTo>
                    <a:lnTo>
                      <a:pt x="131" y="65"/>
                    </a:lnTo>
                    <a:lnTo>
                      <a:pt x="121" y="63"/>
                    </a:lnTo>
                    <a:lnTo>
                      <a:pt x="112" y="59"/>
                    </a:lnTo>
                    <a:lnTo>
                      <a:pt x="99" y="55"/>
                    </a:lnTo>
                    <a:lnTo>
                      <a:pt x="106" y="55"/>
                    </a:lnTo>
                    <a:lnTo>
                      <a:pt x="119" y="6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012" name="Freeform 408"/>
              <p:cNvSpPr>
                <a:spLocks/>
              </p:cNvSpPr>
              <p:nvPr/>
            </p:nvSpPr>
            <p:spPr bwMode="auto">
              <a:xfrm>
                <a:off x="1450" y="1171"/>
                <a:ext cx="38" cy="17"/>
              </a:xfrm>
              <a:custGeom>
                <a:avLst/>
                <a:gdLst>
                  <a:gd name="T0" fmla="*/ 9 w 120"/>
                  <a:gd name="T1" fmla="*/ 17 h 49"/>
                  <a:gd name="T2" fmla="*/ 15 w 120"/>
                  <a:gd name="T3" fmla="*/ 17 h 49"/>
                  <a:gd name="T4" fmla="*/ 20 w 120"/>
                  <a:gd name="T5" fmla="*/ 17 h 49"/>
                  <a:gd name="T6" fmla="*/ 25 w 120"/>
                  <a:gd name="T7" fmla="*/ 16 h 49"/>
                  <a:gd name="T8" fmla="*/ 29 w 120"/>
                  <a:gd name="T9" fmla="*/ 15 h 49"/>
                  <a:gd name="T10" fmla="*/ 30 w 120"/>
                  <a:gd name="T11" fmla="*/ 14 h 49"/>
                  <a:gd name="T12" fmla="*/ 32 w 120"/>
                  <a:gd name="T13" fmla="*/ 13 h 49"/>
                  <a:gd name="T14" fmla="*/ 33 w 120"/>
                  <a:gd name="T15" fmla="*/ 12 h 49"/>
                  <a:gd name="T16" fmla="*/ 34 w 120"/>
                  <a:gd name="T17" fmla="*/ 11 h 49"/>
                  <a:gd name="T18" fmla="*/ 36 w 120"/>
                  <a:gd name="T19" fmla="*/ 8 h 49"/>
                  <a:gd name="T20" fmla="*/ 38 w 120"/>
                  <a:gd name="T21" fmla="*/ 4 h 49"/>
                  <a:gd name="T22" fmla="*/ 32 w 120"/>
                  <a:gd name="T23" fmla="*/ 2 h 49"/>
                  <a:gd name="T24" fmla="*/ 27 w 120"/>
                  <a:gd name="T25" fmla="*/ 1 h 49"/>
                  <a:gd name="T26" fmla="*/ 21 w 120"/>
                  <a:gd name="T27" fmla="*/ 0 h 49"/>
                  <a:gd name="T28" fmla="*/ 16 w 120"/>
                  <a:gd name="T29" fmla="*/ 0 h 49"/>
                  <a:gd name="T30" fmla="*/ 11 w 120"/>
                  <a:gd name="T31" fmla="*/ 0 h 49"/>
                  <a:gd name="T32" fmla="*/ 6 w 120"/>
                  <a:gd name="T33" fmla="*/ 1 h 49"/>
                  <a:gd name="T34" fmla="*/ 3 w 120"/>
                  <a:gd name="T35" fmla="*/ 1 h 49"/>
                  <a:gd name="T36" fmla="*/ 0 w 120"/>
                  <a:gd name="T37" fmla="*/ 2 h 49"/>
                  <a:gd name="T38" fmla="*/ 0 w 120"/>
                  <a:gd name="T39" fmla="*/ 10 h 49"/>
                  <a:gd name="T40" fmla="*/ 1 w 120"/>
                  <a:gd name="T41" fmla="*/ 12 h 49"/>
                  <a:gd name="T42" fmla="*/ 2 w 120"/>
                  <a:gd name="T43" fmla="*/ 13 h 49"/>
                  <a:gd name="T44" fmla="*/ 3 w 120"/>
                  <a:gd name="T45" fmla="*/ 14 h 49"/>
                  <a:gd name="T46" fmla="*/ 4 w 120"/>
                  <a:gd name="T47" fmla="*/ 16 h 49"/>
                  <a:gd name="T48" fmla="*/ 6 w 120"/>
                  <a:gd name="T49" fmla="*/ 17 h 49"/>
                  <a:gd name="T50" fmla="*/ 9 w 120"/>
                  <a:gd name="T51" fmla="*/ 17 h 49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20" h="49">
                    <a:moveTo>
                      <a:pt x="27" y="49"/>
                    </a:moveTo>
                    <a:lnTo>
                      <a:pt x="47" y="49"/>
                    </a:lnTo>
                    <a:lnTo>
                      <a:pt x="64" y="48"/>
                    </a:lnTo>
                    <a:lnTo>
                      <a:pt x="78" y="46"/>
                    </a:lnTo>
                    <a:lnTo>
                      <a:pt x="90" y="43"/>
                    </a:lnTo>
                    <a:lnTo>
                      <a:pt x="96" y="39"/>
                    </a:lnTo>
                    <a:lnTo>
                      <a:pt x="100" y="37"/>
                    </a:lnTo>
                    <a:lnTo>
                      <a:pt x="104" y="34"/>
                    </a:lnTo>
                    <a:lnTo>
                      <a:pt x="108" y="31"/>
                    </a:lnTo>
                    <a:lnTo>
                      <a:pt x="114" y="22"/>
                    </a:lnTo>
                    <a:lnTo>
                      <a:pt x="120" y="12"/>
                    </a:lnTo>
                    <a:lnTo>
                      <a:pt x="102" y="6"/>
                    </a:lnTo>
                    <a:lnTo>
                      <a:pt x="84" y="3"/>
                    </a:lnTo>
                    <a:lnTo>
                      <a:pt x="66" y="1"/>
                    </a:lnTo>
                    <a:lnTo>
                      <a:pt x="50" y="0"/>
                    </a:lnTo>
                    <a:lnTo>
                      <a:pt x="34" y="1"/>
                    </a:lnTo>
                    <a:lnTo>
                      <a:pt x="20" y="2"/>
                    </a:lnTo>
                    <a:lnTo>
                      <a:pt x="9" y="4"/>
                    </a:lnTo>
                    <a:lnTo>
                      <a:pt x="0" y="6"/>
                    </a:lnTo>
                    <a:lnTo>
                      <a:pt x="0" y="30"/>
                    </a:lnTo>
                    <a:lnTo>
                      <a:pt x="2" y="35"/>
                    </a:lnTo>
                    <a:lnTo>
                      <a:pt x="6" y="38"/>
                    </a:lnTo>
                    <a:lnTo>
                      <a:pt x="9" y="41"/>
                    </a:lnTo>
                    <a:lnTo>
                      <a:pt x="13" y="45"/>
                    </a:lnTo>
                    <a:lnTo>
                      <a:pt x="20" y="48"/>
                    </a:lnTo>
                    <a:lnTo>
                      <a:pt x="27" y="4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013" name="Freeform 409"/>
              <p:cNvSpPr>
                <a:spLocks/>
              </p:cNvSpPr>
              <p:nvPr/>
            </p:nvSpPr>
            <p:spPr bwMode="auto">
              <a:xfrm>
                <a:off x="1441" y="1194"/>
                <a:ext cx="26" cy="19"/>
              </a:xfrm>
              <a:custGeom>
                <a:avLst/>
                <a:gdLst>
                  <a:gd name="T0" fmla="*/ 10 w 85"/>
                  <a:gd name="T1" fmla="*/ 0 h 61"/>
                  <a:gd name="T2" fmla="*/ 7 w 85"/>
                  <a:gd name="T3" fmla="*/ 2 h 61"/>
                  <a:gd name="T4" fmla="*/ 3 w 85"/>
                  <a:gd name="T5" fmla="*/ 4 h 61"/>
                  <a:gd name="T6" fmla="*/ 2 w 85"/>
                  <a:gd name="T7" fmla="*/ 5 h 61"/>
                  <a:gd name="T8" fmla="*/ 1 w 85"/>
                  <a:gd name="T9" fmla="*/ 7 h 61"/>
                  <a:gd name="T10" fmla="*/ 0 w 85"/>
                  <a:gd name="T11" fmla="*/ 8 h 61"/>
                  <a:gd name="T12" fmla="*/ 0 w 85"/>
                  <a:gd name="T13" fmla="*/ 10 h 61"/>
                  <a:gd name="T14" fmla="*/ 0 w 85"/>
                  <a:gd name="T15" fmla="*/ 11 h 61"/>
                  <a:gd name="T16" fmla="*/ 0 w 85"/>
                  <a:gd name="T17" fmla="*/ 12 h 61"/>
                  <a:gd name="T18" fmla="*/ 1 w 85"/>
                  <a:gd name="T19" fmla="*/ 12 h 61"/>
                  <a:gd name="T20" fmla="*/ 2 w 85"/>
                  <a:gd name="T21" fmla="*/ 13 h 61"/>
                  <a:gd name="T22" fmla="*/ 3 w 85"/>
                  <a:gd name="T23" fmla="*/ 15 h 61"/>
                  <a:gd name="T24" fmla="*/ 6 w 85"/>
                  <a:gd name="T25" fmla="*/ 17 h 61"/>
                  <a:gd name="T26" fmla="*/ 8 w 85"/>
                  <a:gd name="T27" fmla="*/ 17 h 61"/>
                  <a:gd name="T28" fmla="*/ 11 w 85"/>
                  <a:gd name="T29" fmla="*/ 18 h 61"/>
                  <a:gd name="T30" fmla="*/ 14 w 85"/>
                  <a:gd name="T31" fmla="*/ 19 h 61"/>
                  <a:gd name="T32" fmla="*/ 16 w 85"/>
                  <a:gd name="T33" fmla="*/ 19 h 61"/>
                  <a:gd name="T34" fmla="*/ 17 w 85"/>
                  <a:gd name="T35" fmla="*/ 19 h 61"/>
                  <a:gd name="T36" fmla="*/ 18 w 85"/>
                  <a:gd name="T37" fmla="*/ 19 h 61"/>
                  <a:gd name="T38" fmla="*/ 19 w 85"/>
                  <a:gd name="T39" fmla="*/ 18 h 61"/>
                  <a:gd name="T40" fmla="*/ 20 w 85"/>
                  <a:gd name="T41" fmla="*/ 18 h 61"/>
                  <a:gd name="T42" fmla="*/ 22 w 85"/>
                  <a:gd name="T43" fmla="*/ 16 h 61"/>
                  <a:gd name="T44" fmla="*/ 24 w 85"/>
                  <a:gd name="T45" fmla="*/ 15 h 61"/>
                  <a:gd name="T46" fmla="*/ 24 w 85"/>
                  <a:gd name="T47" fmla="*/ 12 h 61"/>
                  <a:gd name="T48" fmla="*/ 25 w 85"/>
                  <a:gd name="T49" fmla="*/ 10 h 61"/>
                  <a:gd name="T50" fmla="*/ 26 w 85"/>
                  <a:gd name="T51" fmla="*/ 8 h 61"/>
                  <a:gd name="T52" fmla="*/ 26 w 85"/>
                  <a:gd name="T53" fmla="*/ 6 h 61"/>
                  <a:gd name="T54" fmla="*/ 10 w 85"/>
                  <a:gd name="T55" fmla="*/ 0 h 61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85" h="61">
                    <a:moveTo>
                      <a:pt x="33" y="0"/>
                    </a:moveTo>
                    <a:lnTo>
                      <a:pt x="22" y="5"/>
                    </a:lnTo>
                    <a:lnTo>
                      <a:pt x="11" y="12"/>
                    </a:lnTo>
                    <a:lnTo>
                      <a:pt x="6" y="17"/>
                    </a:lnTo>
                    <a:lnTo>
                      <a:pt x="3" y="21"/>
                    </a:lnTo>
                    <a:lnTo>
                      <a:pt x="0" y="25"/>
                    </a:lnTo>
                    <a:lnTo>
                      <a:pt x="0" y="31"/>
                    </a:lnTo>
                    <a:lnTo>
                      <a:pt x="0" y="34"/>
                    </a:lnTo>
                    <a:lnTo>
                      <a:pt x="1" y="37"/>
                    </a:lnTo>
                    <a:lnTo>
                      <a:pt x="2" y="40"/>
                    </a:lnTo>
                    <a:lnTo>
                      <a:pt x="5" y="43"/>
                    </a:lnTo>
                    <a:lnTo>
                      <a:pt x="11" y="48"/>
                    </a:lnTo>
                    <a:lnTo>
                      <a:pt x="18" y="53"/>
                    </a:lnTo>
                    <a:lnTo>
                      <a:pt x="27" y="56"/>
                    </a:lnTo>
                    <a:lnTo>
                      <a:pt x="36" y="59"/>
                    </a:lnTo>
                    <a:lnTo>
                      <a:pt x="45" y="61"/>
                    </a:lnTo>
                    <a:lnTo>
                      <a:pt x="53" y="61"/>
                    </a:lnTo>
                    <a:lnTo>
                      <a:pt x="56" y="61"/>
                    </a:lnTo>
                    <a:lnTo>
                      <a:pt x="59" y="60"/>
                    </a:lnTo>
                    <a:lnTo>
                      <a:pt x="62" y="59"/>
                    </a:lnTo>
                    <a:lnTo>
                      <a:pt x="66" y="57"/>
                    </a:lnTo>
                    <a:lnTo>
                      <a:pt x="72" y="52"/>
                    </a:lnTo>
                    <a:lnTo>
                      <a:pt x="77" y="47"/>
                    </a:lnTo>
                    <a:lnTo>
                      <a:pt x="80" y="40"/>
                    </a:lnTo>
                    <a:lnTo>
                      <a:pt x="83" y="33"/>
                    </a:lnTo>
                    <a:lnTo>
                      <a:pt x="85" y="25"/>
                    </a:lnTo>
                    <a:lnTo>
                      <a:pt x="85" y="18"/>
                    </a:lnTo>
                    <a:lnTo>
                      <a:pt x="3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014" name="Freeform 410"/>
              <p:cNvSpPr>
                <a:spLocks/>
              </p:cNvSpPr>
              <p:nvPr/>
            </p:nvSpPr>
            <p:spPr bwMode="auto">
              <a:xfrm>
                <a:off x="1254" y="1188"/>
                <a:ext cx="31" cy="6"/>
              </a:xfrm>
              <a:custGeom>
                <a:avLst/>
                <a:gdLst>
                  <a:gd name="T0" fmla="*/ 0 w 100"/>
                  <a:gd name="T1" fmla="*/ 2 h 19"/>
                  <a:gd name="T2" fmla="*/ 2 w 100"/>
                  <a:gd name="T3" fmla="*/ 3 h 19"/>
                  <a:gd name="T4" fmla="*/ 4 w 100"/>
                  <a:gd name="T5" fmla="*/ 5 h 19"/>
                  <a:gd name="T6" fmla="*/ 7 w 100"/>
                  <a:gd name="T7" fmla="*/ 6 h 19"/>
                  <a:gd name="T8" fmla="*/ 8 w 100"/>
                  <a:gd name="T9" fmla="*/ 6 h 19"/>
                  <a:gd name="T10" fmla="*/ 31 w 100"/>
                  <a:gd name="T11" fmla="*/ 2 h 19"/>
                  <a:gd name="T12" fmla="*/ 23 w 100"/>
                  <a:gd name="T13" fmla="*/ 1 h 19"/>
                  <a:gd name="T14" fmla="*/ 15 w 100"/>
                  <a:gd name="T15" fmla="*/ 0 h 19"/>
                  <a:gd name="T16" fmla="*/ 11 w 100"/>
                  <a:gd name="T17" fmla="*/ 0 h 19"/>
                  <a:gd name="T18" fmla="*/ 7 w 100"/>
                  <a:gd name="T19" fmla="*/ 0 h 19"/>
                  <a:gd name="T20" fmla="*/ 4 w 100"/>
                  <a:gd name="T21" fmla="*/ 1 h 19"/>
                  <a:gd name="T22" fmla="*/ 0 w 100"/>
                  <a:gd name="T23" fmla="*/ 2 h 19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100" h="19">
                    <a:moveTo>
                      <a:pt x="0" y="6"/>
                    </a:moveTo>
                    <a:lnTo>
                      <a:pt x="7" y="11"/>
                    </a:lnTo>
                    <a:lnTo>
                      <a:pt x="13" y="15"/>
                    </a:lnTo>
                    <a:lnTo>
                      <a:pt x="21" y="18"/>
                    </a:lnTo>
                    <a:lnTo>
                      <a:pt x="27" y="19"/>
                    </a:lnTo>
                    <a:lnTo>
                      <a:pt x="100" y="6"/>
                    </a:lnTo>
                    <a:lnTo>
                      <a:pt x="73" y="2"/>
                    </a:lnTo>
                    <a:lnTo>
                      <a:pt x="47" y="0"/>
                    </a:lnTo>
                    <a:lnTo>
                      <a:pt x="36" y="0"/>
                    </a:lnTo>
                    <a:lnTo>
                      <a:pt x="24" y="1"/>
                    </a:lnTo>
                    <a:lnTo>
                      <a:pt x="12" y="3"/>
                    </a:lnTo>
                    <a:lnTo>
                      <a:pt x="0" y="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015" name="Freeform 411"/>
              <p:cNvSpPr>
                <a:spLocks/>
              </p:cNvSpPr>
              <p:nvPr/>
            </p:nvSpPr>
            <p:spPr bwMode="auto">
              <a:xfrm>
                <a:off x="1272" y="1168"/>
                <a:ext cx="53" cy="15"/>
              </a:xfrm>
              <a:custGeom>
                <a:avLst/>
                <a:gdLst>
                  <a:gd name="T0" fmla="*/ 0 w 166"/>
                  <a:gd name="T1" fmla="*/ 9 h 45"/>
                  <a:gd name="T2" fmla="*/ 0 w 166"/>
                  <a:gd name="T3" fmla="*/ 10 h 45"/>
                  <a:gd name="T4" fmla="*/ 1 w 166"/>
                  <a:gd name="T5" fmla="*/ 10 h 45"/>
                  <a:gd name="T6" fmla="*/ 3 w 166"/>
                  <a:gd name="T7" fmla="*/ 11 h 45"/>
                  <a:gd name="T8" fmla="*/ 4 w 166"/>
                  <a:gd name="T9" fmla="*/ 12 h 45"/>
                  <a:gd name="T10" fmla="*/ 9 w 166"/>
                  <a:gd name="T11" fmla="*/ 13 h 45"/>
                  <a:gd name="T12" fmla="*/ 14 w 166"/>
                  <a:gd name="T13" fmla="*/ 14 h 45"/>
                  <a:gd name="T14" fmla="*/ 24 w 166"/>
                  <a:gd name="T15" fmla="*/ 15 h 45"/>
                  <a:gd name="T16" fmla="*/ 29 w 166"/>
                  <a:gd name="T17" fmla="*/ 15 h 45"/>
                  <a:gd name="T18" fmla="*/ 53 w 166"/>
                  <a:gd name="T19" fmla="*/ 9 h 45"/>
                  <a:gd name="T20" fmla="*/ 50 w 166"/>
                  <a:gd name="T21" fmla="*/ 8 h 45"/>
                  <a:gd name="T22" fmla="*/ 44 w 166"/>
                  <a:gd name="T23" fmla="*/ 6 h 45"/>
                  <a:gd name="T24" fmla="*/ 35 w 166"/>
                  <a:gd name="T25" fmla="*/ 4 h 45"/>
                  <a:gd name="T26" fmla="*/ 26 w 166"/>
                  <a:gd name="T27" fmla="*/ 1 h 45"/>
                  <a:gd name="T28" fmla="*/ 21 w 166"/>
                  <a:gd name="T29" fmla="*/ 1 h 45"/>
                  <a:gd name="T30" fmla="*/ 16 w 166"/>
                  <a:gd name="T31" fmla="*/ 0 h 45"/>
                  <a:gd name="T32" fmla="*/ 11 w 166"/>
                  <a:gd name="T33" fmla="*/ 0 h 45"/>
                  <a:gd name="T34" fmla="*/ 8 w 166"/>
                  <a:gd name="T35" fmla="*/ 1 h 45"/>
                  <a:gd name="T36" fmla="*/ 6 w 166"/>
                  <a:gd name="T37" fmla="*/ 1 h 45"/>
                  <a:gd name="T38" fmla="*/ 4 w 166"/>
                  <a:gd name="T39" fmla="*/ 2 h 45"/>
                  <a:gd name="T40" fmla="*/ 3 w 166"/>
                  <a:gd name="T41" fmla="*/ 2 h 45"/>
                  <a:gd name="T42" fmla="*/ 2 w 166"/>
                  <a:gd name="T43" fmla="*/ 3 h 45"/>
                  <a:gd name="T44" fmla="*/ 1 w 166"/>
                  <a:gd name="T45" fmla="*/ 4 h 45"/>
                  <a:gd name="T46" fmla="*/ 0 w 166"/>
                  <a:gd name="T47" fmla="*/ 6 h 45"/>
                  <a:gd name="T48" fmla="*/ 0 w 166"/>
                  <a:gd name="T49" fmla="*/ 7 h 45"/>
                  <a:gd name="T50" fmla="*/ 0 w 166"/>
                  <a:gd name="T51" fmla="*/ 9 h 45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66" h="45">
                    <a:moveTo>
                      <a:pt x="0" y="27"/>
                    </a:moveTo>
                    <a:lnTo>
                      <a:pt x="0" y="29"/>
                    </a:lnTo>
                    <a:lnTo>
                      <a:pt x="3" y="31"/>
                    </a:lnTo>
                    <a:lnTo>
                      <a:pt x="8" y="33"/>
                    </a:lnTo>
                    <a:lnTo>
                      <a:pt x="13" y="35"/>
                    </a:lnTo>
                    <a:lnTo>
                      <a:pt x="27" y="38"/>
                    </a:lnTo>
                    <a:lnTo>
                      <a:pt x="44" y="41"/>
                    </a:lnTo>
                    <a:lnTo>
                      <a:pt x="75" y="44"/>
                    </a:lnTo>
                    <a:lnTo>
                      <a:pt x="92" y="45"/>
                    </a:lnTo>
                    <a:lnTo>
                      <a:pt x="166" y="27"/>
                    </a:lnTo>
                    <a:lnTo>
                      <a:pt x="157" y="25"/>
                    </a:lnTo>
                    <a:lnTo>
                      <a:pt x="137" y="19"/>
                    </a:lnTo>
                    <a:lnTo>
                      <a:pt x="110" y="11"/>
                    </a:lnTo>
                    <a:lnTo>
                      <a:pt x="80" y="4"/>
                    </a:lnTo>
                    <a:lnTo>
                      <a:pt x="65" y="2"/>
                    </a:lnTo>
                    <a:lnTo>
                      <a:pt x="50" y="1"/>
                    </a:lnTo>
                    <a:lnTo>
                      <a:pt x="36" y="0"/>
                    </a:lnTo>
                    <a:lnTo>
                      <a:pt x="24" y="2"/>
                    </a:lnTo>
                    <a:lnTo>
                      <a:pt x="19" y="3"/>
                    </a:lnTo>
                    <a:lnTo>
                      <a:pt x="14" y="5"/>
                    </a:lnTo>
                    <a:lnTo>
                      <a:pt x="10" y="7"/>
                    </a:lnTo>
                    <a:lnTo>
                      <a:pt x="7" y="10"/>
                    </a:lnTo>
                    <a:lnTo>
                      <a:pt x="3" y="13"/>
                    </a:lnTo>
                    <a:lnTo>
                      <a:pt x="1" y="17"/>
                    </a:lnTo>
                    <a:lnTo>
                      <a:pt x="0" y="22"/>
                    </a:lnTo>
                    <a:lnTo>
                      <a:pt x="0" y="2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016" name="Freeform 412"/>
              <p:cNvSpPr>
                <a:spLocks/>
              </p:cNvSpPr>
              <p:nvPr/>
            </p:nvSpPr>
            <p:spPr bwMode="auto">
              <a:xfrm>
                <a:off x="1488" y="1422"/>
                <a:ext cx="11" cy="8"/>
              </a:xfrm>
              <a:custGeom>
                <a:avLst/>
                <a:gdLst>
                  <a:gd name="T0" fmla="*/ 0 w 33"/>
                  <a:gd name="T1" fmla="*/ 0 h 25"/>
                  <a:gd name="T2" fmla="*/ 0 w 33"/>
                  <a:gd name="T3" fmla="*/ 3 h 25"/>
                  <a:gd name="T4" fmla="*/ 1 w 33"/>
                  <a:gd name="T5" fmla="*/ 5 h 25"/>
                  <a:gd name="T6" fmla="*/ 2 w 33"/>
                  <a:gd name="T7" fmla="*/ 6 h 25"/>
                  <a:gd name="T8" fmla="*/ 4 w 33"/>
                  <a:gd name="T9" fmla="*/ 7 h 25"/>
                  <a:gd name="T10" fmla="*/ 5 w 33"/>
                  <a:gd name="T11" fmla="*/ 8 h 25"/>
                  <a:gd name="T12" fmla="*/ 7 w 33"/>
                  <a:gd name="T13" fmla="*/ 8 h 25"/>
                  <a:gd name="T14" fmla="*/ 9 w 33"/>
                  <a:gd name="T15" fmla="*/ 8 h 25"/>
                  <a:gd name="T16" fmla="*/ 11 w 33"/>
                  <a:gd name="T17" fmla="*/ 8 h 25"/>
                  <a:gd name="T18" fmla="*/ 11 w 33"/>
                  <a:gd name="T19" fmla="*/ 0 h 25"/>
                  <a:gd name="T20" fmla="*/ 8 w 33"/>
                  <a:gd name="T21" fmla="*/ 0 h 25"/>
                  <a:gd name="T22" fmla="*/ 5 w 33"/>
                  <a:gd name="T23" fmla="*/ 0 h 25"/>
                  <a:gd name="T24" fmla="*/ 3 w 33"/>
                  <a:gd name="T25" fmla="*/ 0 h 25"/>
                  <a:gd name="T26" fmla="*/ 0 w 33"/>
                  <a:gd name="T27" fmla="*/ 0 h 2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33" h="25">
                    <a:moveTo>
                      <a:pt x="0" y="0"/>
                    </a:moveTo>
                    <a:lnTo>
                      <a:pt x="0" y="9"/>
                    </a:lnTo>
                    <a:lnTo>
                      <a:pt x="3" y="15"/>
                    </a:lnTo>
                    <a:lnTo>
                      <a:pt x="6" y="20"/>
                    </a:lnTo>
                    <a:lnTo>
                      <a:pt x="11" y="22"/>
                    </a:lnTo>
                    <a:lnTo>
                      <a:pt x="16" y="24"/>
                    </a:lnTo>
                    <a:lnTo>
                      <a:pt x="22" y="25"/>
                    </a:lnTo>
                    <a:lnTo>
                      <a:pt x="27" y="25"/>
                    </a:lnTo>
                    <a:lnTo>
                      <a:pt x="33" y="25"/>
                    </a:lnTo>
                    <a:lnTo>
                      <a:pt x="33" y="0"/>
                    </a:lnTo>
                    <a:lnTo>
                      <a:pt x="24" y="0"/>
                    </a:lnTo>
                    <a:lnTo>
                      <a:pt x="16" y="0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017" name="Freeform 413"/>
              <p:cNvSpPr>
                <a:spLocks/>
              </p:cNvSpPr>
              <p:nvPr/>
            </p:nvSpPr>
            <p:spPr bwMode="auto">
              <a:xfrm>
                <a:off x="1605" y="1729"/>
                <a:ext cx="16" cy="20"/>
              </a:xfrm>
              <a:custGeom>
                <a:avLst/>
                <a:gdLst>
                  <a:gd name="T0" fmla="*/ 0 w 48"/>
                  <a:gd name="T1" fmla="*/ 20 h 62"/>
                  <a:gd name="T2" fmla="*/ 4 w 48"/>
                  <a:gd name="T3" fmla="*/ 18 h 62"/>
                  <a:gd name="T4" fmla="*/ 7 w 48"/>
                  <a:gd name="T5" fmla="*/ 16 h 62"/>
                  <a:gd name="T6" fmla="*/ 10 w 48"/>
                  <a:gd name="T7" fmla="*/ 14 h 62"/>
                  <a:gd name="T8" fmla="*/ 12 w 48"/>
                  <a:gd name="T9" fmla="*/ 12 h 62"/>
                  <a:gd name="T10" fmla="*/ 14 w 48"/>
                  <a:gd name="T11" fmla="*/ 9 h 62"/>
                  <a:gd name="T12" fmla="*/ 15 w 48"/>
                  <a:gd name="T13" fmla="*/ 6 h 62"/>
                  <a:gd name="T14" fmla="*/ 16 w 48"/>
                  <a:gd name="T15" fmla="*/ 3 h 62"/>
                  <a:gd name="T16" fmla="*/ 16 w 48"/>
                  <a:gd name="T17" fmla="*/ 0 h 62"/>
                  <a:gd name="T18" fmla="*/ 13 w 48"/>
                  <a:gd name="T19" fmla="*/ 1 h 62"/>
                  <a:gd name="T20" fmla="*/ 11 w 48"/>
                  <a:gd name="T21" fmla="*/ 2 h 62"/>
                  <a:gd name="T22" fmla="*/ 8 w 48"/>
                  <a:gd name="T23" fmla="*/ 3 h 62"/>
                  <a:gd name="T24" fmla="*/ 6 w 48"/>
                  <a:gd name="T25" fmla="*/ 5 h 62"/>
                  <a:gd name="T26" fmla="*/ 3 w 48"/>
                  <a:gd name="T27" fmla="*/ 7 h 62"/>
                  <a:gd name="T28" fmla="*/ 2 w 48"/>
                  <a:gd name="T29" fmla="*/ 9 h 62"/>
                  <a:gd name="T30" fmla="*/ 1 w 48"/>
                  <a:gd name="T31" fmla="*/ 10 h 62"/>
                  <a:gd name="T32" fmla="*/ 1 w 48"/>
                  <a:gd name="T33" fmla="*/ 11 h 62"/>
                  <a:gd name="T34" fmla="*/ 0 w 48"/>
                  <a:gd name="T35" fmla="*/ 13 h 62"/>
                  <a:gd name="T36" fmla="*/ 0 w 48"/>
                  <a:gd name="T37" fmla="*/ 14 h 62"/>
                  <a:gd name="T38" fmla="*/ 0 w 48"/>
                  <a:gd name="T39" fmla="*/ 17 h 62"/>
                  <a:gd name="T40" fmla="*/ 0 w 48"/>
                  <a:gd name="T41" fmla="*/ 20 h 62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48" h="62">
                    <a:moveTo>
                      <a:pt x="0" y="62"/>
                    </a:moveTo>
                    <a:lnTo>
                      <a:pt x="12" y="56"/>
                    </a:lnTo>
                    <a:lnTo>
                      <a:pt x="22" y="50"/>
                    </a:lnTo>
                    <a:lnTo>
                      <a:pt x="30" y="43"/>
                    </a:lnTo>
                    <a:lnTo>
                      <a:pt x="37" y="36"/>
                    </a:lnTo>
                    <a:lnTo>
                      <a:pt x="41" y="28"/>
                    </a:lnTo>
                    <a:lnTo>
                      <a:pt x="44" y="19"/>
                    </a:lnTo>
                    <a:lnTo>
                      <a:pt x="47" y="9"/>
                    </a:lnTo>
                    <a:lnTo>
                      <a:pt x="48" y="0"/>
                    </a:lnTo>
                    <a:lnTo>
                      <a:pt x="40" y="3"/>
                    </a:lnTo>
                    <a:lnTo>
                      <a:pt x="32" y="6"/>
                    </a:lnTo>
                    <a:lnTo>
                      <a:pt x="23" y="10"/>
                    </a:lnTo>
                    <a:lnTo>
                      <a:pt x="17" y="15"/>
                    </a:lnTo>
                    <a:lnTo>
                      <a:pt x="10" y="21"/>
                    </a:lnTo>
                    <a:lnTo>
                      <a:pt x="6" y="27"/>
                    </a:lnTo>
                    <a:lnTo>
                      <a:pt x="4" y="31"/>
                    </a:lnTo>
                    <a:lnTo>
                      <a:pt x="3" y="35"/>
                    </a:lnTo>
                    <a:lnTo>
                      <a:pt x="1" y="39"/>
                    </a:lnTo>
                    <a:lnTo>
                      <a:pt x="0" y="43"/>
                    </a:lnTo>
                    <a:lnTo>
                      <a:pt x="0" y="52"/>
                    </a:lnTo>
                    <a:lnTo>
                      <a:pt x="0" y="6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018" name="Freeform 414"/>
              <p:cNvSpPr>
                <a:spLocks/>
              </p:cNvSpPr>
              <p:nvPr/>
            </p:nvSpPr>
            <p:spPr bwMode="auto">
              <a:xfrm>
                <a:off x="1554" y="1729"/>
                <a:ext cx="36" cy="20"/>
              </a:xfrm>
              <a:custGeom>
                <a:avLst/>
                <a:gdLst>
                  <a:gd name="T0" fmla="*/ 15 w 113"/>
                  <a:gd name="T1" fmla="*/ 0 h 62"/>
                  <a:gd name="T2" fmla="*/ 11 w 113"/>
                  <a:gd name="T3" fmla="*/ 2 h 62"/>
                  <a:gd name="T4" fmla="*/ 7 w 113"/>
                  <a:gd name="T5" fmla="*/ 5 h 62"/>
                  <a:gd name="T6" fmla="*/ 4 w 113"/>
                  <a:gd name="T7" fmla="*/ 9 h 62"/>
                  <a:gd name="T8" fmla="*/ 0 w 113"/>
                  <a:gd name="T9" fmla="*/ 12 h 62"/>
                  <a:gd name="T10" fmla="*/ 7 w 113"/>
                  <a:gd name="T11" fmla="*/ 15 h 62"/>
                  <a:gd name="T12" fmla="*/ 13 w 113"/>
                  <a:gd name="T13" fmla="*/ 17 h 62"/>
                  <a:gd name="T14" fmla="*/ 16 w 113"/>
                  <a:gd name="T15" fmla="*/ 18 h 62"/>
                  <a:gd name="T16" fmla="*/ 20 w 113"/>
                  <a:gd name="T17" fmla="*/ 19 h 62"/>
                  <a:gd name="T18" fmla="*/ 23 w 113"/>
                  <a:gd name="T19" fmla="*/ 20 h 62"/>
                  <a:gd name="T20" fmla="*/ 28 w 113"/>
                  <a:gd name="T21" fmla="*/ 20 h 62"/>
                  <a:gd name="T22" fmla="*/ 31 w 113"/>
                  <a:gd name="T23" fmla="*/ 20 h 62"/>
                  <a:gd name="T24" fmla="*/ 34 w 113"/>
                  <a:gd name="T25" fmla="*/ 19 h 62"/>
                  <a:gd name="T26" fmla="*/ 35 w 113"/>
                  <a:gd name="T27" fmla="*/ 18 h 62"/>
                  <a:gd name="T28" fmla="*/ 35 w 113"/>
                  <a:gd name="T29" fmla="*/ 17 h 62"/>
                  <a:gd name="T30" fmla="*/ 36 w 113"/>
                  <a:gd name="T31" fmla="*/ 17 h 62"/>
                  <a:gd name="T32" fmla="*/ 36 w 113"/>
                  <a:gd name="T33" fmla="*/ 16 h 62"/>
                  <a:gd name="T34" fmla="*/ 29 w 113"/>
                  <a:gd name="T35" fmla="*/ 13 h 62"/>
                  <a:gd name="T36" fmla="*/ 22 w 113"/>
                  <a:gd name="T37" fmla="*/ 10 h 62"/>
                  <a:gd name="T38" fmla="*/ 21 w 113"/>
                  <a:gd name="T39" fmla="*/ 9 h 62"/>
                  <a:gd name="T40" fmla="*/ 19 w 113"/>
                  <a:gd name="T41" fmla="*/ 8 h 62"/>
                  <a:gd name="T42" fmla="*/ 18 w 113"/>
                  <a:gd name="T43" fmla="*/ 7 h 62"/>
                  <a:gd name="T44" fmla="*/ 17 w 113"/>
                  <a:gd name="T45" fmla="*/ 6 h 62"/>
                  <a:gd name="T46" fmla="*/ 16 w 113"/>
                  <a:gd name="T47" fmla="*/ 5 h 62"/>
                  <a:gd name="T48" fmla="*/ 15 w 113"/>
                  <a:gd name="T49" fmla="*/ 3 h 62"/>
                  <a:gd name="T50" fmla="*/ 15 w 113"/>
                  <a:gd name="T51" fmla="*/ 2 h 62"/>
                  <a:gd name="T52" fmla="*/ 15 w 113"/>
                  <a:gd name="T53" fmla="*/ 0 h 62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113" h="62">
                    <a:moveTo>
                      <a:pt x="47" y="0"/>
                    </a:moveTo>
                    <a:lnTo>
                      <a:pt x="36" y="7"/>
                    </a:lnTo>
                    <a:lnTo>
                      <a:pt x="23" y="17"/>
                    </a:lnTo>
                    <a:lnTo>
                      <a:pt x="11" y="27"/>
                    </a:lnTo>
                    <a:lnTo>
                      <a:pt x="0" y="37"/>
                    </a:lnTo>
                    <a:lnTo>
                      <a:pt x="22" y="46"/>
                    </a:lnTo>
                    <a:lnTo>
                      <a:pt x="41" y="54"/>
                    </a:lnTo>
                    <a:lnTo>
                      <a:pt x="51" y="57"/>
                    </a:lnTo>
                    <a:lnTo>
                      <a:pt x="62" y="59"/>
                    </a:lnTo>
                    <a:lnTo>
                      <a:pt x="73" y="61"/>
                    </a:lnTo>
                    <a:lnTo>
                      <a:pt x="87" y="62"/>
                    </a:lnTo>
                    <a:lnTo>
                      <a:pt x="97" y="61"/>
                    </a:lnTo>
                    <a:lnTo>
                      <a:pt x="106" y="58"/>
                    </a:lnTo>
                    <a:lnTo>
                      <a:pt x="109" y="56"/>
                    </a:lnTo>
                    <a:lnTo>
                      <a:pt x="111" y="54"/>
                    </a:lnTo>
                    <a:lnTo>
                      <a:pt x="113" y="52"/>
                    </a:lnTo>
                    <a:lnTo>
                      <a:pt x="113" y="49"/>
                    </a:lnTo>
                    <a:lnTo>
                      <a:pt x="91" y="41"/>
                    </a:lnTo>
                    <a:lnTo>
                      <a:pt x="70" y="32"/>
                    </a:lnTo>
                    <a:lnTo>
                      <a:pt x="65" y="29"/>
                    </a:lnTo>
                    <a:lnTo>
                      <a:pt x="61" y="26"/>
                    </a:lnTo>
                    <a:lnTo>
                      <a:pt x="57" y="23"/>
                    </a:lnTo>
                    <a:lnTo>
                      <a:pt x="54" y="20"/>
                    </a:lnTo>
                    <a:lnTo>
                      <a:pt x="51" y="16"/>
                    </a:lnTo>
                    <a:lnTo>
                      <a:pt x="48" y="10"/>
                    </a:lnTo>
                    <a:lnTo>
                      <a:pt x="47" y="5"/>
                    </a:lnTo>
                    <a:lnTo>
                      <a:pt x="47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019" name="Freeform 415"/>
              <p:cNvSpPr>
                <a:spLocks/>
              </p:cNvSpPr>
              <p:nvPr/>
            </p:nvSpPr>
            <p:spPr bwMode="auto">
              <a:xfrm>
                <a:off x="1748" y="1188"/>
                <a:ext cx="29" cy="15"/>
              </a:xfrm>
              <a:custGeom>
                <a:avLst/>
                <a:gdLst>
                  <a:gd name="T0" fmla="*/ 0 w 93"/>
                  <a:gd name="T1" fmla="*/ 0 h 50"/>
                  <a:gd name="T2" fmla="*/ 5 w 93"/>
                  <a:gd name="T3" fmla="*/ 0 h 50"/>
                  <a:gd name="T4" fmla="*/ 9 w 93"/>
                  <a:gd name="T5" fmla="*/ 0 h 50"/>
                  <a:gd name="T6" fmla="*/ 14 w 93"/>
                  <a:gd name="T7" fmla="*/ 1 h 50"/>
                  <a:gd name="T8" fmla="*/ 18 w 93"/>
                  <a:gd name="T9" fmla="*/ 2 h 50"/>
                  <a:gd name="T10" fmla="*/ 20 w 93"/>
                  <a:gd name="T11" fmla="*/ 2 h 50"/>
                  <a:gd name="T12" fmla="*/ 22 w 93"/>
                  <a:gd name="T13" fmla="*/ 3 h 50"/>
                  <a:gd name="T14" fmla="*/ 23 w 93"/>
                  <a:gd name="T15" fmla="*/ 4 h 50"/>
                  <a:gd name="T16" fmla="*/ 25 w 93"/>
                  <a:gd name="T17" fmla="*/ 5 h 50"/>
                  <a:gd name="T18" fmla="*/ 27 w 93"/>
                  <a:gd name="T19" fmla="*/ 6 h 50"/>
                  <a:gd name="T20" fmla="*/ 28 w 93"/>
                  <a:gd name="T21" fmla="*/ 8 h 50"/>
                  <a:gd name="T22" fmla="*/ 28 w 93"/>
                  <a:gd name="T23" fmla="*/ 9 h 50"/>
                  <a:gd name="T24" fmla="*/ 29 w 93"/>
                  <a:gd name="T25" fmla="*/ 11 h 50"/>
                  <a:gd name="T26" fmla="*/ 25 w 93"/>
                  <a:gd name="T27" fmla="*/ 11 h 50"/>
                  <a:gd name="T28" fmla="*/ 21 w 93"/>
                  <a:gd name="T29" fmla="*/ 12 h 50"/>
                  <a:gd name="T30" fmla="*/ 19 w 93"/>
                  <a:gd name="T31" fmla="*/ 12 h 50"/>
                  <a:gd name="T32" fmla="*/ 16 w 93"/>
                  <a:gd name="T33" fmla="*/ 13 h 50"/>
                  <a:gd name="T34" fmla="*/ 13 w 93"/>
                  <a:gd name="T35" fmla="*/ 14 h 50"/>
                  <a:gd name="T36" fmla="*/ 10 w 93"/>
                  <a:gd name="T37" fmla="*/ 15 h 50"/>
                  <a:gd name="T38" fmla="*/ 9 w 93"/>
                  <a:gd name="T39" fmla="*/ 15 h 50"/>
                  <a:gd name="T40" fmla="*/ 9 w 93"/>
                  <a:gd name="T41" fmla="*/ 14 h 50"/>
                  <a:gd name="T42" fmla="*/ 8 w 93"/>
                  <a:gd name="T43" fmla="*/ 14 h 50"/>
                  <a:gd name="T44" fmla="*/ 8 w 93"/>
                  <a:gd name="T45" fmla="*/ 14 h 50"/>
                  <a:gd name="T46" fmla="*/ 7 w 93"/>
                  <a:gd name="T47" fmla="*/ 12 h 50"/>
                  <a:gd name="T48" fmla="*/ 7 w 93"/>
                  <a:gd name="T49" fmla="*/ 11 h 50"/>
                  <a:gd name="T50" fmla="*/ 7 w 93"/>
                  <a:gd name="T51" fmla="*/ 9 h 50"/>
                  <a:gd name="T52" fmla="*/ 7 w 93"/>
                  <a:gd name="T53" fmla="*/ 8 h 50"/>
                  <a:gd name="T54" fmla="*/ 7 w 93"/>
                  <a:gd name="T55" fmla="*/ 7 h 50"/>
                  <a:gd name="T56" fmla="*/ 8 w 93"/>
                  <a:gd name="T57" fmla="*/ 6 h 50"/>
                  <a:gd name="T58" fmla="*/ 0 w 93"/>
                  <a:gd name="T59" fmla="*/ 6 h 50"/>
                  <a:gd name="T60" fmla="*/ 0 w 93"/>
                  <a:gd name="T61" fmla="*/ 0 h 50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93" h="50">
                    <a:moveTo>
                      <a:pt x="0" y="0"/>
                    </a:moveTo>
                    <a:lnTo>
                      <a:pt x="15" y="0"/>
                    </a:lnTo>
                    <a:lnTo>
                      <a:pt x="30" y="1"/>
                    </a:lnTo>
                    <a:lnTo>
                      <a:pt x="45" y="2"/>
                    </a:lnTo>
                    <a:lnTo>
                      <a:pt x="59" y="5"/>
                    </a:lnTo>
                    <a:lnTo>
                      <a:pt x="64" y="7"/>
                    </a:lnTo>
                    <a:lnTo>
                      <a:pt x="71" y="9"/>
                    </a:lnTo>
                    <a:lnTo>
                      <a:pt x="75" y="12"/>
                    </a:lnTo>
                    <a:lnTo>
                      <a:pt x="81" y="16"/>
                    </a:lnTo>
                    <a:lnTo>
                      <a:pt x="85" y="20"/>
                    </a:lnTo>
                    <a:lnTo>
                      <a:pt x="89" y="25"/>
                    </a:lnTo>
                    <a:lnTo>
                      <a:pt x="91" y="30"/>
                    </a:lnTo>
                    <a:lnTo>
                      <a:pt x="93" y="37"/>
                    </a:lnTo>
                    <a:lnTo>
                      <a:pt x="79" y="37"/>
                    </a:lnTo>
                    <a:lnTo>
                      <a:pt x="68" y="39"/>
                    </a:lnTo>
                    <a:lnTo>
                      <a:pt x="60" y="41"/>
                    </a:lnTo>
                    <a:lnTo>
                      <a:pt x="52" y="43"/>
                    </a:lnTo>
                    <a:lnTo>
                      <a:pt x="42" y="47"/>
                    </a:lnTo>
                    <a:lnTo>
                      <a:pt x="33" y="50"/>
                    </a:lnTo>
                    <a:lnTo>
                      <a:pt x="30" y="50"/>
                    </a:lnTo>
                    <a:lnTo>
                      <a:pt x="28" y="48"/>
                    </a:lnTo>
                    <a:lnTo>
                      <a:pt x="26" y="47"/>
                    </a:lnTo>
                    <a:lnTo>
                      <a:pt x="25" y="45"/>
                    </a:lnTo>
                    <a:lnTo>
                      <a:pt x="23" y="41"/>
                    </a:lnTo>
                    <a:lnTo>
                      <a:pt x="22" y="36"/>
                    </a:lnTo>
                    <a:lnTo>
                      <a:pt x="22" y="31"/>
                    </a:lnTo>
                    <a:lnTo>
                      <a:pt x="23" y="26"/>
                    </a:lnTo>
                    <a:lnTo>
                      <a:pt x="24" y="22"/>
                    </a:lnTo>
                    <a:lnTo>
                      <a:pt x="26" y="19"/>
                    </a:lnTo>
                    <a:lnTo>
                      <a:pt x="0" y="19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020" name="Freeform 416"/>
              <p:cNvSpPr>
                <a:spLocks/>
              </p:cNvSpPr>
              <p:nvPr/>
            </p:nvSpPr>
            <p:spPr bwMode="auto">
              <a:xfrm>
                <a:off x="1436" y="1246"/>
                <a:ext cx="331" cy="198"/>
              </a:xfrm>
              <a:custGeom>
                <a:avLst/>
                <a:gdLst>
                  <a:gd name="T0" fmla="*/ 6 w 1029"/>
                  <a:gd name="T1" fmla="*/ 37 h 604"/>
                  <a:gd name="T2" fmla="*/ 22 w 1029"/>
                  <a:gd name="T3" fmla="*/ 20 h 604"/>
                  <a:gd name="T4" fmla="*/ 86 w 1029"/>
                  <a:gd name="T5" fmla="*/ 0 h 604"/>
                  <a:gd name="T6" fmla="*/ 66 w 1029"/>
                  <a:gd name="T7" fmla="*/ 15 h 604"/>
                  <a:gd name="T8" fmla="*/ 58 w 1029"/>
                  <a:gd name="T9" fmla="*/ 34 h 604"/>
                  <a:gd name="T10" fmla="*/ 88 w 1029"/>
                  <a:gd name="T11" fmla="*/ 20 h 604"/>
                  <a:gd name="T12" fmla="*/ 128 w 1029"/>
                  <a:gd name="T13" fmla="*/ 5 h 604"/>
                  <a:gd name="T14" fmla="*/ 141 w 1029"/>
                  <a:gd name="T15" fmla="*/ 8 h 604"/>
                  <a:gd name="T16" fmla="*/ 139 w 1029"/>
                  <a:gd name="T17" fmla="*/ 23 h 604"/>
                  <a:gd name="T18" fmla="*/ 187 w 1029"/>
                  <a:gd name="T19" fmla="*/ 26 h 604"/>
                  <a:gd name="T20" fmla="*/ 217 w 1029"/>
                  <a:gd name="T21" fmla="*/ 29 h 604"/>
                  <a:gd name="T22" fmla="*/ 241 w 1029"/>
                  <a:gd name="T23" fmla="*/ 36 h 604"/>
                  <a:gd name="T24" fmla="*/ 241 w 1029"/>
                  <a:gd name="T25" fmla="*/ 44 h 604"/>
                  <a:gd name="T26" fmla="*/ 229 w 1029"/>
                  <a:gd name="T27" fmla="*/ 60 h 604"/>
                  <a:gd name="T28" fmla="*/ 257 w 1029"/>
                  <a:gd name="T29" fmla="*/ 55 h 604"/>
                  <a:gd name="T30" fmla="*/ 279 w 1029"/>
                  <a:gd name="T31" fmla="*/ 63 h 604"/>
                  <a:gd name="T32" fmla="*/ 275 w 1029"/>
                  <a:gd name="T33" fmla="*/ 78 h 604"/>
                  <a:gd name="T34" fmla="*/ 253 w 1029"/>
                  <a:gd name="T35" fmla="*/ 81 h 604"/>
                  <a:gd name="T36" fmla="*/ 276 w 1029"/>
                  <a:gd name="T37" fmla="*/ 93 h 604"/>
                  <a:gd name="T38" fmla="*/ 290 w 1029"/>
                  <a:gd name="T39" fmla="*/ 107 h 604"/>
                  <a:gd name="T40" fmla="*/ 314 w 1029"/>
                  <a:gd name="T41" fmla="*/ 108 h 604"/>
                  <a:gd name="T42" fmla="*/ 331 w 1029"/>
                  <a:gd name="T43" fmla="*/ 115 h 604"/>
                  <a:gd name="T44" fmla="*/ 302 w 1029"/>
                  <a:gd name="T45" fmla="*/ 134 h 604"/>
                  <a:gd name="T46" fmla="*/ 289 w 1029"/>
                  <a:gd name="T47" fmla="*/ 137 h 604"/>
                  <a:gd name="T48" fmla="*/ 281 w 1029"/>
                  <a:gd name="T49" fmla="*/ 145 h 604"/>
                  <a:gd name="T50" fmla="*/ 267 w 1029"/>
                  <a:gd name="T51" fmla="*/ 136 h 604"/>
                  <a:gd name="T52" fmla="*/ 274 w 1029"/>
                  <a:gd name="T53" fmla="*/ 129 h 604"/>
                  <a:gd name="T54" fmla="*/ 255 w 1029"/>
                  <a:gd name="T55" fmla="*/ 124 h 604"/>
                  <a:gd name="T56" fmla="*/ 244 w 1029"/>
                  <a:gd name="T57" fmla="*/ 119 h 604"/>
                  <a:gd name="T58" fmla="*/ 239 w 1029"/>
                  <a:gd name="T59" fmla="*/ 129 h 604"/>
                  <a:gd name="T60" fmla="*/ 240 w 1029"/>
                  <a:gd name="T61" fmla="*/ 146 h 604"/>
                  <a:gd name="T62" fmla="*/ 256 w 1029"/>
                  <a:gd name="T63" fmla="*/ 171 h 604"/>
                  <a:gd name="T64" fmla="*/ 248 w 1029"/>
                  <a:gd name="T65" fmla="*/ 179 h 604"/>
                  <a:gd name="T66" fmla="*/ 228 w 1029"/>
                  <a:gd name="T67" fmla="*/ 182 h 604"/>
                  <a:gd name="T68" fmla="*/ 199 w 1029"/>
                  <a:gd name="T69" fmla="*/ 169 h 604"/>
                  <a:gd name="T70" fmla="*/ 215 w 1029"/>
                  <a:gd name="T71" fmla="*/ 186 h 604"/>
                  <a:gd name="T72" fmla="*/ 214 w 1029"/>
                  <a:gd name="T73" fmla="*/ 198 h 604"/>
                  <a:gd name="T74" fmla="*/ 167 w 1029"/>
                  <a:gd name="T75" fmla="*/ 187 h 604"/>
                  <a:gd name="T76" fmla="*/ 152 w 1029"/>
                  <a:gd name="T77" fmla="*/ 171 h 604"/>
                  <a:gd name="T78" fmla="*/ 132 w 1029"/>
                  <a:gd name="T79" fmla="*/ 155 h 604"/>
                  <a:gd name="T80" fmla="*/ 118 w 1029"/>
                  <a:gd name="T81" fmla="*/ 149 h 604"/>
                  <a:gd name="T82" fmla="*/ 126 w 1029"/>
                  <a:gd name="T83" fmla="*/ 142 h 604"/>
                  <a:gd name="T84" fmla="*/ 148 w 1029"/>
                  <a:gd name="T85" fmla="*/ 131 h 604"/>
                  <a:gd name="T86" fmla="*/ 161 w 1029"/>
                  <a:gd name="T87" fmla="*/ 124 h 604"/>
                  <a:gd name="T88" fmla="*/ 186 w 1029"/>
                  <a:gd name="T89" fmla="*/ 125 h 604"/>
                  <a:gd name="T90" fmla="*/ 198 w 1029"/>
                  <a:gd name="T91" fmla="*/ 129 h 604"/>
                  <a:gd name="T92" fmla="*/ 221 w 1029"/>
                  <a:gd name="T93" fmla="*/ 127 h 604"/>
                  <a:gd name="T94" fmla="*/ 187 w 1029"/>
                  <a:gd name="T95" fmla="*/ 116 h 604"/>
                  <a:gd name="T96" fmla="*/ 174 w 1029"/>
                  <a:gd name="T97" fmla="*/ 118 h 604"/>
                  <a:gd name="T98" fmla="*/ 173 w 1029"/>
                  <a:gd name="T99" fmla="*/ 115 h 604"/>
                  <a:gd name="T100" fmla="*/ 185 w 1029"/>
                  <a:gd name="T101" fmla="*/ 100 h 604"/>
                  <a:gd name="T102" fmla="*/ 185 w 1029"/>
                  <a:gd name="T103" fmla="*/ 90 h 604"/>
                  <a:gd name="T104" fmla="*/ 169 w 1029"/>
                  <a:gd name="T105" fmla="*/ 83 h 604"/>
                  <a:gd name="T106" fmla="*/ 152 w 1029"/>
                  <a:gd name="T107" fmla="*/ 65 h 604"/>
                  <a:gd name="T108" fmla="*/ 140 w 1029"/>
                  <a:gd name="T109" fmla="*/ 55 h 604"/>
                  <a:gd name="T110" fmla="*/ 131 w 1029"/>
                  <a:gd name="T111" fmla="*/ 53 h 604"/>
                  <a:gd name="T112" fmla="*/ 122 w 1029"/>
                  <a:gd name="T113" fmla="*/ 67 h 604"/>
                  <a:gd name="T114" fmla="*/ 67 w 1029"/>
                  <a:gd name="T115" fmla="*/ 57 h 604"/>
                  <a:gd name="T116" fmla="*/ 37 w 1029"/>
                  <a:gd name="T117" fmla="*/ 62 h 604"/>
                  <a:gd name="T118" fmla="*/ 25 w 1029"/>
                  <a:gd name="T119" fmla="*/ 61 h 604"/>
                  <a:gd name="T120" fmla="*/ 5 w 1029"/>
                  <a:gd name="T121" fmla="*/ 59 h 604"/>
                  <a:gd name="T122" fmla="*/ 3 w 1029"/>
                  <a:gd name="T123" fmla="*/ 52 h 604"/>
                  <a:gd name="T124" fmla="*/ 24 w 1029"/>
                  <a:gd name="T125" fmla="*/ 49 h 604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1029" h="604">
                    <a:moveTo>
                      <a:pt x="73" y="129"/>
                    </a:moveTo>
                    <a:lnTo>
                      <a:pt x="34" y="129"/>
                    </a:lnTo>
                    <a:lnTo>
                      <a:pt x="28" y="128"/>
                    </a:lnTo>
                    <a:lnTo>
                      <a:pt x="24" y="125"/>
                    </a:lnTo>
                    <a:lnTo>
                      <a:pt x="22" y="121"/>
                    </a:lnTo>
                    <a:lnTo>
                      <a:pt x="20" y="117"/>
                    </a:lnTo>
                    <a:lnTo>
                      <a:pt x="20" y="112"/>
                    </a:lnTo>
                    <a:lnTo>
                      <a:pt x="22" y="107"/>
                    </a:lnTo>
                    <a:lnTo>
                      <a:pt x="24" y="102"/>
                    </a:lnTo>
                    <a:lnTo>
                      <a:pt x="26" y="97"/>
                    </a:lnTo>
                    <a:lnTo>
                      <a:pt x="34" y="87"/>
                    </a:lnTo>
                    <a:lnTo>
                      <a:pt x="42" y="77"/>
                    </a:lnTo>
                    <a:lnTo>
                      <a:pt x="54" y="69"/>
                    </a:lnTo>
                    <a:lnTo>
                      <a:pt x="67" y="60"/>
                    </a:lnTo>
                    <a:lnTo>
                      <a:pt x="81" y="52"/>
                    </a:lnTo>
                    <a:lnTo>
                      <a:pt x="96" y="45"/>
                    </a:lnTo>
                    <a:lnTo>
                      <a:pt x="128" y="30"/>
                    </a:lnTo>
                    <a:lnTo>
                      <a:pt x="160" y="18"/>
                    </a:lnTo>
                    <a:lnTo>
                      <a:pt x="190" y="8"/>
                    </a:lnTo>
                    <a:lnTo>
                      <a:pt x="213" y="0"/>
                    </a:lnTo>
                    <a:lnTo>
                      <a:pt x="266" y="0"/>
                    </a:lnTo>
                    <a:lnTo>
                      <a:pt x="264" y="7"/>
                    </a:lnTo>
                    <a:lnTo>
                      <a:pt x="260" y="14"/>
                    </a:lnTo>
                    <a:lnTo>
                      <a:pt x="255" y="19"/>
                    </a:lnTo>
                    <a:lnTo>
                      <a:pt x="250" y="24"/>
                    </a:lnTo>
                    <a:lnTo>
                      <a:pt x="236" y="32"/>
                    </a:lnTo>
                    <a:lnTo>
                      <a:pt x="220" y="40"/>
                    </a:lnTo>
                    <a:lnTo>
                      <a:pt x="205" y="47"/>
                    </a:lnTo>
                    <a:lnTo>
                      <a:pt x="192" y="55"/>
                    </a:lnTo>
                    <a:lnTo>
                      <a:pt x="187" y="60"/>
                    </a:lnTo>
                    <a:lnTo>
                      <a:pt x="183" y="66"/>
                    </a:lnTo>
                    <a:lnTo>
                      <a:pt x="181" y="72"/>
                    </a:lnTo>
                    <a:lnTo>
                      <a:pt x="180" y="80"/>
                    </a:lnTo>
                    <a:lnTo>
                      <a:pt x="180" y="95"/>
                    </a:lnTo>
                    <a:lnTo>
                      <a:pt x="180" y="105"/>
                    </a:lnTo>
                    <a:lnTo>
                      <a:pt x="198" y="104"/>
                    </a:lnTo>
                    <a:lnTo>
                      <a:pt x="216" y="101"/>
                    </a:lnTo>
                    <a:lnTo>
                      <a:pt x="233" y="97"/>
                    </a:lnTo>
                    <a:lnTo>
                      <a:pt x="252" y="93"/>
                    </a:lnTo>
                    <a:lnTo>
                      <a:pt x="252" y="82"/>
                    </a:lnTo>
                    <a:lnTo>
                      <a:pt x="252" y="67"/>
                    </a:lnTo>
                    <a:lnTo>
                      <a:pt x="274" y="60"/>
                    </a:lnTo>
                    <a:lnTo>
                      <a:pt x="295" y="51"/>
                    </a:lnTo>
                    <a:lnTo>
                      <a:pt x="316" y="42"/>
                    </a:lnTo>
                    <a:lnTo>
                      <a:pt x="336" y="32"/>
                    </a:lnTo>
                    <a:lnTo>
                      <a:pt x="355" y="24"/>
                    </a:lnTo>
                    <a:lnTo>
                      <a:pt x="376" y="18"/>
                    </a:lnTo>
                    <a:lnTo>
                      <a:pt x="386" y="15"/>
                    </a:lnTo>
                    <a:lnTo>
                      <a:pt x="397" y="14"/>
                    </a:lnTo>
                    <a:lnTo>
                      <a:pt x="408" y="12"/>
                    </a:lnTo>
                    <a:lnTo>
                      <a:pt x="419" y="12"/>
                    </a:lnTo>
                    <a:lnTo>
                      <a:pt x="422" y="12"/>
                    </a:lnTo>
                    <a:lnTo>
                      <a:pt x="426" y="14"/>
                    </a:lnTo>
                    <a:lnTo>
                      <a:pt x="429" y="15"/>
                    </a:lnTo>
                    <a:lnTo>
                      <a:pt x="432" y="18"/>
                    </a:lnTo>
                    <a:lnTo>
                      <a:pt x="438" y="23"/>
                    </a:lnTo>
                    <a:lnTo>
                      <a:pt x="443" y="30"/>
                    </a:lnTo>
                    <a:lnTo>
                      <a:pt x="450" y="44"/>
                    </a:lnTo>
                    <a:lnTo>
                      <a:pt x="452" y="49"/>
                    </a:lnTo>
                    <a:lnTo>
                      <a:pt x="443" y="57"/>
                    </a:lnTo>
                    <a:lnTo>
                      <a:pt x="437" y="64"/>
                    </a:lnTo>
                    <a:lnTo>
                      <a:pt x="434" y="68"/>
                    </a:lnTo>
                    <a:lnTo>
                      <a:pt x="433" y="71"/>
                    </a:lnTo>
                    <a:lnTo>
                      <a:pt x="432" y="75"/>
                    </a:lnTo>
                    <a:lnTo>
                      <a:pt x="432" y="80"/>
                    </a:lnTo>
                    <a:lnTo>
                      <a:pt x="467" y="80"/>
                    </a:lnTo>
                    <a:lnTo>
                      <a:pt x="504" y="80"/>
                    </a:lnTo>
                    <a:lnTo>
                      <a:pt x="536" y="80"/>
                    </a:lnTo>
                    <a:lnTo>
                      <a:pt x="565" y="80"/>
                    </a:lnTo>
                    <a:lnTo>
                      <a:pt x="581" y="80"/>
                    </a:lnTo>
                    <a:lnTo>
                      <a:pt x="601" y="83"/>
                    </a:lnTo>
                    <a:lnTo>
                      <a:pt x="621" y="85"/>
                    </a:lnTo>
                    <a:lnTo>
                      <a:pt x="637" y="86"/>
                    </a:lnTo>
                    <a:lnTo>
                      <a:pt x="648" y="86"/>
                    </a:lnTo>
                    <a:lnTo>
                      <a:pt x="658" y="87"/>
                    </a:lnTo>
                    <a:lnTo>
                      <a:pt x="667" y="88"/>
                    </a:lnTo>
                    <a:lnTo>
                      <a:pt x="675" y="89"/>
                    </a:lnTo>
                    <a:lnTo>
                      <a:pt x="690" y="94"/>
                    </a:lnTo>
                    <a:lnTo>
                      <a:pt x="702" y="99"/>
                    </a:lnTo>
                    <a:lnTo>
                      <a:pt x="715" y="103"/>
                    </a:lnTo>
                    <a:lnTo>
                      <a:pt x="728" y="107"/>
                    </a:lnTo>
                    <a:lnTo>
                      <a:pt x="734" y="109"/>
                    </a:lnTo>
                    <a:lnTo>
                      <a:pt x="742" y="110"/>
                    </a:lnTo>
                    <a:lnTo>
                      <a:pt x="749" y="111"/>
                    </a:lnTo>
                    <a:lnTo>
                      <a:pt x="757" y="111"/>
                    </a:lnTo>
                    <a:lnTo>
                      <a:pt x="753" y="115"/>
                    </a:lnTo>
                    <a:lnTo>
                      <a:pt x="751" y="119"/>
                    </a:lnTo>
                    <a:lnTo>
                      <a:pt x="748" y="122"/>
                    </a:lnTo>
                    <a:lnTo>
                      <a:pt x="747" y="125"/>
                    </a:lnTo>
                    <a:lnTo>
                      <a:pt x="747" y="130"/>
                    </a:lnTo>
                    <a:lnTo>
                      <a:pt x="749" y="134"/>
                    </a:lnTo>
                    <a:lnTo>
                      <a:pt x="752" y="138"/>
                    </a:lnTo>
                    <a:lnTo>
                      <a:pt x="754" y="142"/>
                    </a:lnTo>
                    <a:lnTo>
                      <a:pt x="754" y="145"/>
                    </a:lnTo>
                    <a:lnTo>
                      <a:pt x="754" y="147"/>
                    </a:lnTo>
                    <a:lnTo>
                      <a:pt x="753" y="151"/>
                    </a:lnTo>
                    <a:lnTo>
                      <a:pt x="751" y="154"/>
                    </a:lnTo>
                    <a:lnTo>
                      <a:pt x="711" y="184"/>
                    </a:lnTo>
                    <a:lnTo>
                      <a:pt x="728" y="179"/>
                    </a:lnTo>
                    <a:lnTo>
                      <a:pt x="746" y="172"/>
                    </a:lnTo>
                    <a:lnTo>
                      <a:pt x="764" y="166"/>
                    </a:lnTo>
                    <a:lnTo>
                      <a:pt x="777" y="160"/>
                    </a:lnTo>
                    <a:lnTo>
                      <a:pt x="798" y="160"/>
                    </a:lnTo>
                    <a:lnTo>
                      <a:pt x="797" y="164"/>
                    </a:lnTo>
                    <a:lnTo>
                      <a:pt x="799" y="168"/>
                    </a:lnTo>
                    <a:lnTo>
                      <a:pt x="802" y="172"/>
                    </a:lnTo>
                    <a:lnTo>
                      <a:pt x="807" y="174"/>
                    </a:lnTo>
                    <a:lnTo>
                      <a:pt x="820" y="179"/>
                    </a:lnTo>
                    <a:lnTo>
                      <a:pt x="834" y="183"/>
                    </a:lnTo>
                    <a:lnTo>
                      <a:pt x="848" y="186"/>
                    </a:lnTo>
                    <a:lnTo>
                      <a:pt x="860" y="189"/>
                    </a:lnTo>
                    <a:lnTo>
                      <a:pt x="866" y="191"/>
                    </a:lnTo>
                    <a:lnTo>
                      <a:pt x="869" y="192"/>
                    </a:lnTo>
                    <a:lnTo>
                      <a:pt x="870" y="194"/>
                    </a:lnTo>
                    <a:lnTo>
                      <a:pt x="870" y="196"/>
                    </a:lnTo>
                    <a:lnTo>
                      <a:pt x="864" y="234"/>
                    </a:lnTo>
                    <a:lnTo>
                      <a:pt x="863" y="236"/>
                    </a:lnTo>
                    <a:lnTo>
                      <a:pt x="860" y="238"/>
                    </a:lnTo>
                    <a:lnTo>
                      <a:pt x="856" y="239"/>
                    </a:lnTo>
                    <a:lnTo>
                      <a:pt x="852" y="240"/>
                    </a:lnTo>
                    <a:lnTo>
                      <a:pt x="838" y="242"/>
                    </a:lnTo>
                    <a:lnTo>
                      <a:pt x="824" y="243"/>
                    </a:lnTo>
                    <a:lnTo>
                      <a:pt x="809" y="244"/>
                    </a:lnTo>
                    <a:lnTo>
                      <a:pt x="797" y="246"/>
                    </a:lnTo>
                    <a:lnTo>
                      <a:pt x="791" y="247"/>
                    </a:lnTo>
                    <a:lnTo>
                      <a:pt x="788" y="248"/>
                    </a:lnTo>
                    <a:lnTo>
                      <a:pt x="785" y="250"/>
                    </a:lnTo>
                    <a:lnTo>
                      <a:pt x="784" y="252"/>
                    </a:lnTo>
                    <a:lnTo>
                      <a:pt x="799" y="262"/>
                    </a:lnTo>
                    <a:lnTo>
                      <a:pt x="813" y="269"/>
                    </a:lnTo>
                    <a:lnTo>
                      <a:pt x="827" y="275"/>
                    </a:lnTo>
                    <a:lnTo>
                      <a:pt x="843" y="280"/>
                    </a:lnTo>
                    <a:lnTo>
                      <a:pt x="859" y="284"/>
                    </a:lnTo>
                    <a:lnTo>
                      <a:pt x="877" y="287"/>
                    </a:lnTo>
                    <a:lnTo>
                      <a:pt x="896" y="289"/>
                    </a:lnTo>
                    <a:lnTo>
                      <a:pt x="916" y="289"/>
                    </a:lnTo>
                    <a:lnTo>
                      <a:pt x="915" y="298"/>
                    </a:lnTo>
                    <a:lnTo>
                      <a:pt x="913" y="307"/>
                    </a:lnTo>
                    <a:lnTo>
                      <a:pt x="909" y="317"/>
                    </a:lnTo>
                    <a:lnTo>
                      <a:pt x="903" y="327"/>
                    </a:lnTo>
                    <a:lnTo>
                      <a:pt x="914" y="330"/>
                    </a:lnTo>
                    <a:lnTo>
                      <a:pt x="925" y="333"/>
                    </a:lnTo>
                    <a:lnTo>
                      <a:pt x="937" y="333"/>
                    </a:lnTo>
                    <a:lnTo>
                      <a:pt x="948" y="333"/>
                    </a:lnTo>
                    <a:lnTo>
                      <a:pt x="959" y="332"/>
                    </a:lnTo>
                    <a:lnTo>
                      <a:pt x="969" y="331"/>
                    </a:lnTo>
                    <a:lnTo>
                      <a:pt x="977" y="329"/>
                    </a:lnTo>
                    <a:lnTo>
                      <a:pt x="983" y="327"/>
                    </a:lnTo>
                    <a:lnTo>
                      <a:pt x="987" y="333"/>
                    </a:lnTo>
                    <a:lnTo>
                      <a:pt x="991" y="337"/>
                    </a:lnTo>
                    <a:lnTo>
                      <a:pt x="995" y="341"/>
                    </a:lnTo>
                    <a:lnTo>
                      <a:pt x="1002" y="343"/>
                    </a:lnTo>
                    <a:lnTo>
                      <a:pt x="1015" y="347"/>
                    </a:lnTo>
                    <a:lnTo>
                      <a:pt x="1029" y="351"/>
                    </a:lnTo>
                    <a:lnTo>
                      <a:pt x="1012" y="360"/>
                    </a:lnTo>
                    <a:lnTo>
                      <a:pt x="997" y="371"/>
                    </a:lnTo>
                    <a:lnTo>
                      <a:pt x="983" y="382"/>
                    </a:lnTo>
                    <a:lnTo>
                      <a:pt x="971" y="391"/>
                    </a:lnTo>
                    <a:lnTo>
                      <a:pt x="959" y="400"/>
                    </a:lnTo>
                    <a:lnTo>
                      <a:pt x="947" y="406"/>
                    </a:lnTo>
                    <a:lnTo>
                      <a:pt x="939" y="409"/>
                    </a:lnTo>
                    <a:lnTo>
                      <a:pt x="933" y="411"/>
                    </a:lnTo>
                    <a:lnTo>
                      <a:pt x="925" y="412"/>
                    </a:lnTo>
                    <a:lnTo>
                      <a:pt x="916" y="412"/>
                    </a:lnTo>
                    <a:lnTo>
                      <a:pt x="911" y="413"/>
                    </a:lnTo>
                    <a:lnTo>
                      <a:pt x="907" y="414"/>
                    </a:lnTo>
                    <a:lnTo>
                      <a:pt x="902" y="415"/>
                    </a:lnTo>
                    <a:lnTo>
                      <a:pt x="899" y="417"/>
                    </a:lnTo>
                    <a:lnTo>
                      <a:pt x="893" y="422"/>
                    </a:lnTo>
                    <a:lnTo>
                      <a:pt x="889" y="428"/>
                    </a:lnTo>
                    <a:lnTo>
                      <a:pt x="885" y="434"/>
                    </a:lnTo>
                    <a:lnTo>
                      <a:pt x="881" y="439"/>
                    </a:lnTo>
                    <a:lnTo>
                      <a:pt x="879" y="441"/>
                    </a:lnTo>
                    <a:lnTo>
                      <a:pt x="877" y="442"/>
                    </a:lnTo>
                    <a:lnTo>
                      <a:pt x="874" y="443"/>
                    </a:lnTo>
                    <a:lnTo>
                      <a:pt x="870" y="444"/>
                    </a:lnTo>
                    <a:lnTo>
                      <a:pt x="865" y="442"/>
                    </a:lnTo>
                    <a:lnTo>
                      <a:pt x="857" y="439"/>
                    </a:lnTo>
                    <a:lnTo>
                      <a:pt x="849" y="435"/>
                    </a:lnTo>
                    <a:lnTo>
                      <a:pt x="842" y="429"/>
                    </a:lnTo>
                    <a:lnTo>
                      <a:pt x="835" y="422"/>
                    </a:lnTo>
                    <a:lnTo>
                      <a:pt x="830" y="414"/>
                    </a:lnTo>
                    <a:lnTo>
                      <a:pt x="827" y="411"/>
                    </a:lnTo>
                    <a:lnTo>
                      <a:pt x="825" y="407"/>
                    </a:lnTo>
                    <a:lnTo>
                      <a:pt x="824" y="404"/>
                    </a:lnTo>
                    <a:lnTo>
                      <a:pt x="824" y="400"/>
                    </a:lnTo>
                    <a:lnTo>
                      <a:pt x="840" y="400"/>
                    </a:lnTo>
                    <a:lnTo>
                      <a:pt x="851" y="400"/>
                    </a:lnTo>
                    <a:lnTo>
                      <a:pt x="851" y="393"/>
                    </a:lnTo>
                    <a:lnTo>
                      <a:pt x="851" y="382"/>
                    </a:lnTo>
                    <a:lnTo>
                      <a:pt x="837" y="382"/>
                    </a:lnTo>
                    <a:lnTo>
                      <a:pt x="827" y="382"/>
                    </a:lnTo>
                    <a:lnTo>
                      <a:pt x="816" y="382"/>
                    </a:lnTo>
                    <a:lnTo>
                      <a:pt x="804" y="382"/>
                    </a:lnTo>
                    <a:lnTo>
                      <a:pt x="798" y="381"/>
                    </a:lnTo>
                    <a:lnTo>
                      <a:pt x="792" y="379"/>
                    </a:lnTo>
                    <a:lnTo>
                      <a:pt x="788" y="376"/>
                    </a:lnTo>
                    <a:lnTo>
                      <a:pt x="784" y="373"/>
                    </a:lnTo>
                    <a:lnTo>
                      <a:pt x="780" y="369"/>
                    </a:lnTo>
                    <a:lnTo>
                      <a:pt x="776" y="366"/>
                    </a:lnTo>
                    <a:lnTo>
                      <a:pt x="770" y="364"/>
                    </a:lnTo>
                    <a:lnTo>
                      <a:pt x="764" y="363"/>
                    </a:lnTo>
                    <a:lnTo>
                      <a:pt x="759" y="364"/>
                    </a:lnTo>
                    <a:lnTo>
                      <a:pt x="755" y="366"/>
                    </a:lnTo>
                    <a:lnTo>
                      <a:pt x="752" y="369"/>
                    </a:lnTo>
                    <a:lnTo>
                      <a:pt x="749" y="374"/>
                    </a:lnTo>
                    <a:lnTo>
                      <a:pt x="747" y="379"/>
                    </a:lnTo>
                    <a:lnTo>
                      <a:pt x="745" y="384"/>
                    </a:lnTo>
                    <a:lnTo>
                      <a:pt x="744" y="389"/>
                    </a:lnTo>
                    <a:lnTo>
                      <a:pt x="744" y="394"/>
                    </a:lnTo>
                    <a:lnTo>
                      <a:pt x="711" y="394"/>
                    </a:lnTo>
                    <a:lnTo>
                      <a:pt x="711" y="412"/>
                    </a:lnTo>
                    <a:lnTo>
                      <a:pt x="715" y="414"/>
                    </a:lnTo>
                    <a:lnTo>
                      <a:pt x="720" y="418"/>
                    </a:lnTo>
                    <a:lnTo>
                      <a:pt x="726" y="423"/>
                    </a:lnTo>
                    <a:lnTo>
                      <a:pt x="733" y="430"/>
                    </a:lnTo>
                    <a:lnTo>
                      <a:pt x="747" y="445"/>
                    </a:lnTo>
                    <a:lnTo>
                      <a:pt x="762" y="462"/>
                    </a:lnTo>
                    <a:lnTo>
                      <a:pt x="775" y="478"/>
                    </a:lnTo>
                    <a:lnTo>
                      <a:pt x="787" y="494"/>
                    </a:lnTo>
                    <a:lnTo>
                      <a:pt x="795" y="505"/>
                    </a:lnTo>
                    <a:lnTo>
                      <a:pt x="798" y="511"/>
                    </a:lnTo>
                    <a:lnTo>
                      <a:pt x="797" y="517"/>
                    </a:lnTo>
                    <a:lnTo>
                      <a:pt x="795" y="523"/>
                    </a:lnTo>
                    <a:lnTo>
                      <a:pt x="795" y="527"/>
                    </a:lnTo>
                    <a:lnTo>
                      <a:pt x="795" y="530"/>
                    </a:lnTo>
                    <a:lnTo>
                      <a:pt x="796" y="533"/>
                    </a:lnTo>
                    <a:lnTo>
                      <a:pt x="798" y="535"/>
                    </a:lnTo>
                    <a:lnTo>
                      <a:pt x="788" y="539"/>
                    </a:lnTo>
                    <a:lnTo>
                      <a:pt x="779" y="543"/>
                    </a:lnTo>
                    <a:lnTo>
                      <a:pt x="771" y="547"/>
                    </a:lnTo>
                    <a:lnTo>
                      <a:pt x="765" y="551"/>
                    </a:lnTo>
                    <a:lnTo>
                      <a:pt x="758" y="554"/>
                    </a:lnTo>
                    <a:lnTo>
                      <a:pt x="752" y="558"/>
                    </a:lnTo>
                    <a:lnTo>
                      <a:pt x="745" y="560"/>
                    </a:lnTo>
                    <a:lnTo>
                      <a:pt x="737" y="560"/>
                    </a:lnTo>
                    <a:lnTo>
                      <a:pt x="723" y="559"/>
                    </a:lnTo>
                    <a:lnTo>
                      <a:pt x="708" y="556"/>
                    </a:lnTo>
                    <a:lnTo>
                      <a:pt x="695" y="552"/>
                    </a:lnTo>
                    <a:lnTo>
                      <a:pt x="681" y="546"/>
                    </a:lnTo>
                    <a:lnTo>
                      <a:pt x="669" y="540"/>
                    </a:lnTo>
                    <a:lnTo>
                      <a:pt x="659" y="531"/>
                    </a:lnTo>
                    <a:lnTo>
                      <a:pt x="651" y="524"/>
                    </a:lnTo>
                    <a:lnTo>
                      <a:pt x="644" y="517"/>
                    </a:lnTo>
                    <a:lnTo>
                      <a:pt x="618" y="517"/>
                    </a:lnTo>
                    <a:lnTo>
                      <a:pt x="621" y="525"/>
                    </a:lnTo>
                    <a:lnTo>
                      <a:pt x="624" y="531"/>
                    </a:lnTo>
                    <a:lnTo>
                      <a:pt x="629" y="538"/>
                    </a:lnTo>
                    <a:lnTo>
                      <a:pt x="634" y="543"/>
                    </a:lnTo>
                    <a:lnTo>
                      <a:pt x="645" y="552"/>
                    </a:lnTo>
                    <a:lnTo>
                      <a:pt x="657" y="560"/>
                    </a:lnTo>
                    <a:lnTo>
                      <a:pt x="668" y="567"/>
                    </a:lnTo>
                    <a:lnTo>
                      <a:pt x="678" y="575"/>
                    </a:lnTo>
                    <a:lnTo>
                      <a:pt x="683" y="580"/>
                    </a:lnTo>
                    <a:lnTo>
                      <a:pt x="687" y="585"/>
                    </a:lnTo>
                    <a:lnTo>
                      <a:pt x="689" y="590"/>
                    </a:lnTo>
                    <a:lnTo>
                      <a:pt x="691" y="598"/>
                    </a:lnTo>
                    <a:lnTo>
                      <a:pt x="678" y="601"/>
                    </a:lnTo>
                    <a:lnTo>
                      <a:pt x="665" y="604"/>
                    </a:lnTo>
                    <a:lnTo>
                      <a:pt x="644" y="603"/>
                    </a:lnTo>
                    <a:lnTo>
                      <a:pt x="618" y="599"/>
                    </a:lnTo>
                    <a:lnTo>
                      <a:pt x="589" y="592"/>
                    </a:lnTo>
                    <a:lnTo>
                      <a:pt x="558" y="584"/>
                    </a:lnTo>
                    <a:lnTo>
                      <a:pt x="544" y="580"/>
                    </a:lnTo>
                    <a:lnTo>
                      <a:pt x="531" y="575"/>
                    </a:lnTo>
                    <a:lnTo>
                      <a:pt x="518" y="570"/>
                    </a:lnTo>
                    <a:lnTo>
                      <a:pt x="507" y="565"/>
                    </a:lnTo>
                    <a:lnTo>
                      <a:pt x="497" y="559"/>
                    </a:lnTo>
                    <a:lnTo>
                      <a:pt x="488" y="554"/>
                    </a:lnTo>
                    <a:lnTo>
                      <a:pt x="483" y="548"/>
                    </a:lnTo>
                    <a:lnTo>
                      <a:pt x="478" y="542"/>
                    </a:lnTo>
                    <a:lnTo>
                      <a:pt x="475" y="532"/>
                    </a:lnTo>
                    <a:lnTo>
                      <a:pt x="471" y="523"/>
                    </a:lnTo>
                    <a:lnTo>
                      <a:pt x="464" y="513"/>
                    </a:lnTo>
                    <a:lnTo>
                      <a:pt x="457" y="504"/>
                    </a:lnTo>
                    <a:lnTo>
                      <a:pt x="451" y="496"/>
                    </a:lnTo>
                    <a:lnTo>
                      <a:pt x="444" y="489"/>
                    </a:lnTo>
                    <a:lnTo>
                      <a:pt x="438" y="484"/>
                    </a:lnTo>
                    <a:lnTo>
                      <a:pt x="432" y="480"/>
                    </a:lnTo>
                    <a:lnTo>
                      <a:pt x="410" y="473"/>
                    </a:lnTo>
                    <a:lnTo>
                      <a:pt x="388" y="468"/>
                    </a:lnTo>
                    <a:lnTo>
                      <a:pt x="384" y="467"/>
                    </a:lnTo>
                    <a:lnTo>
                      <a:pt x="379" y="465"/>
                    </a:lnTo>
                    <a:lnTo>
                      <a:pt x="375" y="463"/>
                    </a:lnTo>
                    <a:lnTo>
                      <a:pt x="372" y="460"/>
                    </a:lnTo>
                    <a:lnTo>
                      <a:pt x="370" y="457"/>
                    </a:lnTo>
                    <a:lnTo>
                      <a:pt x="367" y="453"/>
                    </a:lnTo>
                    <a:lnTo>
                      <a:pt x="366" y="449"/>
                    </a:lnTo>
                    <a:lnTo>
                      <a:pt x="365" y="444"/>
                    </a:lnTo>
                    <a:lnTo>
                      <a:pt x="366" y="441"/>
                    </a:lnTo>
                    <a:lnTo>
                      <a:pt x="368" y="439"/>
                    </a:lnTo>
                    <a:lnTo>
                      <a:pt x="373" y="437"/>
                    </a:lnTo>
                    <a:lnTo>
                      <a:pt x="378" y="436"/>
                    </a:lnTo>
                    <a:lnTo>
                      <a:pt x="392" y="433"/>
                    </a:lnTo>
                    <a:lnTo>
                      <a:pt x="406" y="430"/>
                    </a:lnTo>
                    <a:lnTo>
                      <a:pt x="435" y="427"/>
                    </a:lnTo>
                    <a:lnTo>
                      <a:pt x="452" y="424"/>
                    </a:lnTo>
                    <a:lnTo>
                      <a:pt x="452" y="416"/>
                    </a:lnTo>
                    <a:lnTo>
                      <a:pt x="454" y="409"/>
                    </a:lnTo>
                    <a:lnTo>
                      <a:pt x="456" y="404"/>
                    </a:lnTo>
                    <a:lnTo>
                      <a:pt x="459" y="399"/>
                    </a:lnTo>
                    <a:lnTo>
                      <a:pt x="461" y="394"/>
                    </a:lnTo>
                    <a:lnTo>
                      <a:pt x="463" y="390"/>
                    </a:lnTo>
                    <a:lnTo>
                      <a:pt x="465" y="386"/>
                    </a:lnTo>
                    <a:lnTo>
                      <a:pt x="465" y="382"/>
                    </a:lnTo>
                    <a:lnTo>
                      <a:pt x="479" y="382"/>
                    </a:lnTo>
                    <a:lnTo>
                      <a:pt x="490" y="380"/>
                    </a:lnTo>
                    <a:lnTo>
                      <a:pt x="500" y="378"/>
                    </a:lnTo>
                    <a:lnTo>
                      <a:pt x="508" y="375"/>
                    </a:lnTo>
                    <a:lnTo>
                      <a:pt x="521" y="368"/>
                    </a:lnTo>
                    <a:lnTo>
                      <a:pt x="532" y="363"/>
                    </a:lnTo>
                    <a:lnTo>
                      <a:pt x="572" y="363"/>
                    </a:lnTo>
                    <a:lnTo>
                      <a:pt x="573" y="369"/>
                    </a:lnTo>
                    <a:lnTo>
                      <a:pt x="575" y="376"/>
                    </a:lnTo>
                    <a:lnTo>
                      <a:pt x="577" y="380"/>
                    </a:lnTo>
                    <a:lnTo>
                      <a:pt x="580" y="384"/>
                    </a:lnTo>
                    <a:lnTo>
                      <a:pt x="583" y="387"/>
                    </a:lnTo>
                    <a:lnTo>
                      <a:pt x="587" y="389"/>
                    </a:lnTo>
                    <a:lnTo>
                      <a:pt x="590" y="391"/>
                    </a:lnTo>
                    <a:lnTo>
                      <a:pt x="595" y="393"/>
                    </a:lnTo>
                    <a:lnTo>
                      <a:pt x="603" y="394"/>
                    </a:lnTo>
                    <a:lnTo>
                      <a:pt x="614" y="395"/>
                    </a:lnTo>
                    <a:lnTo>
                      <a:pt x="625" y="394"/>
                    </a:lnTo>
                    <a:lnTo>
                      <a:pt x="637" y="394"/>
                    </a:lnTo>
                    <a:lnTo>
                      <a:pt x="650" y="394"/>
                    </a:lnTo>
                    <a:lnTo>
                      <a:pt x="659" y="393"/>
                    </a:lnTo>
                    <a:lnTo>
                      <a:pt x="668" y="392"/>
                    </a:lnTo>
                    <a:lnTo>
                      <a:pt x="675" y="390"/>
                    </a:lnTo>
                    <a:lnTo>
                      <a:pt x="687" y="387"/>
                    </a:lnTo>
                    <a:lnTo>
                      <a:pt x="698" y="382"/>
                    </a:lnTo>
                    <a:lnTo>
                      <a:pt x="698" y="373"/>
                    </a:lnTo>
                    <a:lnTo>
                      <a:pt x="698" y="363"/>
                    </a:lnTo>
                    <a:lnTo>
                      <a:pt x="605" y="351"/>
                    </a:lnTo>
                    <a:lnTo>
                      <a:pt x="596" y="351"/>
                    </a:lnTo>
                    <a:lnTo>
                      <a:pt x="588" y="353"/>
                    </a:lnTo>
                    <a:lnTo>
                      <a:pt x="581" y="355"/>
                    </a:lnTo>
                    <a:lnTo>
                      <a:pt x="576" y="357"/>
                    </a:lnTo>
                    <a:lnTo>
                      <a:pt x="572" y="359"/>
                    </a:lnTo>
                    <a:lnTo>
                      <a:pt x="567" y="361"/>
                    </a:lnTo>
                    <a:lnTo>
                      <a:pt x="563" y="362"/>
                    </a:lnTo>
                    <a:lnTo>
                      <a:pt x="558" y="363"/>
                    </a:lnTo>
                    <a:lnTo>
                      <a:pt x="550" y="362"/>
                    </a:lnTo>
                    <a:lnTo>
                      <a:pt x="542" y="361"/>
                    </a:lnTo>
                    <a:lnTo>
                      <a:pt x="540" y="360"/>
                    </a:lnTo>
                    <a:lnTo>
                      <a:pt x="536" y="360"/>
                    </a:lnTo>
                    <a:lnTo>
                      <a:pt x="534" y="361"/>
                    </a:lnTo>
                    <a:lnTo>
                      <a:pt x="532" y="363"/>
                    </a:lnTo>
                    <a:lnTo>
                      <a:pt x="533" y="358"/>
                    </a:lnTo>
                    <a:lnTo>
                      <a:pt x="535" y="354"/>
                    </a:lnTo>
                    <a:lnTo>
                      <a:pt x="539" y="350"/>
                    </a:lnTo>
                    <a:lnTo>
                      <a:pt x="542" y="347"/>
                    </a:lnTo>
                    <a:lnTo>
                      <a:pt x="550" y="339"/>
                    </a:lnTo>
                    <a:lnTo>
                      <a:pt x="557" y="332"/>
                    </a:lnTo>
                    <a:lnTo>
                      <a:pt x="565" y="324"/>
                    </a:lnTo>
                    <a:lnTo>
                      <a:pt x="572" y="316"/>
                    </a:lnTo>
                    <a:lnTo>
                      <a:pt x="574" y="311"/>
                    </a:lnTo>
                    <a:lnTo>
                      <a:pt x="576" y="306"/>
                    </a:lnTo>
                    <a:lnTo>
                      <a:pt x="577" y="301"/>
                    </a:lnTo>
                    <a:lnTo>
                      <a:pt x="578" y="295"/>
                    </a:lnTo>
                    <a:lnTo>
                      <a:pt x="577" y="290"/>
                    </a:lnTo>
                    <a:lnTo>
                      <a:pt x="576" y="283"/>
                    </a:lnTo>
                    <a:lnTo>
                      <a:pt x="575" y="280"/>
                    </a:lnTo>
                    <a:lnTo>
                      <a:pt x="575" y="277"/>
                    </a:lnTo>
                    <a:lnTo>
                      <a:pt x="576" y="274"/>
                    </a:lnTo>
                    <a:lnTo>
                      <a:pt x="578" y="271"/>
                    </a:lnTo>
                    <a:lnTo>
                      <a:pt x="568" y="271"/>
                    </a:lnTo>
                    <a:lnTo>
                      <a:pt x="558" y="269"/>
                    </a:lnTo>
                    <a:lnTo>
                      <a:pt x="550" y="267"/>
                    </a:lnTo>
                    <a:lnTo>
                      <a:pt x="541" y="263"/>
                    </a:lnTo>
                    <a:lnTo>
                      <a:pt x="533" y="258"/>
                    </a:lnTo>
                    <a:lnTo>
                      <a:pt x="524" y="254"/>
                    </a:lnTo>
                    <a:lnTo>
                      <a:pt x="518" y="248"/>
                    </a:lnTo>
                    <a:lnTo>
                      <a:pt x="511" y="243"/>
                    </a:lnTo>
                    <a:lnTo>
                      <a:pt x="499" y="231"/>
                    </a:lnTo>
                    <a:lnTo>
                      <a:pt x="489" y="219"/>
                    </a:lnTo>
                    <a:lnTo>
                      <a:pt x="483" y="208"/>
                    </a:lnTo>
                    <a:lnTo>
                      <a:pt x="478" y="196"/>
                    </a:lnTo>
                    <a:lnTo>
                      <a:pt x="473" y="198"/>
                    </a:lnTo>
                    <a:lnTo>
                      <a:pt x="467" y="198"/>
                    </a:lnTo>
                    <a:lnTo>
                      <a:pt x="463" y="198"/>
                    </a:lnTo>
                    <a:lnTo>
                      <a:pt x="459" y="196"/>
                    </a:lnTo>
                    <a:lnTo>
                      <a:pt x="452" y="190"/>
                    </a:lnTo>
                    <a:lnTo>
                      <a:pt x="446" y="183"/>
                    </a:lnTo>
                    <a:lnTo>
                      <a:pt x="441" y="175"/>
                    </a:lnTo>
                    <a:lnTo>
                      <a:pt x="434" y="168"/>
                    </a:lnTo>
                    <a:lnTo>
                      <a:pt x="431" y="165"/>
                    </a:lnTo>
                    <a:lnTo>
                      <a:pt x="428" y="162"/>
                    </a:lnTo>
                    <a:lnTo>
                      <a:pt x="423" y="161"/>
                    </a:lnTo>
                    <a:lnTo>
                      <a:pt x="419" y="160"/>
                    </a:lnTo>
                    <a:lnTo>
                      <a:pt x="415" y="161"/>
                    </a:lnTo>
                    <a:lnTo>
                      <a:pt x="411" y="162"/>
                    </a:lnTo>
                    <a:lnTo>
                      <a:pt x="408" y="163"/>
                    </a:lnTo>
                    <a:lnTo>
                      <a:pt x="404" y="165"/>
                    </a:lnTo>
                    <a:lnTo>
                      <a:pt x="397" y="170"/>
                    </a:lnTo>
                    <a:lnTo>
                      <a:pt x="392" y="177"/>
                    </a:lnTo>
                    <a:lnTo>
                      <a:pt x="386" y="184"/>
                    </a:lnTo>
                    <a:lnTo>
                      <a:pt x="382" y="191"/>
                    </a:lnTo>
                    <a:lnTo>
                      <a:pt x="379" y="197"/>
                    </a:lnTo>
                    <a:lnTo>
                      <a:pt x="378" y="203"/>
                    </a:lnTo>
                    <a:lnTo>
                      <a:pt x="339" y="203"/>
                    </a:lnTo>
                    <a:lnTo>
                      <a:pt x="317" y="194"/>
                    </a:lnTo>
                    <a:lnTo>
                      <a:pt x="295" y="188"/>
                    </a:lnTo>
                    <a:lnTo>
                      <a:pt x="273" y="182"/>
                    </a:lnTo>
                    <a:lnTo>
                      <a:pt x="252" y="178"/>
                    </a:lnTo>
                    <a:lnTo>
                      <a:pt x="230" y="176"/>
                    </a:lnTo>
                    <a:lnTo>
                      <a:pt x="207" y="174"/>
                    </a:lnTo>
                    <a:lnTo>
                      <a:pt x="184" y="173"/>
                    </a:lnTo>
                    <a:lnTo>
                      <a:pt x="160" y="172"/>
                    </a:lnTo>
                    <a:lnTo>
                      <a:pt x="148" y="173"/>
                    </a:lnTo>
                    <a:lnTo>
                      <a:pt x="138" y="176"/>
                    </a:lnTo>
                    <a:lnTo>
                      <a:pt x="129" y="180"/>
                    </a:lnTo>
                    <a:lnTo>
                      <a:pt x="121" y="184"/>
                    </a:lnTo>
                    <a:lnTo>
                      <a:pt x="114" y="189"/>
                    </a:lnTo>
                    <a:lnTo>
                      <a:pt x="107" y="193"/>
                    </a:lnTo>
                    <a:lnTo>
                      <a:pt x="101" y="195"/>
                    </a:lnTo>
                    <a:lnTo>
                      <a:pt x="93" y="196"/>
                    </a:lnTo>
                    <a:lnTo>
                      <a:pt x="88" y="196"/>
                    </a:lnTo>
                    <a:lnTo>
                      <a:pt x="84" y="194"/>
                    </a:lnTo>
                    <a:lnTo>
                      <a:pt x="81" y="190"/>
                    </a:lnTo>
                    <a:lnTo>
                      <a:pt x="79" y="187"/>
                    </a:lnTo>
                    <a:lnTo>
                      <a:pt x="74" y="179"/>
                    </a:lnTo>
                    <a:lnTo>
                      <a:pt x="73" y="172"/>
                    </a:lnTo>
                    <a:lnTo>
                      <a:pt x="50" y="177"/>
                    </a:lnTo>
                    <a:lnTo>
                      <a:pt x="29" y="181"/>
                    </a:lnTo>
                    <a:lnTo>
                      <a:pt x="25" y="181"/>
                    </a:lnTo>
                    <a:lnTo>
                      <a:pt x="20" y="180"/>
                    </a:lnTo>
                    <a:lnTo>
                      <a:pt x="16" y="180"/>
                    </a:lnTo>
                    <a:lnTo>
                      <a:pt x="13" y="178"/>
                    </a:lnTo>
                    <a:lnTo>
                      <a:pt x="8" y="176"/>
                    </a:lnTo>
                    <a:lnTo>
                      <a:pt x="6" y="174"/>
                    </a:lnTo>
                    <a:lnTo>
                      <a:pt x="3" y="170"/>
                    </a:lnTo>
                    <a:lnTo>
                      <a:pt x="0" y="166"/>
                    </a:lnTo>
                    <a:lnTo>
                      <a:pt x="4" y="162"/>
                    </a:lnTo>
                    <a:lnTo>
                      <a:pt x="9" y="158"/>
                    </a:lnTo>
                    <a:lnTo>
                      <a:pt x="14" y="155"/>
                    </a:lnTo>
                    <a:lnTo>
                      <a:pt x="20" y="152"/>
                    </a:lnTo>
                    <a:lnTo>
                      <a:pt x="32" y="149"/>
                    </a:lnTo>
                    <a:lnTo>
                      <a:pt x="46" y="146"/>
                    </a:lnTo>
                    <a:lnTo>
                      <a:pt x="59" y="145"/>
                    </a:lnTo>
                    <a:lnTo>
                      <a:pt x="70" y="147"/>
                    </a:lnTo>
                    <a:lnTo>
                      <a:pt x="75" y="149"/>
                    </a:lnTo>
                    <a:lnTo>
                      <a:pt x="80" y="150"/>
                    </a:lnTo>
                    <a:lnTo>
                      <a:pt x="83" y="152"/>
                    </a:lnTo>
                    <a:lnTo>
                      <a:pt x="86" y="154"/>
                    </a:lnTo>
                    <a:lnTo>
                      <a:pt x="86" y="139"/>
                    </a:lnTo>
                    <a:lnTo>
                      <a:pt x="86" y="129"/>
                    </a:lnTo>
                    <a:lnTo>
                      <a:pt x="73" y="12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021" name="Freeform 417"/>
              <p:cNvSpPr>
                <a:spLocks/>
              </p:cNvSpPr>
              <p:nvPr/>
            </p:nvSpPr>
            <p:spPr bwMode="auto">
              <a:xfrm>
                <a:off x="1528" y="1110"/>
                <a:ext cx="409" cy="105"/>
              </a:xfrm>
              <a:custGeom>
                <a:avLst/>
                <a:gdLst>
                  <a:gd name="T0" fmla="*/ 257 w 1268"/>
                  <a:gd name="T1" fmla="*/ 12 h 321"/>
                  <a:gd name="T2" fmla="*/ 262 w 1268"/>
                  <a:gd name="T3" fmla="*/ 5 h 321"/>
                  <a:gd name="T4" fmla="*/ 273 w 1268"/>
                  <a:gd name="T5" fmla="*/ 3 h 321"/>
                  <a:gd name="T6" fmla="*/ 279 w 1268"/>
                  <a:gd name="T7" fmla="*/ 8 h 321"/>
                  <a:gd name="T8" fmla="*/ 303 w 1268"/>
                  <a:gd name="T9" fmla="*/ 5 h 321"/>
                  <a:gd name="T10" fmla="*/ 329 w 1268"/>
                  <a:gd name="T11" fmla="*/ 0 h 321"/>
                  <a:gd name="T12" fmla="*/ 350 w 1268"/>
                  <a:gd name="T13" fmla="*/ 6 h 321"/>
                  <a:gd name="T14" fmla="*/ 365 w 1268"/>
                  <a:gd name="T15" fmla="*/ 7 h 321"/>
                  <a:gd name="T16" fmla="*/ 409 w 1268"/>
                  <a:gd name="T17" fmla="*/ 10 h 321"/>
                  <a:gd name="T18" fmla="*/ 401 w 1268"/>
                  <a:gd name="T19" fmla="*/ 16 h 321"/>
                  <a:gd name="T20" fmla="*/ 375 w 1268"/>
                  <a:gd name="T21" fmla="*/ 21 h 321"/>
                  <a:gd name="T22" fmla="*/ 340 w 1268"/>
                  <a:gd name="T23" fmla="*/ 25 h 321"/>
                  <a:gd name="T24" fmla="*/ 332 w 1268"/>
                  <a:gd name="T25" fmla="*/ 31 h 321"/>
                  <a:gd name="T26" fmla="*/ 322 w 1268"/>
                  <a:gd name="T27" fmla="*/ 34 h 321"/>
                  <a:gd name="T28" fmla="*/ 304 w 1268"/>
                  <a:gd name="T29" fmla="*/ 33 h 321"/>
                  <a:gd name="T30" fmla="*/ 300 w 1268"/>
                  <a:gd name="T31" fmla="*/ 39 h 321"/>
                  <a:gd name="T32" fmla="*/ 241 w 1268"/>
                  <a:gd name="T33" fmla="*/ 44 h 321"/>
                  <a:gd name="T34" fmla="*/ 215 w 1268"/>
                  <a:gd name="T35" fmla="*/ 51 h 321"/>
                  <a:gd name="T36" fmla="*/ 205 w 1268"/>
                  <a:gd name="T37" fmla="*/ 59 h 321"/>
                  <a:gd name="T38" fmla="*/ 191 w 1268"/>
                  <a:gd name="T39" fmla="*/ 55 h 321"/>
                  <a:gd name="T40" fmla="*/ 184 w 1268"/>
                  <a:gd name="T41" fmla="*/ 59 h 321"/>
                  <a:gd name="T42" fmla="*/ 190 w 1268"/>
                  <a:gd name="T43" fmla="*/ 68 h 321"/>
                  <a:gd name="T44" fmla="*/ 176 w 1268"/>
                  <a:gd name="T45" fmla="*/ 78 h 321"/>
                  <a:gd name="T46" fmla="*/ 156 w 1268"/>
                  <a:gd name="T47" fmla="*/ 77 h 321"/>
                  <a:gd name="T48" fmla="*/ 130 w 1268"/>
                  <a:gd name="T49" fmla="*/ 79 h 321"/>
                  <a:gd name="T50" fmla="*/ 131 w 1268"/>
                  <a:gd name="T51" fmla="*/ 84 h 321"/>
                  <a:gd name="T52" fmla="*/ 126 w 1268"/>
                  <a:gd name="T53" fmla="*/ 96 h 321"/>
                  <a:gd name="T54" fmla="*/ 107 w 1268"/>
                  <a:gd name="T55" fmla="*/ 105 h 321"/>
                  <a:gd name="T56" fmla="*/ 94 w 1268"/>
                  <a:gd name="T57" fmla="*/ 97 h 321"/>
                  <a:gd name="T58" fmla="*/ 82 w 1268"/>
                  <a:gd name="T59" fmla="*/ 93 h 321"/>
                  <a:gd name="T60" fmla="*/ 31 w 1268"/>
                  <a:gd name="T61" fmla="*/ 90 h 321"/>
                  <a:gd name="T62" fmla="*/ 0 w 1268"/>
                  <a:gd name="T63" fmla="*/ 93 h 321"/>
                  <a:gd name="T64" fmla="*/ 3 w 1268"/>
                  <a:gd name="T65" fmla="*/ 87 h 321"/>
                  <a:gd name="T66" fmla="*/ 18 w 1268"/>
                  <a:gd name="T67" fmla="*/ 80 h 321"/>
                  <a:gd name="T68" fmla="*/ 46 w 1268"/>
                  <a:gd name="T69" fmla="*/ 77 h 321"/>
                  <a:gd name="T70" fmla="*/ 55 w 1268"/>
                  <a:gd name="T71" fmla="*/ 74 h 321"/>
                  <a:gd name="T72" fmla="*/ 61 w 1268"/>
                  <a:gd name="T73" fmla="*/ 71 h 321"/>
                  <a:gd name="T74" fmla="*/ 71 w 1268"/>
                  <a:gd name="T75" fmla="*/ 76 h 321"/>
                  <a:gd name="T76" fmla="*/ 80 w 1268"/>
                  <a:gd name="T77" fmla="*/ 81 h 321"/>
                  <a:gd name="T78" fmla="*/ 67 w 1268"/>
                  <a:gd name="T79" fmla="*/ 68 h 321"/>
                  <a:gd name="T80" fmla="*/ 62 w 1268"/>
                  <a:gd name="T81" fmla="*/ 65 h 321"/>
                  <a:gd name="T82" fmla="*/ 64 w 1268"/>
                  <a:gd name="T83" fmla="*/ 59 h 321"/>
                  <a:gd name="T84" fmla="*/ 79 w 1268"/>
                  <a:gd name="T85" fmla="*/ 57 h 321"/>
                  <a:gd name="T86" fmla="*/ 118 w 1268"/>
                  <a:gd name="T87" fmla="*/ 61 h 321"/>
                  <a:gd name="T88" fmla="*/ 135 w 1268"/>
                  <a:gd name="T89" fmla="*/ 57 h 321"/>
                  <a:gd name="T90" fmla="*/ 104 w 1268"/>
                  <a:gd name="T91" fmla="*/ 55 h 321"/>
                  <a:gd name="T92" fmla="*/ 96 w 1268"/>
                  <a:gd name="T93" fmla="*/ 49 h 321"/>
                  <a:gd name="T94" fmla="*/ 122 w 1268"/>
                  <a:gd name="T95" fmla="*/ 45 h 321"/>
                  <a:gd name="T96" fmla="*/ 141 w 1268"/>
                  <a:gd name="T97" fmla="*/ 51 h 321"/>
                  <a:gd name="T98" fmla="*/ 154 w 1268"/>
                  <a:gd name="T99" fmla="*/ 41 h 321"/>
                  <a:gd name="T100" fmla="*/ 214 w 1268"/>
                  <a:gd name="T101" fmla="*/ 28 h 321"/>
                  <a:gd name="T102" fmla="*/ 190 w 1268"/>
                  <a:gd name="T103" fmla="*/ 36 h 321"/>
                  <a:gd name="T104" fmla="*/ 145 w 1268"/>
                  <a:gd name="T105" fmla="*/ 36 h 321"/>
                  <a:gd name="T106" fmla="*/ 101 w 1268"/>
                  <a:gd name="T107" fmla="*/ 38 h 321"/>
                  <a:gd name="T108" fmla="*/ 82 w 1268"/>
                  <a:gd name="T109" fmla="*/ 33 h 321"/>
                  <a:gd name="T110" fmla="*/ 71 w 1268"/>
                  <a:gd name="T111" fmla="*/ 26 h 321"/>
                  <a:gd name="T112" fmla="*/ 82 w 1268"/>
                  <a:gd name="T113" fmla="*/ 23 h 321"/>
                  <a:gd name="T114" fmla="*/ 144 w 1268"/>
                  <a:gd name="T115" fmla="*/ 15 h 321"/>
                  <a:gd name="T116" fmla="*/ 199 w 1268"/>
                  <a:gd name="T117" fmla="*/ 10 h 321"/>
                  <a:gd name="T118" fmla="*/ 217 w 1268"/>
                  <a:gd name="T119" fmla="*/ 7 h 321"/>
                  <a:gd name="T120" fmla="*/ 244 w 1268"/>
                  <a:gd name="T121" fmla="*/ 9 h 321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1268" h="321">
                    <a:moveTo>
                      <a:pt x="764" y="26"/>
                    </a:moveTo>
                    <a:lnTo>
                      <a:pt x="770" y="30"/>
                    </a:lnTo>
                    <a:lnTo>
                      <a:pt x="778" y="34"/>
                    </a:lnTo>
                    <a:lnTo>
                      <a:pt x="787" y="37"/>
                    </a:lnTo>
                    <a:lnTo>
                      <a:pt x="797" y="38"/>
                    </a:lnTo>
                    <a:lnTo>
                      <a:pt x="797" y="35"/>
                    </a:lnTo>
                    <a:lnTo>
                      <a:pt x="799" y="31"/>
                    </a:lnTo>
                    <a:lnTo>
                      <a:pt x="803" y="26"/>
                    </a:lnTo>
                    <a:lnTo>
                      <a:pt x="807" y="20"/>
                    </a:lnTo>
                    <a:lnTo>
                      <a:pt x="813" y="16"/>
                    </a:lnTo>
                    <a:lnTo>
                      <a:pt x="819" y="11"/>
                    </a:lnTo>
                    <a:lnTo>
                      <a:pt x="828" y="9"/>
                    </a:lnTo>
                    <a:lnTo>
                      <a:pt x="837" y="8"/>
                    </a:lnTo>
                    <a:lnTo>
                      <a:pt x="841" y="8"/>
                    </a:lnTo>
                    <a:lnTo>
                      <a:pt x="846" y="10"/>
                    </a:lnTo>
                    <a:lnTo>
                      <a:pt x="850" y="13"/>
                    </a:lnTo>
                    <a:lnTo>
                      <a:pt x="853" y="17"/>
                    </a:lnTo>
                    <a:lnTo>
                      <a:pt x="858" y="20"/>
                    </a:lnTo>
                    <a:lnTo>
                      <a:pt x="861" y="23"/>
                    </a:lnTo>
                    <a:lnTo>
                      <a:pt x="865" y="25"/>
                    </a:lnTo>
                    <a:lnTo>
                      <a:pt x="870" y="26"/>
                    </a:lnTo>
                    <a:lnTo>
                      <a:pt x="888" y="25"/>
                    </a:lnTo>
                    <a:lnTo>
                      <a:pt x="906" y="22"/>
                    </a:lnTo>
                    <a:lnTo>
                      <a:pt x="921" y="18"/>
                    </a:lnTo>
                    <a:lnTo>
                      <a:pt x="938" y="14"/>
                    </a:lnTo>
                    <a:lnTo>
                      <a:pt x="953" y="9"/>
                    </a:lnTo>
                    <a:lnTo>
                      <a:pt x="970" y="4"/>
                    </a:lnTo>
                    <a:lnTo>
                      <a:pt x="988" y="2"/>
                    </a:lnTo>
                    <a:lnTo>
                      <a:pt x="1009" y="0"/>
                    </a:lnTo>
                    <a:lnTo>
                      <a:pt x="1020" y="1"/>
                    </a:lnTo>
                    <a:lnTo>
                      <a:pt x="1032" y="3"/>
                    </a:lnTo>
                    <a:lnTo>
                      <a:pt x="1045" y="7"/>
                    </a:lnTo>
                    <a:lnTo>
                      <a:pt x="1059" y="11"/>
                    </a:lnTo>
                    <a:lnTo>
                      <a:pt x="1072" y="14"/>
                    </a:lnTo>
                    <a:lnTo>
                      <a:pt x="1084" y="17"/>
                    </a:lnTo>
                    <a:lnTo>
                      <a:pt x="1094" y="19"/>
                    </a:lnTo>
                    <a:lnTo>
                      <a:pt x="1103" y="20"/>
                    </a:lnTo>
                    <a:lnTo>
                      <a:pt x="1115" y="20"/>
                    </a:lnTo>
                    <a:lnTo>
                      <a:pt x="1123" y="20"/>
                    </a:lnTo>
                    <a:lnTo>
                      <a:pt x="1133" y="20"/>
                    </a:lnTo>
                    <a:lnTo>
                      <a:pt x="1149" y="20"/>
                    </a:lnTo>
                    <a:lnTo>
                      <a:pt x="1180" y="21"/>
                    </a:lnTo>
                    <a:lnTo>
                      <a:pt x="1209" y="23"/>
                    </a:lnTo>
                    <a:lnTo>
                      <a:pt x="1236" y="27"/>
                    </a:lnTo>
                    <a:lnTo>
                      <a:pt x="1268" y="32"/>
                    </a:lnTo>
                    <a:lnTo>
                      <a:pt x="1266" y="36"/>
                    </a:lnTo>
                    <a:lnTo>
                      <a:pt x="1263" y="39"/>
                    </a:lnTo>
                    <a:lnTo>
                      <a:pt x="1258" y="42"/>
                    </a:lnTo>
                    <a:lnTo>
                      <a:pt x="1253" y="45"/>
                    </a:lnTo>
                    <a:lnTo>
                      <a:pt x="1242" y="50"/>
                    </a:lnTo>
                    <a:lnTo>
                      <a:pt x="1229" y="54"/>
                    </a:lnTo>
                    <a:lnTo>
                      <a:pt x="1213" y="57"/>
                    </a:lnTo>
                    <a:lnTo>
                      <a:pt x="1198" y="59"/>
                    </a:lnTo>
                    <a:lnTo>
                      <a:pt x="1180" y="62"/>
                    </a:lnTo>
                    <a:lnTo>
                      <a:pt x="1163" y="64"/>
                    </a:lnTo>
                    <a:lnTo>
                      <a:pt x="1128" y="66"/>
                    </a:lnTo>
                    <a:lnTo>
                      <a:pt x="1094" y="69"/>
                    </a:lnTo>
                    <a:lnTo>
                      <a:pt x="1078" y="71"/>
                    </a:lnTo>
                    <a:lnTo>
                      <a:pt x="1065" y="74"/>
                    </a:lnTo>
                    <a:lnTo>
                      <a:pt x="1053" y="77"/>
                    </a:lnTo>
                    <a:lnTo>
                      <a:pt x="1043" y="81"/>
                    </a:lnTo>
                    <a:lnTo>
                      <a:pt x="1039" y="84"/>
                    </a:lnTo>
                    <a:lnTo>
                      <a:pt x="1034" y="87"/>
                    </a:lnTo>
                    <a:lnTo>
                      <a:pt x="1031" y="91"/>
                    </a:lnTo>
                    <a:lnTo>
                      <a:pt x="1029" y="96"/>
                    </a:lnTo>
                    <a:lnTo>
                      <a:pt x="1026" y="99"/>
                    </a:lnTo>
                    <a:lnTo>
                      <a:pt x="1021" y="102"/>
                    </a:lnTo>
                    <a:lnTo>
                      <a:pt x="1016" y="105"/>
                    </a:lnTo>
                    <a:lnTo>
                      <a:pt x="1009" y="105"/>
                    </a:lnTo>
                    <a:lnTo>
                      <a:pt x="999" y="104"/>
                    </a:lnTo>
                    <a:lnTo>
                      <a:pt x="991" y="102"/>
                    </a:lnTo>
                    <a:lnTo>
                      <a:pt x="983" y="98"/>
                    </a:lnTo>
                    <a:lnTo>
                      <a:pt x="976" y="93"/>
                    </a:lnTo>
                    <a:lnTo>
                      <a:pt x="943" y="93"/>
                    </a:lnTo>
                    <a:lnTo>
                      <a:pt x="942" y="102"/>
                    </a:lnTo>
                    <a:lnTo>
                      <a:pt x="939" y="110"/>
                    </a:lnTo>
                    <a:lnTo>
                      <a:pt x="937" y="113"/>
                    </a:lnTo>
                    <a:lnTo>
                      <a:pt x="935" y="115"/>
                    </a:lnTo>
                    <a:lnTo>
                      <a:pt x="932" y="118"/>
                    </a:lnTo>
                    <a:lnTo>
                      <a:pt x="930" y="118"/>
                    </a:lnTo>
                    <a:lnTo>
                      <a:pt x="902" y="119"/>
                    </a:lnTo>
                    <a:lnTo>
                      <a:pt x="862" y="120"/>
                    </a:lnTo>
                    <a:lnTo>
                      <a:pt x="818" y="124"/>
                    </a:lnTo>
                    <a:lnTo>
                      <a:pt x="771" y="129"/>
                    </a:lnTo>
                    <a:lnTo>
                      <a:pt x="747" y="133"/>
                    </a:lnTo>
                    <a:lnTo>
                      <a:pt x="725" y="137"/>
                    </a:lnTo>
                    <a:lnTo>
                      <a:pt x="703" y="143"/>
                    </a:lnTo>
                    <a:lnTo>
                      <a:pt x="683" y="149"/>
                    </a:lnTo>
                    <a:lnTo>
                      <a:pt x="674" y="153"/>
                    </a:lnTo>
                    <a:lnTo>
                      <a:pt x="666" y="156"/>
                    </a:lnTo>
                    <a:lnTo>
                      <a:pt x="658" y="160"/>
                    </a:lnTo>
                    <a:lnTo>
                      <a:pt x="651" y="165"/>
                    </a:lnTo>
                    <a:lnTo>
                      <a:pt x="645" y="169"/>
                    </a:lnTo>
                    <a:lnTo>
                      <a:pt x="639" y="175"/>
                    </a:lnTo>
                    <a:lnTo>
                      <a:pt x="635" y="181"/>
                    </a:lnTo>
                    <a:lnTo>
                      <a:pt x="630" y="186"/>
                    </a:lnTo>
                    <a:lnTo>
                      <a:pt x="604" y="186"/>
                    </a:lnTo>
                    <a:lnTo>
                      <a:pt x="604" y="177"/>
                    </a:lnTo>
                    <a:lnTo>
                      <a:pt x="604" y="167"/>
                    </a:lnTo>
                    <a:lnTo>
                      <a:pt x="591" y="167"/>
                    </a:lnTo>
                    <a:lnTo>
                      <a:pt x="579" y="167"/>
                    </a:lnTo>
                    <a:lnTo>
                      <a:pt x="562" y="167"/>
                    </a:lnTo>
                    <a:lnTo>
                      <a:pt x="538" y="167"/>
                    </a:lnTo>
                    <a:lnTo>
                      <a:pt x="556" y="175"/>
                    </a:lnTo>
                    <a:lnTo>
                      <a:pt x="570" y="181"/>
                    </a:lnTo>
                    <a:lnTo>
                      <a:pt x="577" y="185"/>
                    </a:lnTo>
                    <a:lnTo>
                      <a:pt x="583" y="190"/>
                    </a:lnTo>
                    <a:lnTo>
                      <a:pt x="591" y="196"/>
                    </a:lnTo>
                    <a:lnTo>
                      <a:pt x="597" y="204"/>
                    </a:lnTo>
                    <a:lnTo>
                      <a:pt x="590" y="207"/>
                    </a:lnTo>
                    <a:lnTo>
                      <a:pt x="581" y="212"/>
                    </a:lnTo>
                    <a:lnTo>
                      <a:pt x="571" y="218"/>
                    </a:lnTo>
                    <a:lnTo>
                      <a:pt x="562" y="225"/>
                    </a:lnTo>
                    <a:lnTo>
                      <a:pt x="552" y="232"/>
                    </a:lnTo>
                    <a:lnTo>
                      <a:pt x="545" y="237"/>
                    </a:lnTo>
                    <a:lnTo>
                      <a:pt x="537" y="240"/>
                    </a:lnTo>
                    <a:lnTo>
                      <a:pt x="532" y="241"/>
                    </a:lnTo>
                    <a:lnTo>
                      <a:pt x="517" y="241"/>
                    </a:lnTo>
                    <a:lnTo>
                      <a:pt x="502" y="238"/>
                    </a:lnTo>
                    <a:lnTo>
                      <a:pt x="483" y="236"/>
                    </a:lnTo>
                    <a:lnTo>
                      <a:pt x="458" y="235"/>
                    </a:lnTo>
                    <a:lnTo>
                      <a:pt x="442" y="236"/>
                    </a:lnTo>
                    <a:lnTo>
                      <a:pt x="427" y="237"/>
                    </a:lnTo>
                    <a:lnTo>
                      <a:pt x="415" y="240"/>
                    </a:lnTo>
                    <a:lnTo>
                      <a:pt x="404" y="242"/>
                    </a:lnTo>
                    <a:lnTo>
                      <a:pt x="384" y="248"/>
                    </a:lnTo>
                    <a:lnTo>
                      <a:pt x="365" y="254"/>
                    </a:lnTo>
                    <a:lnTo>
                      <a:pt x="382" y="257"/>
                    </a:lnTo>
                    <a:lnTo>
                      <a:pt x="394" y="258"/>
                    </a:lnTo>
                    <a:lnTo>
                      <a:pt x="405" y="257"/>
                    </a:lnTo>
                    <a:lnTo>
                      <a:pt x="418" y="254"/>
                    </a:lnTo>
                    <a:lnTo>
                      <a:pt x="418" y="272"/>
                    </a:lnTo>
                    <a:lnTo>
                      <a:pt x="413" y="277"/>
                    </a:lnTo>
                    <a:lnTo>
                      <a:pt x="404" y="285"/>
                    </a:lnTo>
                    <a:lnTo>
                      <a:pt x="392" y="293"/>
                    </a:lnTo>
                    <a:lnTo>
                      <a:pt x="379" y="301"/>
                    </a:lnTo>
                    <a:lnTo>
                      <a:pt x="356" y="315"/>
                    </a:lnTo>
                    <a:lnTo>
                      <a:pt x="345" y="321"/>
                    </a:lnTo>
                    <a:lnTo>
                      <a:pt x="339" y="321"/>
                    </a:lnTo>
                    <a:lnTo>
                      <a:pt x="333" y="320"/>
                    </a:lnTo>
                    <a:lnTo>
                      <a:pt x="327" y="318"/>
                    </a:lnTo>
                    <a:lnTo>
                      <a:pt x="322" y="315"/>
                    </a:lnTo>
                    <a:lnTo>
                      <a:pt x="312" y="310"/>
                    </a:lnTo>
                    <a:lnTo>
                      <a:pt x="301" y="303"/>
                    </a:lnTo>
                    <a:lnTo>
                      <a:pt x="290" y="296"/>
                    </a:lnTo>
                    <a:lnTo>
                      <a:pt x="279" y="290"/>
                    </a:lnTo>
                    <a:lnTo>
                      <a:pt x="272" y="288"/>
                    </a:lnTo>
                    <a:lnTo>
                      <a:pt x="266" y="286"/>
                    </a:lnTo>
                    <a:lnTo>
                      <a:pt x="259" y="285"/>
                    </a:lnTo>
                    <a:lnTo>
                      <a:pt x="253" y="285"/>
                    </a:lnTo>
                    <a:lnTo>
                      <a:pt x="215" y="283"/>
                    </a:lnTo>
                    <a:lnTo>
                      <a:pt x="182" y="281"/>
                    </a:lnTo>
                    <a:lnTo>
                      <a:pt x="152" y="279"/>
                    </a:lnTo>
                    <a:lnTo>
                      <a:pt x="123" y="277"/>
                    </a:lnTo>
                    <a:lnTo>
                      <a:pt x="96" y="276"/>
                    </a:lnTo>
                    <a:lnTo>
                      <a:pt x="66" y="276"/>
                    </a:lnTo>
                    <a:lnTo>
                      <a:pt x="51" y="277"/>
                    </a:lnTo>
                    <a:lnTo>
                      <a:pt x="35" y="279"/>
                    </a:lnTo>
                    <a:lnTo>
                      <a:pt x="18" y="281"/>
                    </a:lnTo>
                    <a:lnTo>
                      <a:pt x="0" y="285"/>
                    </a:lnTo>
                    <a:lnTo>
                      <a:pt x="0" y="281"/>
                    </a:lnTo>
                    <a:lnTo>
                      <a:pt x="1" y="277"/>
                    </a:lnTo>
                    <a:lnTo>
                      <a:pt x="2" y="274"/>
                    </a:lnTo>
                    <a:lnTo>
                      <a:pt x="5" y="271"/>
                    </a:lnTo>
                    <a:lnTo>
                      <a:pt x="10" y="266"/>
                    </a:lnTo>
                    <a:lnTo>
                      <a:pt x="17" y="261"/>
                    </a:lnTo>
                    <a:lnTo>
                      <a:pt x="25" y="257"/>
                    </a:lnTo>
                    <a:lnTo>
                      <a:pt x="35" y="253"/>
                    </a:lnTo>
                    <a:lnTo>
                      <a:pt x="45" y="249"/>
                    </a:lnTo>
                    <a:lnTo>
                      <a:pt x="56" y="246"/>
                    </a:lnTo>
                    <a:lnTo>
                      <a:pt x="79" y="241"/>
                    </a:lnTo>
                    <a:lnTo>
                      <a:pt x="101" y="238"/>
                    </a:lnTo>
                    <a:lnTo>
                      <a:pt x="120" y="236"/>
                    </a:lnTo>
                    <a:lnTo>
                      <a:pt x="133" y="235"/>
                    </a:lnTo>
                    <a:lnTo>
                      <a:pt x="143" y="235"/>
                    </a:lnTo>
                    <a:lnTo>
                      <a:pt x="159" y="235"/>
                    </a:lnTo>
                    <a:lnTo>
                      <a:pt x="162" y="235"/>
                    </a:lnTo>
                    <a:lnTo>
                      <a:pt x="164" y="233"/>
                    </a:lnTo>
                    <a:lnTo>
                      <a:pt x="167" y="230"/>
                    </a:lnTo>
                    <a:lnTo>
                      <a:pt x="170" y="225"/>
                    </a:lnTo>
                    <a:lnTo>
                      <a:pt x="174" y="222"/>
                    </a:lnTo>
                    <a:lnTo>
                      <a:pt x="177" y="219"/>
                    </a:lnTo>
                    <a:lnTo>
                      <a:pt x="181" y="217"/>
                    </a:lnTo>
                    <a:lnTo>
                      <a:pt x="186" y="216"/>
                    </a:lnTo>
                    <a:lnTo>
                      <a:pt x="190" y="217"/>
                    </a:lnTo>
                    <a:lnTo>
                      <a:pt x="196" y="218"/>
                    </a:lnTo>
                    <a:lnTo>
                      <a:pt x="200" y="219"/>
                    </a:lnTo>
                    <a:lnTo>
                      <a:pt x="203" y="221"/>
                    </a:lnTo>
                    <a:lnTo>
                      <a:pt x="211" y="226"/>
                    </a:lnTo>
                    <a:lnTo>
                      <a:pt x="219" y="232"/>
                    </a:lnTo>
                    <a:lnTo>
                      <a:pt x="226" y="238"/>
                    </a:lnTo>
                    <a:lnTo>
                      <a:pt x="234" y="243"/>
                    </a:lnTo>
                    <a:lnTo>
                      <a:pt x="238" y="245"/>
                    </a:lnTo>
                    <a:lnTo>
                      <a:pt x="243" y="246"/>
                    </a:lnTo>
                    <a:lnTo>
                      <a:pt x="247" y="247"/>
                    </a:lnTo>
                    <a:lnTo>
                      <a:pt x="253" y="247"/>
                    </a:lnTo>
                    <a:lnTo>
                      <a:pt x="253" y="204"/>
                    </a:lnTo>
                    <a:lnTo>
                      <a:pt x="232" y="206"/>
                    </a:lnTo>
                    <a:lnTo>
                      <a:pt x="212" y="207"/>
                    </a:lnTo>
                    <a:lnTo>
                      <a:pt x="208" y="207"/>
                    </a:lnTo>
                    <a:lnTo>
                      <a:pt x="204" y="207"/>
                    </a:lnTo>
                    <a:lnTo>
                      <a:pt x="201" y="206"/>
                    </a:lnTo>
                    <a:lnTo>
                      <a:pt x="198" y="204"/>
                    </a:lnTo>
                    <a:lnTo>
                      <a:pt x="196" y="202"/>
                    </a:lnTo>
                    <a:lnTo>
                      <a:pt x="193" y="200"/>
                    </a:lnTo>
                    <a:lnTo>
                      <a:pt x="192" y="196"/>
                    </a:lnTo>
                    <a:lnTo>
                      <a:pt x="192" y="192"/>
                    </a:lnTo>
                    <a:lnTo>
                      <a:pt x="193" y="188"/>
                    </a:lnTo>
                    <a:lnTo>
                      <a:pt x="194" y="184"/>
                    </a:lnTo>
                    <a:lnTo>
                      <a:pt x="197" y="181"/>
                    </a:lnTo>
                    <a:lnTo>
                      <a:pt x="199" y="179"/>
                    </a:lnTo>
                    <a:lnTo>
                      <a:pt x="205" y="176"/>
                    </a:lnTo>
                    <a:lnTo>
                      <a:pt x="214" y="174"/>
                    </a:lnTo>
                    <a:lnTo>
                      <a:pt x="232" y="172"/>
                    </a:lnTo>
                    <a:lnTo>
                      <a:pt x="246" y="174"/>
                    </a:lnTo>
                    <a:lnTo>
                      <a:pt x="265" y="176"/>
                    </a:lnTo>
                    <a:lnTo>
                      <a:pt x="290" y="180"/>
                    </a:lnTo>
                    <a:lnTo>
                      <a:pt x="315" y="184"/>
                    </a:lnTo>
                    <a:lnTo>
                      <a:pt x="338" y="186"/>
                    </a:lnTo>
                    <a:lnTo>
                      <a:pt x="365" y="186"/>
                    </a:lnTo>
                    <a:lnTo>
                      <a:pt x="386" y="184"/>
                    </a:lnTo>
                    <a:lnTo>
                      <a:pt x="394" y="183"/>
                    </a:lnTo>
                    <a:lnTo>
                      <a:pt x="403" y="181"/>
                    </a:lnTo>
                    <a:lnTo>
                      <a:pt x="411" y="178"/>
                    </a:lnTo>
                    <a:lnTo>
                      <a:pt x="418" y="174"/>
                    </a:lnTo>
                    <a:lnTo>
                      <a:pt x="379" y="172"/>
                    </a:lnTo>
                    <a:lnTo>
                      <a:pt x="344" y="172"/>
                    </a:lnTo>
                    <a:lnTo>
                      <a:pt x="336" y="172"/>
                    </a:lnTo>
                    <a:lnTo>
                      <a:pt x="328" y="171"/>
                    </a:lnTo>
                    <a:lnTo>
                      <a:pt x="322" y="169"/>
                    </a:lnTo>
                    <a:lnTo>
                      <a:pt x="315" y="167"/>
                    </a:lnTo>
                    <a:lnTo>
                      <a:pt x="310" y="164"/>
                    </a:lnTo>
                    <a:lnTo>
                      <a:pt x="305" y="160"/>
                    </a:lnTo>
                    <a:lnTo>
                      <a:pt x="302" y="155"/>
                    </a:lnTo>
                    <a:lnTo>
                      <a:pt x="299" y="149"/>
                    </a:lnTo>
                    <a:lnTo>
                      <a:pt x="309" y="145"/>
                    </a:lnTo>
                    <a:lnTo>
                      <a:pt x="320" y="142"/>
                    </a:lnTo>
                    <a:lnTo>
                      <a:pt x="331" y="140"/>
                    </a:lnTo>
                    <a:lnTo>
                      <a:pt x="345" y="138"/>
                    </a:lnTo>
                    <a:lnTo>
                      <a:pt x="378" y="137"/>
                    </a:lnTo>
                    <a:lnTo>
                      <a:pt x="425" y="137"/>
                    </a:lnTo>
                    <a:lnTo>
                      <a:pt x="426" y="141"/>
                    </a:lnTo>
                    <a:lnTo>
                      <a:pt x="429" y="146"/>
                    </a:lnTo>
                    <a:lnTo>
                      <a:pt x="434" y="150"/>
                    </a:lnTo>
                    <a:lnTo>
                      <a:pt x="438" y="155"/>
                    </a:lnTo>
                    <a:lnTo>
                      <a:pt x="484" y="155"/>
                    </a:lnTo>
                    <a:lnTo>
                      <a:pt x="483" y="146"/>
                    </a:lnTo>
                    <a:lnTo>
                      <a:pt x="481" y="137"/>
                    </a:lnTo>
                    <a:lnTo>
                      <a:pt x="479" y="130"/>
                    </a:lnTo>
                    <a:lnTo>
                      <a:pt x="478" y="124"/>
                    </a:lnTo>
                    <a:lnTo>
                      <a:pt x="645" y="124"/>
                    </a:lnTo>
                    <a:lnTo>
                      <a:pt x="648" y="109"/>
                    </a:lnTo>
                    <a:lnTo>
                      <a:pt x="651" y="101"/>
                    </a:lnTo>
                    <a:lnTo>
                      <a:pt x="657" y="95"/>
                    </a:lnTo>
                    <a:lnTo>
                      <a:pt x="664" y="87"/>
                    </a:lnTo>
                    <a:lnTo>
                      <a:pt x="653" y="91"/>
                    </a:lnTo>
                    <a:lnTo>
                      <a:pt x="638" y="99"/>
                    </a:lnTo>
                    <a:lnTo>
                      <a:pt x="622" y="108"/>
                    </a:lnTo>
                    <a:lnTo>
                      <a:pt x="611" y="111"/>
                    </a:lnTo>
                    <a:lnTo>
                      <a:pt x="589" y="110"/>
                    </a:lnTo>
                    <a:lnTo>
                      <a:pt x="556" y="108"/>
                    </a:lnTo>
                    <a:lnTo>
                      <a:pt x="522" y="106"/>
                    </a:lnTo>
                    <a:lnTo>
                      <a:pt x="491" y="105"/>
                    </a:lnTo>
                    <a:lnTo>
                      <a:pt x="476" y="107"/>
                    </a:lnTo>
                    <a:lnTo>
                      <a:pt x="449" y="111"/>
                    </a:lnTo>
                    <a:lnTo>
                      <a:pt x="414" y="115"/>
                    </a:lnTo>
                    <a:lnTo>
                      <a:pt x="376" y="119"/>
                    </a:lnTo>
                    <a:lnTo>
                      <a:pt x="355" y="120"/>
                    </a:lnTo>
                    <a:lnTo>
                      <a:pt x="333" y="119"/>
                    </a:lnTo>
                    <a:lnTo>
                      <a:pt x="312" y="116"/>
                    </a:lnTo>
                    <a:lnTo>
                      <a:pt x="291" y="113"/>
                    </a:lnTo>
                    <a:lnTo>
                      <a:pt x="281" y="111"/>
                    </a:lnTo>
                    <a:lnTo>
                      <a:pt x="271" y="108"/>
                    </a:lnTo>
                    <a:lnTo>
                      <a:pt x="261" y="105"/>
                    </a:lnTo>
                    <a:lnTo>
                      <a:pt x="253" y="101"/>
                    </a:lnTo>
                    <a:lnTo>
                      <a:pt x="244" y="97"/>
                    </a:lnTo>
                    <a:lnTo>
                      <a:pt x="235" y="92"/>
                    </a:lnTo>
                    <a:lnTo>
                      <a:pt x="226" y="87"/>
                    </a:lnTo>
                    <a:lnTo>
                      <a:pt x="219" y="81"/>
                    </a:lnTo>
                    <a:lnTo>
                      <a:pt x="219" y="80"/>
                    </a:lnTo>
                    <a:lnTo>
                      <a:pt x="221" y="79"/>
                    </a:lnTo>
                    <a:lnTo>
                      <a:pt x="223" y="78"/>
                    </a:lnTo>
                    <a:lnTo>
                      <a:pt x="227" y="76"/>
                    </a:lnTo>
                    <a:lnTo>
                      <a:pt x="238" y="74"/>
                    </a:lnTo>
                    <a:lnTo>
                      <a:pt x="253" y="71"/>
                    </a:lnTo>
                    <a:lnTo>
                      <a:pt x="290" y="66"/>
                    </a:lnTo>
                    <a:lnTo>
                      <a:pt x="334" y="60"/>
                    </a:lnTo>
                    <a:lnTo>
                      <a:pt x="378" y="55"/>
                    </a:lnTo>
                    <a:lnTo>
                      <a:pt x="417" y="50"/>
                    </a:lnTo>
                    <a:lnTo>
                      <a:pt x="446" y="47"/>
                    </a:lnTo>
                    <a:lnTo>
                      <a:pt x="458" y="44"/>
                    </a:lnTo>
                    <a:lnTo>
                      <a:pt x="545" y="44"/>
                    </a:lnTo>
                    <a:lnTo>
                      <a:pt x="591" y="32"/>
                    </a:lnTo>
                    <a:lnTo>
                      <a:pt x="605" y="33"/>
                    </a:lnTo>
                    <a:lnTo>
                      <a:pt x="618" y="32"/>
                    </a:lnTo>
                    <a:lnTo>
                      <a:pt x="631" y="31"/>
                    </a:lnTo>
                    <a:lnTo>
                      <a:pt x="642" y="28"/>
                    </a:lnTo>
                    <a:lnTo>
                      <a:pt x="653" y="25"/>
                    </a:lnTo>
                    <a:lnTo>
                      <a:pt x="664" y="22"/>
                    </a:lnTo>
                    <a:lnTo>
                      <a:pt x="674" y="20"/>
                    </a:lnTo>
                    <a:lnTo>
                      <a:pt x="684" y="20"/>
                    </a:lnTo>
                    <a:lnTo>
                      <a:pt x="707" y="21"/>
                    </a:lnTo>
                    <a:lnTo>
                      <a:pt x="723" y="23"/>
                    </a:lnTo>
                    <a:lnTo>
                      <a:pt x="737" y="25"/>
                    </a:lnTo>
                    <a:lnTo>
                      <a:pt x="757" y="26"/>
                    </a:lnTo>
                    <a:lnTo>
                      <a:pt x="764" y="2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022" name="Freeform 418"/>
              <p:cNvSpPr>
                <a:spLocks/>
              </p:cNvSpPr>
              <p:nvPr/>
            </p:nvSpPr>
            <p:spPr bwMode="auto">
              <a:xfrm>
                <a:off x="553" y="1660"/>
                <a:ext cx="51" cy="38"/>
              </a:xfrm>
              <a:custGeom>
                <a:avLst/>
                <a:gdLst>
                  <a:gd name="T0" fmla="*/ 0 w 160"/>
                  <a:gd name="T1" fmla="*/ 0 h 117"/>
                  <a:gd name="T2" fmla="*/ 0 w 160"/>
                  <a:gd name="T3" fmla="*/ 3 h 117"/>
                  <a:gd name="T4" fmla="*/ 1 w 160"/>
                  <a:gd name="T5" fmla="*/ 6 h 117"/>
                  <a:gd name="T6" fmla="*/ 3 w 160"/>
                  <a:gd name="T7" fmla="*/ 9 h 117"/>
                  <a:gd name="T8" fmla="*/ 5 w 160"/>
                  <a:gd name="T9" fmla="*/ 13 h 117"/>
                  <a:gd name="T10" fmla="*/ 7 w 160"/>
                  <a:gd name="T11" fmla="*/ 16 h 117"/>
                  <a:gd name="T12" fmla="*/ 10 w 160"/>
                  <a:gd name="T13" fmla="*/ 19 h 117"/>
                  <a:gd name="T14" fmla="*/ 13 w 160"/>
                  <a:gd name="T15" fmla="*/ 22 h 117"/>
                  <a:gd name="T16" fmla="*/ 16 w 160"/>
                  <a:gd name="T17" fmla="*/ 25 h 117"/>
                  <a:gd name="T18" fmla="*/ 20 w 160"/>
                  <a:gd name="T19" fmla="*/ 28 h 117"/>
                  <a:gd name="T20" fmla="*/ 23 w 160"/>
                  <a:gd name="T21" fmla="*/ 30 h 117"/>
                  <a:gd name="T22" fmla="*/ 27 w 160"/>
                  <a:gd name="T23" fmla="*/ 32 h 117"/>
                  <a:gd name="T24" fmla="*/ 30 w 160"/>
                  <a:gd name="T25" fmla="*/ 34 h 117"/>
                  <a:gd name="T26" fmla="*/ 34 w 160"/>
                  <a:gd name="T27" fmla="*/ 36 h 117"/>
                  <a:gd name="T28" fmla="*/ 37 w 160"/>
                  <a:gd name="T29" fmla="*/ 37 h 117"/>
                  <a:gd name="T30" fmla="*/ 40 w 160"/>
                  <a:gd name="T31" fmla="*/ 38 h 117"/>
                  <a:gd name="T32" fmla="*/ 42 w 160"/>
                  <a:gd name="T33" fmla="*/ 38 h 117"/>
                  <a:gd name="T34" fmla="*/ 44 w 160"/>
                  <a:gd name="T35" fmla="*/ 38 h 117"/>
                  <a:gd name="T36" fmla="*/ 47 w 160"/>
                  <a:gd name="T37" fmla="*/ 37 h 117"/>
                  <a:gd name="T38" fmla="*/ 49 w 160"/>
                  <a:gd name="T39" fmla="*/ 36 h 117"/>
                  <a:gd name="T40" fmla="*/ 51 w 160"/>
                  <a:gd name="T41" fmla="*/ 34 h 117"/>
                  <a:gd name="T42" fmla="*/ 48 w 160"/>
                  <a:gd name="T43" fmla="*/ 30 h 117"/>
                  <a:gd name="T44" fmla="*/ 45 w 160"/>
                  <a:gd name="T45" fmla="*/ 26 h 117"/>
                  <a:gd name="T46" fmla="*/ 44 w 160"/>
                  <a:gd name="T47" fmla="*/ 24 h 117"/>
                  <a:gd name="T48" fmla="*/ 43 w 160"/>
                  <a:gd name="T49" fmla="*/ 21 h 117"/>
                  <a:gd name="T50" fmla="*/ 42 w 160"/>
                  <a:gd name="T51" fmla="*/ 19 h 117"/>
                  <a:gd name="T52" fmla="*/ 42 w 160"/>
                  <a:gd name="T53" fmla="*/ 16 h 117"/>
                  <a:gd name="T54" fmla="*/ 40 w 160"/>
                  <a:gd name="T55" fmla="*/ 16 h 117"/>
                  <a:gd name="T56" fmla="*/ 38 w 160"/>
                  <a:gd name="T57" fmla="*/ 15 h 117"/>
                  <a:gd name="T58" fmla="*/ 34 w 160"/>
                  <a:gd name="T59" fmla="*/ 13 h 117"/>
                  <a:gd name="T60" fmla="*/ 31 w 160"/>
                  <a:gd name="T61" fmla="*/ 11 h 117"/>
                  <a:gd name="T62" fmla="*/ 28 w 160"/>
                  <a:gd name="T63" fmla="*/ 9 h 117"/>
                  <a:gd name="T64" fmla="*/ 25 w 160"/>
                  <a:gd name="T65" fmla="*/ 7 h 117"/>
                  <a:gd name="T66" fmla="*/ 24 w 160"/>
                  <a:gd name="T67" fmla="*/ 6 h 117"/>
                  <a:gd name="T68" fmla="*/ 23 w 160"/>
                  <a:gd name="T69" fmla="*/ 4 h 117"/>
                  <a:gd name="T70" fmla="*/ 22 w 160"/>
                  <a:gd name="T71" fmla="*/ 3 h 117"/>
                  <a:gd name="T72" fmla="*/ 21 w 160"/>
                  <a:gd name="T73" fmla="*/ 2 h 117"/>
                  <a:gd name="T74" fmla="*/ 19 w 160"/>
                  <a:gd name="T75" fmla="*/ 2 h 117"/>
                  <a:gd name="T76" fmla="*/ 17 w 160"/>
                  <a:gd name="T77" fmla="*/ 2 h 117"/>
                  <a:gd name="T78" fmla="*/ 14 w 160"/>
                  <a:gd name="T79" fmla="*/ 1 h 117"/>
                  <a:gd name="T80" fmla="*/ 11 w 160"/>
                  <a:gd name="T81" fmla="*/ 0 h 117"/>
                  <a:gd name="T82" fmla="*/ 0 w 160"/>
                  <a:gd name="T83" fmla="*/ 0 h 117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0" t="0" r="r" b="b"/>
                <a:pathLst>
                  <a:path w="160" h="117">
                    <a:moveTo>
                      <a:pt x="0" y="0"/>
                    </a:moveTo>
                    <a:lnTo>
                      <a:pt x="1" y="10"/>
                    </a:lnTo>
                    <a:lnTo>
                      <a:pt x="4" y="19"/>
                    </a:lnTo>
                    <a:lnTo>
                      <a:pt x="9" y="29"/>
                    </a:lnTo>
                    <a:lnTo>
                      <a:pt x="15" y="39"/>
                    </a:lnTo>
                    <a:lnTo>
                      <a:pt x="22" y="48"/>
                    </a:lnTo>
                    <a:lnTo>
                      <a:pt x="31" y="59"/>
                    </a:lnTo>
                    <a:lnTo>
                      <a:pt x="41" y="68"/>
                    </a:lnTo>
                    <a:lnTo>
                      <a:pt x="51" y="77"/>
                    </a:lnTo>
                    <a:lnTo>
                      <a:pt x="62" y="85"/>
                    </a:lnTo>
                    <a:lnTo>
                      <a:pt x="73" y="93"/>
                    </a:lnTo>
                    <a:lnTo>
                      <a:pt x="84" y="99"/>
                    </a:lnTo>
                    <a:lnTo>
                      <a:pt x="95" y="105"/>
                    </a:lnTo>
                    <a:lnTo>
                      <a:pt x="106" y="111"/>
                    </a:lnTo>
                    <a:lnTo>
                      <a:pt x="116" y="114"/>
                    </a:lnTo>
                    <a:lnTo>
                      <a:pt x="124" y="117"/>
                    </a:lnTo>
                    <a:lnTo>
                      <a:pt x="133" y="117"/>
                    </a:lnTo>
                    <a:lnTo>
                      <a:pt x="139" y="116"/>
                    </a:lnTo>
                    <a:lnTo>
                      <a:pt x="146" y="113"/>
                    </a:lnTo>
                    <a:lnTo>
                      <a:pt x="153" y="110"/>
                    </a:lnTo>
                    <a:lnTo>
                      <a:pt x="160" y="104"/>
                    </a:lnTo>
                    <a:lnTo>
                      <a:pt x="150" y="91"/>
                    </a:lnTo>
                    <a:lnTo>
                      <a:pt x="141" y="79"/>
                    </a:lnTo>
                    <a:lnTo>
                      <a:pt x="138" y="73"/>
                    </a:lnTo>
                    <a:lnTo>
                      <a:pt x="135" y="66"/>
                    </a:lnTo>
                    <a:lnTo>
                      <a:pt x="133" y="58"/>
                    </a:lnTo>
                    <a:lnTo>
                      <a:pt x="133" y="49"/>
                    </a:lnTo>
                    <a:lnTo>
                      <a:pt x="127" y="48"/>
                    </a:lnTo>
                    <a:lnTo>
                      <a:pt x="118" y="45"/>
                    </a:lnTo>
                    <a:lnTo>
                      <a:pt x="108" y="40"/>
                    </a:lnTo>
                    <a:lnTo>
                      <a:pt x="97" y="34"/>
                    </a:lnTo>
                    <a:lnTo>
                      <a:pt x="87" y="28"/>
                    </a:lnTo>
                    <a:lnTo>
                      <a:pt x="77" y="21"/>
                    </a:lnTo>
                    <a:lnTo>
                      <a:pt x="74" y="17"/>
                    </a:lnTo>
                    <a:lnTo>
                      <a:pt x="71" y="13"/>
                    </a:lnTo>
                    <a:lnTo>
                      <a:pt x="68" y="10"/>
                    </a:lnTo>
                    <a:lnTo>
                      <a:pt x="66" y="6"/>
                    </a:lnTo>
                    <a:lnTo>
                      <a:pt x="60" y="6"/>
                    </a:lnTo>
                    <a:lnTo>
                      <a:pt x="52" y="6"/>
                    </a:lnTo>
                    <a:lnTo>
                      <a:pt x="43" y="4"/>
                    </a:lnTo>
                    <a:lnTo>
                      <a:pt x="33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023" name="Freeform 419"/>
              <p:cNvSpPr>
                <a:spLocks/>
              </p:cNvSpPr>
              <p:nvPr/>
            </p:nvSpPr>
            <p:spPr bwMode="auto">
              <a:xfrm>
                <a:off x="527" y="1592"/>
                <a:ext cx="26" cy="46"/>
              </a:xfrm>
              <a:custGeom>
                <a:avLst/>
                <a:gdLst>
                  <a:gd name="T0" fmla="*/ 13 w 80"/>
                  <a:gd name="T1" fmla="*/ 40 h 141"/>
                  <a:gd name="T2" fmla="*/ 26 w 80"/>
                  <a:gd name="T3" fmla="*/ 12 h 141"/>
                  <a:gd name="T4" fmla="*/ 26 w 80"/>
                  <a:gd name="T5" fmla="*/ 6 h 141"/>
                  <a:gd name="T6" fmla="*/ 22 w 80"/>
                  <a:gd name="T7" fmla="*/ 6 h 141"/>
                  <a:gd name="T8" fmla="*/ 19 w 80"/>
                  <a:gd name="T9" fmla="*/ 5 h 141"/>
                  <a:gd name="T10" fmla="*/ 17 w 80"/>
                  <a:gd name="T11" fmla="*/ 5 h 141"/>
                  <a:gd name="T12" fmla="*/ 15 w 80"/>
                  <a:gd name="T13" fmla="*/ 4 h 141"/>
                  <a:gd name="T14" fmla="*/ 14 w 80"/>
                  <a:gd name="T15" fmla="*/ 3 h 141"/>
                  <a:gd name="T16" fmla="*/ 14 w 80"/>
                  <a:gd name="T17" fmla="*/ 2 h 141"/>
                  <a:gd name="T18" fmla="*/ 13 w 80"/>
                  <a:gd name="T19" fmla="*/ 1 h 141"/>
                  <a:gd name="T20" fmla="*/ 13 w 80"/>
                  <a:gd name="T21" fmla="*/ 0 h 141"/>
                  <a:gd name="T22" fmla="*/ 0 w 80"/>
                  <a:gd name="T23" fmla="*/ 0 h 141"/>
                  <a:gd name="T24" fmla="*/ 0 w 80"/>
                  <a:gd name="T25" fmla="*/ 8 h 141"/>
                  <a:gd name="T26" fmla="*/ 0 w 80"/>
                  <a:gd name="T27" fmla="*/ 13 h 141"/>
                  <a:gd name="T28" fmla="*/ 0 w 80"/>
                  <a:gd name="T29" fmla="*/ 17 h 141"/>
                  <a:gd name="T30" fmla="*/ 0 w 80"/>
                  <a:gd name="T31" fmla="*/ 20 h 141"/>
                  <a:gd name="T32" fmla="*/ 0 w 80"/>
                  <a:gd name="T33" fmla="*/ 23 h 141"/>
                  <a:gd name="T34" fmla="*/ 1 w 80"/>
                  <a:gd name="T35" fmla="*/ 25 h 141"/>
                  <a:gd name="T36" fmla="*/ 2 w 80"/>
                  <a:gd name="T37" fmla="*/ 29 h 141"/>
                  <a:gd name="T38" fmla="*/ 4 w 80"/>
                  <a:gd name="T39" fmla="*/ 32 h 141"/>
                  <a:gd name="T40" fmla="*/ 7 w 80"/>
                  <a:gd name="T41" fmla="*/ 39 h 141"/>
                  <a:gd name="T42" fmla="*/ 9 w 80"/>
                  <a:gd name="T43" fmla="*/ 46 h 141"/>
                  <a:gd name="T44" fmla="*/ 10 w 80"/>
                  <a:gd name="T45" fmla="*/ 44 h 141"/>
                  <a:gd name="T46" fmla="*/ 11 w 80"/>
                  <a:gd name="T47" fmla="*/ 42 h 141"/>
                  <a:gd name="T48" fmla="*/ 11 w 80"/>
                  <a:gd name="T49" fmla="*/ 41 h 141"/>
                  <a:gd name="T50" fmla="*/ 12 w 80"/>
                  <a:gd name="T51" fmla="*/ 41 h 141"/>
                  <a:gd name="T52" fmla="*/ 12 w 80"/>
                  <a:gd name="T53" fmla="*/ 40 h 141"/>
                  <a:gd name="T54" fmla="*/ 13 w 80"/>
                  <a:gd name="T55" fmla="*/ 40 h 141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80" h="141">
                    <a:moveTo>
                      <a:pt x="40" y="123"/>
                    </a:moveTo>
                    <a:lnTo>
                      <a:pt x="80" y="36"/>
                    </a:lnTo>
                    <a:lnTo>
                      <a:pt x="80" y="18"/>
                    </a:lnTo>
                    <a:lnTo>
                      <a:pt x="68" y="17"/>
                    </a:lnTo>
                    <a:lnTo>
                      <a:pt x="59" y="16"/>
                    </a:lnTo>
                    <a:lnTo>
                      <a:pt x="53" y="14"/>
                    </a:lnTo>
                    <a:lnTo>
                      <a:pt x="47" y="11"/>
                    </a:lnTo>
                    <a:lnTo>
                      <a:pt x="44" y="8"/>
                    </a:lnTo>
                    <a:lnTo>
                      <a:pt x="42" y="5"/>
                    </a:lnTo>
                    <a:lnTo>
                      <a:pt x="41" y="2"/>
                    </a:lnTo>
                    <a:lnTo>
                      <a:pt x="40" y="0"/>
                    </a:lnTo>
                    <a:lnTo>
                      <a:pt x="0" y="0"/>
                    </a:lnTo>
                    <a:lnTo>
                      <a:pt x="0" y="23"/>
                    </a:lnTo>
                    <a:lnTo>
                      <a:pt x="0" y="40"/>
                    </a:lnTo>
                    <a:lnTo>
                      <a:pt x="0" y="52"/>
                    </a:lnTo>
                    <a:lnTo>
                      <a:pt x="0" y="61"/>
                    </a:lnTo>
                    <a:lnTo>
                      <a:pt x="1" y="69"/>
                    </a:lnTo>
                    <a:lnTo>
                      <a:pt x="3" y="78"/>
                    </a:lnTo>
                    <a:lnTo>
                      <a:pt x="7" y="88"/>
                    </a:lnTo>
                    <a:lnTo>
                      <a:pt x="11" y="99"/>
                    </a:lnTo>
                    <a:lnTo>
                      <a:pt x="20" y="121"/>
                    </a:lnTo>
                    <a:lnTo>
                      <a:pt x="27" y="141"/>
                    </a:lnTo>
                    <a:lnTo>
                      <a:pt x="31" y="135"/>
                    </a:lnTo>
                    <a:lnTo>
                      <a:pt x="33" y="129"/>
                    </a:lnTo>
                    <a:lnTo>
                      <a:pt x="34" y="127"/>
                    </a:lnTo>
                    <a:lnTo>
                      <a:pt x="36" y="125"/>
                    </a:lnTo>
                    <a:lnTo>
                      <a:pt x="38" y="123"/>
                    </a:lnTo>
                    <a:lnTo>
                      <a:pt x="40" y="12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024" name="Freeform 420"/>
              <p:cNvSpPr>
                <a:spLocks/>
              </p:cNvSpPr>
              <p:nvPr/>
            </p:nvSpPr>
            <p:spPr bwMode="auto">
              <a:xfrm>
                <a:off x="1379" y="1383"/>
                <a:ext cx="83" cy="41"/>
              </a:xfrm>
              <a:custGeom>
                <a:avLst/>
                <a:gdLst>
                  <a:gd name="T0" fmla="*/ 0 w 259"/>
                  <a:gd name="T1" fmla="*/ 31 h 124"/>
                  <a:gd name="T2" fmla="*/ 0 w 259"/>
                  <a:gd name="T3" fmla="*/ 32 h 124"/>
                  <a:gd name="T4" fmla="*/ 1 w 259"/>
                  <a:gd name="T5" fmla="*/ 33 h 124"/>
                  <a:gd name="T6" fmla="*/ 1 w 259"/>
                  <a:gd name="T7" fmla="*/ 34 h 124"/>
                  <a:gd name="T8" fmla="*/ 2 w 259"/>
                  <a:gd name="T9" fmla="*/ 35 h 124"/>
                  <a:gd name="T10" fmla="*/ 4 w 259"/>
                  <a:gd name="T11" fmla="*/ 37 h 124"/>
                  <a:gd name="T12" fmla="*/ 7 w 259"/>
                  <a:gd name="T13" fmla="*/ 38 h 124"/>
                  <a:gd name="T14" fmla="*/ 10 w 259"/>
                  <a:gd name="T15" fmla="*/ 40 h 124"/>
                  <a:gd name="T16" fmla="*/ 13 w 259"/>
                  <a:gd name="T17" fmla="*/ 40 h 124"/>
                  <a:gd name="T18" fmla="*/ 16 w 259"/>
                  <a:gd name="T19" fmla="*/ 41 h 124"/>
                  <a:gd name="T20" fmla="*/ 19 w 259"/>
                  <a:gd name="T21" fmla="*/ 41 h 124"/>
                  <a:gd name="T22" fmla="*/ 22 w 259"/>
                  <a:gd name="T23" fmla="*/ 41 h 124"/>
                  <a:gd name="T24" fmla="*/ 24 w 259"/>
                  <a:gd name="T25" fmla="*/ 41 h 124"/>
                  <a:gd name="T26" fmla="*/ 26 w 259"/>
                  <a:gd name="T27" fmla="*/ 40 h 124"/>
                  <a:gd name="T28" fmla="*/ 28 w 259"/>
                  <a:gd name="T29" fmla="*/ 40 h 124"/>
                  <a:gd name="T30" fmla="*/ 31 w 259"/>
                  <a:gd name="T31" fmla="*/ 38 h 124"/>
                  <a:gd name="T32" fmla="*/ 34 w 259"/>
                  <a:gd name="T33" fmla="*/ 36 h 124"/>
                  <a:gd name="T34" fmla="*/ 37 w 259"/>
                  <a:gd name="T35" fmla="*/ 34 h 124"/>
                  <a:gd name="T36" fmla="*/ 40 w 259"/>
                  <a:gd name="T37" fmla="*/ 32 h 124"/>
                  <a:gd name="T38" fmla="*/ 42 w 259"/>
                  <a:gd name="T39" fmla="*/ 32 h 124"/>
                  <a:gd name="T40" fmla="*/ 44 w 259"/>
                  <a:gd name="T41" fmla="*/ 31 h 124"/>
                  <a:gd name="T42" fmla="*/ 46 w 259"/>
                  <a:gd name="T43" fmla="*/ 31 h 124"/>
                  <a:gd name="T44" fmla="*/ 49 w 259"/>
                  <a:gd name="T45" fmla="*/ 31 h 124"/>
                  <a:gd name="T46" fmla="*/ 52 w 259"/>
                  <a:gd name="T47" fmla="*/ 31 h 124"/>
                  <a:gd name="T48" fmla="*/ 55 w 259"/>
                  <a:gd name="T49" fmla="*/ 32 h 124"/>
                  <a:gd name="T50" fmla="*/ 58 w 259"/>
                  <a:gd name="T51" fmla="*/ 33 h 124"/>
                  <a:gd name="T52" fmla="*/ 60 w 259"/>
                  <a:gd name="T53" fmla="*/ 34 h 124"/>
                  <a:gd name="T54" fmla="*/ 65 w 259"/>
                  <a:gd name="T55" fmla="*/ 37 h 124"/>
                  <a:gd name="T56" fmla="*/ 70 w 259"/>
                  <a:gd name="T57" fmla="*/ 39 h 124"/>
                  <a:gd name="T58" fmla="*/ 83 w 259"/>
                  <a:gd name="T59" fmla="*/ 39 h 124"/>
                  <a:gd name="T60" fmla="*/ 83 w 259"/>
                  <a:gd name="T61" fmla="*/ 33 h 124"/>
                  <a:gd name="T62" fmla="*/ 81 w 259"/>
                  <a:gd name="T63" fmla="*/ 32 h 124"/>
                  <a:gd name="T64" fmla="*/ 78 w 259"/>
                  <a:gd name="T65" fmla="*/ 32 h 124"/>
                  <a:gd name="T66" fmla="*/ 76 w 259"/>
                  <a:gd name="T67" fmla="*/ 31 h 124"/>
                  <a:gd name="T68" fmla="*/ 72 w 259"/>
                  <a:gd name="T69" fmla="*/ 31 h 124"/>
                  <a:gd name="T70" fmla="*/ 74 w 259"/>
                  <a:gd name="T71" fmla="*/ 28 h 124"/>
                  <a:gd name="T72" fmla="*/ 76 w 259"/>
                  <a:gd name="T73" fmla="*/ 26 h 124"/>
                  <a:gd name="T74" fmla="*/ 77 w 259"/>
                  <a:gd name="T75" fmla="*/ 24 h 124"/>
                  <a:gd name="T76" fmla="*/ 79 w 259"/>
                  <a:gd name="T77" fmla="*/ 23 h 124"/>
                  <a:gd name="T78" fmla="*/ 76 w 259"/>
                  <a:gd name="T79" fmla="*/ 20 h 124"/>
                  <a:gd name="T80" fmla="*/ 74 w 259"/>
                  <a:gd name="T81" fmla="*/ 19 h 124"/>
                  <a:gd name="T82" fmla="*/ 71 w 259"/>
                  <a:gd name="T83" fmla="*/ 17 h 124"/>
                  <a:gd name="T84" fmla="*/ 69 w 259"/>
                  <a:gd name="T85" fmla="*/ 15 h 124"/>
                  <a:gd name="T86" fmla="*/ 63 w 259"/>
                  <a:gd name="T87" fmla="*/ 12 h 124"/>
                  <a:gd name="T88" fmla="*/ 58 w 259"/>
                  <a:gd name="T89" fmla="*/ 10 h 124"/>
                  <a:gd name="T90" fmla="*/ 53 w 259"/>
                  <a:gd name="T91" fmla="*/ 8 h 124"/>
                  <a:gd name="T92" fmla="*/ 49 w 259"/>
                  <a:gd name="T93" fmla="*/ 6 h 124"/>
                  <a:gd name="T94" fmla="*/ 47 w 259"/>
                  <a:gd name="T95" fmla="*/ 4 h 124"/>
                  <a:gd name="T96" fmla="*/ 45 w 259"/>
                  <a:gd name="T97" fmla="*/ 3 h 124"/>
                  <a:gd name="T98" fmla="*/ 44 w 259"/>
                  <a:gd name="T99" fmla="*/ 2 h 124"/>
                  <a:gd name="T100" fmla="*/ 42 w 259"/>
                  <a:gd name="T101" fmla="*/ 0 h 124"/>
                  <a:gd name="T102" fmla="*/ 40 w 259"/>
                  <a:gd name="T103" fmla="*/ 1 h 124"/>
                  <a:gd name="T104" fmla="*/ 37 w 259"/>
                  <a:gd name="T105" fmla="*/ 2 h 124"/>
                  <a:gd name="T106" fmla="*/ 34 w 259"/>
                  <a:gd name="T107" fmla="*/ 4 h 124"/>
                  <a:gd name="T108" fmla="*/ 30 w 259"/>
                  <a:gd name="T109" fmla="*/ 6 h 124"/>
                  <a:gd name="T110" fmla="*/ 24 w 259"/>
                  <a:gd name="T111" fmla="*/ 10 h 124"/>
                  <a:gd name="T112" fmla="*/ 18 w 259"/>
                  <a:gd name="T113" fmla="*/ 14 h 124"/>
                  <a:gd name="T114" fmla="*/ 12 w 259"/>
                  <a:gd name="T115" fmla="*/ 19 h 124"/>
                  <a:gd name="T116" fmla="*/ 7 w 259"/>
                  <a:gd name="T117" fmla="*/ 23 h 124"/>
                  <a:gd name="T118" fmla="*/ 3 w 259"/>
                  <a:gd name="T119" fmla="*/ 27 h 124"/>
                  <a:gd name="T120" fmla="*/ 0 w 259"/>
                  <a:gd name="T121" fmla="*/ 31 h 124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259" h="124">
                    <a:moveTo>
                      <a:pt x="0" y="93"/>
                    </a:moveTo>
                    <a:lnTo>
                      <a:pt x="0" y="96"/>
                    </a:lnTo>
                    <a:lnTo>
                      <a:pt x="2" y="100"/>
                    </a:lnTo>
                    <a:lnTo>
                      <a:pt x="4" y="103"/>
                    </a:lnTo>
                    <a:lnTo>
                      <a:pt x="6" y="106"/>
                    </a:lnTo>
                    <a:lnTo>
                      <a:pt x="14" y="111"/>
                    </a:lnTo>
                    <a:lnTo>
                      <a:pt x="23" y="115"/>
                    </a:lnTo>
                    <a:lnTo>
                      <a:pt x="31" y="120"/>
                    </a:lnTo>
                    <a:lnTo>
                      <a:pt x="41" y="122"/>
                    </a:lnTo>
                    <a:lnTo>
                      <a:pt x="51" y="124"/>
                    </a:lnTo>
                    <a:lnTo>
                      <a:pt x="60" y="124"/>
                    </a:lnTo>
                    <a:lnTo>
                      <a:pt x="68" y="124"/>
                    </a:lnTo>
                    <a:lnTo>
                      <a:pt x="75" y="123"/>
                    </a:lnTo>
                    <a:lnTo>
                      <a:pt x="81" y="122"/>
                    </a:lnTo>
                    <a:lnTo>
                      <a:pt x="87" y="120"/>
                    </a:lnTo>
                    <a:lnTo>
                      <a:pt x="97" y="114"/>
                    </a:lnTo>
                    <a:lnTo>
                      <a:pt x="106" y="108"/>
                    </a:lnTo>
                    <a:lnTo>
                      <a:pt x="115" y="103"/>
                    </a:lnTo>
                    <a:lnTo>
                      <a:pt x="125" y="98"/>
                    </a:lnTo>
                    <a:lnTo>
                      <a:pt x="130" y="96"/>
                    </a:lnTo>
                    <a:lnTo>
                      <a:pt x="137" y="94"/>
                    </a:lnTo>
                    <a:lnTo>
                      <a:pt x="145" y="93"/>
                    </a:lnTo>
                    <a:lnTo>
                      <a:pt x="152" y="93"/>
                    </a:lnTo>
                    <a:lnTo>
                      <a:pt x="162" y="94"/>
                    </a:lnTo>
                    <a:lnTo>
                      <a:pt x="171" y="96"/>
                    </a:lnTo>
                    <a:lnTo>
                      <a:pt x="180" y="99"/>
                    </a:lnTo>
                    <a:lnTo>
                      <a:pt x="188" y="103"/>
                    </a:lnTo>
                    <a:lnTo>
                      <a:pt x="204" y="111"/>
                    </a:lnTo>
                    <a:lnTo>
                      <a:pt x="219" y="117"/>
                    </a:lnTo>
                    <a:lnTo>
                      <a:pt x="259" y="117"/>
                    </a:lnTo>
                    <a:lnTo>
                      <a:pt x="259" y="99"/>
                    </a:lnTo>
                    <a:lnTo>
                      <a:pt x="252" y="98"/>
                    </a:lnTo>
                    <a:lnTo>
                      <a:pt x="244" y="96"/>
                    </a:lnTo>
                    <a:lnTo>
                      <a:pt x="236" y="94"/>
                    </a:lnTo>
                    <a:lnTo>
                      <a:pt x="226" y="93"/>
                    </a:lnTo>
                    <a:lnTo>
                      <a:pt x="230" y="85"/>
                    </a:lnTo>
                    <a:lnTo>
                      <a:pt x="236" y="79"/>
                    </a:lnTo>
                    <a:lnTo>
                      <a:pt x="240" y="74"/>
                    </a:lnTo>
                    <a:lnTo>
                      <a:pt x="246" y="69"/>
                    </a:lnTo>
                    <a:lnTo>
                      <a:pt x="238" y="61"/>
                    </a:lnTo>
                    <a:lnTo>
                      <a:pt x="230" y="56"/>
                    </a:lnTo>
                    <a:lnTo>
                      <a:pt x="222" y="50"/>
                    </a:lnTo>
                    <a:lnTo>
                      <a:pt x="214" y="46"/>
                    </a:lnTo>
                    <a:lnTo>
                      <a:pt x="197" y="37"/>
                    </a:lnTo>
                    <a:lnTo>
                      <a:pt x="182" y="30"/>
                    </a:lnTo>
                    <a:lnTo>
                      <a:pt x="166" y="23"/>
                    </a:lnTo>
                    <a:lnTo>
                      <a:pt x="153" y="17"/>
                    </a:lnTo>
                    <a:lnTo>
                      <a:pt x="147" y="13"/>
                    </a:lnTo>
                    <a:lnTo>
                      <a:pt x="141" y="10"/>
                    </a:lnTo>
                    <a:lnTo>
                      <a:pt x="137" y="5"/>
                    </a:lnTo>
                    <a:lnTo>
                      <a:pt x="132" y="0"/>
                    </a:lnTo>
                    <a:lnTo>
                      <a:pt x="124" y="3"/>
                    </a:lnTo>
                    <a:lnTo>
                      <a:pt x="114" y="7"/>
                    </a:lnTo>
                    <a:lnTo>
                      <a:pt x="105" y="12"/>
                    </a:lnTo>
                    <a:lnTo>
                      <a:pt x="95" y="17"/>
                    </a:lnTo>
                    <a:lnTo>
                      <a:pt x="75" y="29"/>
                    </a:lnTo>
                    <a:lnTo>
                      <a:pt x="57" y="42"/>
                    </a:lnTo>
                    <a:lnTo>
                      <a:pt x="38" y="56"/>
                    </a:lnTo>
                    <a:lnTo>
                      <a:pt x="23" y="70"/>
                    </a:lnTo>
                    <a:lnTo>
                      <a:pt x="9" y="83"/>
                    </a:lnTo>
                    <a:lnTo>
                      <a:pt x="0" y="9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025" name="Freeform 421"/>
              <p:cNvSpPr>
                <a:spLocks/>
              </p:cNvSpPr>
              <p:nvPr/>
            </p:nvSpPr>
            <p:spPr bwMode="auto">
              <a:xfrm>
                <a:off x="1509" y="1389"/>
                <a:ext cx="38" cy="19"/>
              </a:xfrm>
              <a:custGeom>
                <a:avLst/>
                <a:gdLst>
                  <a:gd name="T0" fmla="*/ 0 w 119"/>
                  <a:gd name="T1" fmla="*/ 11 h 57"/>
                  <a:gd name="T2" fmla="*/ 2 w 119"/>
                  <a:gd name="T3" fmla="*/ 12 h 57"/>
                  <a:gd name="T4" fmla="*/ 4 w 119"/>
                  <a:gd name="T5" fmla="*/ 13 h 57"/>
                  <a:gd name="T6" fmla="*/ 6 w 119"/>
                  <a:gd name="T7" fmla="*/ 14 h 57"/>
                  <a:gd name="T8" fmla="*/ 8 w 119"/>
                  <a:gd name="T9" fmla="*/ 16 h 57"/>
                  <a:gd name="T10" fmla="*/ 10 w 119"/>
                  <a:gd name="T11" fmla="*/ 17 h 57"/>
                  <a:gd name="T12" fmla="*/ 11 w 119"/>
                  <a:gd name="T13" fmla="*/ 18 h 57"/>
                  <a:gd name="T14" fmla="*/ 13 w 119"/>
                  <a:gd name="T15" fmla="*/ 19 h 57"/>
                  <a:gd name="T16" fmla="*/ 15 w 119"/>
                  <a:gd name="T17" fmla="*/ 19 h 57"/>
                  <a:gd name="T18" fmla="*/ 18 w 119"/>
                  <a:gd name="T19" fmla="*/ 19 h 57"/>
                  <a:gd name="T20" fmla="*/ 20 w 119"/>
                  <a:gd name="T21" fmla="*/ 19 h 57"/>
                  <a:gd name="T22" fmla="*/ 22 w 119"/>
                  <a:gd name="T23" fmla="*/ 18 h 57"/>
                  <a:gd name="T24" fmla="*/ 25 w 119"/>
                  <a:gd name="T25" fmla="*/ 18 h 57"/>
                  <a:gd name="T26" fmla="*/ 27 w 119"/>
                  <a:gd name="T27" fmla="*/ 17 h 57"/>
                  <a:gd name="T28" fmla="*/ 28 w 119"/>
                  <a:gd name="T29" fmla="*/ 16 h 57"/>
                  <a:gd name="T30" fmla="*/ 30 w 119"/>
                  <a:gd name="T31" fmla="*/ 15 h 57"/>
                  <a:gd name="T32" fmla="*/ 31 w 119"/>
                  <a:gd name="T33" fmla="*/ 13 h 57"/>
                  <a:gd name="T34" fmla="*/ 34 w 119"/>
                  <a:gd name="T35" fmla="*/ 11 h 57"/>
                  <a:gd name="T36" fmla="*/ 36 w 119"/>
                  <a:gd name="T37" fmla="*/ 8 h 57"/>
                  <a:gd name="T38" fmla="*/ 37 w 119"/>
                  <a:gd name="T39" fmla="*/ 4 h 57"/>
                  <a:gd name="T40" fmla="*/ 38 w 119"/>
                  <a:gd name="T41" fmla="*/ 0 h 57"/>
                  <a:gd name="T42" fmla="*/ 32 w 119"/>
                  <a:gd name="T43" fmla="*/ 0 h 57"/>
                  <a:gd name="T44" fmla="*/ 26 w 119"/>
                  <a:gd name="T45" fmla="*/ 0 h 57"/>
                  <a:gd name="T46" fmla="*/ 20 w 119"/>
                  <a:gd name="T47" fmla="*/ 1 h 57"/>
                  <a:gd name="T48" fmla="*/ 14 w 119"/>
                  <a:gd name="T49" fmla="*/ 2 h 57"/>
                  <a:gd name="T50" fmla="*/ 11 w 119"/>
                  <a:gd name="T51" fmla="*/ 2 h 57"/>
                  <a:gd name="T52" fmla="*/ 9 w 119"/>
                  <a:gd name="T53" fmla="*/ 3 h 57"/>
                  <a:gd name="T54" fmla="*/ 7 w 119"/>
                  <a:gd name="T55" fmla="*/ 4 h 57"/>
                  <a:gd name="T56" fmla="*/ 5 w 119"/>
                  <a:gd name="T57" fmla="*/ 5 h 57"/>
                  <a:gd name="T58" fmla="*/ 3 w 119"/>
                  <a:gd name="T59" fmla="*/ 6 h 57"/>
                  <a:gd name="T60" fmla="*/ 2 w 119"/>
                  <a:gd name="T61" fmla="*/ 8 h 57"/>
                  <a:gd name="T62" fmla="*/ 1 w 119"/>
                  <a:gd name="T63" fmla="*/ 9 h 57"/>
                  <a:gd name="T64" fmla="*/ 0 w 119"/>
                  <a:gd name="T65" fmla="*/ 11 h 57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119" h="57">
                    <a:moveTo>
                      <a:pt x="0" y="32"/>
                    </a:moveTo>
                    <a:lnTo>
                      <a:pt x="7" y="35"/>
                    </a:lnTo>
                    <a:lnTo>
                      <a:pt x="14" y="38"/>
                    </a:lnTo>
                    <a:lnTo>
                      <a:pt x="20" y="42"/>
                    </a:lnTo>
                    <a:lnTo>
                      <a:pt x="26" y="47"/>
                    </a:lnTo>
                    <a:lnTo>
                      <a:pt x="32" y="51"/>
                    </a:lnTo>
                    <a:lnTo>
                      <a:pt x="36" y="54"/>
                    </a:lnTo>
                    <a:lnTo>
                      <a:pt x="41" y="56"/>
                    </a:lnTo>
                    <a:lnTo>
                      <a:pt x="47" y="57"/>
                    </a:lnTo>
                    <a:lnTo>
                      <a:pt x="55" y="57"/>
                    </a:lnTo>
                    <a:lnTo>
                      <a:pt x="62" y="56"/>
                    </a:lnTo>
                    <a:lnTo>
                      <a:pt x="70" y="55"/>
                    </a:lnTo>
                    <a:lnTo>
                      <a:pt x="77" y="53"/>
                    </a:lnTo>
                    <a:lnTo>
                      <a:pt x="83" y="50"/>
                    </a:lnTo>
                    <a:lnTo>
                      <a:pt x="89" y="48"/>
                    </a:lnTo>
                    <a:lnTo>
                      <a:pt x="93" y="44"/>
                    </a:lnTo>
                    <a:lnTo>
                      <a:pt x="97" y="40"/>
                    </a:lnTo>
                    <a:lnTo>
                      <a:pt x="106" y="32"/>
                    </a:lnTo>
                    <a:lnTo>
                      <a:pt x="112" y="23"/>
                    </a:lnTo>
                    <a:lnTo>
                      <a:pt x="116" y="13"/>
                    </a:lnTo>
                    <a:lnTo>
                      <a:pt x="119" y="1"/>
                    </a:lnTo>
                    <a:lnTo>
                      <a:pt x="101" y="0"/>
                    </a:lnTo>
                    <a:lnTo>
                      <a:pt x="82" y="0"/>
                    </a:lnTo>
                    <a:lnTo>
                      <a:pt x="63" y="2"/>
                    </a:lnTo>
                    <a:lnTo>
                      <a:pt x="45" y="5"/>
                    </a:lnTo>
                    <a:lnTo>
                      <a:pt x="36" y="7"/>
                    </a:lnTo>
                    <a:lnTo>
                      <a:pt x="28" y="10"/>
                    </a:lnTo>
                    <a:lnTo>
                      <a:pt x="22" y="13"/>
                    </a:lnTo>
                    <a:lnTo>
                      <a:pt x="15" y="16"/>
                    </a:lnTo>
                    <a:lnTo>
                      <a:pt x="10" y="19"/>
                    </a:lnTo>
                    <a:lnTo>
                      <a:pt x="5" y="23"/>
                    </a:lnTo>
                    <a:lnTo>
                      <a:pt x="2" y="27"/>
                    </a:lnTo>
                    <a:lnTo>
                      <a:pt x="0" y="3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026" name="Freeform 422"/>
              <p:cNvSpPr>
                <a:spLocks/>
              </p:cNvSpPr>
              <p:nvPr/>
            </p:nvSpPr>
            <p:spPr bwMode="auto">
              <a:xfrm>
                <a:off x="1554" y="1335"/>
                <a:ext cx="34" cy="17"/>
              </a:xfrm>
              <a:custGeom>
                <a:avLst/>
                <a:gdLst>
                  <a:gd name="T0" fmla="*/ 0 w 107"/>
                  <a:gd name="T1" fmla="*/ 16 h 52"/>
                  <a:gd name="T2" fmla="*/ 2 w 107"/>
                  <a:gd name="T3" fmla="*/ 17 h 52"/>
                  <a:gd name="T4" fmla="*/ 3 w 107"/>
                  <a:gd name="T5" fmla="*/ 17 h 52"/>
                  <a:gd name="T6" fmla="*/ 4 w 107"/>
                  <a:gd name="T7" fmla="*/ 17 h 52"/>
                  <a:gd name="T8" fmla="*/ 5 w 107"/>
                  <a:gd name="T9" fmla="*/ 17 h 52"/>
                  <a:gd name="T10" fmla="*/ 8 w 107"/>
                  <a:gd name="T11" fmla="*/ 16 h 52"/>
                  <a:gd name="T12" fmla="*/ 11 w 107"/>
                  <a:gd name="T13" fmla="*/ 16 h 52"/>
                  <a:gd name="T14" fmla="*/ 14 w 107"/>
                  <a:gd name="T15" fmla="*/ 16 h 52"/>
                  <a:gd name="T16" fmla="*/ 17 w 107"/>
                  <a:gd name="T17" fmla="*/ 16 h 52"/>
                  <a:gd name="T18" fmla="*/ 20 w 107"/>
                  <a:gd name="T19" fmla="*/ 15 h 52"/>
                  <a:gd name="T20" fmla="*/ 22 w 107"/>
                  <a:gd name="T21" fmla="*/ 14 h 52"/>
                  <a:gd name="T22" fmla="*/ 25 w 107"/>
                  <a:gd name="T23" fmla="*/ 13 h 52"/>
                  <a:gd name="T24" fmla="*/ 28 w 107"/>
                  <a:gd name="T25" fmla="*/ 12 h 52"/>
                  <a:gd name="T26" fmla="*/ 31 w 107"/>
                  <a:gd name="T27" fmla="*/ 10 h 52"/>
                  <a:gd name="T28" fmla="*/ 34 w 107"/>
                  <a:gd name="T29" fmla="*/ 8 h 52"/>
                  <a:gd name="T30" fmla="*/ 34 w 107"/>
                  <a:gd name="T31" fmla="*/ 0 h 52"/>
                  <a:gd name="T32" fmla="*/ 31 w 107"/>
                  <a:gd name="T33" fmla="*/ 0 h 52"/>
                  <a:gd name="T34" fmla="*/ 27 w 107"/>
                  <a:gd name="T35" fmla="*/ 1 h 52"/>
                  <a:gd name="T36" fmla="*/ 23 w 107"/>
                  <a:gd name="T37" fmla="*/ 2 h 52"/>
                  <a:gd name="T38" fmla="*/ 18 w 107"/>
                  <a:gd name="T39" fmla="*/ 4 h 52"/>
                  <a:gd name="T40" fmla="*/ 13 w 107"/>
                  <a:gd name="T41" fmla="*/ 7 h 52"/>
                  <a:gd name="T42" fmla="*/ 8 w 107"/>
                  <a:gd name="T43" fmla="*/ 9 h 52"/>
                  <a:gd name="T44" fmla="*/ 6 w 107"/>
                  <a:gd name="T45" fmla="*/ 11 h 52"/>
                  <a:gd name="T46" fmla="*/ 4 w 107"/>
                  <a:gd name="T47" fmla="*/ 12 h 52"/>
                  <a:gd name="T48" fmla="*/ 2 w 107"/>
                  <a:gd name="T49" fmla="*/ 14 h 52"/>
                  <a:gd name="T50" fmla="*/ 0 w 107"/>
                  <a:gd name="T51" fmla="*/ 16 h 52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07" h="52">
                    <a:moveTo>
                      <a:pt x="0" y="50"/>
                    </a:moveTo>
                    <a:lnTo>
                      <a:pt x="6" y="51"/>
                    </a:lnTo>
                    <a:lnTo>
                      <a:pt x="9" y="52"/>
                    </a:lnTo>
                    <a:lnTo>
                      <a:pt x="13" y="52"/>
                    </a:lnTo>
                    <a:lnTo>
                      <a:pt x="17" y="52"/>
                    </a:lnTo>
                    <a:lnTo>
                      <a:pt x="24" y="50"/>
                    </a:lnTo>
                    <a:lnTo>
                      <a:pt x="34" y="50"/>
                    </a:lnTo>
                    <a:lnTo>
                      <a:pt x="43" y="49"/>
                    </a:lnTo>
                    <a:lnTo>
                      <a:pt x="53" y="48"/>
                    </a:lnTo>
                    <a:lnTo>
                      <a:pt x="62" y="47"/>
                    </a:lnTo>
                    <a:lnTo>
                      <a:pt x="70" y="43"/>
                    </a:lnTo>
                    <a:lnTo>
                      <a:pt x="79" y="40"/>
                    </a:lnTo>
                    <a:lnTo>
                      <a:pt x="88" y="36"/>
                    </a:lnTo>
                    <a:lnTo>
                      <a:pt x="97" y="31"/>
                    </a:lnTo>
                    <a:lnTo>
                      <a:pt x="107" y="24"/>
                    </a:lnTo>
                    <a:lnTo>
                      <a:pt x="107" y="0"/>
                    </a:lnTo>
                    <a:lnTo>
                      <a:pt x="98" y="1"/>
                    </a:lnTo>
                    <a:lnTo>
                      <a:pt x="86" y="3"/>
                    </a:lnTo>
                    <a:lnTo>
                      <a:pt x="72" y="7"/>
                    </a:lnTo>
                    <a:lnTo>
                      <a:pt x="56" y="13"/>
                    </a:lnTo>
                    <a:lnTo>
                      <a:pt x="41" y="20"/>
                    </a:lnTo>
                    <a:lnTo>
                      <a:pt x="25" y="28"/>
                    </a:lnTo>
                    <a:lnTo>
                      <a:pt x="19" y="33"/>
                    </a:lnTo>
                    <a:lnTo>
                      <a:pt x="12" y="38"/>
                    </a:lnTo>
                    <a:lnTo>
                      <a:pt x="6" y="43"/>
                    </a:lnTo>
                    <a:lnTo>
                      <a:pt x="0" y="5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027" name="Freeform 423"/>
              <p:cNvSpPr>
                <a:spLocks/>
              </p:cNvSpPr>
              <p:nvPr/>
            </p:nvSpPr>
            <p:spPr bwMode="auto">
              <a:xfrm>
                <a:off x="1381" y="1244"/>
                <a:ext cx="79" cy="32"/>
              </a:xfrm>
              <a:custGeom>
                <a:avLst/>
                <a:gdLst>
                  <a:gd name="T0" fmla="*/ 9 w 246"/>
                  <a:gd name="T1" fmla="*/ 32 h 99"/>
                  <a:gd name="T2" fmla="*/ 7 w 246"/>
                  <a:gd name="T3" fmla="*/ 31 h 99"/>
                  <a:gd name="T4" fmla="*/ 5 w 246"/>
                  <a:gd name="T5" fmla="*/ 31 h 99"/>
                  <a:gd name="T6" fmla="*/ 4 w 246"/>
                  <a:gd name="T7" fmla="*/ 30 h 99"/>
                  <a:gd name="T8" fmla="*/ 3 w 246"/>
                  <a:gd name="T9" fmla="*/ 29 h 99"/>
                  <a:gd name="T10" fmla="*/ 2 w 246"/>
                  <a:gd name="T11" fmla="*/ 28 h 99"/>
                  <a:gd name="T12" fmla="*/ 1 w 246"/>
                  <a:gd name="T13" fmla="*/ 27 h 99"/>
                  <a:gd name="T14" fmla="*/ 0 w 246"/>
                  <a:gd name="T15" fmla="*/ 25 h 99"/>
                  <a:gd name="T16" fmla="*/ 0 w 246"/>
                  <a:gd name="T17" fmla="*/ 24 h 99"/>
                  <a:gd name="T18" fmla="*/ 0 w 246"/>
                  <a:gd name="T19" fmla="*/ 22 h 99"/>
                  <a:gd name="T20" fmla="*/ 0 w 246"/>
                  <a:gd name="T21" fmla="*/ 21 h 99"/>
                  <a:gd name="T22" fmla="*/ 1 w 246"/>
                  <a:gd name="T23" fmla="*/ 19 h 99"/>
                  <a:gd name="T24" fmla="*/ 2 w 246"/>
                  <a:gd name="T25" fmla="*/ 18 h 99"/>
                  <a:gd name="T26" fmla="*/ 3 w 246"/>
                  <a:gd name="T27" fmla="*/ 16 h 99"/>
                  <a:gd name="T28" fmla="*/ 6 w 246"/>
                  <a:gd name="T29" fmla="*/ 13 h 99"/>
                  <a:gd name="T30" fmla="*/ 8 w 246"/>
                  <a:gd name="T31" fmla="*/ 11 h 99"/>
                  <a:gd name="T32" fmla="*/ 11 w 246"/>
                  <a:gd name="T33" fmla="*/ 9 h 99"/>
                  <a:gd name="T34" fmla="*/ 15 w 246"/>
                  <a:gd name="T35" fmla="*/ 7 h 99"/>
                  <a:gd name="T36" fmla="*/ 18 w 246"/>
                  <a:gd name="T37" fmla="*/ 6 h 99"/>
                  <a:gd name="T38" fmla="*/ 22 w 246"/>
                  <a:gd name="T39" fmla="*/ 5 h 99"/>
                  <a:gd name="T40" fmla="*/ 26 w 246"/>
                  <a:gd name="T41" fmla="*/ 3 h 99"/>
                  <a:gd name="T42" fmla="*/ 30 w 246"/>
                  <a:gd name="T43" fmla="*/ 2 h 99"/>
                  <a:gd name="T44" fmla="*/ 33 w 246"/>
                  <a:gd name="T45" fmla="*/ 1 h 99"/>
                  <a:gd name="T46" fmla="*/ 40 w 246"/>
                  <a:gd name="T47" fmla="*/ 0 h 99"/>
                  <a:gd name="T48" fmla="*/ 45 w 246"/>
                  <a:gd name="T49" fmla="*/ 0 h 99"/>
                  <a:gd name="T50" fmla="*/ 54 w 246"/>
                  <a:gd name="T51" fmla="*/ 0 h 99"/>
                  <a:gd name="T52" fmla="*/ 62 w 246"/>
                  <a:gd name="T53" fmla="*/ 0 h 99"/>
                  <a:gd name="T54" fmla="*/ 70 w 246"/>
                  <a:gd name="T55" fmla="*/ 1 h 99"/>
                  <a:gd name="T56" fmla="*/ 79 w 246"/>
                  <a:gd name="T57" fmla="*/ 2 h 99"/>
                  <a:gd name="T58" fmla="*/ 78 w 246"/>
                  <a:gd name="T59" fmla="*/ 4 h 99"/>
                  <a:gd name="T60" fmla="*/ 77 w 246"/>
                  <a:gd name="T61" fmla="*/ 5 h 99"/>
                  <a:gd name="T62" fmla="*/ 76 w 246"/>
                  <a:gd name="T63" fmla="*/ 6 h 99"/>
                  <a:gd name="T64" fmla="*/ 74 w 246"/>
                  <a:gd name="T65" fmla="*/ 8 h 99"/>
                  <a:gd name="T66" fmla="*/ 69 w 246"/>
                  <a:gd name="T67" fmla="*/ 12 h 99"/>
                  <a:gd name="T68" fmla="*/ 64 w 246"/>
                  <a:gd name="T69" fmla="*/ 15 h 99"/>
                  <a:gd name="T70" fmla="*/ 58 w 246"/>
                  <a:gd name="T71" fmla="*/ 18 h 99"/>
                  <a:gd name="T72" fmla="*/ 52 w 246"/>
                  <a:gd name="T73" fmla="*/ 20 h 99"/>
                  <a:gd name="T74" fmla="*/ 49 w 246"/>
                  <a:gd name="T75" fmla="*/ 21 h 99"/>
                  <a:gd name="T76" fmla="*/ 46 w 246"/>
                  <a:gd name="T77" fmla="*/ 21 h 99"/>
                  <a:gd name="T78" fmla="*/ 43 w 246"/>
                  <a:gd name="T79" fmla="*/ 22 h 99"/>
                  <a:gd name="T80" fmla="*/ 40 w 246"/>
                  <a:gd name="T81" fmla="*/ 22 h 99"/>
                  <a:gd name="T82" fmla="*/ 39 w 246"/>
                  <a:gd name="T83" fmla="*/ 22 h 99"/>
                  <a:gd name="T84" fmla="*/ 35 w 246"/>
                  <a:gd name="T85" fmla="*/ 22 h 99"/>
                  <a:gd name="T86" fmla="*/ 32 w 246"/>
                  <a:gd name="T87" fmla="*/ 22 h 99"/>
                  <a:gd name="T88" fmla="*/ 30 w 246"/>
                  <a:gd name="T89" fmla="*/ 22 h 99"/>
                  <a:gd name="T90" fmla="*/ 28 w 246"/>
                  <a:gd name="T91" fmla="*/ 22 h 99"/>
                  <a:gd name="T92" fmla="*/ 26 w 246"/>
                  <a:gd name="T93" fmla="*/ 23 h 99"/>
                  <a:gd name="T94" fmla="*/ 23 w 246"/>
                  <a:gd name="T95" fmla="*/ 25 h 99"/>
                  <a:gd name="T96" fmla="*/ 20 w 246"/>
                  <a:gd name="T97" fmla="*/ 27 h 99"/>
                  <a:gd name="T98" fmla="*/ 17 w 246"/>
                  <a:gd name="T99" fmla="*/ 28 h 99"/>
                  <a:gd name="T100" fmla="*/ 14 w 246"/>
                  <a:gd name="T101" fmla="*/ 30 h 99"/>
                  <a:gd name="T102" fmla="*/ 11 w 246"/>
                  <a:gd name="T103" fmla="*/ 31 h 99"/>
                  <a:gd name="T104" fmla="*/ 9 w 246"/>
                  <a:gd name="T105" fmla="*/ 32 h 99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246" h="99">
                    <a:moveTo>
                      <a:pt x="27" y="99"/>
                    </a:moveTo>
                    <a:lnTo>
                      <a:pt x="22" y="97"/>
                    </a:lnTo>
                    <a:lnTo>
                      <a:pt x="17" y="96"/>
                    </a:lnTo>
                    <a:lnTo>
                      <a:pt x="12" y="93"/>
                    </a:lnTo>
                    <a:lnTo>
                      <a:pt x="9" y="90"/>
                    </a:lnTo>
                    <a:lnTo>
                      <a:pt x="6" y="86"/>
                    </a:lnTo>
                    <a:lnTo>
                      <a:pt x="2" y="82"/>
                    </a:lnTo>
                    <a:lnTo>
                      <a:pt x="1" y="78"/>
                    </a:lnTo>
                    <a:lnTo>
                      <a:pt x="0" y="73"/>
                    </a:lnTo>
                    <a:lnTo>
                      <a:pt x="0" y="69"/>
                    </a:lnTo>
                    <a:lnTo>
                      <a:pt x="1" y="65"/>
                    </a:lnTo>
                    <a:lnTo>
                      <a:pt x="3" y="60"/>
                    </a:lnTo>
                    <a:lnTo>
                      <a:pt x="5" y="56"/>
                    </a:lnTo>
                    <a:lnTo>
                      <a:pt x="10" y="49"/>
                    </a:lnTo>
                    <a:lnTo>
                      <a:pt x="18" y="41"/>
                    </a:lnTo>
                    <a:lnTo>
                      <a:pt x="25" y="34"/>
                    </a:lnTo>
                    <a:lnTo>
                      <a:pt x="35" y="28"/>
                    </a:lnTo>
                    <a:lnTo>
                      <a:pt x="46" y="23"/>
                    </a:lnTo>
                    <a:lnTo>
                      <a:pt x="57" y="18"/>
                    </a:lnTo>
                    <a:lnTo>
                      <a:pt x="69" y="14"/>
                    </a:lnTo>
                    <a:lnTo>
                      <a:pt x="81" y="10"/>
                    </a:lnTo>
                    <a:lnTo>
                      <a:pt x="92" y="7"/>
                    </a:lnTo>
                    <a:lnTo>
                      <a:pt x="104" y="4"/>
                    </a:lnTo>
                    <a:lnTo>
                      <a:pt x="124" y="1"/>
                    </a:lnTo>
                    <a:lnTo>
                      <a:pt x="140" y="0"/>
                    </a:lnTo>
                    <a:lnTo>
                      <a:pt x="168" y="0"/>
                    </a:lnTo>
                    <a:lnTo>
                      <a:pt x="193" y="1"/>
                    </a:lnTo>
                    <a:lnTo>
                      <a:pt x="219" y="2"/>
                    </a:lnTo>
                    <a:lnTo>
                      <a:pt x="246" y="6"/>
                    </a:lnTo>
                    <a:lnTo>
                      <a:pt x="244" y="11"/>
                    </a:lnTo>
                    <a:lnTo>
                      <a:pt x="241" y="15"/>
                    </a:lnTo>
                    <a:lnTo>
                      <a:pt x="236" y="20"/>
                    </a:lnTo>
                    <a:lnTo>
                      <a:pt x="231" y="26"/>
                    </a:lnTo>
                    <a:lnTo>
                      <a:pt x="215" y="36"/>
                    </a:lnTo>
                    <a:lnTo>
                      <a:pt x="199" y="46"/>
                    </a:lnTo>
                    <a:lnTo>
                      <a:pt x="180" y="55"/>
                    </a:lnTo>
                    <a:lnTo>
                      <a:pt x="162" y="61"/>
                    </a:lnTo>
                    <a:lnTo>
                      <a:pt x="152" y="64"/>
                    </a:lnTo>
                    <a:lnTo>
                      <a:pt x="143" y="66"/>
                    </a:lnTo>
                    <a:lnTo>
                      <a:pt x="134" y="67"/>
                    </a:lnTo>
                    <a:lnTo>
                      <a:pt x="126" y="67"/>
                    </a:lnTo>
                    <a:lnTo>
                      <a:pt x="120" y="67"/>
                    </a:lnTo>
                    <a:lnTo>
                      <a:pt x="110" y="67"/>
                    </a:lnTo>
                    <a:lnTo>
                      <a:pt x="100" y="67"/>
                    </a:lnTo>
                    <a:lnTo>
                      <a:pt x="93" y="67"/>
                    </a:lnTo>
                    <a:lnTo>
                      <a:pt x="88" y="69"/>
                    </a:lnTo>
                    <a:lnTo>
                      <a:pt x="80" y="72"/>
                    </a:lnTo>
                    <a:lnTo>
                      <a:pt x="72" y="77"/>
                    </a:lnTo>
                    <a:lnTo>
                      <a:pt x="63" y="83"/>
                    </a:lnTo>
                    <a:lnTo>
                      <a:pt x="53" y="88"/>
                    </a:lnTo>
                    <a:lnTo>
                      <a:pt x="44" y="93"/>
                    </a:lnTo>
                    <a:lnTo>
                      <a:pt x="35" y="96"/>
                    </a:lnTo>
                    <a:lnTo>
                      <a:pt x="27" y="9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028" name="Freeform 424"/>
              <p:cNvSpPr>
                <a:spLocks/>
              </p:cNvSpPr>
              <p:nvPr/>
            </p:nvSpPr>
            <p:spPr bwMode="auto">
              <a:xfrm>
                <a:off x="1294" y="1248"/>
                <a:ext cx="76" cy="40"/>
              </a:xfrm>
              <a:custGeom>
                <a:avLst/>
                <a:gdLst>
                  <a:gd name="T0" fmla="*/ 11 w 233"/>
                  <a:gd name="T1" fmla="*/ 29 h 123"/>
                  <a:gd name="T2" fmla="*/ 3 w 233"/>
                  <a:gd name="T3" fmla="*/ 25 h 123"/>
                  <a:gd name="T4" fmla="*/ 0 w 233"/>
                  <a:gd name="T5" fmla="*/ 18 h 123"/>
                  <a:gd name="T6" fmla="*/ 7 w 233"/>
                  <a:gd name="T7" fmla="*/ 12 h 123"/>
                  <a:gd name="T8" fmla="*/ 13 w 233"/>
                  <a:gd name="T9" fmla="*/ 12 h 123"/>
                  <a:gd name="T10" fmla="*/ 20 w 233"/>
                  <a:gd name="T11" fmla="*/ 12 h 123"/>
                  <a:gd name="T12" fmla="*/ 23 w 233"/>
                  <a:gd name="T13" fmla="*/ 12 h 123"/>
                  <a:gd name="T14" fmla="*/ 27 w 233"/>
                  <a:gd name="T15" fmla="*/ 11 h 123"/>
                  <a:gd name="T16" fmla="*/ 34 w 233"/>
                  <a:gd name="T17" fmla="*/ 7 h 123"/>
                  <a:gd name="T18" fmla="*/ 40 w 233"/>
                  <a:gd name="T19" fmla="*/ 4 h 123"/>
                  <a:gd name="T20" fmla="*/ 48 w 233"/>
                  <a:gd name="T21" fmla="*/ 0 h 123"/>
                  <a:gd name="T22" fmla="*/ 53 w 233"/>
                  <a:gd name="T23" fmla="*/ 3 h 123"/>
                  <a:gd name="T24" fmla="*/ 59 w 233"/>
                  <a:gd name="T25" fmla="*/ 4 h 123"/>
                  <a:gd name="T26" fmla="*/ 62 w 233"/>
                  <a:gd name="T27" fmla="*/ 3 h 123"/>
                  <a:gd name="T28" fmla="*/ 66 w 233"/>
                  <a:gd name="T29" fmla="*/ 2 h 123"/>
                  <a:gd name="T30" fmla="*/ 69 w 233"/>
                  <a:gd name="T31" fmla="*/ 0 h 123"/>
                  <a:gd name="T32" fmla="*/ 76 w 233"/>
                  <a:gd name="T33" fmla="*/ 2 h 123"/>
                  <a:gd name="T34" fmla="*/ 74 w 233"/>
                  <a:gd name="T35" fmla="*/ 6 h 123"/>
                  <a:gd name="T36" fmla="*/ 71 w 233"/>
                  <a:gd name="T37" fmla="*/ 8 h 123"/>
                  <a:gd name="T38" fmla="*/ 68 w 233"/>
                  <a:gd name="T39" fmla="*/ 10 h 123"/>
                  <a:gd name="T40" fmla="*/ 66 w 233"/>
                  <a:gd name="T41" fmla="*/ 14 h 123"/>
                  <a:gd name="T42" fmla="*/ 67 w 233"/>
                  <a:gd name="T43" fmla="*/ 20 h 123"/>
                  <a:gd name="T44" fmla="*/ 60 w 233"/>
                  <a:gd name="T45" fmla="*/ 28 h 123"/>
                  <a:gd name="T46" fmla="*/ 51 w 233"/>
                  <a:gd name="T47" fmla="*/ 31 h 123"/>
                  <a:gd name="T48" fmla="*/ 45 w 233"/>
                  <a:gd name="T49" fmla="*/ 32 h 123"/>
                  <a:gd name="T50" fmla="*/ 38 w 233"/>
                  <a:gd name="T51" fmla="*/ 33 h 123"/>
                  <a:gd name="T52" fmla="*/ 31 w 233"/>
                  <a:gd name="T53" fmla="*/ 34 h 123"/>
                  <a:gd name="T54" fmla="*/ 27 w 233"/>
                  <a:gd name="T55" fmla="*/ 37 h 123"/>
                  <a:gd name="T56" fmla="*/ 22 w 233"/>
                  <a:gd name="T57" fmla="*/ 40 h 123"/>
                  <a:gd name="T58" fmla="*/ 19 w 233"/>
                  <a:gd name="T59" fmla="*/ 40 h 123"/>
                  <a:gd name="T60" fmla="*/ 17 w 233"/>
                  <a:gd name="T61" fmla="*/ 37 h 123"/>
                  <a:gd name="T62" fmla="*/ 16 w 233"/>
                  <a:gd name="T63" fmla="*/ 33 h 123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0" t="0" r="r" b="b"/>
                <a:pathLst>
                  <a:path w="233" h="123">
                    <a:moveTo>
                      <a:pt x="47" y="93"/>
                    </a:moveTo>
                    <a:lnTo>
                      <a:pt x="33" y="88"/>
                    </a:lnTo>
                    <a:lnTo>
                      <a:pt x="21" y="83"/>
                    </a:lnTo>
                    <a:lnTo>
                      <a:pt x="10" y="78"/>
                    </a:lnTo>
                    <a:lnTo>
                      <a:pt x="0" y="74"/>
                    </a:lnTo>
                    <a:lnTo>
                      <a:pt x="0" y="55"/>
                    </a:lnTo>
                    <a:lnTo>
                      <a:pt x="10" y="46"/>
                    </a:lnTo>
                    <a:lnTo>
                      <a:pt x="20" y="37"/>
                    </a:lnTo>
                    <a:lnTo>
                      <a:pt x="30" y="37"/>
                    </a:lnTo>
                    <a:lnTo>
                      <a:pt x="40" y="37"/>
                    </a:lnTo>
                    <a:lnTo>
                      <a:pt x="51" y="37"/>
                    </a:lnTo>
                    <a:lnTo>
                      <a:pt x="61" y="37"/>
                    </a:lnTo>
                    <a:lnTo>
                      <a:pt x="66" y="37"/>
                    </a:lnTo>
                    <a:lnTo>
                      <a:pt x="72" y="36"/>
                    </a:lnTo>
                    <a:lnTo>
                      <a:pt x="77" y="35"/>
                    </a:lnTo>
                    <a:lnTo>
                      <a:pt x="83" y="33"/>
                    </a:lnTo>
                    <a:lnTo>
                      <a:pt x="94" y="28"/>
                    </a:lnTo>
                    <a:lnTo>
                      <a:pt x="104" y="23"/>
                    </a:lnTo>
                    <a:lnTo>
                      <a:pt x="114" y="17"/>
                    </a:lnTo>
                    <a:lnTo>
                      <a:pt x="123" y="11"/>
                    </a:lnTo>
                    <a:lnTo>
                      <a:pt x="134" y="5"/>
                    </a:lnTo>
                    <a:lnTo>
                      <a:pt x="146" y="0"/>
                    </a:lnTo>
                    <a:lnTo>
                      <a:pt x="153" y="4"/>
                    </a:lnTo>
                    <a:lnTo>
                      <a:pt x="161" y="8"/>
                    </a:lnTo>
                    <a:lnTo>
                      <a:pt x="171" y="11"/>
                    </a:lnTo>
                    <a:lnTo>
                      <a:pt x="181" y="12"/>
                    </a:lnTo>
                    <a:lnTo>
                      <a:pt x="185" y="12"/>
                    </a:lnTo>
                    <a:lnTo>
                      <a:pt x="190" y="10"/>
                    </a:lnTo>
                    <a:lnTo>
                      <a:pt x="196" y="8"/>
                    </a:lnTo>
                    <a:lnTo>
                      <a:pt x="201" y="6"/>
                    </a:lnTo>
                    <a:lnTo>
                      <a:pt x="210" y="2"/>
                    </a:lnTo>
                    <a:lnTo>
                      <a:pt x="213" y="0"/>
                    </a:lnTo>
                    <a:lnTo>
                      <a:pt x="233" y="0"/>
                    </a:lnTo>
                    <a:lnTo>
                      <a:pt x="232" y="6"/>
                    </a:lnTo>
                    <a:lnTo>
                      <a:pt x="231" y="12"/>
                    </a:lnTo>
                    <a:lnTo>
                      <a:pt x="228" y="18"/>
                    </a:lnTo>
                    <a:lnTo>
                      <a:pt x="224" y="22"/>
                    </a:lnTo>
                    <a:lnTo>
                      <a:pt x="219" y="25"/>
                    </a:lnTo>
                    <a:lnTo>
                      <a:pt x="213" y="28"/>
                    </a:lnTo>
                    <a:lnTo>
                      <a:pt x="207" y="30"/>
                    </a:lnTo>
                    <a:lnTo>
                      <a:pt x="200" y="30"/>
                    </a:lnTo>
                    <a:lnTo>
                      <a:pt x="201" y="43"/>
                    </a:lnTo>
                    <a:lnTo>
                      <a:pt x="204" y="52"/>
                    </a:lnTo>
                    <a:lnTo>
                      <a:pt x="206" y="62"/>
                    </a:lnTo>
                    <a:lnTo>
                      <a:pt x="207" y="74"/>
                    </a:lnTo>
                    <a:lnTo>
                      <a:pt x="185" y="85"/>
                    </a:lnTo>
                    <a:lnTo>
                      <a:pt x="166" y="93"/>
                    </a:lnTo>
                    <a:lnTo>
                      <a:pt x="157" y="96"/>
                    </a:lnTo>
                    <a:lnTo>
                      <a:pt x="149" y="98"/>
                    </a:lnTo>
                    <a:lnTo>
                      <a:pt x="139" y="98"/>
                    </a:lnTo>
                    <a:lnTo>
                      <a:pt x="127" y="99"/>
                    </a:lnTo>
                    <a:lnTo>
                      <a:pt x="116" y="100"/>
                    </a:lnTo>
                    <a:lnTo>
                      <a:pt x="105" y="103"/>
                    </a:lnTo>
                    <a:lnTo>
                      <a:pt x="96" y="106"/>
                    </a:lnTo>
                    <a:lnTo>
                      <a:pt x="88" y="111"/>
                    </a:lnTo>
                    <a:lnTo>
                      <a:pt x="82" y="115"/>
                    </a:lnTo>
                    <a:lnTo>
                      <a:pt x="74" y="119"/>
                    </a:lnTo>
                    <a:lnTo>
                      <a:pt x="67" y="122"/>
                    </a:lnTo>
                    <a:lnTo>
                      <a:pt x="61" y="123"/>
                    </a:lnTo>
                    <a:lnTo>
                      <a:pt x="58" y="122"/>
                    </a:lnTo>
                    <a:lnTo>
                      <a:pt x="55" y="119"/>
                    </a:lnTo>
                    <a:lnTo>
                      <a:pt x="53" y="115"/>
                    </a:lnTo>
                    <a:lnTo>
                      <a:pt x="51" y="110"/>
                    </a:lnTo>
                    <a:lnTo>
                      <a:pt x="48" y="100"/>
                    </a:lnTo>
                    <a:lnTo>
                      <a:pt x="47" y="9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029" name="Freeform 425"/>
              <p:cNvSpPr>
                <a:spLocks/>
              </p:cNvSpPr>
              <p:nvPr/>
            </p:nvSpPr>
            <p:spPr bwMode="auto">
              <a:xfrm>
                <a:off x="983" y="1236"/>
                <a:ext cx="157" cy="56"/>
              </a:xfrm>
              <a:custGeom>
                <a:avLst/>
                <a:gdLst>
                  <a:gd name="T0" fmla="*/ 0 w 484"/>
                  <a:gd name="T1" fmla="*/ 48 h 172"/>
                  <a:gd name="T2" fmla="*/ 1 w 484"/>
                  <a:gd name="T3" fmla="*/ 51 h 172"/>
                  <a:gd name="T4" fmla="*/ 3 w 484"/>
                  <a:gd name="T5" fmla="*/ 53 h 172"/>
                  <a:gd name="T6" fmla="*/ 6 w 484"/>
                  <a:gd name="T7" fmla="*/ 54 h 172"/>
                  <a:gd name="T8" fmla="*/ 10 w 484"/>
                  <a:gd name="T9" fmla="*/ 55 h 172"/>
                  <a:gd name="T10" fmla="*/ 17 w 484"/>
                  <a:gd name="T11" fmla="*/ 56 h 172"/>
                  <a:gd name="T12" fmla="*/ 24 w 484"/>
                  <a:gd name="T13" fmla="*/ 56 h 172"/>
                  <a:gd name="T14" fmla="*/ 32 w 484"/>
                  <a:gd name="T15" fmla="*/ 54 h 172"/>
                  <a:gd name="T16" fmla="*/ 45 w 484"/>
                  <a:gd name="T17" fmla="*/ 51 h 172"/>
                  <a:gd name="T18" fmla="*/ 61 w 484"/>
                  <a:gd name="T19" fmla="*/ 44 h 172"/>
                  <a:gd name="T20" fmla="*/ 78 w 484"/>
                  <a:gd name="T21" fmla="*/ 37 h 172"/>
                  <a:gd name="T22" fmla="*/ 93 w 484"/>
                  <a:gd name="T23" fmla="*/ 33 h 172"/>
                  <a:gd name="T24" fmla="*/ 114 w 484"/>
                  <a:gd name="T25" fmla="*/ 28 h 172"/>
                  <a:gd name="T26" fmla="*/ 130 w 484"/>
                  <a:gd name="T27" fmla="*/ 24 h 172"/>
                  <a:gd name="T28" fmla="*/ 141 w 484"/>
                  <a:gd name="T29" fmla="*/ 21 h 172"/>
                  <a:gd name="T30" fmla="*/ 150 w 484"/>
                  <a:gd name="T31" fmla="*/ 17 h 172"/>
                  <a:gd name="T32" fmla="*/ 154 w 484"/>
                  <a:gd name="T33" fmla="*/ 14 h 172"/>
                  <a:gd name="T34" fmla="*/ 156 w 484"/>
                  <a:gd name="T35" fmla="*/ 11 h 172"/>
                  <a:gd name="T36" fmla="*/ 146 w 484"/>
                  <a:gd name="T37" fmla="*/ 8 h 172"/>
                  <a:gd name="T38" fmla="*/ 126 w 484"/>
                  <a:gd name="T39" fmla="*/ 5 h 172"/>
                  <a:gd name="T40" fmla="*/ 107 w 484"/>
                  <a:gd name="T41" fmla="*/ 2 h 172"/>
                  <a:gd name="T42" fmla="*/ 88 w 484"/>
                  <a:gd name="T43" fmla="*/ 0 h 172"/>
                  <a:gd name="T44" fmla="*/ 73 w 484"/>
                  <a:gd name="T45" fmla="*/ 0 h 172"/>
                  <a:gd name="T46" fmla="*/ 66 w 484"/>
                  <a:gd name="T47" fmla="*/ 1 h 172"/>
                  <a:gd name="T48" fmla="*/ 60 w 484"/>
                  <a:gd name="T49" fmla="*/ 3 h 172"/>
                  <a:gd name="T50" fmla="*/ 57 w 484"/>
                  <a:gd name="T51" fmla="*/ 2 h 172"/>
                  <a:gd name="T52" fmla="*/ 55 w 484"/>
                  <a:gd name="T53" fmla="*/ 1 h 172"/>
                  <a:gd name="T54" fmla="*/ 54 w 484"/>
                  <a:gd name="T55" fmla="*/ 3 h 172"/>
                  <a:gd name="T56" fmla="*/ 52 w 484"/>
                  <a:gd name="T57" fmla="*/ 8 h 172"/>
                  <a:gd name="T58" fmla="*/ 50 w 484"/>
                  <a:gd name="T59" fmla="*/ 12 h 172"/>
                  <a:gd name="T60" fmla="*/ 47 w 484"/>
                  <a:gd name="T61" fmla="*/ 15 h 172"/>
                  <a:gd name="T62" fmla="*/ 41 w 484"/>
                  <a:gd name="T63" fmla="*/ 19 h 172"/>
                  <a:gd name="T64" fmla="*/ 31 w 484"/>
                  <a:gd name="T65" fmla="*/ 22 h 172"/>
                  <a:gd name="T66" fmla="*/ 21 w 484"/>
                  <a:gd name="T67" fmla="*/ 25 h 172"/>
                  <a:gd name="T68" fmla="*/ 12 w 484"/>
                  <a:gd name="T69" fmla="*/ 29 h 172"/>
                  <a:gd name="T70" fmla="*/ 6 w 484"/>
                  <a:gd name="T71" fmla="*/ 32 h 172"/>
                  <a:gd name="T72" fmla="*/ 3 w 484"/>
                  <a:gd name="T73" fmla="*/ 35 h 172"/>
                  <a:gd name="T74" fmla="*/ 1 w 484"/>
                  <a:gd name="T75" fmla="*/ 39 h 172"/>
                  <a:gd name="T76" fmla="*/ 0 w 484"/>
                  <a:gd name="T77" fmla="*/ 44 h 172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0" t="0" r="r" b="b"/>
                <a:pathLst>
                  <a:path w="484" h="172">
                    <a:moveTo>
                      <a:pt x="0" y="142"/>
                    </a:moveTo>
                    <a:lnTo>
                      <a:pt x="0" y="147"/>
                    </a:lnTo>
                    <a:lnTo>
                      <a:pt x="1" y="152"/>
                    </a:lnTo>
                    <a:lnTo>
                      <a:pt x="3" y="156"/>
                    </a:lnTo>
                    <a:lnTo>
                      <a:pt x="6" y="159"/>
                    </a:lnTo>
                    <a:lnTo>
                      <a:pt x="9" y="162"/>
                    </a:lnTo>
                    <a:lnTo>
                      <a:pt x="13" y="165"/>
                    </a:lnTo>
                    <a:lnTo>
                      <a:pt x="17" y="167"/>
                    </a:lnTo>
                    <a:lnTo>
                      <a:pt x="21" y="168"/>
                    </a:lnTo>
                    <a:lnTo>
                      <a:pt x="31" y="170"/>
                    </a:lnTo>
                    <a:lnTo>
                      <a:pt x="41" y="172"/>
                    </a:lnTo>
                    <a:lnTo>
                      <a:pt x="51" y="172"/>
                    </a:lnTo>
                    <a:lnTo>
                      <a:pt x="59" y="172"/>
                    </a:lnTo>
                    <a:lnTo>
                      <a:pt x="73" y="172"/>
                    </a:lnTo>
                    <a:lnTo>
                      <a:pt x="86" y="170"/>
                    </a:lnTo>
                    <a:lnTo>
                      <a:pt x="99" y="167"/>
                    </a:lnTo>
                    <a:lnTo>
                      <a:pt x="113" y="164"/>
                    </a:lnTo>
                    <a:lnTo>
                      <a:pt x="139" y="156"/>
                    </a:lnTo>
                    <a:lnTo>
                      <a:pt x="164" y="146"/>
                    </a:lnTo>
                    <a:lnTo>
                      <a:pt x="189" y="135"/>
                    </a:lnTo>
                    <a:lnTo>
                      <a:pt x="215" y="124"/>
                    </a:lnTo>
                    <a:lnTo>
                      <a:pt x="240" y="113"/>
                    </a:lnTo>
                    <a:lnTo>
                      <a:pt x="265" y="104"/>
                    </a:lnTo>
                    <a:lnTo>
                      <a:pt x="287" y="100"/>
                    </a:lnTo>
                    <a:lnTo>
                      <a:pt x="316" y="94"/>
                    </a:lnTo>
                    <a:lnTo>
                      <a:pt x="350" y="87"/>
                    </a:lnTo>
                    <a:lnTo>
                      <a:pt x="385" y="80"/>
                    </a:lnTo>
                    <a:lnTo>
                      <a:pt x="401" y="75"/>
                    </a:lnTo>
                    <a:lnTo>
                      <a:pt x="418" y="70"/>
                    </a:lnTo>
                    <a:lnTo>
                      <a:pt x="434" y="64"/>
                    </a:lnTo>
                    <a:lnTo>
                      <a:pt x="449" y="58"/>
                    </a:lnTo>
                    <a:lnTo>
                      <a:pt x="461" y="52"/>
                    </a:lnTo>
                    <a:lnTo>
                      <a:pt x="471" y="46"/>
                    </a:lnTo>
                    <a:lnTo>
                      <a:pt x="475" y="42"/>
                    </a:lnTo>
                    <a:lnTo>
                      <a:pt x="479" y="39"/>
                    </a:lnTo>
                    <a:lnTo>
                      <a:pt x="482" y="35"/>
                    </a:lnTo>
                    <a:lnTo>
                      <a:pt x="484" y="31"/>
                    </a:lnTo>
                    <a:lnTo>
                      <a:pt x="449" y="26"/>
                    </a:lnTo>
                    <a:lnTo>
                      <a:pt x="417" y="21"/>
                    </a:lnTo>
                    <a:lnTo>
                      <a:pt x="387" y="16"/>
                    </a:lnTo>
                    <a:lnTo>
                      <a:pt x="359" y="10"/>
                    </a:lnTo>
                    <a:lnTo>
                      <a:pt x="331" y="6"/>
                    </a:lnTo>
                    <a:lnTo>
                      <a:pt x="303" y="3"/>
                    </a:lnTo>
                    <a:lnTo>
                      <a:pt x="272" y="0"/>
                    </a:lnTo>
                    <a:lnTo>
                      <a:pt x="239" y="0"/>
                    </a:lnTo>
                    <a:lnTo>
                      <a:pt x="225" y="0"/>
                    </a:lnTo>
                    <a:lnTo>
                      <a:pt x="213" y="2"/>
                    </a:lnTo>
                    <a:lnTo>
                      <a:pt x="203" y="4"/>
                    </a:lnTo>
                    <a:lnTo>
                      <a:pt x="195" y="6"/>
                    </a:lnTo>
                    <a:lnTo>
                      <a:pt x="186" y="8"/>
                    </a:lnTo>
                    <a:lnTo>
                      <a:pt x="180" y="7"/>
                    </a:lnTo>
                    <a:lnTo>
                      <a:pt x="176" y="6"/>
                    </a:lnTo>
                    <a:lnTo>
                      <a:pt x="173" y="5"/>
                    </a:lnTo>
                    <a:lnTo>
                      <a:pt x="169" y="3"/>
                    </a:lnTo>
                    <a:lnTo>
                      <a:pt x="165" y="0"/>
                    </a:lnTo>
                    <a:lnTo>
                      <a:pt x="165" y="8"/>
                    </a:lnTo>
                    <a:lnTo>
                      <a:pt x="163" y="17"/>
                    </a:lnTo>
                    <a:lnTo>
                      <a:pt x="161" y="24"/>
                    </a:lnTo>
                    <a:lnTo>
                      <a:pt x="159" y="31"/>
                    </a:lnTo>
                    <a:lnTo>
                      <a:pt x="154" y="36"/>
                    </a:lnTo>
                    <a:lnTo>
                      <a:pt x="150" y="42"/>
                    </a:lnTo>
                    <a:lnTo>
                      <a:pt x="144" y="46"/>
                    </a:lnTo>
                    <a:lnTo>
                      <a:pt x="139" y="50"/>
                    </a:lnTo>
                    <a:lnTo>
                      <a:pt x="127" y="58"/>
                    </a:lnTo>
                    <a:lnTo>
                      <a:pt x="113" y="63"/>
                    </a:lnTo>
                    <a:lnTo>
                      <a:pt x="97" y="69"/>
                    </a:lnTo>
                    <a:lnTo>
                      <a:pt x="82" y="73"/>
                    </a:lnTo>
                    <a:lnTo>
                      <a:pt x="66" y="78"/>
                    </a:lnTo>
                    <a:lnTo>
                      <a:pt x="52" y="82"/>
                    </a:lnTo>
                    <a:lnTo>
                      <a:pt x="38" y="88"/>
                    </a:lnTo>
                    <a:lnTo>
                      <a:pt x="25" y="94"/>
                    </a:lnTo>
                    <a:lnTo>
                      <a:pt x="19" y="98"/>
                    </a:lnTo>
                    <a:lnTo>
                      <a:pt x="15" y="103"/>
                    </a:lnTo>
                    <a:lnTo>
                      <a:pt x="10" y="107"/>
                    </a:lnTo>
                    <a:lnTo>
                      <a:pt x="6" y="113"/>
                    </a:lnTo>
                    <a:lnTo>
                      <a:pt x="3" y="119"/>
                    </a:lnTo>
                    <a:lnTo>
                      <a:pt x="1" y="126"/>
                    </a:lnTo>
                    <a:lnTo>
                      <a:pt x="0" y="134"/>
                    </a:lnTo>
                    <a:lnTo>
                      <a:pt x="0" y="14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030" name="Freeform 426"/>
              <p:cNvSpPr>
                <a:spLocks/>
              </p:cNvSpPr>
              <p:nvPr/>
            </p:nvSpPr>
            <p:spPr bwMode="auto">
              <a:xfrm>
                <a:off x="1043" y="1255"/>
                <a:ext cx="221" cy="79"/>
              </a:xfrm>
              <a:custGeom>
                <a:avLst/>
                <a:gdLst>
                  <a:gd name="T0" fmla="*/ 102 w 684"/>
                  <a:gd name="T1" fmla="*/ 2 h 240"/>
                  <a:gd name="T2" fmla="*/ 98 w 684"/>
                  <a:gd name="T3" fmla="*/ 9 h 240"/>
                  <a:gd name="T4" fmla="*/ 96 w 684"/>
                  <a:gd name="T5" fmla="*/ 13 h 240"/>
                  <a:gd name="T6" fmla="*/ 97 w 684"/>
                  <a:gd name="T7" fmla="*/ 14 h 240"/>
                  <a:gd name="T8" fmla="*/ 109 w 684"/>
                  <a:gd name="T9" fmla="*/ 13 h 240"/>
                  <a:gd name="T10" fmla="*/ 120 w 684"/>
                  <a:gd name="T11" fmla="*/ 6 h 240"/>
                  <a:gd name="T12" fmla="*/ 122 w 684"/>
                  <a:gd name="T13" fmla="*/ 13 h 240"/>
                  <a:gd name="T14" fmla="*/ 122 w 684"/>
                  <a:gd name="T15" fmla="*/ 18 h 240"/>
                  <a:gd name="T16" fmla="*/ 131 w 684"/>
                  <a:gd name="T17" fmla="*/ 23 h 240"/>
                  <a:gd name="T18" fmla="*/ 165 w 684"/>
                  <a:gd name="T19" fmla="*/ 17 h 240"/>
                  <a:gd name="T20" fmla="*/ 166 w 684"/>
                  <a:gd name="T21" fmla="*/ 23 h 240"/>
                  <a:gd name="T22" fmla="*/ 175 w 684"/>
                  <a:gd name="T23" fmla="*/ 21 h 240"/>
                  <a:gd name="T24" fmla="*/ 180 w 684"/>
                  <a:gd name="T25" fmla="*/ 15 h 240"/>
                  <a:gd name="T26" fmla="*/ 180 w 684"/>
                  <a:gd name="T27" fmla="*/ 6 h 240"/>
                  <a:gd name="T28" fmla="*/ 182 w 684"/>
                  <a:gd name="T29" fmla="*/ 3 h 240"/>
                  <a:gd name="T30" fmla="*/ 187 w 684"/>
                  <a:gd name="T31" fmla="*/ 0 h 240"/>
                  <a:gd name="T32" fmla="*/ 202 w 684"/>
                  <a:gd name="T33" fmla="*/ 1 h 240"/>
                  <a:gd name="T34" fmla="*/ 208 w 684"/>
                  <a:gd name="T35" fmla="*/ 0 h 240"/>
                  <a:gd name="T36" fmla="*/ 212 w 684"/>
                  <a:gd name="T37" fmla="*/ 13 h 240"/>
                  <a:gd name="T38" fmla="*/ 211 w 684"/>
                  <a:gd name="T39" fmla="*/ 23 h 240"/>
                  <a:gd name="T40" fmla="*/ 206 w 684"/>
                  <a:gd name="T41" fmla="*/ 33 h 240"/>
                  <a:gd name="T42" fmla="*/ 200 w 684"/>
                  <a:gd name="T43" fmla="*/ 41 h 240"/>
                  <a:gd name="T44" fmla="*/ 209 w 684"/>
                  <a:gd name="T45" fmla="*/ 45 h 240"/>
                  <a:gd name="T46" fmla="*/ 217 w 684"/>
                  <a:gd name="T47" fmla="*/ 48 h 240"/>
                  <a:gd name="T48" fmla="*/ 221 w 684"/>
                  <a:gd name="T49" fmla="*/ 59 h 240"/>
                  <a:gd name="T50" fmla="*/ 206 w 684"/>
                  <a:gd name="T51" fmla="*/ 61 h 240"/>
                  <a:gd name="T52" fmla="*/ 196 w 684"/>
                  <a:gd name="T53" fmla="*/ 60 h 240"/>
                  <a:gd name="T54" fmla="*/ 185 w 684"/>
                  <a:gd name="T55" fmla="*/ 59 h 240"/>
                  <a:gd name="T56" fmla="*/ 182 w 684"/>
                  <a:gd name="T57" fmla="*/ 61 h 240"/>
                  <a:gd name="T58" fmla="*/ 175 w 684"/>
                  <a:gd name="T59" fmla="*/ 66 h 240"/>
                  <a:gd name="T60" fmla="*/ 169 w 684"/>
                  <a:gd name="T61" fmla="*/ 69 h 240"/>
                  <a:gd name="T62" fmla="*/ 159 w 684"/>
                  <a:gd name="T63" fmla="*/ 69 h 240"/>
                  <a:gd name="T64" fmla="*/ 146 w 684"/>
                  <a:gd name="T65" fmla="*/ 67 h 240"/>
                  <a:gd name="T66" fmla="*/ 136 w 684"/>
                  <a:gd name="T67" fmla="*/ 65 h 240"/>
                  <a:gd name="T68" fmla="*/ 109 w 684"/>
                  <a:gd name="T69" fmla="*/ 69 h 240"/>
                  <a:gd name="T70" fmla="*/ 75 w 684"/>
                  <a:gd name="T71" fmla="*/ 76 h 240"/>
                  <a:gd name="T72" fmla="*/ 55 w 684"/>
                  <a:gd name="T73" fmla="*/ 78 h 240"/>
                  <a:gd name="T74" fmla="*/ 40 w 684"/>
                  <a:gd name="T75" fmla="*/ 78 h 240"/>
                  <a:gd name="T76" fmla="*/ 32 w 684"/>
                  <a:gd name="T77" fmla="*/ 75 h 240"/>
                  <a:gd name="T78" fmla="*/ 22 w 684"/>
                  <a:gd name="T79" fmla="*/ 68 h 240"/>
                  <a:gd name="T80" fmla="*/ 9 w 684"/>
                  <a:gd name="T81" fmla="*/ 65 h 240"/>
                  <a:gd name="T82" fmla="*/ 0 w 684"/>
                  <a:gd name="T83" fmla="*/ 57 h 240"/>
                  <a:gd name="T84" fmla="*/ 21 w 684"/>
                  <a:gd name="T85" fmla="*/ 52 h 240"/>
                  <a:gd name="T86" fmla="*/ 32 w 684"/>
                  <a:gd name="T87" fmla="*/ 51 h 240"/>
                  <a:gd name="T88" fmla="*/ 50 w 684"/>
                  <a:gd name="T89" fmla="*/ 53 h 240"/>
                  <a:gd name="T90" fmla="*/ 65 w 684"/>
                  <a:gd name="T91" fmla="*/ 54 h 240"/>
                  <a:gd name="T92" fmla="*/ 72 w 684"/>
                  <a:gd name="T93" fmla="*/ 53 h 240"/>
                  <a:gd name="T94" fmla="*/ 8 w 684"/>
                  <a:gd name="T95" fmla="*/ 45 h 240"/>
                  <a:gd name="T96" fmla="*/ 17 w 684"/>
                  <a:gd name="T97" fmla="*/ 42 h 240"/>
                  <a:gd name="T98" fmla="*/ 35 w 684"/>
                  <a:gd name="T99" fmla="*/ 39 h 240"/>
                  <a:gd name="T100" fmla="*/ 53 w 684"/>
                  <a:gd name="T101" fmla="*/ 36 h 240"/>
                  <a:gd name="T102" fmla="*/ 60 w 684"/>
                  <a:gd name="T103" fmla="*/ 33 h 240"/>
                  <a:gd name="T104" fmla="*/ 54 w 684"/>
                  <a:gd name="T105" fmla="*/ 31 h 240"/>
                  <a:gd name="T106" fmla="*/ 40 w 684"/>
                  <a:gd name="T107" fmla="*/ 32 h 240"/>
                  <a:gd name="T108" fmla="*/ 23 w 684"/>
                  <a:gd name="T109" fmla="*/ 36 h 240"/>
                  <a:gd name="T110" fmla="*/ 17 w 684"/>
                  <a:gd name="T111" fmla="*/ 35 h 240"/>
                  <a:gd name="T112" fmla="*/ 18 w 684"/>
                  <a:gd name="T113" fmla="*/ 30 h 240"/>
                  <a:gd name="T114" fmla="*/ 17 w 684"/>
                  <a:gd name="T115" fmla="*/ 27 h 240"/>
                  <a:gd name="T116" fmla="*/ 19 w 684"/>
                  <a:gd name="T117" fmla="*/ 26 h 240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684" h="240">
                    <a:moveTo>
                      <a:pt x="60" y="75"/>
                    </a:moveTo>
                    <a:lnTo>
                      <a:pt x="320" y="0"/>
                    </a:lnTo>
                    <a:lnTo>
                      <a:pt x="317" y="5"/>
                    </a:lnTo>
                    <a:lnTo>
                      <a:pt x="314" y="13"/>
                    </a:lnTo>
                    <a:lnTo>
                      <a:pt x="310" y="20"/>
                    </a:lnTo>
                    <a:lnTo>
                      <a:pt x="304" y="27"/>
                    </a:lnTo>
                    <a:lnTo>
                      <a:pt x="300" y="33"/>
                    </a:lnTo>
                    <a:lnTo>
                      <a:pt x="297" y="39"/>
                    </a:lnTo>
                    <a:lnTo>
                      <a:pt x="297" y="41"/>
                    </a:lnTo>
                    <a:lnTo>
                      <a:pt x="297" y="42"/>
                    </a:lnTo>
                    <a:lnTo>
                      <a:pt x="298" y="43"/>
                    </a:lnTo>
                    <a:lnTo>
                      <a:pt x="299" y="43"/>
                    </a:lnTo>
                    <a:lnTo>
                      <a:pt x="315" y="43"/>
                    </a:lnTo>
                    <a:lnTo>
                      <a:pt x="327" y="41"/>
                    </a:lnTo>
                    <a:lnTo>
                      <a:pt x="337" y="39"/>
                    </a:lnTo>
                    <a:lnTo>
                      <a:pt x="346" y="36"/>
                    </a:lnTo>
                    <a:lnTo>
                      <a:pt x="359" y="28"/>
                    </a:lnTo>
                    <a:lnTo>
                      <a:pt x="372" y="19"/>
                    </a:lnTo>
                    <a:lnTo>
                      <a:pt x="376" y="26"/>
                    </a:lnTo>
                    <a:lnTo>
                      <a:pt x="378" y="32"/>
                    </a:lnTo>
                    <a:lnTo>
                      <a:pt x="379" y="38"/>
                    </a:lnTo>
                    <a:lnTo>
                      <a:pt x="378" y="44"/>
                    </a:lnTo>
                    <a:lnTo>
                      <a:pt x="378" y="49"/>
                    </a:lnTo>
                    <a:lnTo>
                      <a:pt x="377" y="55"/>
                    </a:lnTo>
                    <a:lnTo>
                      <a:pt x="378" y="61"/>
                    </a:lnTo>
                    <a:lnTo>
                      <a:pt x="379" y="69"/>
                    </a:lnTo>
                    <a:lnTo>
                      <a:pt x="405" y="69"/>
                    </a:lnTo>
                    <a:lnTo>
                      <a:pt x="512" y="19"/>
                    </a:lnTo>
                    <a:lnTo>
                      <a:pt x="511" y="36"/>
                    </a:lnTo>
                    <a:lnTo>
                      <a:pt x="511" y="51"/>
                    </a:lnTo>
                    <a:lnTo>
                      <a:pt x="511" y="58"/>
                    </a:lnTo>
                    <a:lnTo>
                      <a:pt x="512" y="65"/>
                    </a:lnTo>
                    <a:lnTo>
                      <a:pt x="514" y="70"/>
                    </a:lnTo>
                    <a:lnTo>
                      <a:pt x="518" y="75"/>
                    </a:lnTo>
                    <a:lnTo>
                      <a:pt x="531" y="68"/>
                    </a:lnTo>
                    <a:lnTo>
                      <a:pt x="541" y="63"/>
                    </a:lnTo>
                    <a:lnTo>
                      <a:pt x="549" y="57"/>
                    </a:lnTo>
                    <a:lnTo>
                      <a:pt x="553" y="51"/>
                    </a:lnTo>
                    <a:lnTo>
                      <a:pt x="557" y="45"/>
                    </a:lnTo>
                    <a:lnTo>
                      <a:pt x="558" y="38"/>
                    </a:lnTo>
                    <a:lnTo>
                      <a:pt x="558" y="30"/>
                    </a:lnTo>
                    <a:lnTo>
                      <a:pt x="558" y="19"/>
                    </a:lnTo>
                    <a:lnTo>
                      <a:pt x="559" y="15"/>
                    </a:lnTo>
                    <a:lnTo>
                      <a:pt x="560" y="11"/>
                    </a:lnTo>
                    <a:lnTo>
                      <a:pt x="563" y="8"/>
                    </a:lnTo>
                    <a:lnTo>
                      <a:pt x="566" y="5"/>
                    </a:lnTo>
                    <a:lnTo>
                      <a:pt x="572" y="1"/>
                    </a:lnTo>
                    <a:lnTo>
                      <a:pt x="579" y="0"/>
                    </a:lnTo>
                    <a:lnTo>
                      <a:pt x="600" y="1"/>
                    </a:lnTo>
                    <a:lnTo>
                      <a:pt x="616" y="2"/>
                    </a:lnTo>
                    <a:lnTo>
                      <a:pt x="624" y="3"/>
                    </a:lnTo>
                    <a:lnTo>
                      <a:pt x="630" y="3"/>
                    </a:lnTo>
                    <a:lnTo>
                      <a:pt x="637" y="2"/>
                    </a:lnTo>
                    <a:lnTo>
                      <a:pt x="645" y="0"/>
                    </a:lnTo>
                    <a:lnTo>
                      <a:pt x="650" y="15"/>
                    </a:lnTo>
                    <a:lnTo>
                      <a:pt x="653" y="28"/>
                    </a:lnTo>
                    <a:lnTo>
                      <a:pt x="657" y="39"/>
                    </a:lnTo>
                    <a:lnTo>
                      <a:pt x="658" y="50"/>
                    </a:lnTo>
                    <a:lnTo>
                      <a:pt x="657" y="59"/>
                    </a:lnTo>
                    <a:lnTo>
                      <a:pt x="653" y="70"/>
                    </a:lnTo>
                    <a:lnTo>
                      <a:pt x="649" y="81"/>
                    </a:lnTo>
                    <a:lnTo>
                      <a:pt x="643" y="91"/>
                    </a:lnTo>
                    <a:lnTo>
                      <a:pt x="637" y="101"/>
                    </a:lnTo>
                    <a:lnTo>
                      <a:pt x="630" y="110"/>
                    </a:lnTo>
                    <a:lnTo>
                      <a:pt x="624" y="119"/>
                    </a:lnTo>
                    <a:lnTo>
                      <a:pt x="618" y="124"/>
                    </a:lnTo>
                    <a:lnTo>
                      <a:pt x="628" y="130"/>
                    </a:lnTo>
                    <a:lnTo>
                      <a:pt x="638" y="134"/>
                    </a:lnTo>
                    <a:lnTo>
                      <a:pt x="648" y="137"/>
                    </a:lnTo>
                    <a:lnTo>
                      <a:pt x="657" y="139"/>
                    </a:lnTo>
                    <a:lnTo>
                      <a:pt x="664" y="142"/>
                    </a:lnTo>
                    <a:lnTo>
                      <a:pt x="672" y="145"/>
                    </a:lnTo>
                    <a:lnTo>
                      <a:pt x="679" y="149"/>
                    </a:lnTo>
                    <a:lnTo>
                      <a:pt x="684" y="154"/>
                    </a:lnTo>
                    <a:lnTo>
                      <a:pt x="684" y="180"/>
                    </a:lnTo>
                    <a:lnTo>
                      <a:pt x="665" y="183"/>
                    </a:lnTo>
                    <a:lnTo>
                      <a:pt x="650" y="185"/>
                    </a:lnTo>
                    <a:lnTo>
                      <a:pt x="639" y="185"/>
                    </a:lnTo>
                    <a:lnTo>
                      <a:pt x="629" y="184"/>
                    </a:lnTo>
                    <a:lnTo>
                      <a:pt x="619" y="183"/>
                    </a:lnTo>
                    <a:lnTo>
                      <a:pt x="608" y="181"/>
                    </a:lnTo>
                    <a:lnTo>
                      <a:pt x="595" y="180"/>
                    </a:lnTo>
                    <a:lnTo>
                      <a:pt x="579" y="180"/>
                    </a:lnTo>
                    <a:lnTo>
                      <a:pt x="574" y="180"/>
                    </a:lnTo>
                    <a:lnTo>
                      <a:pt x="571" y="181"/>
                    </a:lnTo>
                    <a:lnTo>
                      <a:pt x="568" y="182"/>
                    </a:lnTo>
                    <a:lnTo>
                      <a:pt x="564" y="184"/>
                    </a:lnTo>
                    <a:lnTo>
                      <a:pt x="557" y="189"/>
                    </a:lnTo>
                    <a:lnTo>
                      <a:pt x="550" y="195"/>
                    </a:lnTo>
                    <a:lnTo>
                      <a:pt x="542" y="200"/>
                    </a:lnTo>
                    <a:lnTo>
                      <a:pt x="534" y="205"/>
                    </a:lnTo>
                    <a:lnTo>
                      <a:pt x="528" y="207"/>
                    </a:lnTo>
                    <a:lnTo>
                      <a:pt x="524" y="209"/>
                    </a:lnTo>
                    <a:lnTo>
                      <a:pt x="518" y="210"/>
                    </a:lnTo>
                    <a:lnTo>
                      <a:pt x="512" y="210"/>
                    </a:lnTo>
                    <a:lnTo>
                      <a:pt x="493" y="209"/>
                    </a:lnTo>
                    <a:lnTo>
                      <a:pt x="478" y="208"/>
                    </a:lnTo>
                    <a:lnTo>
                      <a:pt x="463" y="206"/>
                    </a:lnTo>
                    <a:lnTo>
                      <a:pt x="452" y="204"/>
                    </a:lnTo>
                    <a:lnTo>
                      <a:pt x="441" y="202"/>
                    </a:lnTo>
                    <a:lnTo>
                      <a:pt x="432" y="200"/>
                    </a:lnTo>
                    <a:lnTo>
                      <a:pt x="422" y="198"/>
                    </a:lnTo>
                    <a:lnTo>
                      <a:pt x="412" y="198"/>
                    </a:lnTo>
                    <a:lnTo>
                      <a:pt x="389" y="202"/>
                    </a:lnTo>
                    <a:lnTo>
                      <a:pt x="337" y="211"/>
                    </a:lnTo>
                    <a:lnTo>
                      <a:pt x="283" y="221"/>
                    </a:lnTo>
                    <a:lnTo>
                      <a:pt x="253" y="228"/>
                    </a:lnTo>
                    <a:lnTo>
                      <a:pt x="231" y="230"/>
                    </a:lnTo>
                    <a:lnTo>
                      <a:pt x="209" y="232"/>
                    </a:lnTo>
                    <a:lnTo>
                      <a:pt x="189" y="235"/>
                    </a:lnTo>
                    <a:lnTo>
                      <a:pt x="169" y="238"/>
                    </a:lnTo>
                    <a:lnTo>
                      <a:pt x="150" y="240"/>
                    </a:lnTo>
                    <a:lnTo>
                      <a:pt x="132" y="239"/>
                    </a:lnTo>
                    <a:lnTo>
                      <a:pt x="124" y="238"/>
                    </a:lnTo>
                    <a:lnTo>
                      <a:pt x="115" y="236"/>
                    </a:lnTo>
                    <a:lnTo>
                      <a:pt x="108" y="233"/>
                    </a:lnTo>
                    <a:lnTo>
                      <a:pt x="100" y="228"/>
                    </a:lnTo>
                    <a:lnTo>
                      <a:pt x="100" y="210"/>
                    </a:lnTo>
                    <a:lnTo>
                      <a:pt x="84" y="209"/>
                    </a:lnTo>
                    <a:lnTo>
                      <a:pt x="67" y="208"/>
                    </a:lnTo>
                    <a:lnTo>
                      <a:pt x="53" y="205"/>
                    </a:lnTo>
                    <a:lnTo>
                      <a:pt x="41" y="201"/>
                    </a:lnTo>
                    <a:lnTo>
                      <a:pt x="29" y="196"/>
                    </a:lnTo>
                    <a:lnTo>
                      <a:pt x="18" y="189"/>
                    </a:lnTo>
                    <a:lnTo>
                      <a:pt x="9" y="182"/>
                    </a:lnTo>
                    <a:lnTo>
                      <a:pt x="0" y="173"/>
                    </a:lnTo>
                    <a:lnTo>
                      <a:pt x="28" y="167"/>
                    </a:lnTo>
                    <a:lnTo>
                      <a:pt x="53" y="161"/>
                    </a:lnTo>
                    <a:lnTo>
                      <a:pt x="64" y="159"/>
                    </a:lnTo>
                    <a:lnTo>
                      <a:pt x="76" y="156"/>
                    </a:lnTo>
                    <a:lnTo>
                      <a:pt x="88" y="155"/>
                    </a:lnTo>
                    <a:lnTo>
                      <a:pt x="100" y="154"/>
                    </a:lnTo>
                    <a:lnTo>
                      <a:pt x="121" y="155"/>
                    </a:lnTo>
                    <a:lnTo>
                      <a:pt x="140" y="157"/>
                    </a:lnTo>
                    <a:lnTo>
                      <a:pt x="156" y="160"/>
                    </a:lnTo>
                    <a:lnTo>
                      <a:pt x="171" y="162"/>
                    </a:lnTo>
                    <a:lnTo>
                      <a:pt x="186" y="164"/>
                    </a:lnTo>
                    <a:lnTo>
                      <a:pt x="201" y="165"/>
                    </a:lnTo>
                    <a:lnTo>
                      <a:pt x="209" y="164"/>
                    </a:lnTo>
                    <a:lnTo>
                      <a:pt x="216" y="164"/>
                    </a:lnTo>
                    <a:lnTo>
                      <a:pt x="224" y="162"/>
                    </a:lnTo>
                    <a:lnTo>
                      <a:pt x="233" y="160"/>
                    </a:lnTo>
                    <a:lnTo>
                      <a:pt x="126" y="142"/>
                    </a:lnTo>
                    <a:lnTo>
                      <a:pt x="26" y="136"/>
                    </a:lnTo>
                    <a:lnTo>
                      <a:pt x="34" y="133"/>
                    </a:lnTo>
                    <a:lnTo>
                      <a:pt x="42" y="130"/>
                    </a:lnTo>
                    <a:lnTo>
                      <a:pt x="52" y="128"/>
                    </a:lnTo>
                    <a:lnTo>
                      <a:pt x="62" y="125"/>
                    </a:lnTo>
                    <a:lnTo>
                      <a:pt x="85" y="122"/>
                    </a:lnTo>
                    <a:lnTo>
                      <a:pt x="109" y="117"/>
                    </a:lnTo>
                    <a:lnTo>
                      <a:pt x="133" y="114"/>
                    </a:lnTo>
                    <a:lnTo>
                      <a:pt x="155" y="110"/>
                    </a:lnTo>
                    <a:lnTo>
                      <a:pt x="165" y="108"/>
                    </a:lnTo>
                    <a:lnTo>
                      <a:pt x="174" y="105"/>
                    </a:lnTo>
                    <a:lnTo>
                      <a:pt x="180" y="102"/>
                    </a:lnTo>
                    <a:lnTo>
                      <a:pt x="187" y="99"/>
                    </a:lnTo>
                    <a:lnTo>
                      <a:pt x="180" y="96"/>
                    </a:lnTo>
                    <a:lnTo>
                      <a:pt x="172" y="94"/>
                    </a:lnTo>
                    <a:lnTo>
                      <a:pt x="166" y="93"/>
                    </a:lnTo>
                    <a:lnTo>
                      <a:pt x="158" y="93"/>
                    </a:lnTo>
                    <a:lnTo>
                      <a:pt x="142" y="95"/>
                    </a:lnTo>
                    <a:lnTo>
                      <a:pt x="125" y="98"/>
                    </a:lnTo>
                    <a:lnTo>
                      <a:pt x="107" y="102"/>
                    </a:lnTo>
                    <a:lnTo>
                      <a:pt x="89" y="107"/>
                    </a:lnTo>
                    <a:lnTo>
                      <a:pt x="71" y="110"/>
                    </a:lnTo>
                    <a:lnTo>
                      <a:pt x="54" y="111"/>
                    </a:lnTo>
                    <a:lnTo>
                      <a:pt x="52" y="110"/>
                    </a:lnTo>
                    <a:lnTo>
                      <a:pt x="52" y="106"/>
                    </a:lnTo>
                    <a:lnTo>
                      <a:pt x="53" y="102"/>
                    </a:lnTo>
                    <a:lnTo>
                      <a:pt x="54" y="96"/>
                    </a:lnTo>
                    <a:lnTo>
                      <a:pt x="55" y="90"/>
                    </a:lnTo>
                    <a:lnTo>
                      <a:pt x="55" y="86"/>
                    </a:lnTo>
                    <a:lnTo>
                      <a:pt x="55" y="82"/>
                    </a:lnTo>
                    <a:lnTo>
                      <a:pt x="54" y="81"/>
                    </a:lnTo>
                    <a:lnTo>
                      <a:pt x="55" y="81"/>
                    </a:lnTo>
                    <a:lnTo>
                      <a:pt x="57" y="80"/>
                    </a:lnTo>
                    <a:lnTo>
                      <a:pt x="59" y="78"/>
                    </a:lnTo>
                    <a:lnTo>
                      <a:pt x="60" y="75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031" name="Freeform 427"/>
              <p:cNvSpPr>
                <a:spLocks/>
              </p:cNvSpPr>
              <p:nvPr/>
            </p:nvSpPr>
            <p:spPr bwMode="auto">
              <a:xfrm>
                <a:off x="1645" y="1643"/>
                <a:ext cx="108" cy="93"/>
              </a:xfrm>
              <a:custGeom>
                <a:avLst/>
                <a:gdLst>
                  <a:gd name="T0" fmla="*/ 59 w 332"/>
                  <a:gd name="T1" fmla="*/ 12 h 287"/>
                  <a:gd name="T2" fmla="*/ 66 w 332"/>
                  <a:gd name="T3" fmla="*/ 8 h 287"/>
                  <a:gd name="T4" fmla="*/ 74 w 332"/>
                  <a:gd name="T5" fmla="*/ 2 h 287"/>
                  <a:gd name="T6" fmla="*/ 78 w 332"/>
                  <a:gd name="T7" fmla="*/ 0 h 287"/>
                  <a:gd name="T8" fmla="*/ 80 w 332"/>
                  <a:gd name="T9" fmla="*/ 0 h 287"/>
                  <a:gd name="T10" fmla="*/ 80 w 332"/>
                  <a:gd name="T11" fmla="*/ 4 h 287"/>
                  <a:gd name="T12" fmla="*/ 76 w 332"/>
                  <a:gd name="T13" fmla="*/ 11 h 287"/>
                  <a:gd name="T14" fmla="*/ 71 w 332"/>
                  <a:gd name="T15" fmla="*/ 18 h 287"/>
                  <a:gd name="T16" fmla="*/ 66 w 332"/>
                  <a:gd name="T17" fmla="*/ 22 h 287"/>
                  <a:gd name="T18" fmla="*/ 62 w 332"/>
                  <a:gd name="T19" fmla="*/ 23 h 287"/>
                  <a:gd name="T20" fmla="*/ 62 w 332"/>
                  <a:gd name="T21" fmla="*/ 24 h 287"/>
                  <a:gd name="T22" fmla="*/ 65 w 332"/>
                  <a:gd name="T23" fmla="*/ 24 h 287"/>
                  <a:gd name="T24" fmla="*/ 70 w 332"/>
                  <a:gd name="T25" fmla="*/ 23 h 287"/>
                  <a:gd name="T26" fmla="*/ 73 w 332"/>
                  <a:gd name="T27" fmla="*/ 25 h 287"/>
                  <a:gd name="T28" fmla="*/ 71 w 332"/>
                  <a:gd name="T29" fmla="*/ 29 h 287"/>
                  <a:gd name="T30" fmla="*/ 70 w 332"/>
                  <a:gd name="T31" fmla="*/ 31 h 287"/>
                  <a:gd name="T32" fmla="*/ 71 w 332"/>
                  <a:gd name="T33" fmla="*/ 34 h 287"/>
                  <a:gd name="T34" fmla="*/ 81 w 332"/>
                  <a:gd name="T35" fmla="*/ 37 h 287"/>
                  <a:gd name="T36" fmla="*/ 100 w 332"/>
                  <a:gd name="T37" fmla="*/ 40 h 287"/>
                  <a:gd name="T38" fmla="*/ 105 w 332"/>
                  <a:gd name="T39" fmla="*/ 42 h 287"/>
                  <a:gd name="T40" fmla="*/ 102 w 332"/>
                  <a:gd name="T41" fmla="*/ 45 h 287"/>
                  <a:gd name="T42" fmla="*/ 99 w 332"/>
                  <a:gd name="T43" fmla="*/ 48 h 287"/>
                  <a:gd name="T44" fmla="*/ 97 w 332"/>
                  <a:gd name="T45" fmla="*/ 50 h 287"/>
                  <a:gd name="T46" fmla="*/ 98 w 332"/>
                  <a:gd name="T47" fmla="*/ 52 h 287"/>
                  <a:gd name="T48" fmla="*/ 100 w 332"/>
                  <a:gd name="T49" fmla="*/ 54 h 287"/>
                  <a:gd name="T50" fmla="*/ 104 w 332"/>
                  <a:gd name="T51" fmla="*/ 57 h 287"/>
                  <a:gd name="T52" fmla="*/ 107 w 332"/>
                  <a:gd name="T53" fmla="*/ 60 h 287"/>
                  <a:gd name="T54" fmla="*/ 94 w 332"/>
                  <a:gd name="T55" fmla="*/ 68 h 287"/>
                  <a:gd name="T56" fmla="*/ 78 w 332"/>
                  <a:gd name="T57" fmla="*/ 78 h 287"/>
                  <a:gd name="T58" fmla="*/ 67 w 332"/>
                  <a:gd name="T59" fmla="*/ 87 h 287"/>
                  <a:gd name="T60" fmla="*/ 56 w 332"/>
                  <a:gd name="T61" fmla="*/ 79 h 287"/>
                  <a:gd name="T62" fmla="*/ 59 w 332"/>
                  <a:gd name="T63" fmla="*/ 79 h 287"/>
                  <a:gd name="T64" fmla="*/ 61 w 332"/>
                  <a:gd name="T65" fmla="*/ 78 h 287"/>
                  <a:gd name="T66" fmla="*/ 65 w 332"/>
                  <a:gd name="T67" fmla="*/ 75 h 287"/>
                  <a:gd name="T68" fmla="*/ 48 w 332"/>
                  <a:gd name="T69" fmla="*/ 75 h 287"/>
                  <a:gd name="T70" fmla="*/ 33 w 332"/>
                  <a:gd name="T71" fmla="*/ 75 h 287"/>
                  <a:gd name="T72" fmla="*/ 19 w 332"/>
                  <a:gd name="T73" fmla="*/ 75 h 287"/>
                  <a:gd name="T74" fmla="*/ 9 w 332"/>
                  <a:gd name="T75" fmla="*/ 75 h 287"/>
                  <a:gd name="T76" fmla="*/ 4 w 332"/>
                  <a:gd name="T77" fmla="*/ 74 h 287"/>
                  <a:gd name="T78" fmla="*/ 1 w 332"/>
                  <a:gd name="T79" fmla="*/ 72 h 287"/>
                  <a:gd name="T80" fmla="*/ 0 w 332"/>
                  <a:gd name="T81" fmla="*/ 69 h 287"/>
                  <a:gd name="T82" fmla="*/ 1 w 332"/>
                  <a:gd name="T83" fmla="*/ 66 h 287"/>
                  <a:gd name="T84" fmla="*/ 4 w 332"/>
                  <a:gd name="T85" fmla="*/ 64 h 287"/>
                  <a:gd name="T86" fmla="*/ 13 w 332"/>
                  <a:gd name="T87" fmla="*/ 58 h 287"/>
                  <a:gd name="T88" fmla="*/ 24 w 332"/>
                  <a:gd name="T89" fmla="*/ 52 h 287"/>
                  <a:gd name="T90" fmla="*/ 28 w 332"/>
                  <a:gd name="T91" fmla="*/ 49 h 287"/>
                  <a:gd name="T92" fmla="*/ 30 w 332"/>
                  <a:gd name="T93" fmla="*/ 47 h 287"/>
                  <a:gd name="T94" fmla="*/ 34 w 332"/>
                  <a:gd name="T95" fmla="*/ 42 h 287"/>
                  <a:gd name="T96" fmla="*/ 38 w 332"/>
                  <a:gd name="T97" fmla="*/ 37 h 287"/>
                  <a:gd name="T98" fmla="*/ 42 w 332"/>
                  <a:gd name="T99" fmla="*/ 26 h 287"/>
                  <a:gd name="T100" fmla="*/ 45 w 332"/>
                  <a:gd name="T101" fmla="*/ 21 h 287"/>
                  <a:gd name="T102" fmla="*/ 48 w 332"/>
                  <a:gd name="T103" fmla="*/ 17 h 287"/>
                  <a:gd name="T104" fmla="*/ 51 w 332"/>
                  <a:gd name="T105" fmla="*/ 14 h 287"/>
                  <a:gd name="T106" fmla="*/ 56 w 332"/>
                  <a:gd name="T107" fmla="*/ 13 h 287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0" t="0" r="r" b="b"/>
                <a:pathLst>
                  <a:path w="332" h="287">
                    <a:moveTo>
                      <a:pt x="173" y="40"/>
                    </a:moveTo>
                    <a:lnTo>
                      <a:pt x="180" y="38"/>
                    </a:lnTo>
                    <a:lnTo>
                      <a:pt x="190" y="32"/>
                    </a:lnTo>
                    <a:lnTo>
                      <a:pt x="202" y="24"/>
                    </a:lnTo>
                    <a:lnTo>
                      <a:pt x="215" y="15"/>
                    </a:lnTo>
                    <a:lnTo>
                      <a:pt x="226" y="7"/>
                    </a:lnTo>
                    <a:lnTo>
                      <a:pt x="237" y="2"/>
                    </a:lnTo>
                    <a:lnTo>
                      <a:pt x="240" y="1"/>
                    </a:lnTo>
                    <a:lnTo>
                      <a:pt x="243" y="0"/>
                    </a:lnTo>
                    <a:lnTo>
                      <a:pt x="246" y="1"/>
                    </a:lnTo>
                    <a:lnTo>
                      <a:pt x="246" y="4"/>
                    </a:lnTo>
                    <a:lnTo>
                      <a:pt x="245" y="12"/>
                    </a:lnTo>
                    <a:lnTo>
                      <a:pt x="240" y="22"/>
                    </a:lnTo>
                    <a:lnTo>
                      <a:pt x="234" y="33"/>
                    </a:lnTo>
                    <a:lnTo>
                      <a:pt x="226" y="44"/>
                    </a:lnTo>
                    <a:lnTo>
                      <a:pt x="217" y="55"/>
                    </a:lnTo>
                    <a:lnTo>
                      <a:pt x="207" y="64"/>
                    </a:lnTo>
                    <a:lnTo>
                      <a:pt x="202" y="67"/>
                    </a:lnTo>
                    <a:lnTo>
                      <a:pt x="196" y="69"/>
                    </a:lnTo>
                    <a:lnTo>
                      <a:pt x="191" y="71"/>
                    </a:lnTo>
                    <a:lnTo>
                      <a:pt x="186" y="71"/>
                    </a:lnTo>
                    <a:lnTo>
                      <a:pt x="191" y="73"/>
                    </a:lnTo>
                    <a:lnTo>
                      <a:pt x="196" y="74"/>
                    </a:lnTo>
                    <a:lnTo>
                      <a:pt x="201" y="74"/>
                    </a:lnTo>
                    <a:lnTo>
                      <a:pt x="206" y="74"/>
                    </a:lnTo>
                    <a:lnTo>
                      <a:pt x="216" y="72"/>
                    </a:lnTo>
                    <a:lnTo>
                      <a:pt x="226" y="71"/>
                    </a:lnTo>
                    <a:lnTo>
                      <a:pt x="224" y="77"/>
                    </a:lnTo>
                    <a:lnTo>
                      <a:pt x="219" y="84"/>
                    </a:lnTo>
                    <a:lnTo>
                      <a:pt x="217" y="88"/>
                    </a:lnTo>
                    <a:lnTo>
                      <a:pt x="215" y="93"/>
                    </a:lnTo>
                    <a:lnTo>
                      <a:pt x="214" y="97"/>
                    </a:lnTo>
                    <a:lnTo>
                      <a:pt x="213" y="102"/>
                    </a:lnTo>
                    <a:lnTo>
                      <a:pt x="217" y="105"/>
                    </a:lnTo>
                    <a:lnTo>
                      <a:pt x="230" y="109"/>
                    </a:lnTo>
                    <a:lnTo>
                      <a:pt x="249" y="113"/>
                    </a:lnTo>
                    <a:lnTo>
                      <a:pt x="269" y="117"/>
                    </a:lnTo>
                    <a:lnTo>
                      <a:pt x="308" y="124"/>
                    </a:lnTo>
                    <a:lnTo>
                      <a:pt x="326" y="127"/>
                    </a:lnTo>
                    <a:lnTo>
                      <a:pt x="322" y="131"/>
                    </a:lnTo>
                    <a:lnTo>
                      <a:pt x="319" y="136"/>
                    </a:lnTo>
                    <a:lnTo>
                      <a:pt x="315" y="140"/>
                    </a:lnTo>
                    <a:lnTo>
                      <a:pt x="310" y="144"/>
                    </a:lnTo>
                    <a:lnTo>
                      <a:pt x="303" y="149"/>
                    </a:lnTo>
                    <a:lnTo>
                      <a:pt x="299" y="151"/>
                    </a:lnTo>
                    <a:lnTo>
                      <a:pt x="299" y="154"/>
                    </a:lnTo>
                    <a:lnTo>
                      <a:pt x="301" y="157"/>
                    </a:lnTo>
                    <a:lnTo>
                      <a:pt x="302" y="160"/>
                    </a:lnTo>
                    <a:lnTo>
                      <a:pt x="304" y="164"/>
                    </a:lnTo>
                    <a:lnTo>
                      <a:pt x="308" y="168"/>
                    </a:lnTo>
                    <a:lnTo>
                      <a:pt x="314" y="173"/>
                    </a:lnTo>
                    <a:lnTo>
                      <a:pt x="319" y="176"/>
                    </a:lnTo>
                    <a:lnTo>
                      <a:pt x="325" y="180"/>
                    </a:lnTo>
                    <a:lnTo>
                      <a:pt x="329" y="184"/>
                    </a:lnTo>
                    <a:lnTo>
                      <a:pt x="332" y="188"/>
                    </a:lnTo>
                    <a:lnTo>
                      <a:pt x="290" y="211"/>
                    </a:lnTo>
                    <a:lnTo>
                      <a:pt x="257" y="231"/>
                    </a:lnTo>
                    <a:lnTo>
                      <a:pt x="241" y="241"/>
                    </a:lnTo>
                    <a:lnTo>
                      <a:pt x="225" y="253"/>
                    </a:lnTo>
                    <a:lnTo>
                      <a:pt x="207" y="268"/>
                    </a:lnTo>
                    <a:lnTo>
                      <a:pt x="186" y="287"/>
                    </a:lnTo>
                    <a:lnTo>
                      <a:pt x="173" y="244"/>
                    </a:lnTo>
                    <a:lnTo>
                      <a:pt x="178" y="244"/>
                    </a:lnTo>
                    <a:lnTo>
                      <a:pt x="182" y="243"/>
                    </a:lnTo>
                    <a:lnTo>
                      <a:pt x="185" y="242"/>
                    </a:lnTo>
                    <a:lnTo>
                      <a:pt x="189" y="240"/>
                    </a:lnTo>
                    <a:lnTo>
                      <a:pt x="194" y="236"/>
                    </a:lnTo>
                    <a:lnTo>
                      <a:pt x="200" y="232"/>
                    </a:lnTo>
                    <a:lnTo>
                      <a:pt x="174" y="232"/>
                    </a:lnTo>
                    <a:lnTo>
                      <a:pt x="149" y="232"/>
                    </a:lnTo>
                    <a:lnTo>
                      <a:pt x="125" y="232"/>
                    </a:lnTo>
                    <a:lnTo>
                      <a:pt x="101" y="232"/>
                    </a:lnTo>
                    <a:lnTo>
                      <a:pt x="79" y="232"/>
                    </a:lnTo>
                    <a:lnTo>
                      <a:pt x="58" y="232"/>
                    </a:lnTo>
                    <a:lnTo>
                      <a:pt x="41" y="232"/>
                    </a:lnTo>
                    <a:lnTo>
                      <a:pt x="27" y="232"/>
                    </a:lnTo>
                    <a:lnTo>
                      <a:pt x="19" y="231"/>
                    </a:lnTo>
                    <a:lnTo>
                      <a:pt x="11" y="227"/>
                    </a:lnTo>
                    <a:lnTo>
                      <a:pt x="6" y="225"/>
                    </a:lnTo>
                    <a:lnTo>
                      <a:pt x="3" y="222"/>
                    </a:lnTo>
                    <a:lnTo>
                      <a:pt x="1" y="218"/>
                    </a:lnTo>
                    <a:lnTo>
                      <a:pt x="0" y="213"/>
                    </a:lnTo>
                    <a:lnTo>
                      <a:pt x="1" y="209"/>
                    </a:lnTo>
                    <a:lnTo>
                      <a:pt x="4" y="205"/>
                    </a:lnTo>
                    <a:lnTo>
                      <a:pt x="7" y="201"/>
                    </a:lnTo>
                    <a:lnTo>
                      <a:pt x="13" y="197"/>
                    </a:lnTo>
                    <a:lnTo>
                      <a:pt x="26" y="188"/>
                    </a:lnTo>
                    <a:lnTo>
                      <a:pt x="41" y="179"/>
                    </a:lnTo>
                    <a:lnTo>
                      <a:pt x="58" y="170"/>
                    </a:lnTo>
                    <a:lnTo>
                      <a:pt x="73" y="162"/>
                    </a:lnTo>
                    <a:lnTo>
                      <a:pt x="80" y="156"/>
                    </a:lnTo>
                    <a:lnTo>
                      <a:pt x="85" y="152"/>
                    </a:lnTo>
                    <a:lnTo>
                      <a:pt x="90" y="149"/>
                    </a:lnTo>
                    <a:lnTo>
                      <a:pt x="93" y="145"/>
                    </a:lnTo>
                    <a:lnTo>
                      <a:pt x="100" y="138"/>
                    </a:lnTo>
                    <a:lnTo>
                      <a:pt x="106" y="130"/>
                    </a:lnTo>
                    <a:lnTo>
                      <a:pt x="112" y="122"/>
                    </a:lnTo>
                    <a:lnTo>
                      <a:pt x="116" y="114"/>
                    </a:lnTo>
                    <a:lnTo>
                      <a:pt x="124" y="96"/>
                    </a:lnTo>
                    <a:lnTo>
                      <a:pt x="130" y="79"/>
                    </a:lnTo>
                    <a:lnTo>
                      <a:pt x="134" y="71"/>
                    </a:lnTo>
                    <a:lnTo>
                      <a:pt x="138" y="64"/>
                    </a:lnTo>
                    <a:lnTo>
                      <a:pt x="141" y="58"/>
                    </a:lnTo>
                    <a:lnTo>
                      <a:pt x="147" y="52"/>
                    </a:lnTo>
                    <a:lnTo>
                      <a:pt x="151" y="47"/>
                    </a:lnTo>
                    <a:lnTo>
                      <a:pt x="158" y="43"/>
                    </a:lnTo>
                    <a:lnTo>
                      <a:pt x="164" y="41"/>
                    </a:lnTo>
                    <a:lnTo>
                      <a:pt x="173" y="4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032" name="Freeform 428"/>
              <p:cNvSpPr>
                <a:spLocks/>
              </p:cNvSpPr>
              <p:nvPr/>
            </p:nvSpPr>
            <p:spPr bwMode="auto">
              <a:xfrm>
                <a:off x="1102" y="1190"/>
                <a:ext cx="111" cy="27"/>
              </a:xfrm>
              <a:custGeom>
                <a:avLst/>
                <a:gdLst>
                  <a:gd name="T0" fmla="*/ 34 w 345"/>
                  <a:gd name="T1" fmla="*/ 27 h 86"/>
                  <a:gd name="T2" fmla="*/ 38 w 345"/>
                  <a:gd name="T3" fmla="*/ 25 h 86"/>
                  <a:gd name="T4" fmla="*/ 43 w 345"/>
                  <a:gd name="T5" fmla="*/ 24 h 86"/>
                  <a:gd name="T6" fmla="*/ 48 w 345"/>
                  <a:gd name="T7" fmla="*/ 23 h 86"/>
                  <a:gd name="T8" fmla="*/ 53 w 345"/>
                  <a:gd name="T9" fmla="*/ 22 h 86"/>
                  <a:gd name="T10" fmla="*/ 63 w 345"/>
                  <a:gd name="T11" fmla="*/ 20 h 86"/>
                  <a:gd name="T12" fmla="*/ 74 w 345"/>
                  <a:gd name="T13" fmla="*/ 18 h 86"/>
                  <a:gd name="T14" fmla="*/ 79 w 345"/>
                  <a:gd name="T15" fmla="*/ 17 h 86"/>
                  <a:gd name="T16" fmla="*/ 85 w 345"/>
                  <a:gd name="T17" fmla="*/ 16 h 86"/>
                  <a:gd name="T18" fmla="*/ 90 w 345"/>
                  <a:gd name="T19" fmla="*/ 14 h 86"/>
                  <a:gd name="T20" fmla="*/ 95 w 345"/>
                  <a:gd name="T21" fmla="*/ 13 h 86"/>
                  <a:gd name="T22" fmla="*/ 99 w 345"/>
                  <a:gd name="T23" fmla="*/ 11 h 86"/>
                  <a:gd name="T24" fmla="*/ 104 w 345"/>
                  <a:gd name="T25" fmla="*/ 9 h 86"/>
                  <a:gd name="T26" fmla="*/ 107 w 345"/>
                  <a:gd name="T27" fmla="*/ 7 h 86"/>
                  <a:gd name="T28" fmla="*/ 111 w 345"/>
                  <a:gd name="T29" fmla="*/ 4 h 86"/>
                  <a:gd name="T30" fmla="*/ 108 w 345"/>
                  <a:gd name="T31" fmla="*/ 4 h 86"/>
                  <a:gd name="T32" fmla="*/ 105 w 345"/>
                  <a:gd name="T33" fmla="*/ 3 h 86"/>
                  <a:gd name="T34" fmla="*/ 102 w 345"/>
                  <a:gd name="T35" fmla="*/ 3 h 86"/>
                  <a:gd name="T36" fmla="*/ 99 w 345"/>
                  <a:gd name="T37" fmla="*/ 2 h 86"/>
                  <a:gd name="T38" fmla="*/ 97 w 345"/>
                  <a:gd name="T39" fmla="*/ 1 h 86"/>
                  <a:gd name="T40" fmla="*/ 94 w 345"/>
                  <a:gd name="T41" fmla="*/ 1 h 86"/>
                  <a:gd name="T42" fmla="*/ 90 w 345"/>
                  <a:gd name="T43" fmla="*/ 0 h 86"/>
                  <a:gd name="T44" fmla="*/ 88 w 345"/>
                  <a:gd name="T45" fmla="*/ 0 h 86"/>
                  <a:gd name="T46" fmla="*/ 83 w 345"/>
                  <a:gd name="T47" fmla="*/ 0 h 86"/>
                  <a:gd name="T48" fmla="*/ 79 w 345"/>
                  <a:gd name="T49" fmla="*/ 1 h 86"/>
                  <a:gd name="T50" fmla="*/ 73 w 345"/>
                  <a:gd name="T51" fmla="*/ 2 h 86"/>
                  <a:gd name="T52" fmla="*/ 67 w 345"/>
                  <a:gd name="T53" fmla="*/ 3 h 86"/>
                  <a:gd name="T54" fmla="*/ 54 w 345"/>
                  <a:gd name="T55" fmla="*/ 6 h 86"/>
                  <a:gd name="T56" fmla="*/ 41 w 345"/>
                  <a:gd name="T57" fmla="*/ 9 h 86"/>
                  <a:gd name="T58" fmla="*/ 33 w 345"/>
                  <a:gd name="T59" fmla="*/ 11 h 86"/>
                  <a:gd name="T60" fmla="*/ 27 w 345"/>
                  <a:gd name="T61" fmla="*/ 13 h 86"/>
                  <a:gd name="T62" fmla="*/ 21 w 345"/>
                  <a:gd name="T63" fmla="*/ 16 h 86"/>
                  <a:gd name="T64" fmla="*/ 15 w 345"/>
                  <a:gd name="T65" fmla="*/ 18 h 86"/>
                  <a:gd name="T66" fmla="*/ 10 w 345"/>
                  <a:gd name="T67" fmla="*/ 20 h 86"/>
                  <a:gd name="T68" fmla="*/ 6 w 345"/>
                  <a:gd name="T69" fmla="*/ 23 h 86"/>
                  <a:gd name="T70" fmla="*/ 3 w 345"/>
                  <a:gd name="T71" fmla="*/ 25 h 86"/>
                  <a:gd name="T72" fmla="*/ 0 w 345"/>
                  <a:gd name="T73" fmla="*/ 27 h 86"/>
                  <a:gd name="T74" fmla="*/ 34 w 345"/>
                  <a:gd name="T75" fmla="*/ 27 h 8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345" h="86">
                    <a:moveTo>
                      <a:pt x="106" y="86"/>
                    </a:moveTo>
                    <a:lnTo>
                      <a:pt x="119" y="81"/>
                    </a:lnTo>
                    <a:lnTo>
                      <a:pt x="133" y="76"/>
                    </a:lnTo>
                    <a:lnTo>
                      <a:pt x="148" y="72"/>
                    </a:lnTo>
                    <a:lnTo>
                      <a:pt x="164" y="69"/>
                    </a:lnTo>
                    <a:lnTo>
                      <a:pt x="197" y="63"/>
                    </a:lnTo>
                    <a:lnTo>
                      <a:pt x="231" y="57"/>
                    </a:lnTo>
                    <a:lnTo>
                      <a:pt x="247" y="53"/>
                    </a:lnTo>
                    <a:lnTo>
                      <a:pt x="264" y="50"/>
                    </a:lnTo>
                    <a:lnTo>
                      <a:pt x="279" y="46"/>
                    </a:lnTo>
                    <a:lnTo>
                      <a:pt x="294" y="40"/>
                    </a:lnTo>
                    <a:lnTo>
                      <a:pt x="309" y="35"/>
                    </a:lnTo>
                    <a:lnTo>
                      <a:pt x="322" y="28"/>
                    </a:lnTo>
                    <a:lnTo>
                      <a:pt x="334" y="21"/>
                    </a:lnTo>
                    <a:lnTo>
                      <a:pt x="345" y="13"/>
                    </a:lnTo>
                    <a:lnTo>
                      <a:pt x="335" y="12"/>
                    </a:lnTo>
                    <a:lnTo>
                      <a:pt x="326" y="11"/>
                    </a:lnTo>
                    <a:lnTo>
                      <a:pt x="317" y="9"/>
                    </a:lnTo>
                    <a:lnTo>
                      <a:pt x="309" y="6"/>
                    </a:lnTo>
                    <a:lnTo>
                      <a:pt x="300" y="4"/>
                    </a:lnTo>
                    <a:lnTo>
                      <a:pt x="291" y="2"/>
                    </a:lnTo>
                    <a:lnTo>
                      <a:pt x="281" y="1"/>
                    </a:lnTo>
                    <a:lnTo>
                      <a:pt x="272" y="0"/>
                    </a:lnTo>
                    <a:lnTo>
                      <a:pt x="259" y="1"/>
                    </a:lnTo>
                    <a:lnTo>
                      <a:pt x="245" y="3"/>
                    </a:lnTo>
                    <a:lnTo>
                      <a:pt x="227" y="5"/>
                    </a:lnTo>
                    <a:lnTo>
                      <a:pt x="209" y="9"/>
                    </a:lnTo>
                    <a:lnTo>
                      <a:pt x="168" y="18"/>
                    </a:lnTo>
                    <a:lnTo>
                      <a:pt x="126" y="29"/>
                    </a:lnTo>
                    <a:lnTo>
                      <a:pt x="104" y="36"/>
                    </a:lnTo>
                    <a:lnTo>
                      <a:pt x="85" y="42"/>
                    </a:lnTo>
                    <a:lnTo>
                      <a:pt x="66" y="50"/>
                    </a:lnTo>
                    <a:lnTo>
                      <a:pt x="47" y="58"/>
                    </a:lnTo>
                    <a:lnTo>
                      <a:pt x="32" y="65"/>
                    </a:lnTo>
                    <a:lnTo>
                      <a:pt x="19" y="72"/>
                    </a:lnTo>
                    <a:lnTo>
                      <a:pt x="8" y="79"/>
                    </a:lnTo>
                    <a:lnTo>
                      <a:pt x="0" y="86"/>
                    </a:lnTo>
                    <a:lnTo>
                      <a:pt x="106" y="8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033" name="Freeform 429"/>
              <p:cNvSpPr>
                <a:spLocks/>
              </p:cNvSpPr>
              <p:nvPr/>
            </p:nvSpPr>
            <p:spPr bwMode="auto">
              <a:xfrm>
                <a:off x="1158" y="1199"/>
                <a:ext cx="149" cy="43"/>
              </a:xfrm>
              <a:custGeom>
                <a:avLst/>
                <a:gdLst>
                  <a:gd name="T0" fmla="*/ 6 w 464"/>
                  <a:gd name="T1" fmla="*/ 28 h 130"/>
                  <a:gd name="T2" fmla="*/ 25 w 464"/>
                  <a:gd name="T3" fmla="*/ 27 h 130"/>
                  <a:gd name="T4" fmla="*/ 33 w 464"/>
                  <a:gd name="T5" fmla="*/ 27 h 130"/>
                  <a:gd name="T6" fmla="*/ 30 w 464"/>
                  <a:gd name="T7" fmla="*/ 29 h 130"/>
                  <a:gd name="T8" fmla="*/ 26 w 464"/>
                  <a:gd name="T9" fmla="*/ 33 h 130"/>
                  <a:gd name="T10" fmla="*/ 23 w 464"/>
                  <a:gd name="T11" fmla="*/ 37 h 130"/>
                  <a:gd name="T12" fmla="*/ 23 w 464"/>
                  <a:gd name="T13" fmla="*/ 39 h 130"/>
                  <a:gd name="T14" fmla="*/ 25 w 464"/>
                  <a:gd name="T15" fmla="*/ 41 h 130"/>
                  <a:gd name="T16" fmla="*/ 30 w 464"/>
                  <a:gd name="T17" fmla="*/ 43 h 130"/>
                  <a:gd name="T18" fmla="*/ 35 w 464"/>
                  <a:gd name="T19" fmla="*/ 43 h 130"/>
                  <a:gd name="T20" fmla="*/ 41 w 464"/>
                  <a:gd name="T21" fmla="*/ 42 h 130"/>
                  <a:gd name="T22" fmla="*/ 50 w 464"/>
                  <a:gd name="T23" fmla="*/ 39 h 130"/>
                  <a:gd name="T24" fmla="*/ 63 w 464"/>
                  <a:gd name="T25" fmla="*/ 36 h 130"/>
                  <a:gd name="T26" fmla="*/ 73 w 464"/>
                  <a:gd name="T27" fmla="*/ 33 h 130"/>
                  <a:gd name="T28" fmla="*/ 80 w 464"/>
                  <a:gd name="T29" fmla="*/ 33 h 130"/>
                  <a:gd name="T30" fmla="*/ 85 w 464"/>
                  <a:gd name="T31" fmla="*/ 33 h 130"/>
                  <a:gd name="T32" fmla="*/ 98 w 464"/>
                  <a:gd name="T33" fmla="*/ 33 h 130"/>
                  <a:gd name="T34" fmla="*/ 107 w 464"/>
                  <a:gd name="T35" fmla="*/ 32 h 130"/>
                  <a:gd name="T36" fmla="*/ 121 w 464"/>
                  <a:gd name="T37" fmla="*/ 31 h 130"/>
                  <a:gd name="T38" fmla="*/ 133 w 464"/>
                  <a:gd name="T39" fmla="*/ 27 h 130"/>
                  <a:gd name="T40" fmla="*/ 144 w 464"/>
                  <a:gd name="T41" fmla="*/ 22 h 130"/>
                  <a:gd name="T42" fmla="*/ 146 w 464"/>
                  <a:gd name="T43" fmla="*/ 17 h 130"/>
                  <a:gd name="T44" fmla="*/ 141 w 464"/>
                  <a:gd name="T45" fmla="*/ 16 h 130"/>
                  <a:gd name="T46" fmla="*/ 133 w 464"/>
                  <a:gd name="T47" fmla="*/ 16 h 130"/>
                  <a:gd name="T48" fmla="*/ 127 w 464"/>
                  <a:gd name="T49" fmla="*/ 15 h 130"/>
                  <a:gd name="T50" fmla="*/ 130 w 464"/>
                  <a:gd name="T51" fmla="*/ 12 h 130"/>
                  <a:gd name="T52" fmla="*/ 133 w 464"/>
                  <a:gd name="T53" fmla="*/ 7 h 130"/>
                  <a:gd name="T54" fmla="*/ 134 w 464"/>
                  <a:gd name="T55" fmla="*/ 2 h 130"/>
                  <a:gd name="T56" fmla="*/ 121 w 464"/>
                  <a:gd name="T57" fmla="*/ 0 h 130"/>
                  <a:gd name="T58" fmla="*/ 116 w 464"/>
                  <a:gd name="T59" fmla="*/ 6 h 130"/>
                  <a:gd name="T60" fmla="*/ 110 w 464"/>
                  <a:gd name="T61" fmla="*/ 14 h 130"/>
                  <a:gd name="T62" fmla="*/ 104 w 464"/>
                  <a:gd name="T63" fmla="*/ 20 h 130"/>
                  <a:gd name="T64" fmla="*/ 100 w 464"/>
                  <a:gd name="T65" fmla="*/ 22 h 130"/>
                  <a:gd name="T66" fmla="*/ 96 w 464"/>
                  <a:gd name="T67" fmla="*/ 22 h 130"/>
                  <a:gd name="T68" fmla="*/ 89 w 464"/>
                  <a:gd name="T69" fmla="*/ 22 h 130"/>
                  <a:gd name="T70" fmla="*/ 84 w 464"/>
                  <a:gd name="T71" fmla="*/ 21 h 130"/>
                  <a:gd name="T72" fmla="*/ 77 w 464"/>
                  <a:gd name="T73" fmla="*/ 18 h 130"/>
                  <a:gd name="T74" fmla="*/ 66 w 464"/>
                  <a:gd name="T75" fmla="*/ 10 h 130"/>
                  <a:gd name="T76" fmla="*/ 58 w 464"/>
                  <a:gd name="T77" fmla="*/ 10 h 130"/>
                  <a:gd name="T78" fmla="*/ 48 w 464"/>
                  <a:gd name="T79" fmla="*/ 10 h 130"/>
                  <a:gd name="T80" fmla="*/ 38 w 464"/>
                  <a:gd name="T81" fmla="*/ 12 h 130"/>
                  <a:gd name="T82" fmla="*/ 27 w 464"/>
                  <a:gd name="T83" fmla="*/ 15 h 130"/>
                  <a:gd name="T84" fmla="*/ 17 w 464"/>
                  <a:gd name="T85" fmla="*/ 18 h 130"/>
                  <a:gd name="T86" fmla="*/ 9 w 464"/>
                  <a:gd name="T87" fmla="*/ 22 h 130"/>
                  <a:gd name="T88" fmla="*/ 3 w 464"/>
                  <a:gd name="T89" fmla="*/ 25 h 130"/>
                  <a:gd name="T90" fmla="*/ 0 w 464"/>
                  <a:gd name="T91" fmla="*/ 28 h 130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0" t="0" r="r" b="b"/>
                <a:pathLst>
                  <a:path w="464" h="130">
                    <a:moveTo>
                      <a:pt x="0" y="86"/>
                    </a:moveTo>
                    <a:lnTo>
                      <a:pt x="19" y="86"/>
                    </a:lnTo>
                    <a:lnTo>
                      <a:pt x="48" y="83"/>
                    </a:lnTo>
                    <a:lnTo>
                      <a:pt x="77" y="81"/>
                    </a:lnTo>
                    <a:lnTo>
                      <a:pt x="106" y="80"/>
                    </a:lnTo>
                    <a:lnTo>
                      <a:pt x="103" y="81"/>
                    </a:lnTo>
                    <a:lnTo>
                      <a:pt x="97" y="84"/>
                    </a:lnTo>
                    <a:lnTo>
                      <a:pt x="92" y="89"/>
                    </a:lnTo>
                    <a:lnTo>
                      <a:pt x="86" y="94"/>
                    </a:lnTo>
                    <a:lnTo>
                      <a:pt x="81" y="100"/>
                    </a:lnTo>
                    <a:lnTo>
                      <a:pt x="76" y="106"/>
                    </a:lnTo>
                    <a:lnTo>
                      <a:pt x="73" y="112"/>
                    </a:lnTo>
                    <a:lnTo>
                      <a:pt x="72" y="117"/>
                    </a:lnTo>
                    <a:lnTo>
                      <a:pt x="73" y="119"/>
                    </a:lnTo>
                    <a:lnTo>
                      <a:pt x="75" y="121"/>
                    </a:lnTo>
                    <a:lnTo>
                      <a:pt x="79" y="124"/>
                    </a:lnTo>
                    <a:lnTo>
                      <a:pt x="83" y="126"/>
                    </a:lnTo>
                    <a:lnTo>
                      <a:pt x="92" y="129"/>
                    </a:lnTo>
                    <a:lnTo>
                      <a:pt x="99" y="130"/>
                    </a:lnTo>
                    <a:lnTo>
                      <a:pt x="109" y="129"/>
                    </a:lnTo>
                    <a:lnTo>
                      <a:pt x="119" y="129"/>
                    </a:lnTo>
                    <a:lnTo>
                      <a:pt x="128" y="127"/>
                    </a:lnTo>
                    <a:lnTo>
                      <a:pt x="138" y="125"/>
                    </a:lnTo>
                    <a:lnTo>
                      <a:pt x="157" y="119"/>
                    </a:lnTo>
                    <a:lnTo>
                      <a:pt x="176" y="114"/>
                    </a:lnTo>
                    <a:lnTo>
                      <a:pt x="196" y="108"/>
                    </a:lnTo>
                    <a:lnTo>
                      <a:pt x="216" y="103"/>
                    </a:lnTo>
                    <a:lnTo>
                      <a:pt x="226" y="101"/>
                    </a:lnTo>
                    <a:lnTo>
                      <a:pt x="237" y="100"/>
                    </a:lnTo>
                    <a:lnTo>
                      <a:pt x="248" y="99"/>
                    </a:lnTo>
                    <a:lnTo>
                      <a:pt x="259" y="99"/>
                    </a:lnTo>
                    <a:lnTo>
                      <a:pt x="266" y="99"/>
                    </a:lnTo>
                    <a:lnTo>
                      <a:pt x="285" y="99"/>
                    </a:lnTo>
                    <a:lnTo>
                      <a:pt x="304" y="99"/>
                    </a:lnTo>
                    <a:lnTo>
                      <a:pt x="311" y="99"/>
                    </a:lnTo>
                    <a:lnTo>
                      <a:pt x="333" y="98"/>
                    </a:lnTo>
                    <a:lnTo>
                      <a:pt x="355" y="96"/>
                    </a:lnTo>
                    <a:lnTo>
                      <a:pt x="376" y="93"/>
                    </a:lnTo>
                    <a:lnTo>
                      <a:pt x="396" y="89"/>
                    </a:lnTo>
                    <a:lnTo>
                      <a:pt x="415" y="83"/>
                    </a:lnTo>
                    <a:lnTo>
                      <a:pt x="432" y="76"/>
                    </a:lnTo>
                    <a:lnTo>
                      <a:pt x="449" y="66"/>
                    </a:lnTo>
                    <a:lnTo>
                      <a:pt x="464" y="55"/>
                    </a:lnTo>
                    <a:lnTo>
                      <a:pt x="455" y="51"/>
                    </a:lnTo>
                    <a:lnTo>
                      <a:pt x="446" y="49"/>
                    </a:lnTo>
                    <a:lnTo>
                      <a:pt x="439" y="48"/>
                    </a:lnTo>
                    <a:lnTo>
                      <a:pt x="430" y="48"/>
                    </a:lnTo>
                    <a:lnTo>
                      <a:pt x="413" y="48"/>
                    </a:lnTo>
                    <a:lnTo>
                      <a:pt x="392" y="49"/>
                    </a:lnTo>
                    <a:lnTo>
                      <a:pt x="396" y="46"/>
                    </a:lnTo>
                    <a:lnTo>
                      <a:pt x="401" y="42"/>
                    </a:lnTo>
                    <a:lnTo>
                      <a:pt x="406" y="36"/>
                    </a:lnTo>
                    <a:lnTo>
                      <a:pt x="410" y="29"/>
                    </a:lnTo>
                    <a:lnTo>
                      <a:pt x="413" y="22"/>
                    </a:lnTo>
                    <a:lnTo>
                      <a:pt x="416" y="15"/>
                    </a:lnTo>
                    <a:lnTo>
                      <a:pt x="418" y="7"/>
                    </a:lnTo>
                    <a:lnTo>
                      <a:pt x="418" y="0"/>
                    </a:lnTo>
                    <a:lnTo>
                      <a:pt x="378" y="0"/>
                    </a:lnTo>
                    <a:lnTo>
                      <a:pt x="368" y="8"/>
                    </a:lnTo>
                    <a:lnTo>
                      <a:pt x="360" y="19"/>
                    </a:lnTo>
                    <a:lnTo>
                      <a:pt x="352" y="30"/>
                    </a:lnTo>
                    <a:lnTo>
                      <a:pt x="343" y="41"/>
                    </a:lnTo>
                    <a:lnTo>
                      <a:pt x="334" y="51"/>
                    </a:lnTo>
                    <a:lnTo>
                      <a:pt x="323" y="59"/>
                    </a:lnTo>
                    <a:lnTo>
                      <a:pt x="318" y="63"/>
                    </a:lnTo>
                    <a:lnTo>
                      <a:pt x="312" y="65"/>
                    </a:lnTo>
                    <a:lnTo>
                      <a:pt x="306" y="68"/>
                    </a:lnTo>
                    <a:lnTo>
                      <a:pt x="298" y="68"/>
                    </a:lnTo>
                    <a:lnTo>
                      <a:pt x="287" y="68"/>
                    </a:lnTo>
                    <a:lnTo>
                      <a:pt x="278" y="66"/>
                    </a:lnTo>
                    <a:lnTo>
                      <a:pt x="270" y="65"/>
                    </a:lnTo>
                    <a:lnTo>
                      <a:pt x="262" y="63"/>
                    </a:lnTo>
                    <a:lnTo>
                      <a:pt x="250" y="59"/>
                    </a:lnTo>
                    <a:lnTo>
                      <a:pt x="239" y="54"/>
                    </a:lnTo>
                    <a:lnTo>
                      <a:pt x="222" y="42"/>
                    </a:lnTo>
                    <a:lnTo>
                      <a:pt x="205" y="31"/>
                    </a:lnTo>
                    <a:lnTo>
                      <a:pt x="193" y="29"/>
                    </a:lnTo>
                    <a:lnTo>
                      <a:pt x="180" y="29"/>
                    </a:lnTo>
                    <a:lnTo>
                      <a:pt x="165" y="29"/>
                    </a:lnTo>
                    <a:lnTo>
                      <a:pt x="150" y="31"/>
                    </a:lnTo>
                    <a:lnTo>
                      <a:pt x="133" y="33"/>
                    </a:lnTo>
                    <a:lnTo>
                      <a:pt x="117" y="37"/>
                    </a:lnTo>
                    <a:lnTo>
                      <a:pt x="101" y="40"/>
                    </a:lnTo>
                    <a:lnTo>
                      <a:pt x="85" y="45"/>
                    </a:lnTo>
                    <a:lnTo>
                      <a:pt x="70" y="49"/>
                    </a:lnTo>
                    <a:lnTo>
                      <a:pt x="54" y="54"/>
                    </a:lnTo>
                    <a:lnTo>
                      <a:pt x="41" y="60"/>
                    </a:lnTo>
                    <a:lnTo>
                      <a:pt x="29" y="65"/>
                    </a:lnTo>
                    <a:lnTo>
                      <a:pt x="18" y="71"/>
                    </a:lnTo>
                    <a:lnTo>
                      <a:pt x="9" y="77"/>
                    </a:lnTo>
                    <a:lnTo>
                      <a:pt x="3" y="82"/>
                    </a:lnTo>
                    <a:lnTo>
                      <a:pt x="0" y="8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034" name="Freeform 430"/>
              <p:cNvSpPr>
                <a:spLocks/>
              </p:cNvSpPr>
              <p:nvPr/>
            </p:nvSpPr>
            <p:spPr bwMode="auto">
              <a:xfrm>
                <a:off x="1472" y="1205"/>
                <a:ext cx="153" cy="31"/>
              </a:xfrm>
              <a:custGeom>
                <a:avLst/>
                <a:gdLst>
                  <a:gd name="T0" fmla="*/ 20 w 472"/>
                  <a:gd name="T1" fmla="*/ 0 h 92"/>
                  <a:gd name="T2" fmla="*/ 14 w 472"/>
                  <a:gd name="T3" fmla="*/ 0 h 92"/>
                  <a:gd name="T4" fmla="*/ 8 w 472"/>
                  <a:gd name="T5" fmla="*/ 0 h 92"/>
                  <a:gd name="T6" fmla="*/ 4 w 472"/>
                  <a:gd name="T7" fmla="*/ 1 h 92"/>
                  <a:gd name="T8" fmla="*/ 2 w 472"/>
                  <a:gd name="T9" fmla="*/ 3 h 92"/>
                  <a:gd name="T10" fmla="*/ 2 w 472"/>
                  <a:gd name="T11" fmla="*/ 5 h 92"/>
                  <a:gd name="T12" fmla="*/ 3 w 472"/>
                  <a:gd name="T13" fmla="*/ 8 h 92"/>
                  <a:gd name="T14" fmla="*/ 5 w 472"/>
                  <a:gd name="T15" fmla="*/ 11 h 92"/>
                  <a:gd name="T16" fmla="*/ 5 w 472"/>
                  <a:gd name="T17" fmla="*/ 14 h 92"/>
                  <a:gd name="T18" fmla="*/ 1 w 472"/>
                  <a:gd name="T19" fmla="*/ 17 h 92"/>
                  <a:gd name="T20" fmla="*/ 0 w 472"/>
                  <a:gd name="T21" fmla="*/ 19 h 92"/>
                  <a:gd name="T22" fmla="*/ 1 w 472"/>
                  <a:gd name="T23" fmla="*/ 22 h 92"/>
                  <a:gd name="T24" fmla="*/ 5 w 472"/>
                  <a:gd name="T25" fmla="*/ 23 h 92"/>
                  <a:gd name="T26" fmla="*/ 16 w 472"/>
                  <a:gd name="T27" fmla="*/ 26 h 92"/>
                  <a:gd name="T28" fmla="*/ 35 w 472"/>
                  <a:gd name="T29" fmla="*/ 29 h 92"/>
                  <a:gd name="T30" fmla="*/ 54 w 472"/>
                  <a:gd name="T31" fmla="*/ 31 h 92"/>
                  <a:gd name="T32" fmla="*/ 118 w 472"/>
                  <a:gd name="T33" fmla="*/ 31 h 92"/>
                  <a:gd name="T34" fmla="*/ 121 w 472"/>
                  <a:gd name="T35" fmla="*/ 27 h 92"/>
                  <a:gd name="T36" fmla="*/ 125 w 472"/>
                  <a:gd name="T37" fmla="*/ 25 h 92"/>
                  <a:gd name="T38" fmla="*/ 129 w 472"/>
                  <a:gd name="T39" fmla="*/ 25 h 92"/>
                  <a:gd name="T40" fmla="*/ 133 w 472"/>
                  <a:gd name="T41" fmla="*/ 25 h 92"/>
                  <a:gd name="T42" fmla="*/ 143 w 472"/>
                  <a:gd name="T43" fmla="*/ 26 h 92"/>
                  <a:gd name="T44" fmla="*/ 148 w 472"/>
                  <a:gd name="T45" fmla="*/ 26 h 92"/>
                  <a:gd name="T46" fmla="*/ 153 w 472"/>
                  <a:gd name="T47" fmla="*/ 25 h 92"/>
                  <a:gd name="T48" fmla="*/ 151 w 472"/>
                  <a:gd name="T49" fmla="*/ 11 h 92"/>
                  <a:gd name="T50" fmla="*/ 147 w 472"/>
                  <a:gd name="T51" fmla="*/ 9 h 92"/>
                  <a:gd name="T52" fmla="*/ 144 w 472"/>
                  <a:gd name="T53" fmla="*/ 6 h 92"/>
                  <a:gd name="T54" fmla="*/ 140 w 472"/>
                  <a:gd name="T55" fmla="*/ 4 h 92"/>
                  <a:gd name="T56" fmla="*/ 135 w 472"/>
                  <a:gd name="T57" fmla="*/ 4 h 92"/>
                  <a:gd name="T58" fmla="*/ 128 w 472"/>
                  <a:gd name="T59" fmla="*/ 5 h 92"/>
                  <a:gd name="T60" fmla="*/ 119 w 472"/>
                  <a:gd name="T61" fmla="*/ 7 h 92"/>
                  <a:gd name="T62" fmla="*/ 106 w 472"/>
                  <a:gd name="T63" fmla="*/ 11 h 92"/>
                  <a:gd name="T64" fmla="*/ 97 w 472"/>
                  <a:gd name="T65" fmla="*/ 13 h 92"/>
                  <a:gd name="T66" fmla="*/ 89 w 472"/>
                  <a:gd name="T67" fmla="*/ 14 h 92"/>
                  <a:gd name="T68" fmla="*/ 77 w 472"/>
                  <a:gd name="T69" fmla="*/ 14 h 92"/>
                  <a:gd name="T70" fmla="*/ 62 w 472"/>
                  <a:gd name="T71" fmla="*/ 14 h 92"/>
                  <a:gd name="T72" fmla="*/ 51 w 472"/>
                  <a:gd name="T73" fmla="*/ 14 h 92"/>
                  <a:gd name="T74" fmla="*/ 39 w 472"/>
                  <a:gd name="T75" fmla="*/ 14 h 92"/>
                  <a:gd name="T76" fmla="*/ 29 w 472"/>
                  <a:gd name="T77" fmla="*/ 14 h 92"/>
                  <a:gd name="T78" fmla="*/ 25 w 472"/>
                  <a:gd name="T79" fmla="*/ 12 h 92"/>
                  <a:gd name="T80" fmla="*/ 23 w 472"/>
                  <a:gd name="T81" fmla="*/ 9 h 92"/>
                  <a:gd name="T82" fmla="*/ 22 w 472"/>
                  <a:gd name="T83" fmla="*/ 6 h 92"/>
                  <a:gd name="T84" fmla="*/ 22 w 472"/>
                  <a:gd name="T85" fmla="*/ 3 h 92"/>
                  <a:gd name="T86" fmla="*/ 24 w 472"/>
                  <a:gd name="T87" fmla="*/ 1 h 92"/>
                  <a:gd name="T88" fmla="*/ 24 w 472"/>
                  <a:gd name="T89" fmla="*/ 0 h 92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0" t="0" r="r" b="b"/>
                <a:pathLst>
                  <a:path w="472" h="92">
                    <a:moveTo>
                      <a:pt x="73" y="0"/>
                    </a:moveTo>
                    <a:lnTo>
                      <a:pt x="63" y="0"/>
                    </a:lnTo>
                    <a:lnTo>
                      <a:pt x="53" y="0"/>
                    </a:lnTo>
                    <a:lnTo>
                      <a:pt x="44" y="0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5" y="1"/>
                    </a:lnTo>
                    <a:lnTo>
                      <a:pt x="12" y="3"/>
                    </a:lnTo>
                    <a:lnTo>
                      <a:pt x="8" y="5"/>
                    </a:lnTo>
                    <a:lnTo>
                      <a:pt x="7" y="8"/>
                    </a:lnTo>
                    <a:lnTo>
                      <a:pt x="6" y="12"/>
                    </a:lnTo>
                    <a:lnTo>
                      <a:pt x="7" y="16"/>
                    </a:lnTo>
                    <a:lnTo>
                      <a:pt x="7" y="20"/>
                    </a:lnTo>
                    <a:lnTo>
                      <a:pt x="10" y="23"/>
                    </a:lnTo>
                    <a:lnTo>
                      <a:pt x="11" y="26"/>
                    </a:lnTo>
                    <a:lnTo>
                      <a:pt x="15" y="32"/>
                    </a:lnTo>
                    <a:lnTo>
                      <a:pt x="19" y="36"/>
                    </a:lnTo>
                    <a:lnTo>
                      <a:pt x="14" y="41"/>
                    </a:lnTo>
                    <a:lnTo>
                      <a:pt x="7" y="46"/>
                    </a:lnTo>
                    <a:lnTo>
                      <a:pt x="4" y="50"/>
                    </a:lnTo>
                    <a:lnTo>
                      <a:pt x="2" y="53"/>
                    </a:lnTo>
                    <a:lnTo>
                      <a:pt x="1" y="57"/>
                    </a:lnTo>
                    <a:lnTo>
                      <a:pt x="0" y="61"/>
                    </a:lnTo>
                    <a:lnTo>
                      <a:pt x="2" y="64"/>
                    </a:lnTo>
                    <a:lnTo>
                      <a:pt x="6" y="66"/>
                    </a:lnTo>
                    <a:lnTo>
                      <a:pt x="14" y="69"/>
                    </a:lnTo>
                    <a:lnTo>
                      <a:pt x="24" y="71"/>
                    </a:lnTo>
                    <a:lnTo>
                      <a:pt x="48" y="76"/>
                    </a:lnTo>
                    <a:lnTo>
                      <a:pt x="78" y="81"/>
                    </a:lnTo>
                    <a:lnTo>
                      <a:pt x="109" y="85"/>
                    </a:lnTo>
                    <a:lnTo>
                      <a:pt x="140" y="89"/>
                    </a:lnTo>
                    <a:lnTo>
                      <a:pt x="167" y="91"/>
                    </a:lnTo>
                    <a:lnTo>
                      <a:pt x="186" y="92"/>
                    </a:lnTo>
                    <a:lnTo>
                      <a:pt x="365" y="92"/>
                    </a:lnTo>
                    <a:lnTo>
                      <a:pt x="370" y="86"/>
                    </a:lnTo>
                    <a:lnTo>
                      <a:pt x="374" y="81"/>
                    </a:lnTo>
                    <a:lnTo>
                      <a:pt x="380" y="78"/>
                    </a:lnTo>
                    <a:lnTo>
                      <a:pt x="385" y="75"/>
                    </a:lnTo>
                    <a:lnTo>
                      <a:pt x="391" y="74"/>
                    </a:lnTo>
                    <a:lnTo>
                      <a:pt x="397" y="73"/>
                    </a:lnTo>
                    <a:lnTo>
                      <a:pt x="404" y="73"/>
                    </a:lnTo>
                    <a:lnTo>
                      <a:pt x="411" y="73"/>
                    </a:lnTo>
                    <a:lnTo>
                      <a:pt x="426" y="75"/>
                    </a:lnTo>
                    <a:lnTo>
                      <a:pt x="441" y="76"/>
                    </a:lnTo>
                    <a:lnTo>
                      <a:pt x="449" y="77"/>
                    </a:lnTo>
                    <a:lnTo>
                      <a:pt x="456" y="76"/>
                    </a:lnTo>
                    <a:lnTo>
                      <a:pt x="464" y="75"/>
                    </a:lnTo>
                    <a:lnTo>
                      <a:pt x="472" y="73"/>
                    </a:lnTo>
                    <a:lnTo>
                      <a:pt x="472" y="36"/>
                    </a:lnTo>
                    <a:lnTo>
                      <a:pt x="465" y="33"/>
                    </a:lnTo>
                    <a:lnTo>
                      <a:pt x="459" y="30"/>
                    </a:lnTo>
                    <a:lnTo>
                      <a:pt x="453" y="26"/>
                    </a:lnTo>
                    <a:lnTo>
                      <a:pt x="449" y="22"/>
                    </a:lnTo>
                    <a:lnTo>
                      <a:pt x="443" y="18"/>
                    </a:lnTo>
                    <a:lnTo>
                      <a:pt x="438" y="15"/>
                    </a:lnTo>
                    <a:lnTo>
                      <a:pt x="432" y="13"/>
                    </a:lnTo>
                    <a:lnTo>
                      <a:pt x="426" y="12"/>
                    </a:lnTo>
                    <a:lnTo>
                      <a:pt x="416" y="12"/>
                    </a:lnTo>
                    <a:lnTo>
                      <a:pt x="406" y="13"/>
                    </a:lnTo>
                    <a:lnTo>
                      <a:pt x="396" y="15"/>
                    </a:lnTo>
                    <a:lnTo>
                      <a:pt x="386" y="17"/>
                    </a:lnTo>
                    <a:lnTo>
                      <a:pt x="367" y="22"/>
                    </a:lnTo>
                    <a:lnTo>
                      <a:pt x="348" y="27"/>
                    </a:lnTo>
                    <a:lnTo>
                      <a:pt x="328" y="33"/>
                    </a:lnTo>
                    <a:lnTo>
                      <a:pt x="308" y="38"/>
                    </a:lnTo>
                    <a:lnTo>
                      <a:pt x="298" y="39"/>
                    </a:lnTo>
                    <a:lnTo>
                      <a:pt x="287" y="41"/>
                    </a:lnTo>
                    <a:lnTo>
                      <a:pt x="276" y="42"/>
                    </a:lnTo>
                    <a:lnTo>
                      <a:pt x="265" y="42"/>
                    </a:lnTo>
                    <a:lnTo>
                      <a:pt x="236" y="42"/>
                    </a:lnTo>
                    <a:lnTo>
                      <a:pt x="212" y="42"/>
                    </a:lnTo>
                    <a:lnTo>
                      <a:pt x="191" y="42"/>
                    </a:lnTo>
                    <a:lnTo>
                      <a:pt x="173" y="42"/>
                    </a:lnTo>
                    <a:lnTo>
                      <a:pt x="156" y="42"/>
                    </a:lnTo>
                    <a:lnTo>
                      <a:pt x="139" y="42"/>
                    </a:lnTo>
                    <a:lnTo>
                      <a:pt x="120" y="42"/>
                    </a:lnTo>
                    <a:lnTo>
                      <a:pt x="100" y="42"/>
                    </a:lnTo>
                    <a:lnTo>
                      <a:pt x="91" y="41"/>
                    </a:lnTo>
                    <a:lnTo>
                      <a:pt x="83" y="39"/>
                    </a:lnTo>
                    <a:lnTo>
                      <a:pt x="78" y="36"/>
                    </a:lnTo>
                    <a:lnTo>
                      <a:pt x="73" y="32"/>
                    </a:lnTo>
                    <a:lnTo>
                      <a:pt x="70" y="27"/>
                    </a:lnTo>
                    <a:lnTo>
                      <a:pt x="68" y="22"/>
                    </a:lnTo>
                    <a:lnTo>
                      <a:pt x="67" y="17"/>
                    </a:lnTo>
                    <a:lnTo>
                      <a:pt x="67" y="12"/>
                    </a:lnTo>
                    <a:lnTo>
                      <a:pt x="69" y="8"/>
                    </a:lnTo>
                    <a:lnTo>
                      <a:pt x="72" y="4"/>
                    </a:lnTo>
                    <a:lnTo>
                      <a:pt x="74" y="2"/>
                    </a:lnTo>
                    <a:lnTo>
                      <a:pt x="75" y="1"/>
                    </a:lnTo>
                    <a:lnTo>
                      <a:pt x="74" y="0"/>
                    </a:lnTo>
                    <a:lnTo>
                      <a:pt x="7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035" name="Freeform 431"/>
              <p:cNvSpPr>
                <a:spLocks/>
              </p:cNvSpPr>
              <p:nvPr/>
            </p:nvSpPr>
            <p:spPr bwMode="auto">
              <a:xfrm>
                <a:off x="1513" y="1136"/>
                <a:ext cx="106" cy="45"/>
              </a:xfrm>
              <a:custGeom>
                <a:avLst/>
                <a:gdLst>
                  <a:gd name="T0" fmla="*/ 47 w 326"/>
                  <a:gd name="T1" fmla="*/ 36 h 135"/>
                  <a:gd name="T2" fmla="*/ 66 w 326"/>
                  <a:gd name="T3" fmla="*/ 32 h 135"/>
                  <a:gd name="T4" fmla="*/ 85 w 326"/>
                  <a:gd name="T5" fmla="*/ 28 h 135"/>
                  <a:gd name="T6" fmla="*/ 98 w 326"/>
                  <a:gd name="T7" fmla="*/ 25 h 135"/>
                  <a:gd name="T8" fmla="*/ 103 w 326"/>
                  <a:gd name="T9" fmla="*/ 22 h 135"/>
                  <a:gd name="T10" fmla="*/ 105 w 326"/>
                  <a:gd name="T11" fmla="*/ 19 h 135"/>
                  <a:gd name="T12" fmla="*/ 101 w 326"/>
                  <a:gd name="T13" fmla="*/ 16 h 135"/>
                  <a:gd name="T14" fmla="*/ 98 w 326"/>
                  <a:gd name="T15" fmla="*/ 14 h 135"/>
                  <a:gd name="T16" fmla="*/ 93 w 326"/>
                  <a:gd name="T17" fmla="*/ 12 h 135"/>
                  <a:gd name="T18" fmla="*/ 86 w 326"/>
                  <a:gd name="T19" fmla="*/ 11 h 135"/>
                  <a:gd name="T20" fmla="*/ 75 w 326"/>
                  <a:gd name="T21" fmla="*/ 10 h 135"/>
                  <a:gd name="T22" fmla="*/ 68 w 326"/>
                  <a:gd name="T23" fmla="*/ 10 h 135"/>
                  <a:gd name="T24" fmla="*/ 66 w 326"/>
                  <a:gd name="T25" fmla="*/ 8 h 135"/>
                  <a:gd name="T26" fmla="*/ 64 w 326"/>
                  <a:gd name="T27" fmla="*/ 6 h 135"/>
                  <a:gd name="T28" fmla="*/ 62 w 326"/>
                  <a:gd name="T29" fmla="*/ 3 h 135"/>
                  <a:gd name="T30" fmla="*/ 59 w 326"/>
                  <a:gd name="T31" fmla="*/ 2 h 135"/>
                  <a:gd name="T32" fmla="*/ 53 w 326"/>
                  <a:gd name="T33" fmla="*/ 0 h 135"/>
                  <a:gd name="T34" fmla="*/ 44 w 326"/>
                  <a:gd name="T35" fmla="*/ 0 h 135"/>
                  <a:gd name="T36" fmla="*/ 28 w 326"/>
                  <a:gd name="T37" fmla="*/ 3 h 135"/>
                  <a:gd name="T38" fmla="*/ 16 w 326"/>
                  <a:gd name="T39" fmla="*/ 6 h 135"/>
                  <a:gd name="T40" fmla="*/ 9 w 326"/>
                  <a:gd name="T41" fmla="*/ 9 h 135"/>
                  <a:gd name="T42" fmla="*/ 4 w 326"/>
                  <a:gd name="T43" fmla="*/ 12 h 135"/>
                  <a:gd name="T44" fmla="*/ 1 w 326"/>
                  <a:gd name="T45" fmla="*/ 15 h 135"/>
                  <a:gd name="T46" fmla="*/ 0 w 326"/>
                  <a:gd name="T47" fmla="*/ 17 h 135"/>
                  <a:gd name="T48" fmla="*/ 11 w 326"/>
                  <a:gd name="T49" fmla="*/ 25 h 135"/>
                  <a:gd name="T50" fmla="*/ 18 w 326"/>
                  <a:gd name="T51" fmla="*/ 27 h 135"/>
                  <a:gd name="T52" fmla="*/ 13 w 326"/>
                  <a:gd name="T53" fmla="*/ 30 h 135"/>
                  <a:gd name="T54" fmla="*/ 12 w 326"/>
                  <a:gd name="T55" fmla="*/ 33 h 135"/>
                  <a:gd name="T56" fmla="*/ 14 w 326"/>
                  <a:gd name="T57" fmla="*/ 38 h 135"/>
                  <a:gd name="T58" fmla="*/ 16 w 326"/>
                  <a:gd name="T59" fmla="*/ 43 h 135"/>
                  <a:gd name="T60" fmla="*/ 18 w 326"/>
                  <a:gd name="T61" fmla="*/ 45 h 135"/>
                  <a:gd name="T62" fmla="*/ 22 w 326"/>
                  <a:gd name="T63" fmla="*/ 45 h 135"/>
                  <a:gd name="T64" fmla="*/ 28 w 326"/>
                  <a:gd name="T65" fmla="*/ 44 h 135"/>
                  <a:gd name="T66" fmla="*/ 33 w 326"/>
                  <a:gd name="T67" fmla="*/ 42 h 135"/>
                  <a:gd name="T68" fmla="*/ 38 w 326"/>
                  <a:gd name="T69" fmla="*/ 41 h 135"/>
                  <a:gd name="T70" fmla="*/ 39 w 326"/>
                  <a:gd name="T71" fmla="*/ 37 h 135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326" h="135">
                    <a:moveTo>
                      <a:pt x="120" y="111"/>
                    </a:moveTo>
                    <a:lnTo>
                      <a:pt x="145" y="107"/>
                    </a:lnTo>
                    <a:lnTo>
                      <a:pt x="172" y="102"/>
                    </a:lnTo>
                    <a:lnTo>
                      <a:pt x="203" y="97"/>
                    </a:lnTo>
                    <a:lnTo>
                      <a:pt x="233" y="90"/>
                    </a:lnTo>
                    <a:lnTo>
                      <a:pt x="262" y="84"/>
                    </a:lnTo>
                    <a:lnTo>
                      <a:pt x="288" y="78"/>
                    </a:lnTo>
                    <a:lnTo>
                      <a:pt x="300" y="74"/>
                    </a:lnTo>
                    <a:lnTo>
                      <a:pt x="310" y="70"/>
                    </a:lnTo>
                    <a:lnTo>
                      <a:pt x="318" y="66"/>
                    </a:lnTo>
                    <a:lnTo>
                      <a:pt x="326" y="62"/>
                    </a:lnTo>
                    <a:lnTo>
                      <a:pt x="322" y="56"/>
                    </a:lnTo>
                    <a:lnTo>
                      <a:pt x="317" y="52"/>
                    </a:lnTo>
                    <a:lnTo>
                      <a:pt x="312" y="48"/>
                    </a:lnTo>
                    <a:lnTo>
                      <a:pt x="306" y="44"/>
                    </a:lnTo>
                    <a:lnTo>
                      <a:pt x="300" y="41"/>
                    </a:lnTo>
                    <a:lnTo>
                      <a:pt x="293" y="39"/>
                    </a:lnTo>
                    <a:lnTo>
                      <a:pt x="286" y="37"/>
                    </a:lnTo>
                    <a:lnTo>
                      <a:pt x="279" y="34"/>
                    </a:lnTo>
                    <a:lnTo>
                      <a:pt x="263" y="32"/>
                    </a:lnTo>
                    <a:lnTo>
                      <a:pt x="247" y="31"/>
                    </a:lnTo>
                    <a:lnTo>
                      <a:pt x="230" y="30"/>
                    </a:lnTo>
                    <a:lnTo>
                      <a:pt x="213" y="30"/>
                    </a:lnTo>
                    <a:lnTo>
                      <a:pt x="209" y="30"/>
                    </a:lnTo>
                    <a:lnTo>
                      <a:pt x="205" y="27"/>
                    </a:lnTo>
                    <a:lnTo>
                      <a:pt x="202" y="24"/>
                    </a:lnTo>
                    <a:lnTo>
                      <a:pt x="200" y="21"/>
                    </a:lnTo>
                    <a:lnTo>
                      <a:pt x="196" y="17"/>
                    </a:lnTo>
                    <a:lnTo>
                      <a:pt x="194" y="13"/>
                    </a:lnTo>
                    <a:lnTo>
                      <a:pt x="191" y="9"/>
                    </a:lnTo>
                    <a:lnTo>
                      <a:pt x="187" y="6"/>
                    </a:lnTo>
                    <a:lnTo>
                      <a:pt x="180" y="5"/>
                    </a:lnTo>
                    <a:lnTo>
                      <a:pt x="172" y="3"/>
                    </a:lnTo>
                    <a:lnTo>
                      <a:pt x="162" y="1"/>
                    </a:lnTo>
                    <a:lnTo>
                      <a:pt x="153" y="0"/>
                    </a:lnTo>
                    <a:lnTo>
                      <a:pt x="135" y="1"/>
                    </a:lnTo>
                    <a:lnTo>
                      <a:pt x="112" y="4"/>
                    </a:lnTo>
                    <a:lnTo>
                      <a:pt x="87" y="8"/>
                    </a:lnTo>
                    <a:lnTo>
                      <a:pt x="61" y="14"/>
                    </a:lnTo>
                    <a:lnTo>
                      <a:pt x="49" y="17"/>
                    </a:lnTo>
                    <a:lnTo>
                      <a:pt x="38" y="21"/>
                    </a:lnTo>
                    <a:lnTo>
                      <a:pt x="27" y="26"/>
                    </a:lnTo>
                    <a:lnTo>
                      <a:pt x="19" y="31"/>
                    </a:lnTo>
                    <a:lnTo>
                      <a:pt x="11" y="37"/>
                    </a:lnTo>
                    <a:lnTo>
                      <a:pt x="5" y="43"/>
                    </a:lnTo>
                    <a:lnTo>
                      <a:pt x="3" y="46"/>
                    </a:lnTo>
                    <a:lnTo>
                      <a:pt x="1" y="49"/>
                    </a:lnTo>
                    <a:lnTo>
                      <a:pt x="1" y="52"/>
                    </a:lnTo>
                    <a:lnTo>
                      <a:pt x="0" y="56"/>
                    </a:lnTo>
                    <a:lnTo>
                      <a:pt x="34" y="74"/>
                    </a:lnTo>
                    <a:lnTo>
                      <a:pt x="73" y="74"/>
                    </a:lnTo>
                    <a:lnTo>
                      <a:pt x="56" y="81"/>
                    </a:lnTo>
                    <a:lnTo>
                      <a:pt x="44" y="87"/>
                    </a:lnTo>
                    <a:lnTo>
                      <a:pt x="41" y="90"/>
                    </a:lnTo>
                    <a:lnTo>
                      <a:pt x="38" y="94"/>
                    </a:lnTo>
                    <a:lnTo>
                      <a:pt x="38" y="99"/>
                    </a:lnTo>
                    <a:lnTo>
                      <a:pt x="41" y="105"/>
                    </a:lnTo>
                    <a:lnTo>
                      <a:pt x="44" y="114"/>
                    </a:lnTo>
                    <a:lnTo>
                      <a:pt x="47" y="123"/>
                    </a:lnTo>
                    <a:lnTo>
                      <a:pt x="48" y="128"/>
                    </a:lnTo>
                    <a:lnTo>
                      <a:pt x="50" y="131"/>
                    </a:lnTo>
                    <a:lnTo>
                      <a:pt x="55" y="134"/>
                    </a:lnTo>
                    <a:lnTo>
                      <a:pt x="60" y="135"/>
                    </a:lnTo>
                    <a:lnTo>
                      <a:pt x="69" y="135"/>
                    </a:lnTo>
                    <a:lnTo>
                      <a:pt x="78" y="133"/>
                    </a:lnTo>
                    <a:lnTo>
                      <a:pt x="86" y="131"/>
                    </a:lnTo>
                    <a:lnTo>
                      <a:pt x="93" y="129"/>
                    </a:lnTo>
                    <a:lnTo>
                      <a:pt x="101" y="127"/>
                    </a:lnTo>
                    <a:lnTo>
                      <a:pt x="109" y="125"/>
                    </a:lnTo>
                    <a:lnTo>
                      <a:pt x="117" y="124"/>
                    </a:lnTo>
                    <a:lnTo>
                      <a:pt x="126" y="123"/>
                    </a:lnTo>
                    <a:lnTo>
                      <a:pt x="120" y="11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036" name="Freeform 432"/>
              <p:cNvSpPr>
                <a:spLocks/>
              </p:cNvSpPr>
              <p:nvPr/>
            </p:nvSpPr>
            <p:spPr bwMode="auto">
              <a:xfrm>
                <a:off x="1584" y="1245"/>
                <a:ext cx="51" cy="18"/>
              </a:xfrm>
              <a:custGeom>
                <a:avLst/>
                <a:gdLst>
                  <a:gd name="T0" fmla="*/ 15 w 159"/>
                  <a:gd name="T1" fmla="*/ 17 h 56"/>
                  <a:gd name="T2" fmla="*/ 13 w 159"/>
                  <a:gd name="T3" fmla="*/ 17 h 56"/>
                  <a:gd name="T4" fmla="*/ 11 w 159"/>
                  <a:gd name="T5" fmla="*/ 16 h 56"/>
                  <a:gd name="T6" fmla="*/ 8 w 159"/>
                  <a:gd name="T7" fmla="*/ 14 h 56"/>
                  <a:gd name="T8" fmla="*/ 6 w 159"/>
                  <a:gd name="T9" fmla="*/ 12 h 56"/>
                  <a:gd name="T10" fmla="*/ 3 w 159"/>
                  <a:gd name="T11" fmla="*/ 10 h 56"/>
                  <a:gd name="T12" fmla="*/ 2 w 159"/>
                  <a:gd name="T13" fmla="*/ 8 h 56"/>
                  <a:gd name="T14" fmla="*/ 1 w 159"/>
                  <a:gd name="T15" fmla="*/ 7 h 56"/>
                  <a:gd name="T16" fmla="*/ 0 w 159"/>
                  <a:gd name="T17" fmla="*/ 5 h 56"/>
                  <a:gd name="T18" fmla="*/ 0 w 159"/>
                  <a:gd name="T19" fmla="*/ 4 h 56"/>
                  <a:gd name="T20" fmla="*/ 0 w 159"/>
                  <a:gd name="T21" fmla="*/ 3 h 56"/>
                  <a:gd name="T22" fmla="*/ 7 w 159"/>
                  <a:gd name="T23" fmla="*/ 3 h 56"/>
                  <a:gd name="T24" fmla="*/ 13 w 159"/>
                  <a:gd name="T25" fmla="*/ 3 h 56"/>
                  <a:gd name="T26" fmla="*/ 17 w 159"/>
                  <a:gd name="T27" fmla="*/ 3 h 56"/>
                  <a:gd name="T28" fmla="*/ 19 w 159"/>
                  <a:gd name="T29" fmla="*/ 3 h 56"/>
                  <a:gd name="T30" fmla="*/ 27 w 159"/>
                  <a:gd name="T31" fmla="*/ 2 h 56"/>
                  <a:gd name="T32" fmla="*/ 38 w 159"/>
                  <a:gd name="T33" fmla="*/ 0 h 56"/>
                  <a:gd name="T34" fmla="*/ 40 w 159"/>
                  <a:gd name="T35" fmla="*/ 0 h 56"/>
                  <a:gd name="T36" fmla="*/ 42 w 159"/>
                  <a:gd name="T37" fmla="*/ 0 h 56"/>
                  <a:gd name="T38" fmla="*/ 45 w 159"/>
                  <a:gd name="T39" fmla="*/ 0 h 56"/>
                  <a:gd name="T40" fmla="*/ 47 w 159"/>
                  <a:gd name="T41" fmla="*/ 1 h 56"/>
                  <a:gd name="T42" fmla="*/ 48 w 159"/>
                  <a:gd name="T43" fmla="*/ 2 h 56"/>
                  <a:gd name="T44" fmla="*/ 50 w 159"/>
                  <a:gd name="T45" fmla="*/ 3 h 56"/>
                  <a:gd name="T46" fmla="*/ 51 w 159"/>
                  <a:gd name="T47" fmla="*/ 5 h 56"/>
                  <a:gd name="T48" fmla="*/ 51 w 159"/>
                  <a:gd name="T49" fmla="*/ 7 h 56"/>
                  <a:gd name="T50" fmla="*/ 51 w 159"/>
                  <a:gd name="T51" fmla="*/ 10 h 56"/>
                  <a:gd name="T52" fmla="*/ 50 w 159"/>
                  <a:gd name="T53" fmla="*/ 12 h 56"/>
                  <a:gd name="T54" fmla="*/ 48 w 159"/>
                  <a:gd name="T55" fmla="*/ 14 h 56"/>
                  <a:gd name="T56" fmla="*/ 47 w 159"/>
                  <a:gd name="T57" fmla="*/ 15 h 56"/>
                  <a:gd name="T58" fmla="*/ 45 w 159"/>
                  <a:gd name="T59" fmla="*/ 17 h 56"/>
                  <a:gd name="T60" fmla="*/ 42 w 159"/>
                  <a:gd name="T61" fmla="*/ 17 h 56"/>
                  <a:gd name="T62" fmla="*/ 40 w 159"/>
                  <a:gd name="T63" fmla="*/ 18 h 56"/>
                  <a:gd name="T64" fmla="*/ 37 w 159"/>
                  <a:gd name="T65" fmla="*/ 18 h 56"/>
                  <a:gd name="T66" fmla="*/ 25 w 159"/>
                  <a:gd name="T67" fmla="*/ 18 h 56"/>
                  <a:gd name="T68" fmla="*/ 15 w 159"/>
                  <a:gd name="T69" fmla="*/ 17 h 5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159" h="56">
                    <a:moveTo>
                      <a:pt x="46" y="53"/>
                    </a:moveTo>
                    <a:lnTo>
                      <a:pt x="40" y="52"/>
                    </a:lnTo>
                    <a:lnTo>
                      <a:pt x="34" y="49"/>
                    </a:lnTo>
                    <a:lnTo>
                      <a:pt x="26" y="45"/>
                    </a:lnTo>
                    <a:lnTo>
                      <a:pt x="18" y="38"/>
                    </a:lnTo>
                    <a:lnTo>
                      <a:pt x="10" y="31"/>
                    </a:lnTo>
                    <a:lnTo>
                      <a:pt x="5" y="24"/>
                    </a:lnTo>
                    <a:lnTo>
                      <a:pt x="3" y="21"/>
                    </a:lnTo>
                    <a:lnTo>
                      <a:pt x="1" y="17"/>
                    </a:lnTo>
                    <a:lnTo>
                      <a:pt x="0" y="13"/>
                    </a:lnTo>
                    <a:lnTo>
                      <a:pt x="0" y="10"/>
                    </a:lnTo>
                    <a:lnTo>
                      <a:pt x="21" y="10"/>
                    </a:lnTo>
                    <a:lnTo>
                      <a:pt x="39" y="10"/>
                    </a:lnTo>
                    <a:lnTo>
                      <a:pt x="52" y="10"/>
                    </a:lnTo>
                    <a:lnTo>
                      <a:pt x="59" y="10"/>
                    </a:lnTo>
                    <a:lnTo>
                      <a:pt x="83" y="6"/>
                    </a:lnTo>
                    <a:lnTo>
                      <a:pt x="117" y="0"/>
                    </a:lnTo>
                    <a:lnTo>
                      <a:pt x="125" y="0"/>
                    </a:lnTo>
                    <a:lnTo>
                      <a:pt x="132" y="0"/>
                    </a:lnTo>
                    <a:lnTo>
                      <a:pt x="140" y="0"/>
                    </a:lnTo>
                    <a:lnTo>
                      <a:pt x="147" y="2"/>
                    </a:lnTo>
                    <a:lnTo>
                      <a:pt x="151" y="5"/>
                    </a:lnTo>
                    <a:lnTo>
                      <a:pt x="155" y="9"/>
                    </a:lnTo>
                    <a:lnTo>
                      <a:pt x="158" y="15"/>
                    </a:lnTo>
                    <a:lnTo>
                      <a:pt x="159" y="22"/>
                    </a:lnTo>
                    <a:lnTo>
                      <a:pt x="158" y="30"/>
                    </a:lnTo>
                    <a:lnTo>
                      <a:pt x="155" y="37"/>
                    </a:lnTo>
                    <a:lnTo>
                      <a:pt x="151" y="44"/>
                    </a:lnTo>
                    <a:lnTo>
                      <a:pt x="146" y="48"/>
                    </a:lnTo>
                    <a:lnTo>
                      <a:pt x="139" y="52"/>
                    </a:lnTo>
                    <a:lnTo>
                      <a:pt x="132" y="54"/>
                    </a:lnTo>
                    <a:lnTo>
                      <a:pt x="124" y="55"/>
                    </a:lnTo>
                    <a:lnTo>
                      <a:pt x="115" y="56"/>
                    </a:lnTo>
                    <a:lnTo>
                      <a:pt x="77" y="55"/>
                    </a:lnTo>
                    <a:lnTo>
                      <a:pt x="46" y="5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1037" name="Freeform 433"/>
              <p:cNvSpPr>
                <a:spLocks/>
              </p:cNvSpPr>
              <p:nvPr/>
            </p:nvSpPr>
            <p:spPr bwMode="auto">
              <a:xfrm>
                <a:off x="534" y="1280"/>
                <a:ext cx="1205" cy="539"/>
              </a:xfrm>
              <a:custGeom>
                <a:avLst/>
                <a:gdLst>
                  <a:gd name="T0" fmla="*/ 946 w 3734"/>
                  <a:gd name="T1" fmla="*/ 447 h 1644"/>
                  <a:gd name="T2" fmla="*/ 825 w 3734"/>
                  <a:gd name="T3" fmla="*/ 499 h 1644"/>
                  <a:gd name="T4" fmla="*/ 746 w 3734"/>
                  <a:gd name="T5" fmla="*/ 522 h 1644"/>
                  <a:gd name="T6" fmla="*/ 740 w 3734"/>
                  <a:gd name="T7" fmla="*/ 536 h 1644"/>
                  <a:gd name="T8" fmla="*/ 703 w 3734"/>
                  <a:gd name="T9" fmla="*/ 527 h 1644"/>
                  <a:gd name="T10" fmla="*/ 735 w 3734"/>
                  <a:gd name="T11" fmla="*/ 496 h 1644"/>
                  <a:gd name="T12" fmla="*/ 699 w 3734"/>
                  <a:gd name="T13" fmla="*/ 464 h 1644"/>
                  <a:gd name="T14" fmla="*/ 676 w 3734"/>
                  <a:gd name="T15" fmla="*/ 425 h 1644"/>
                  <a:gd name="T16" fmla="*/ 628 w 3734"/>
                  <a:gd name="T17" fmla="*/ 432 h 1644"/>
                  <a:gd name="T18" fmla="*/ 572 w 3734"/>
                  <a:gd name="T19" fmla="*/ 420 h 1644"/>
                  <a:gd name="T20" fmla="*/ 84 w 3734"/>
                  <a:gd name="T21" fmla="*/ 405 h 1644"/>
                  <a:gd name="T22" fmla="*/ 41 w 3734"/>
                  <a:gd name="T23" fmla="*/ 369 h 1644"/>
                  <a:gd name="T24" fmla="*/ 49 w 3734"/>
                  <a:gd name="T25" fmla="*/ 341 h 1644"/>
                  <a:gd name="T26" fmla="*/ 47 w 3734"/>
                  <a:gd name="T27" fmla="*/ 304 h 1644"/>
                  <a:gd name="T28" fmla="*/ 84 w 3734"/>
                  <a:gd name="T29" fmla="*/ 282 h 1644"/>
                  <a:gd name="T30" fmla="*/ 81 w 3734"/>
                  <a:gd name="T31" fmla="*/ 245 h 1644"/>
                  <a:gd name="T32" fmla="*/ 41 w 3734"/>
                  <a:gd name="T33" fmla="*/ 218 h 1644"/>
                  <a:gd name="T34" fmla="*/ 194 w 3734"/>
                  <a:gd name="T35" fmla="*/ 37 h 1644"/>
                  <a:gd name="T36" fmla="*/ 370 w 3734"/>
                  <a:gd name="T37" fmla="*/ 34 h 1644"/>
                  <a:gd name="T38" fmla="*/ 418 w 3734"/>
                  <a:gd name="T39" fmla="*/ 38 h 1644"/>
                  <a:gd name="T40" fmla="*/ 530 w 3734"/>
                  <a:gd name="T41" fmla="*/ 54 h 1644"/>
                  <a:gd name="T42" fmla="*/ 572 w 3734"/>
                  <a:gd name="T43" fmla="*/ 68 h 1644"/>
                  <a:gd name="T44" fmla="*/ 670 w 3734"/>
                  <a:gd name="T45" fmla="*/ 63 h 1644"/>
                  <a:gd name="T46" fmla="*/ 738 w 3734"/>
                  <a:gd name="T47" fmla="*/ 71 h 1644"/>
                  <a:gd name="T48" fmla="*/ 763 w 3734"/>
                  <a:gd name="T49" fmla="*/ 71 h 1644"/>
                  <a:gd name="T50" fmla="*/ 813 w 3734"/>
                  <a:gd name="T51" fmla="*/ 40 h 1644"/>
                  <a:gd name="T52" fmla="*/ 835 w 3734"/>
                  <a:gd name="T53" fmla="*/ 1 h 1644"/>
                  <a:gd name="T54" fmla="*/ 853 w 3734"/>
                  <a:gd name="T55" fmla="*/ 34 h 1644"/>
                  <a:gd name="T56" fmla="*/ 860 w 3734"/>
                  <a:gd name="T57" fmla="*/ 54 h 1644"/>
                  <a:gd name="T58" fmla="*/ 876 w 3734"/>
                  <a:gd name="T59" fmla="*/ 64 h 1644"/>
                  <a:gd name="T60" fmla="*/ 933 w 3734"/>
                  <a:gd name="T61" fmla="*/ 40 h 1644"/>
                  <a:gd name="T62" fmla="*/ 980 w 3734"/>
                  <a:gd name="T63" fmla="*/ 44 h 1644"/>
                  <a:gd name="T64" fmla="*/ 930 w 3734"/>
                  <a:gd name="T65" fmla="*/ 89 h 1644"/>
                  <a:gd name="T66" fmla="*/ 900 w 3734"/>
                  <a:gd name="T67" fmla="*/ 95 h 1644"/>
                  <a:gd name="T68" fmla="*/ 829 w 3734"/>
                  <a:gd name="T69" fmla="*/ 100 h 1644"/>
                  <a:gd name="T70" fmla="*/ 807 w 3734"/>
                  <a:gd name="T71" fmla="*/ 132 h 1644"/>
                  <a:gd name="T72" fmla="*/ 753 w 3734"/>
                  <a:gd name="T73" fmla="*/ 154 h 1644"/>
                  <a:gd name="T74" fmla="*/ 673 w 3734"/>
                  <a:gd name="T75" fmla="*/ 205 h 1644"/>
                  <a:gd name="T76" fmla="*/ 680 w 3734"/>
                  <a:gd name="T77" fmla="*/ 260 h 1644"/>
                  <a:gd name="T78" fmla="*/ 762 w 3734"/>
                  <a:gd name="T79" fmla="*/ 297 h 1644"/>
                  <a:gd name="T80" fmla="*/ 788 w 3734"/>
                  <a:gd name="T81" fmla="*/ 347 h 1644"/>
                  <a:gd name="T82" fmla="*/ 844 w 3734"/>
                  <a:gd name="T83" fmla="*/ 324 h 1644"/>
                  <a:gd name="T84" fmla="*/ 919 w 3734"/>
                  <a:gd name="T85" fmla="*/ 257 h 1644"/>
                  <a:gd name="T86" fmla="*/ 935 w 3734"/>
                  <a:gd name="T87" fmla="*/ 196 h 1644"/>
                  <a:gd name="T88" fmla="*/ 1018 w 3734"/>
                  <a:gd name="T89" fmla="*/ 164 h 1644"/>
                  <a:gd name="T90" fmla="*/ 1057 w 3734"/>
                  <a:gd name="T91" fmla="*/ 194 h 1644"/>
                  <a:gd name="T92" fmla="*/ 1041 w 3734"/>
                  <a:gd name="T93" fmla="*/ 241 h 1644"/>
                  <a:gd name="T94" fmla="*/ 1127 w 3734"/>
                  <a:gd name="T95" fmla="*/ 201 h 1644"/>
                  <a:gd name="T96" fmla="*/ 1144 w 3734"/>
                  <a:gd name="T97" fmla="*/ 254 h 1644"/>
                  <a:gd name="T98" fmla="*/ 1182 w 3734"/>
                  <a:gd name="T99" fmla="*/ 303 h 1644"/>
                  <a:gd name="T100" fmla="*/ 1167 w 3734"/>
                  <a:gd name="T101" fmla="*/ 315 h 1644"/>
                  <a:gd name="T102" fmla="*/ 1192 w 3734"/>
                  <a:gd name="T103" fmla="*/ 337 h 1644"/>
                  <a:gd name="T104" fmla="*/ 1148 w 3734"/>
                  <a:gd name="T105" fmla="*/ 363 h 1644"/>
                  <a:gd name="T106" fmla="*/ 1017 w 3734"/>
                  <a:gd name="T107" fmla="*/ 383 h 1644"/>
                  <a:gd name="T108" fmla="*/ 921 w 3734"/>
                  <a:gd name="T109" fmla="*/ 438 h 1644"/>
                  <a:gd name="T110" fmla="*/ 937 w 3734"/>
                  <a:gd name="T111" fmla="*/ 438 h 1644"/>
                  <a:gd name="T112" fmla="*/ 1038 w 3734"/>
                  <a:gd name="T113" fmla="*/ 412 h 1644"/>
                  <a:gd name="T114" fmla="*/ 989 w 3734"/>
                  <a:gd name="T115" fmla="*/ 426 h 1644"/>
                  <a:gd name="T116" fmla="*/ 1013 w 3734"/>
                  <a:gd name="T117" fmla="*/ 456 h 1644"/>
                  <a:gd name="T118" fmla="*/ 1048 w 3734"/>
                  <a:gd name="T119" fmla="*/ 483 h 1644"/>
                  <a:gd name="T120" fmla="*/ 974 w 3734"/>
                  <a:gd name="T121" fmla="*/ 513 h 1644"/>
                  <a:gd name="T122" fmla="*/ 1029 w 3734"/>
                  <a:gd name="T123" fmla="*/ 481 h 1644"/>
                  <a:gd name="T124" fmla="*/ 973 w 3734"/>
                  <a:gd name="T125" fmla="*/ 487 h 1644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3734" h="1644">
                    <a:moveTo>
                      <a:pt x="3010" y="1478"/>
                    </a:moveTo>
                    <a:lnTo>
                      <a:pt x="3010" y="1410"/>
                    </a:lnTo>
                    <a:lnTo>
                      <a:pt x="3013" y="1407"/>
                    </a:lnTo>
                    <a:lnTo>
                      <a:pt x="3016" y="1400"/>
                    </a:lnTo>
                    <a:lnTo>
                      <a:pt x="3021" y="1391"/>
                    </a:lnTo>
                    <a:lnTo>
                      <a:pt x="3025" y="1382"/>
                    </a:lnTo>
                    <a:lnTo>
                      <a:pt x="3029" y="1370"/>
                    </a:lnTo>
                    <a:lnTo>
                      <a:pt x="3033" y="1360"/>
                    </a:lnTo>
                    <a:lnTo>
                      <a:pt x="3036" y="1351"/>
                    </a:lnTo>
                    <a:lnTo>
                      <a:pt x="3036" y="1343"/>
                    </a:lnTo>
                    <a:lnTo>
                      <a:pt x="3032" y="1345"/>
                    </a:lnTo>
                    <a:lnTo>
                      <a:pt x="3026" y="1345"/>
                    </a:lnTo>
                    <a:lnTo>
                      <a:pt x="3021" y="1346"/>
                    </a:lnTo>
                    <a:lnTo>
                      <a:pt x="3014" y="1345"/>
                    </a:lnTo>
                    <a:lnTo>
                      <a:pt x="2997" y="1344"/>
                    </a:lnTo>
                    <a:lnTo>
                      <a:pt x="2977" y="1343"/>
                    </a:lnTo>
                    <a:lnTo>
                      <a:pt x="2967" y="1343"/>
                    </a:lnTo>
                    <a:lnTo>
                      <a:pt x="2958" y="1345"/>
                    </a:lnTo>
                    <a:lnTo>
                      <a:pt x="2950" y="1348"/>
                    </a:lnTo>
                    <a:lnTo>
                      <a:pt x="2943" y="1352"/>
                    </a:lnTo>
                    <a:lnTo>
                      <a:pt x="2936" y="1356"/>
                    </a:lnTo>
                    <a:lnTo>
                      <a:pt x="2931" y="1362"/>
                    </a:lnTo>
                    <a:lnTo>
                      <a:pt x="2925" y="1368"/>
                    </a:lnTo>
                    <a:lnTo>
                      <a:pt x="2920" y="1374"/>
                    </a:lnTo>
                    <a:lnTo>
                      <a:pt x="2909" y="1388"/>
                    </a:lnTo>
                    <a:lnTo>
                      <a:pt x="2899" y="1403"/>
                    </a:lnTo>
                    <a:lnTo>
                      <a:pt x="2889" y="1416"/>
                    </a:lnTo>
                    <a:lnTo>
                      <a:pt x="2877" y="1429"/>
                    </a:lnTo>
                    <a:lnTo>
                      <a:pt x="2867" y="1438"/>
                    </a:lnTo>
                    <a:lnTo>
                      <a:pt x="2857" y="1445"/>
                    </a:lnTo>
                    <a:lnTo>
                      <a:pt x="2847" y="1451"/>
                    </a:lnTo>
                    <a:lnTo>
                      <a:pt x="2836" y="1456"/>
                    </a:lnTo>
                    <a:lnTo>
                      <a:pt x="2826" y="1460"/>
                    </a:lnTo>
                    <a:lnTo>
                      <a:pt x="2815" y="1463"/>
                    </a:lnTo>
                    <a:lnTo>
                      <a:pt x="2803" y="1465"/>
                    </a:lnTo>
                    <a:lnTo>
                      <a:pt x="2792" y="1467"/>
                    </a:lnTo>
                    <a:lnTo>
                      <a:pt x="2767" y="1470"/>
                    </a:lnTo>
                    <a:lnTo>
                      <a:pt x="2741" y="1472"/>
                    </a:lnTo>
                    <a:lnTo>
                      <a:pt x="2711" y="1474"/>
                    </a:lnTo>
                    <a:lnTo>
                      <a:pt x="2678" y="1478"/>
                    </a:lnTo>
                    <a:lnTo>
                      <a:pt x="2591" y="1478"/>
                    </a:lnTo>
                    <a:lnTo>
                      <a:pt x="2580" y="1494"/>
                    </a:lnTo>
                    <a:lnTo>
                      <a:pt x="2569" y="1508"/>
                    </a:lnTo>
                    <a:lnTo>
                      <a:pt x="2556" y="1522"/>
                    </a:lnTo>
                    <a:lnTo>
                      <a:pt x="2543" y="1534"/>
                    </a:lnTo>
                    <a:lnTo>
                      <a:pt x="2530" y="1547"/>
                    </a:lnTo>
                    <a:lnTo>
                      <a:pt x="2514" y="1558"/>
                    </a:lnTo>
                    <a:lnTo>
                      <a:pt x="2500" y="1568"/>
                    </a:lnTo>
                    <a:lnTo>
                      <a:pt x="2485" y="1577"/>
                    </a:lnTo>
                    <a:lnTo>
                      <a:pt x="2492" y="1571"/>
                    </a:lnTo>
                    <a:lnTo>
                      <a:pt x="2498" y="1565"/>
                    </a:lnTo>
                    <a:lnTo>
                      <a:pt x="2502" y="1559"/>
                    </a:lnTo>
                    <a:lnTo>
                      <a:pt x="2504" y="1553"/>
                    </a:lnTo>
                    <a:lnTo>
                      <a:pt x="2478" y="1546"/>
                    </a:lnTo>
                    <a:lnTo>
                      <a:pt x="2445" y="1559"/>
                    </a:lnTo>
                    <a:lnTo>
                      <a:pt x="2408" y="1562"/>
                    </a:lnTo>
                    <a:lnTo>
                      <a:pt x="2364" y="1565"/>
                    </a:lnTo>
                    <a:lnTo>
                      <a:pt x="2353" y="1567"/>
                    </a:lnTo>
                    <a:lnTo>
                      <a:pt x="2343" y="1569"/>
                    </a:lnTo>
                    <a:lnTo>
                      <a:pt x="2334" y="1572"/>
                    </a:lnTo>
                    <a:lnTo>
                      <a:pt x="2328" y="1575"/>
                    </a:lnTo>
                    <a:lnTo>
                      <a:pt x="2321" y="1579"/>
                    </a:lnTo>
                    <a:lnTo>
                      <a:pt x="2316" y="1583"/>
                    </a:lnTo>
                    <a:lnTo>
                      <a:pt x="2315" y="1586"/>
                    </a:lnTo>
                    <a:lnTo>
                      <a:pt x="2313" y="1589"/>
                    </a:lnTo>
                    <a:lnTo>
                      <a:pt x="2312" y="1592"/>
                    </a:lnTo>
                    <a:lnTo>
                      <a:pt x="2312" y="1595"/>
                    </a:lnTo>
                    <a:lnTo>
                      <a:pt x="2312" y="1598"/>
                    </a:lnTo>
                    <a:lnTo>
                      <a:pt x="2313" y="1602"/>
                    </a:lnTo>
                    <a:lnTo>
                      <a:pt x="2316" y="1604"/>
                    </a:lnTo>
                    <a:lnTo>
                      <a:pt x="2318" y="1605"/>
                    </a:lnTo>
                    <a:lnTo>
                      <a:pt x="2324" y="1608"/>
                    </a:lnTo>
                    <a:lnTo>
                      <a:pt x="2332" y="1609"/>
                    </a:lnTo>
                    <a:lnTo>
                      <a:pt x="2351" y="1609"/>
                    </a:lnTo>
                    <a:lnTo>
                      <a:pt x="2372" y="1608"/>
                    </a:lnTo>
                    <a:lnTo>
                      <a:pt x="2388" y="1607"/>
                    </a:lnTo>
                    <a:lnTo>
                      <a:pt x="2405" y="1605"/>
                    </a:lnTo>
                    <a:lnTo>
                      <a:pt x="2421" y="1602"/>
                    </a:lnTo>
                    <a:lnTo>
                      <a:pt x="2438" y="1597"/>
                    </a:lnTo>
                    <a:lnTo>
                      <a:pt x="2425" y="1602"/>
                    </a:lnTo>
                    <a:lnTo>
                      <a:pt x="2414" y="1605"/>
                    </a:lnTo>
                    <a:lnTo>
                      <a:pt x="2402" y="1607"/>
                    </a:lnTo>
                    <a:lnTo>
                      <a:pt x="2391" y="1608"/>
                    </a:lnTo>
                    <a:lnTo>
                      <a:pt x="2319" y="1626"/>
                    </a:lnTo>
                    <a:lnTo>
                      <a:pt x="2313" y="1629"/>
                    </a:lnTo>
                    <a:lnTo>
                      <a:pt x="2307" y="1631"/>
                    </a:lnTo>
                    <a:lnTo>
                      <a:pt x="2300" y="1633"/>
                    </a:lnTo>
                    <a:lnTo>
                      <a:pt x="2294" y="1634"/>
                    </a:lnTo>
                    <a:lnTo>
                      <a:pt x="2296" y="1633"/>
                    </a:lnTo>
                    <a:lnTo>
                      <a:pt x="2299" y="1632"/>
                    </a:lnTo>
                    <a:lnTo>
                      <a:pt x="2290" y="1625"/>
                    </a:lnTo>
                    <a:lnTo>
                      <a:pt x="2283" y="1620"/>
                    </a:lnTo>
                    <a:lnTo>
                      <a:pt x="2273" y="1617"/>
                    </a:lnTo>
                    <a:lnTo>
                      <a:pt x="2263" y="1614"/>
                    </a:lnTo>
                    <a:lnTo>
                      <a:pt x="2253" y="1613"/>
                    </a:lnTo>
                    <a:lnTo>
                      <a:pt x="2243" y="1614"/>
                    </a:lnTo>
                    <a:lnTo>
                      <a:pt x="2233" y="1615"/>
                    </a:lnTo>
                    <a:lnTo>
                      <a:pt x="2224" y="1616"/>
                    </a:lnTo>
                    <a:lnTo>
                      <a:pt x="2207" y="1621"/>
                    </a:lnTo>
                    <a:lnTo>
                      <a:pt x="2193" y="1626"/>
                    </a:lnTo>
                    <a:lnTo>
                      <a:pt x="2183" y="1630"/>
                    </a:lnTo>
                    <a:lnTo>
                      <a:pt x="2179" y="1632"/>
                    </a:lnTo>
                    <a:lnTo>
                      <a:pt x="2172" y="1634"/>
                    </a:lnTo>
                    <a:lnTo>
                      <a:pt x="2162" y="1637"/>
                    </a:lnTo>
                    <a:lnTo>
                      <a:pt x="2150" y="1641"/>
                    </a:lnTo>
                    <a:lnTo>
                      <a:pt x="2137" y="1644"/>
                    </a:lnTo>
                    <a:lnTo>
                      <a:pt x="2147" y="1632"/>
                    </a:lnTo>
                    <a:lnTo>
                      <a:pt x="2156" y="1623"/>
                    </a:lnTo>
                    <a:lnTo>
                      <a:pt x="2167" y="1614"/>
                    </a:lnTo>
                    <a:lnTo>
                      <a:pt x="2177" y="1607"/>
                    </a:lnTo>
                    <a:lnTo>
                      <a:pt x="2187" y="1599"/>
                    </a:lnTo>
                    <a:lnTo>
                      <a:pt x="2196" y="1592"/>
                    </a:lnTo>
                    <a:lnTo>
                      <a:pt x="2200" y="1587"/>
                    </a:lnTo>
                    <a:lnTo>
                      <a:pt x="2205" y="1582"/>
                    </a:lnTo>
                    <a:lnTo>
                      <a:pt x="2209" y="1577"/>
                    </a:lnTo>
                    <a:lnTo>
                      <a:pt x="2212" y="1571"/>
                    </a:lnTo>
                    <a:lnTo>
                      <a:pt x="2219" y="1558"/>
                    </a:lnTo>
                    <a:lnTo>
                      <a:pt x="2222" y="1544"/>
                    </a:lnTo>
                    <a:lnTo>
                      <a:pt x="2224" y="1533"/>
                    </a:lnTo>
                    <a:lnTo>
                      <a:pt x="2228" y="1522"/>
                    </a:lnTo>
                    <a:lnTo>
                      <a:pt x="2230" y="1511"/>
                    </a:lnTo>
                    <a:lnTo>
                      <a:pt x="2234" y="1501"/>
                    </a:lnTo>
                    <a:lnTo>
                      <a:pt x="2238" y="1495"/>
                    </a:lnTo>
                    <a:lnTo>
                      <a:pt x="2242" y="1490"/>
                    </a:lnTo>
                    <a:lnTo>
                      <a:pt x="2246" y="1484"/>
                    </a:lnTo>
                    <a:lnTo>
                      <a:pt x="2252" y="1478"/>
                    </a:lnTo>
                    <a:lnTo>
                      <a:pt x="2265" y="1478"/>
                    </a:lnTo>
                    <a:lnTo>
                      <a:pt x="2266" y="1485"/>
                    </a:lnTo>
                    <a:lnTo>
                      <a:pt x="2267" y="1492"/>
                    </a:lnTo>
                    <a:lnTo>
                      <a:pt x="2271" y="1497"/>
                    </a:lnTo>
                    <a:lnTo>
                      <a:pt x="2273" y="1502"/>
                    </a:lnTo>
                    <a:lnTo>
                      <a:pt x="2279" y="1512"/>
                    </a:lnTo>
                    <a:lnTo>
                      <a:pt x="2286" y="1521"/>
                    </a:lnTo>
                    <a:lnTo>
                      <a:pt x="2298" y="1517"/>
                    </a:lnTo>
                    <a:lnTo>
                      <a:pt x="2310" y="1512"/>
                    </a:lnTo>
                    <a:lnTo>
                      <a:pt x="2324" y="1508"/>
                    </a:lnTo>
                    <a:lnTo>
                      <a:pt x="2345" y="1503"/>
                    </a:lnTo>
                    <a:lnTo>
                      <a:pt x="2345" y="1478"/>
                    </a:lnTo>
                    <a:lnTo>
                      <a:pt x="2331" y="1462"/>
                    </a:lnTo>
                    <a:lnTo>
                      <a:pt x="2317" y="1444"/>
                    </a:lnTo>
                    <a:lnTo>
                      <a:pt x="2309" y="1436"/>
                    </a:lnTo>
                    <a:lnTo>
                      <a:pt x="2300" y="1428"/>
                    </a:lnTo>
                    <a:lnTo>
                      <a:pt x="2296" y="1426"/>
                    </a:lnTo>
                    <a:lnTo>
                      <a:pt x="2290" y="1424"/>
                    </a:lnTo>
                    <a:lnTo>
                      <a:pt x="2285" y="1423"/>
                    </a:lnTo>
                    <a:lnTo>
                      <a:pt x="2279" y="1422"/>
                    </a:lnTo>
                    <a:lnTo>
                      <a:pt x="2249" y="1423"/>
                    </a:lnTo>
                    <a:lnTo>
                      <a:pt x="2215" y="1424"/>
                    </a:lnTo>
                    <a:lnTo>
                      <a:pt x="2199" y="1424"/>
                    </a:lnTo>
                    <a:lnTo>
                      <a:pt x="2185" y="1423"/>
                    </a:lnTo>
                    <a:lnTo>
                      <a:pt x="2178" y="1422"/>
                    </a:lnTo>
                    <a:lnTo>
                      <a:pt x="2173" y="1420"/>
                    </a:lnTo>
                    <a:lnTo>
                      <a:pt x="2168" y="1419"/>
                    </a:lnTo>
                    <a:lnTo>
                      <a:pt x="2166" y="1416"/>
                    </a:lnTo>
                    <a:lnTo>
                      <a:pt x="2163" y="1413"/>
                    </a:lnTo>
                    <a:lnTo>
                      <a:pt x="2161" y="1409"/>
                    </a:lnTo>
                    <a:lnTo>
                      <a:pt x="2159" y="1405"/>
                    </a:lnTo>
                    <a:lnTo>
                      <a:pt x="2159" y="1401"/>
                    </a:lnTo>
                    <a:lnTo>
                      <a:pt x="2159" y="1392"/>
                    </a:lnTo>
                    <a:lnTo>
                      <a:pt x="2160" y="1382"/>
                    </a:lnTo>
                    <a:lnTo>
                      <a:pt x="2161" y="1372"/>
                    </a:lnTo>
                    <a:lnTo>
                      <a:pt x="2161" y="1362"/>
                    </a:lnTo>
                    <a:lnTo>
                      <a:pt x="2160" y="1357"/>
                    </a:lnTo>
                    <a:lnTo>
                      <a:pt x="2159" y="1352"/>
                    </a:lnTo>
                    <a:lnTo>
                      <a:pt x="2155" y="1347"/>
                    </a:lnTo>
                    <a:lnTo>
                      <a:pt x="2153" y="1343"/>
                    </a:lnTo>
                    <a:lnTo>
                      <a:pt x="2149" y="1339"/>
                    </a:lnTo>
                    <a:lnTo>
                      <a:pt x="2144" y="1335"/>
                    </a:lnTo>
                    <a:lnTo>
                      <a:pt x="2139" y="1332"/>
                    </a:lnTo>
                    <a:lnTo>
                      <a:pt x="2133" y="1329"/>
                    </a:lnTo>
                    <a:lnTo>
                      <a:pt x="2122" y="1323"/>
                    </a:lnTo>
                    <a:lnTo>
                      <a:pt x="2111" y="1315"/>
                    </a:lnTo>
                    <a:lnTo>
                      <a:pt x="2107" y="1311"/>
                    </a:lnTo>
                    <a:lnTo>
                      <a:pt x="2102" y="1307"/>
                    </a:lnTo>
                    <a:lnTo>
                      <a:pt x="2097" y="1301"/>
                    </a:lnTo>
                    <a:lnTo>
                      <a:pt x="2094" y="1295"/>
                    </a:lnTo>
                    <a:lnTo>
                      <a:pt x="2091" y="1288"/>
                    </a:lnTo>
                    <a:lnTo>
                      <a:pt x="2088" y="1279"/>
                    </a:lnTo>
                    <a:lnTo>
                      <a:pt x="2087" y="1269"/>
                    </a:lnTo>
                    <a:lnTo>
                      <a:pt x="2086" y="1256"/>
                    </a:lnTo>
                    <a:lnTo>
                      <a:pt x="2060" y="1256"/>
                    </a:lnTo>
                    <a:lnTo>
                      <a:pt x="2046" y="1259"/>
                    </a:lnTo>
                    <a:lnTo>
                      <a:pt x="2027" y="1261"/>
                    </a:lnTo>
                    <a:lnTo>
                      <a:pt x="2017" y="1262"/>
                    </a:lnTo>
                    <a:lnTo>
                      <a:pt x="2007" y="1265"/>
                    </a:lnTo>
                    <a:lnTo>
                      <a:pt x="2003" y="1267"/>
                    </a:lnTo>
                    <a:lnTo>
                      <a:pt x="1999" y="1270"/>
                    </a:lnTo>
                    <a:lnTo>
                      <a:pt x="1996" y="1272"/>
                    </a:lnTo>
                    <a:lnTo>
                      <a:pt x="1993" y="1275"/>
                    </a:lnTo>
                    <a:lnTo>
                      <a:pt x="1985" y="1287"/>
                    </a:lnTo>
                    <a:lnTo>
                      <a:pt x="1976" y="1301"/>
                    </a:lnTo>
                    <a:lnTo>
                      <a:pt x="1974" y="1304"/>
                    </a:lnTo>
                    <a:lnTo>
                      <a:pt x="1971" y="1307"/>
                    </a:lnTo>
                    <a:lnTo>
                      <a:pt x="1968" y="1310"/>
                    </a:lnTo>
                    <a:lnTo>
                      <a:pt x="1963" y="1313"/>
                    </a:lnTo>
                    <a:lnTo>
                      <a:pt x="1959" y="1315"/>
                    </a:lnTo>
                    <a:lnTo>
                      <a:pt x="1953" y="1316"/>
                    </a:lnTo>
                    <a:lnTo>
                      <a:pt x="1947" y="1317"/>
                    </a:lnTo>
                    <a:lnTo>
                      <a:pt x="1940" y="1318"/>
                    </a:lnTo>
                    <a:lnTo>
                      <a:pt x="1930" y="1317"/>
                    </a:lnTo>
                    <a:lnTo>
                      <a:pt x="1920" y="1315"/>
                    </a:lnTo>
                    <a:lnTo>
                      <a:pt x="1910" y="1313"/>
                    </a:lnTo>
                    <a:lnTo>
                      <a:pt x="1901" y="1309"/>
                    </a:lnTo>
                    <a:lnTo>
                      <a:pt x="1892" y="1305"/>
                    </a:lnTo>
                    <a:lnTo>
                      <a:pt x="1883" y="1300"/>
                    </a:lnTo>
                    <a:lnTo>
                      <a:pt x="1874" y="1294"/>
                    </a:lnTo>
                    <a:lnTo>
                      <a:pt x="1867" y="1287"/>
                    </a:lnTo>
                    <a:lnTo>
                      <a:pt x="1864" y="1289"/>
                    </a:lnTo>
                    <a:lnTo>
                      <a:pt x="1860" y="1293"/>
                    </a:lnTo>
                    <a:lnTo>
                      <a:pt x="1853" y="1298"/>
                    </a:lnTo>
                    <a:lnTo>
                      <a:pt x="1847" y="1299"/>
                    </a:lnTo>
                    <a:lnTo>
                      <a:pt x="1840" y="1299"/>
                    </a:lnTo>
                    <a:lnTo>
                      <a:pt x="1833" y="1297"/>
                    </a:lnTo>
                    <a:lnTo>
                      <a:pt x="1826" y="1294"/>
                    </a:lnTo>
                    <a:lnTo>
                      <a:pt x="1819" y="1290"/>
                    </a:lnTo>
                    <a:lnTo>
                      <a:pt x="1813" y="1287"/>
                    </a:lnTo>
                    <a:lnTo>
                      <a:pt x="1805" y="1284"/>
                    </a:lnTo>
                    <a:lnTo>
                      <a:pt x="1796" y="1282"/>
                    </a:lnTo>
                    <a:lnTo>
                      <a:pt x="1787" y="1281"/>
                    </a:lnTo>
                    <a:lnTo>
                      <a:pt x="1771" y="1281"/>
                    </a:lnTo>
                    <a:lnTo>
                      <a:pt x="1761" y="1281"/>
                    </a:lnTo>
                    <a:lnTo>
                      <a:pt x="1756" y="1281"/>
                    </a:lnTo>
                    <a:lnTo>
                      <a:pt x="1751" y="1280"/>
                    </a:lnTo>
                    <a:lnTo>
                      <a:pt x="1747" y="1279"/>
                    </a:lnTo>
                    <a:lnTo>
                      <a:pt x="1742" y="1277"/>
                    </a:lnTo>
                    <a:lnTo>
                      <a:pt x="1734" y="1272"/>
                    </a:lnTo>
                    <a:lnTo>
                      <a:pt x="1727" y="1264"/>
                    </a:lnTo>
                    <a:lnTo>
                      <a:pt x="1722" y="1256"/>
                    </a:lnTo>
                    <a:lnTo>
                      <a:pt x="1717" y="1247"/>
                    </a:lnTo>
                    <a:lnTo>
                      <a:pt x="1715" y="1237"/>
                    </a:lnTo>
                    <a:lnTo>
                      <a:pt x="1714" y="1226"/>
                    </a:lnTo>
                    <a:lnTo>
                      <a:pt x="1681" y="1226"/>
                    </a:lnTo>
                    <a:lnTo>
                      <a:pt x="1682" y="1231"/>
                    </a:lnTo>
                    <a:lnTo>
                      <a:pt x="1684" y="1239"/>
                    </a:lnTo>
                    <a:lnTo>
                      <a:pt x="1686" y="1247"/>
                    </a:lnTo>
                    <a:lnTo>
                      <a:pt x="1688" y="1256"/>
                    </a:lnTo>
                    <a:lnTo>
                      <a:pt x="259" y="1256"/>
                    </a:lnTo>
                    <a:lnTo>
                      <a:pt x="263" y="1245"/>
                    </a:lnTo>
                    <a:lnTo>
                      <a:pt x="265" y="1239"/>
                    </a:lnTo>
                    <a:lnTo>
                      <a:pt x="265" y="1237"/>
                    </a:lnTo>
                    <a:lnTo>
                      <a:pt x="263" y="1236"/>
                    </a:lnTo>
                    <a:lnTo>
                      <a:pt x="261" y="1235"/>
                    </a:lnTo>
                    <a:lnTo>
                      <a:pt x="258" y="1233"/>
                    </a:lnTo>
                    <a:lnTo>
                      <a:pt x="256" y="1229"/>
                    </a:lnTo>
                    <a:lnTo>
                      <a:pt x="252" y="1220"/>
                    </a:lnTo>
                    <a:lnTo>
                      <a:pt x="247" y="1214"/>
                    </a:lnTo>
                    <a:lnTo>
                      <a:pt x="240" y="1207"/>
                    </a:lnTo>
                    <a:lnTo>
                      <a:pt x="235" y="1200"/>
                    </a:lnTo>
                    <a:lnTo>
                      <a:pt x="233" y="1195"/>
                    </a:lnTo>
                    <a:lnTo>
                      <a:pt x="226" y="1194"/>
                    </a:lnTo>
                    <a:lnTo>
                      <a:pt x="217" y="1190"/>
                    </a:lnTo>
                    <a:lnTo>
                      <a:pt x="213" y="1188"/>
                    </a:lnTo>
                    <a:lnTo>
                      <a:pt x="210" y="1184"/>
                    </a:lnTo>
                    <a:lnTo>
                      <a:pt x="206" y="1181"/>
                    </a:lnTo>
                    <a:lnTo>
                      <a:pt x="206" y="1176"/>
                    </a:lnTo>
                    <a:lnTo>
                      <a:pt x="195" y="1173"/>
                    </a:lnTo>
                    <a:lnTo>
                      <a:pt x="182" y="1168"/>
                    </a:lnTo>
                    <a:lnTo>
                      <a:pt x="169" y="1161"/>
                    </a:lnTo>
                    <a:lnTo>
                      <a:pt x="156" y="1153"/>
                    </a:lnTo>
                    <a:lnTo>
                      <a:pt x="145" y="1145"/>
                    </a:lnTo>
                    <a:lnTo>
                      <a:pt x="135" y="1136"/>
                    </a:lnTo>
                    <a:lnTo>
                      <a:pt x="132" y="1132"/>
                    </a:lnTo>
                    <a:lnTo>
                      <a:pt x="128" y="1128"/>
                    </a:lnTo>
                    <a:lnTo>
                      <a:pt x="127" y="1125"/>
                    </a:lnTo>
                    <a:lnTo>
                      <a:pt x="126" y="1121"/>
                    </a:lnTo>
                    <a:lnTo>
                      <a:pt x="127" y="1116"/>
                    </a:lnTo>
                    <a:lnTo>
                      <a:pt x="128" y="1111"/>
                    </a:lnTo>
                    <a:lnTo>
                      <a:pt x="132" y="1106"/>
                    </a:lnTo>
                    <a:lnTo>
                      <a:pt x="136" y="1102"/>
                    </a:lnTo>
                    <a:lnTo>
                      <a:pt x="146" y="1094"/>
                    </a:lnTo>
                    <a:lnTo>
                      <a:pt x="157" y="1088"/>
                    </a:lnTo>
                    <a:lnTo>
                      <a:pt x="169" y="1083"/>
                    </a:lnTo>
                    <a:lnTo>
                      <a:pt x="180" y="1077"/>
                    </a:lnTo>
                    <a:lnTo>
                      <a:pt x="184" y="1075"/>
                    </a:lnTo>
                    <a:lnTo>
                      <a:pt x="188" y="1072"/>
                    </a:lnTo>
                    <a:lnTo>
                      <a:pt x="191" y="1069"/>
                    </a:lnTo>
                    <a:lnTo>
                      <a:pt x="193" y="1066"/>
                    </a:lnTo>
                    <a:lnTo>
                      <a:pt x="183" y="1065"/>
                    </a:lnTo>
                    <a:lnTo>
                      <a:pt x="170" y="1064"/>
                    </a:lnTo>
                    <a:lnTo>
                      <a:pt x="164" y="1063"/>
                    </a:lnTo>
                    <a:lnTo>
                      <a:pt x="158" y="1060"/>
                    </a:lnTo>
                    <a:lnTo>
                      <a:pt x="156" y="1059"/>
                    </a:lnTo>
                    <a:lnTo>
                      <a:pt x="155" y="1057"/>
                    </a:lnTo>
                    <a:lnTo>
                      <a:pt x="154" y="1056"/>
                    </a:lnTo>
                    <a:lnTo>
                      <a:pt x="153" y="1053"/>
                    </a:lnTo>
                    <a:lnTo>
                      <a:pt x="151" y="1040"/>
                    </a:lnTo>
                    <a:lnTo>
                      <a:pt x="148" y="1029"/>
                    </a:lnTo>
                    <a:lnTo>
                      <a:pt x="147" y="1024"/>
                    </a:lnTo>
                    <a:lnTo>
                      <a:pt x="147" y="1019"/>
                    </a:lnTo>
                    <a:lnTo>
                      <a:pt x="149" y="1015"/>
                    </a:lnTo>
                    <a:lnTo>
                      <a:pt x="153" y="1010"/>
                    </a:lnTo>
                    <a:lnTo>
                      <a:pt x="126" y="1010"/>
                    </a:lnTo>
                    <a:lnTo>
                      <a:pt x="133" y="992"/>
                    </a:lnTo>
                    <a:lnTo>
                      <a:pt x="120" y="989"/>
                    </a:lnTo>
                    <a:lnTo>
                      <a:pt x="106" y="985"/>
                    </a:lnTo>
                    <a:lnTo>
                      <a:pt x="108" y="979"/>
                    </a:lnTo>
                    <a:lnTo>
                      <a:pt x="110" y="973"/>
                    </a:lnTo>
                    <a:lnTo>
                      <a:pt x="112" y="969"/>
                    </a:lnTo>
                    <a:lnTo>
                      <a:pt x="114" y="965"/>
                    </a:lnTo>
                    <a:lnTo>
                      <a:pt x="121" y="958"/>
                    </a:lnTo>
                    <a:lnTo>
                      <a:pt x="127" y="954"/>
                    </a:lnTo>
                    <a:lnTo>
                      <a:pt x="134" y="950"/>
                    </a:lnTo>
                    <a:lnTo>
                      <a:pt x="140" y="947"/>
                    </a:lnTo>
                    <a:lnTo>
                      <a:pt x="147" y="942"/>
                    </a:lnTo>
                    <a:lnTo>
                      <a:pt x="153" y="936"/>
                    </a:lnTo>
                    <a:lnTo>
                      <a:pt x="149" y="932"/>
                    </a:lnTo>
                    <a:lnTo>
                      <a:pt x="148" y="929"/>
                    </a:lnTo>
                    <a:lnTo>
                      <a:pt x="147" y="927"/>
                    </a:lnTo>
                    <a:lnTo>
                      <a:pt x="147" y="925"/>
                    </a:lnTo>
                    <a:lnTo>
                      <a:pt x="148" y="923"/>
                    </a:lnTo>
                    <a:lnTo>
                      <a:pt x="149" y="921"/>
                    </a:lnTo>
                    <a:lnTo>
                      <a:pt x="151" y="919"/>
                    </a:lnTo>
                    <a:lnTo>
                      <a:pt x="155" y="917"/>
                    </a:lnTo>
                    <a:lnTo>
                      <a:pt x="161" y="914"/>
                    </a:lnTo>
                    <a:lnTo>
                      <a:pt x="170" y="910"/>
                    </a:lnTo>
                    <a:lnTo>
                      <a:pt x="178" y="905"/>
                    </a:lnTo>
                    <a:lnTo>
                      <a:pt x="187" y="899"/>
                    </a:lnTo>
                    <a:lnTo>
                      <a:pt x="191" y="901"/>
                    </a:lnTo>
                    <a:lnTo>
                      <a:pt x="196" y="902"/>
                    </a:lnTo>
                    <a:lnTo>
                      <a:pt x="203" y="901"/>
                    </a:lnTo>
                    <a:lnTo>
                      <a:pt x="209" y="900"/>
                    </a:lnTo>
                    <a:lnTo>
                      <a:pt x="215" y="898"/>
                    </a:lnTo>
                    <a:lnTo>
                      <a:pt x="221" y="896"/>
                    </a:lnTo>
                    <a:lnTo>
                      <a:pt x="227" y="893"/>
                    </a:lnTo>
                    <a:lnTo>
                      <a:pt x="233" y="889"/>
                    </a:lnTo>
                    <a:lnTo>
                      <a:pt x="243" y="881"/>
                    </a:lnTo>
                    <a:lnTo>
                      <a:pt x="251" y="872"/>
                    </a:lnTo>
                    <a:lnTo>
                      <a:pt x="255" y="868"/>
                    </a:lnTo>
                    <a:lnTo>
                      <a:pt x="257" y="863"/>
                    </a:lnTo>
                    <a:lnTo>
                      <a:pt x="259" y="859"/>
                    </a:lnTo>
                    <a:lnTo>
                      <a:pt x="259" y="856"/>
                    </a:lnTo>
                    <a:lnTo>
                      <a:pt x="259" y="851"/>
                    </a:lnTo>
                    <a:lnTo>
                      <a:pt x="258" y="847"/>
                    </a:lnTo>
                    <a:lnTo>
                      <a:pt x="256" y="843"/>
                    </a:lnTo>
                    <a:lnTo>
                      <a:pt x="254" y="840"/>
                    </a:lnTo>
                    <a:lnTo>
                      <a:pt x="248" y="832"/>
                    </a:lnTo>
                    <a:lnTo>
                      <a:pt x="243" y="826"/>
                    </a:lnTo>
                    <a:lnTo>
                      <a:pt x="236" y="818"/>
                    </a:lnTo>
                    <a:lnTo>
                      <a:pt x="232" y="811"/>
                    </a:lnTo>
                    <a:lnTo>
                      <a:pt x="229" y="807"/>
                    </a:lnTo>
                    <a:lnTo>
                      <a:pt x="227" y="803"/>
                    </a:lnTo>
                    <a:lnTo>
                      <a:pt x="226" y="799"/>
                    </a:lnTo>
                    <a:lnTo>
                      <a:pt x="226" y="794"/>
                    </a:lnTo>
                    <a:lnTo>
                      <a:pt x="226" y="789"/>
                    </a:lnTo>
                    <a:lnTo>
                      <a:pt x="227" y="784"/>
                    </a:lnTo>
                    <a:lnTo>
                      <a:pt x="228" y="780"/>
                    </a:lnTo>
                    <a:lnTo>
                      <a:pt x="231" y="776"/>
                    </a:lnTo>
                    <a:lnTo>
                      <a:pt x="234" y="770"/>
                    </a:lnTo>
                    <a:lnTo>
                      <a:pt x="239" y="763"/>
                    </a:lnTo>
                    <a:lnTo>
                      <a:pt x="244" y="757"/>
                    </a:lnTo>
                    <a:lnTo>
                      <a:pt x="248" y="751"/>
                    </a:lnTo>
                    <a:lnTo>
                      <a:pt x="250" y="747"/>
                    </a:lnTo>
                    <a:lnTo>
                      <a:pt x="251" y="743"/>
                    </a:lnTo>
                    <a:lnTo>
                      <a:pt x="252" y="738"/>
                    </a:lnTo>
                    <a:lnTo>
                      <a:pt x="252" y="733"/>
                    </a:lnTo>
                    <a:lnTo>
                      <a:pt x="252" y="724"/>
                    </a:lnTo>
                    <a:lnTo>
                      <a:pt x="251" y="716"/>
                    </a:lnTo>
                    <a:lnTo>
                      <a:pt x="249" y="707"/>
                    </a:lnTo>
                    <a:lnTo>
                      <a:pt x="247" y="700"/>
                    </a:lnTo>
                    <a:lnTo>
                      <a:pt x="242" y="686"/>
                    </a:lnTo>
                    <a:lnTo>
                      <a:pt x="234" y="674"/>
                    </a:lnTo>
                    <a:lnTo>
                      <a:pt x="218" y="653"/>
                    </a:lnTo>
                    <a:lnTo>
                      <a:pt x="206" y="634"/>
                    </a:lnTo>
                    <a:lnTo>
                      <a:pt x="200" y="634"/>
                    </a:lnTo>
                    <a:lnTo>
                      <a:pt x="194" y="635"/>
                    </a:lnTo>
                    <a:lnTo>
                      <a:pt x="190" y="637"/>
                    </a:lnTo>
                    <a:lnTo>
                      <a:pt x="186" y="639"/>
                    </a:lnTo>
                    <a:lnTo>
                      <a:pt x="177" y="644"/>
                    </a:lnTo>
                    <a:lnTo>
                      <a:pt x="168" y="649"/>
                    </a:lnTo>
                    <a:lnTo>
                      <a:pt x="159" y="656"/>
                    </a:lnTo>
                    <a:lnTo>
                      <a:pt x="148" y="661"/>
                    </a:lnTo>
                    <a:lnTo>
                      <a:pt x="142" y="662"/>
                    </a:lnTo>
                    <a:lnTo>
                      <a:pt x="135" y="664"/>
                    </a:lnTo>
                    <a:lnTo>
                      <a:pt x="128" y="665"/>
                    </a:lnTo>
                    <a:lnTo>
                      <a:pt x="120" y="665"/>
                    </a:lnTo>
                    <a:lnTo>
                      <a:pt x="113" y="663"/>
                    </a:lnTo>
                    <a:lnTo>
                      <a:pt x="104" y="658"/>
                    </a:lnTo>
                    <a:lnTo>
                      <a:pt x="100" y="656"/>
                    </a:lnTo>
                    <a:lnTo>
                      <a:pt x="97" y="652"/>
                    </a:lnTo>
                    <a:lnTo>
                      <a:pt x="94" y="649"/>
                    </a:lnTo>
                    <a:lnTo>
                      <a:pt x="93" y="646"/>
                    </a:lnTo>
                    <a:lnTo>
                      <a:pt x="93" y="640"/>
                    </a:lnTo>
                    <a:lnTo>
                      <a:pt x="95" y="633"/>
                    </a:lnTo>
                    <a:lnTo>
                      <a:pt x="98" y="628"/>
                    </a:lnTo>
                    <a:lnTo>
                      <a:pt x="100" y="622"/>
                    </a:lnTo>
                    <a:lnTo>
                      <a:pt x="102" y="616"/>
                    </a:lnTo>
                    <a:lnTo>
                      <a:pt x="104" y="610"/>
                    </a:lnTo>
                    <a:lnTo>
                      <a:pt x="105" y="604"/>
                    </a:lnTo>
                    <a:lnTo>
                      <a:pt x="106" y="597"/>
                    </a:lnTo>
                    <a:lnTo>
                      <a:pt x="86" y="597"/>
                    </a:lnTo>
                    <a:lnTo>
                      <a:pt x="64" y="597"/>
                    </a:lnTo>
                    <a:lnTo>
                      <a:pt x="35" y="597"/>
                    </a:lnTo>
                    <a:lnTo>
                      <a:pt x="0" y="597"/>
                    </a:lnTo>
                    <a:lnTo>
                      <a:pt x="585" y="117"/>
                    </a:lnTo>
                    <a:lnTo>
                      <a:pt x="594" y="116"/>
                    </a:lnTo>
                    <a:lnTo>
                      <a:pt x="602" y="114"/>
                    </a:lnTo>
                    <a:lnTo>
                      <a:pt x="612" y="112"/>
                    </a:lnTo>
                    <a:lnTo>
                      <a:pt x="625" y="111"/>
                    </a:lnTo>
                    <a:lnTo>
                      <a:pt x="635" y="111"/>
                    </a:lnTo>
                    <a:lnTo>
                      <a:pt x="643" y="113"/>
                    </a:lnTo>
                    <a:lnTo>
                      <a:pt x="651" y="116"/>
                    </a:lnTo>
                    <a:lnTo>
                      <a:pt x="659" y="119"/>
                    </a:lnTo>
                    <a:lnTo>
                      <a:pt x="674" y="128"/>
                    </a:lnTo>
                    <a:lnTo>
                      <a:pt x="687" y="138"/>
                    </a:lnTo>
                    <a:lnTo>
                      <a:pt x="702" y="148"/>
                    </a:lnTo>
                    <a:lnTo>
                      <a:pt x="716" y="158"/>
                    </a:lnTo>
                    <a:lnTo>
                      <a:pt x="724" y="161"/>
                    </a:lnTo>
                    <a:lnTo>
                      <a:pt x="732" y="164"/>
                    </a:lnTo>
                    <a:lnTo>
                      <a:pt x="741" y="166"/>
                    </a:lnTo>
                    <a:lnTo>
                      <a:pt x="751" y="166"/>
                    </a:lnTo>
                    <a:lnTo>
                      <a:pt x="943" y="111"/>
                    </a:lnTo>
                    <a:lnTo>
                      <a:pt x="1096" y="111"/>
                    </a:lnTo>
                    <a:lnTo>
                      <a:pt x="1103" y="112"/>
                    </a:lnTo>
                    <a:lnTo>
                      <a:pt x="1110" y="113"/>
                    </a:lnTo>
                    <a:lnTo>
                      <a:pt x="1117" y="113"/>
                    </a:lnTo>
                    <a:lnTo>
                      <a:pt x="1123" y="113"/>
                    </a:lnTo>
                    <a:lnTo>
                      <a:pt x="1135" y="110"/>
                    </a:lnTo>
                    <a:lnTo>
                      <a:pt x="1146" y="105"/>
                    </a:lnTo>
                    <a:lnTo>
                      <a:pt x="1157" y="100"/>
                    </a:lnTo>
                    <a:lnTo>
                      <a:pt x="1169" y="93"/>
                    </a:lnTo>
                    <a:lnTo>
                      <a:pt x="1181" y="89"/>
                    </a:lnTo>
                    <a:lnTo>
                      <a:pt x="1196" y="85"/>
                    </a:lnTo>
                    <a:lnTo>
                      <a:pt x="1195" y="90"/>
                    </a:lnTo>
                    <a:lnTo>
                      <a:pt x="1195" y="94"/>
                    </a:lnTo>
                    <a:lnTo>
                      <a:pt x="1195" y="100"/>
                    </a:lnTo>
                    <a:lnTo>
                      <a:pt x="1196" y="104"/>
                    </a:lnTo>
                    <a:lnTo>
                      <a:pt x="1198" y="112"/>
                    </a:lnTo>
                    <a:lnTo>
                      <a:pt x="1202" y="120"/>
                    </a:lnTo>
                    <a:lnTo>
                      <a:pt x="1208" y="126"/>
                    </a:lnTo>
                    <a:lnTo>
                      <a:pt x="1214" y="131"/>
                    </a:lnTo>
                    <a:lnTo>
                      <a:pt x="1218" y="132"/>
                    </a:lnTo>
                    <a:lnTo>
                      <a:pt x="1222" y="134"/>
                    </a:lnTo>
                    <a:lnTo>
                      <a:pt x="1225" y="135"/>
                    </a:lnTo>
                    <a:lnTo>
                      <a:pt x="1230" y="135"/>
                    </a:lnTo>
                    <a:lnTo>
                      <a:pt x="1238" y="134"/>
                    </a:lnTo>
                    <a:lnTo>
                      <a:pt x="1247" y="133"/>
                    </a:lnTo>
                    <a:lnTo>
                      <a:pt x="1255" y="131"/>
                    </a:lnTo>
                    <a:lnTo>
                      <a:pt x="1263" y="128"/>
                    </a:lnTo>
                    <a:lnTo>
                      <a:pt x="1278" y="122"/>
                    </a:lnTo>
                    <a:lnTo>
                      <a:pt x="1296" y="117"/>
                    </a:lnTo>
                    <a:lnTo>
                      <a:pt x="1298" y="119"/>
                    </a:lnTo>
                    <a:lnTo>
                      <a:pt x="1300" y="120"/>
                    </a:lnTo>
                    <a:lnTo>
                      <a:pt x="1303" y="122"/>
                    </a:lnTo>
                    <a:lnTo>
                      <a:pt x="1308" y="123"/>
                    </a:lnTo>
                    <a:lnTo>
                      <a:pt x="1319" y="124"/>
                    </a:lnTo>
                    <a:lnTo>
                      <a:pt x="1331" y="124"/>
                    </a:lnTo>
                    <a:lnTo>
                      <a:pt x="1343" y="123"/>
                    </a:lnTo>
                    <a:lnTo>
                      <a:pt x="1355" y="121"/>
                    </a:lnTo>
                    <a:lnTo>
                      <a:pt x="1367" y="119"/>
                    </a:lnTo>
                    <a:lnTo>
                      <a:pt x="1376" y="117"/>
                    </a:lnTo>
                    <a:lnTo>
                      <a:pt x="1386" y="116"/>
                    </a:lnTo>
                    <a:lnTo>
                      <a:pt x="1397" y="114"/>
                    </a:lnTo>
                    <a:lnTo>
                      <a:pt x="1405" y="112"/>
                    </a:lnTo>
                    <a:lnTo>
                      <a:pt x="1409" y="111"/>
                    </a:lnTo>
                    <a:lnTo>
                      <a:pt x="1424" y="112"/>
                    </a:lnTo>
                    <a:lnTo>
                      <a:pt x="1450" y="117"/>
                    </a:lnTo>
                    <a:lnTo>
                      <a:pt x="1483" y="123"/>
                    </a:lnTo>
                    <a:lnTo>
                      <a:pt x="1520" y="131"/>
                    </a:lnTo>
                    <a:lnTo>
                      <a:pt x="1557" y="140"/>
                    </a:lnTo>
                    <a:lnTo>
                      <a:pt x="1592" y="149"/>
                    </a:lnTo>
                    <a:lnTo>
                      <a:pt x="1621" y="159"/>
                    </a:lnTo>
                    <a:lnTo>
                      <a:pt x="1641" y="166"/>
                    </a:lnTo>
                    <a:lnTo>
                      <a:pt x="1632" y="174"/>
                    </a:lnTo>
                    <a:lnTo>
                      <a:pt x="1623" y="179"/>
                    </a:lnTo>
                    <a:lnTo>
                      <a:pt x="1615" y="183"/>
                    </a:lnTo>
                    <a:lnTo>
                      <a:pt x="1607" y="187"/>
                    </a:lnTo>
                    <a:lnTo>
                      <a:pt x="1601" y="189"/>
                    </a:lnTo>
                    <a:lnTo>
                      <a:pt x="1592" y="193"/>
                    </a:lnTo>
                    <a:lnTo>
                      <a:pt x="1584" y="197"/>
                    </a:lnTo>
                    <a:lnTo>
                      <a:pt x="1574" y="202"/>
                    </a:lnTo>
                    <a:lnTo>
                      <a:pt x="1591" y="209"/>
                    </a:lnTo>
                    <a:lnTo>
                      <a:pt x="1606" y="215"/>
                    </a:lnTo>
                    <a:lnTo>
                      <a:pt x="1621" y="219"/>
                    </a:lnTo>
                    <a:lnTo>
                      <a:pt x="1635" y="222"/>
                    </a:lnTo>
                    <a:lnTo>
                      <a:pt x="1648" y="225"/>
                    </a:lnTo>
                    <a:lnTo>
                      <a:pt x="1662" y="226"/>
                    </a:lnTo>
                    <a:lnTo>
                      <a:pt x="1678" y="227"/>
                    </a:lnTo>
                    <a:lnTo>
                      <a:pt x="1694" y="228"/>
                    </a:lnTo>
                    <a:lnTo>
                      <a:pt x="1711" y="227"/>
                    </a:lnTo>
                    <a:lnTo>
                      <a:pt x="1725" y="224"/>
                    </a:lnTo>
                    <a:lnTo>
                      <a:pt x="1737" y="220"/>
                    </a:lnTo>
                    <a:lnTo>
                      <a:pt x="1749" y="216"/>
                    </a:lnTo>
                    <a:lnTo>
                      <a:pt x="1760" y="211"/>
                    </a:lnTo>
                    <a:lnTo>
                      <a:pt x="1771" y="206"/>
                    </a:lnTo>
                    <a:lnTo>
                      <a:pt x="1782" y="203"/>
                    </a:lnTo>
                    <a:lnTo>
                      <a:pt x="1794" y="202"/>
                    </a:lnTo>
                    <a:lnTo>
                      <a:pt x="1800" y="203"/>
                    </a:lnTo>
                    <a:lnTo>
                      <a:pt x="1805" y="204"/>
                    </a:lnTo>
                    <a:lnTo>
                      <a:pt x="1811" y="206"/>
                    </a:lnTo>
                    <a:lnTo>
                      <a:pt x="1816" y="209"/>
                    </a:lnTo>
                    <a:lnTo>
                      <a:pt x="1825" y="217"/>
                    </a:lnTo>
                    <a:lnTo>
                      <a:pt x="1833" y="225"/>
                    </a:lnTo>
                    <a:lnTo>
                      <a:pt x="1841" y="232"/>
                    </a:lnTo>
                    <a:lnTo>
                      <a:pt x="1849" y="239"/>
                    </a:lnTo>
                    <a:lnTo>
                      <a:pt x="1853" y="242"/>
                    </a:lnTo>
                    <a:lnTo>
                      <a:pt x="1858" y="244"/>
                    </a:lnTo>
                    <a:lnTo>
                      <a:pt x="1862" y="245"/>
                    </a:lnTo>
                    <a:lnTo>
                      <a:pt x="1867" y="246"/>
                    </a:lnTo>
                    <a:lnTo>
                      <a:pt x="1880" y="202"/>
                    </a:lnTo>
                    <a:lnTo>
                      <a:pt x="2006" y="178"/>
                    </a:lnTo>
                    <a:lnTo>
                      <a:pt x="2016" y="179"/>
                    </a:lnTo>
                    <a:lnTo>
                      <a:pt x="2026" y="180"/>
                    </a:lnTo>
                    <a:lnTo>
                      <a:pt x="2035" y="181"/>
                    </a:lnTo>
                    <a:lnTo>
                      <a:pt x="2043" y="183"/>
                    </a:lnTo>
                    <a:lnTo>
                      <a:pt x="2060" y="188"/>
                    </a:lnTo>
                    <a:lnTo>
                      <a:pt x="2076" y="193"/>
                    </a:lnTo>
                    <a:lnTo>
                      <a:pt x="2093" y="199"/>
                    </a:lnTo>
                    <a:lnTo>
                      <a:pt x="2109" y="204"/>
                    </a:lnTo>
                    <a:lnTo>
                      <a:pt x="2118" y="206"/>
                    </a:lnTo>
                    <a:lnTo>
                      <a:pt x="2127" y="207"/>
                    </a:lnTo>
                    <a:lnTo>
                      <a:pt x="2137" y="208"/>
                    </a:lnTo>
                    <a:lnTo>
                      <a:pt x="2147" y="208"/>
                    </a:lnTo>
                    <a:lnTo>
                      <a:pt x="2162" y="208"/>
                    </a:lnTo>
                    <a:lnTo>
                      <a:pt x="2173" y="207"/>
                    </a:lnTo>
                    <a:lnTo>
                      <a:pt x="2183" y="205"/>
                    </a:lnTo>
                    <a:lnTo>
                      <a:pt x="2190" y="202"/>
                    </a:lnTo>
                    <a:lnTo>
                      <a:pt x="2198" y="200"/>
                    </a:lnTo>
                    <a:lnTo>
                      <a:pt x="2206" y="198"/>
                    </a:lnTo>
                    <a:lnTo>
                      <a:pt x="2215" y="197"/>
                    </a:lnTo>
                    <a:lnTo>
                      <a:pt x="2226" y="196"/>
                    </a:lnTo>
                    <a:lnTo>
                      <a:pt x="2235" y="197"/>
                    </a:lnTo>
                    <a:lnTo>
                      <a:pt x="2244" y="199"/>
                    </a:lnTo>
                    <a:lnTo>
                      <a:pt x="2253" y="202"/>
                    </a:lnTo>
                    <a:lnTo>
                      <a:pt x="2261" y="205"/>
                    </a:lnTo>
                    <a:lnTo>
                      <a:pt x="2267" y="209"/>
                    </a:lnTo>
                    <a:lnTo>
                      <a:pt x="2274" y="213"/>
                    </a:lnTo>
                    <a:lnTo>
                      <a:pt x="2280" y="215"/>
                    </a:lnTo>
                    <a:lnTo>
                      <a:pt x="2286" y="216"/>
                    </a:lnTo>
                    <a:lnTo>
                      <a:pt x="2290" y="215"/>
                    </a:lnTo>
                    <a:lnTo>
                      <a:pt x="2296" y="213"/>
                    </a:lnTo>
                    <a:lnTo>
                      <a:pt x="2300" y="211"/>
                    </a:lnTo>
                    <a:lnTo>
                      <a:pt x="2305" y="206"/>
                    </a:lnTo>
                    <a:lnTo>
                      <a:pt x="2309" y="202"/>
                    </a:lnTo>
                    <a:lnTo>
                      <a:pt x="2312" y="197"/>
                    </a:lnTo>
                    <a:lnTo>
                      <a:pt x="2316" y="191"/>
                    </a:lnTo>
                    <a:lnTo>
                      <a:pt x="2319" y="184"/>
                    </a:lnTo>
                    <a:lnTo>
                      <a:pt x="2326" y="183"/>
                    </a:lnTo>
                    <a:lnTo>
                      <a:pt x="2334" y="180"/>
                    </a:lnTo>
                    <a:lnTo>
                      <a:pt x="2339" y="179"/>
                    </a:lnTo>
                    <a:lnTo>
                      <a:pt x="2342" y="177"/>
                    </a:lnTo>
                    <a:lnTo>
                      <a:pt x="2344" y="174"/>
                    </a:lnTo>
                    <a:lnTo>
                      <a:pt x="2345" y="172"/>
                    </a:lnTo>
                    <a:lnTo>
                      <a:pt x="2378" y="172"/>
                    </a:lnTo>
                    <a:lnTo>
                      <a:pt x="2376" y="178"/>
                    </a:lnTo>
                    <a:lnTo>
                      <a:pt x="2372" y="185"/>
                    </a:lnTo>
                    <a:lnTo>
                      <a:pt x="2369" y="189"/>
                    </a:lnTo>
                    <a:lnTo>
                      <a:pt x="2367" y="193"/>
                    </a:lnTo>
                    <a:lnTo>
                      <a:pt x="2366" y="198"/>
                    </a:lnTo>
                    <a:lnTo>
                      <a:pt x="2365" y="202"/>
                    </a:lnTo>
                    <a:lnTo>
                      <a:pt x="2365" y="216"/>
                    </a:lnTo>
                    <a:lnTo>
                      <a:pt x="2365" y="228"/>
                    </a:lnTo>
                    <a:lnTo>
                      <a:pt x="2405" y="228"/>
                    </a:lnTo>
                    <a:lnTo>
                      <a:pt x="2401" y="213"/>
                    </a:lnTo>
                    <a:lnTo>
                      <a:pt x="2400" y="203"/>
                    </a:lnTo>
                    <a:lnTo>
                      <a:pt x="2401" y="195"/>
                    </a:lnTo>
                    <a:lnTo>
                      <a:pt x="2405" y="184"/>
                    </a:lnTo>
                    <a:lnTo>
                      <a:pt x="2430" y="184"/>
                    </a:lnTo>
                    <a:lnTo>
                      <a:pt x="2454" y="182"/>
                    </a:lnTo>
                    <a:lnTo>
                      <a:pt x="2465" y="180"/>
                    </a:lnTo>
                    <a:lnTo>
                      <a:pt x="2476" y="178"/>
                    </a:lnTo>
                    <a:lnTo>
                      <a:pt x="2487" y="175"/>
                    </a:lnTo>
                    <a:lnTo>
                      <a:pt x="2497" y="172"/>
                    </a:lnTo>
                    <a:lnTo>
                      <a:pt x="2506" y="168"/>
                    </a:lnTo>
                    <a:lnTo>
                      <a:pt x="2513" y="164"/>
                    </a:lnTo>
                    <a:lnTo>
                      <a:pt x="2521" y="159"/>
                    </a:lnTo>
                    <a:lnTo>
                      <a:pt x="2526" y="153"/>
                    </a:lnTo>
                    <a:lnTo>
                      <a:pt x="2532" y="146"/>
                    </a:lnTo>
                    <a:lnTo>
                      <a:pt x="2535" y="139"/>
                    </a:lnTo>
                    <a:lnTo>
                      <a:pt x="2537" y="131"/>
                    </a:lnTo>
                    <a:lnTo>
                      <a:pt x="2539" y="123"/>
                    </a:lnTo>
                    <a:lnTo>
                      <a:pt x="2532" y="123"/>
                    </a:lnTo>
                    <a:lnTo>
                      <a:pt x="2518" y="123"/>
                    </a:lnTo>
                    <a:lnTo>
                      <a:pt x="2501" y="123"/>
                    </a:lnTo>
                    <a:lnTo>
                      <a:pt x="2491" y="123"/>
                    </a:lnTo>
                    <a:lnTo>
                      <a:pt x="2487" y="120"/>
                    </a:lnTo>
                    <a:lnTo>
                      <a:pt x="2483" y="115"/>
                    </a:lnTo>
                    <a:lnTo>
                      <a:pt x="2479" y="110"/>
                    </a:lnTo>
                    <a:lnTo>
                      <a:pt x="2477" y="105"/>
                    </a:lnTo>
                    <a:lnTo>
                      <a:pt x="2473" y="93"/>
                    </a:lnTo>
                    <a:lnTo>
                      <a:pt x="2472" y="85"/>
                    </a:lnTo>
                    <a:lnTo>
                      <a:pt x="2473" y="81"/>
                    </a:lnTo>
                    <a:lnTo>
                      <a:pt x="2476" y="75"/>
                    </a:lnTo>
                    <a:lnTo>
                      <a:pt x="2480" y="69"/>
                    </a:lnTo>
                    <a:lnTo>
                      <a:pt x="2487" y="62"/>
                    </a:lnTo>
                    <a:lnTo>
                      <a:pt x="2495" y="55"/>
                    </a:lnTo>
                    <a:lnTo>
                      <a:pt x="2503" y="48"/>
                    </a:lnTo>
                    <a:lnTo>
                      <a:pt x="2512" y="40"/>
                    </a:lnTo>
                    <a:lnTo>
                      <a:pt x="2523" y="33"/>
                    </a:lnTo>
                    <a:lnTo>
                      <a:pt x="2534" y="26"/>
                    </a:lnTo>
                    <a:lnTo>
                      <a:pt x="2545" y="20"/>
                    </a:lnTo>
                    <a:lnTo>
                      <a:pt x="2556" y="15"/>
                    </a:lnTo>
                    <a:lnTo>
                      <a:pt x="2567" y="10"/>
                    </a:lnTo>
                    <a:lnTo>
                      <a:pt x="2577" y="6"/>
                    </a:lnTo>
                    <a:lnTo>
                      <a:pt x="2587" y="2"/>
                    </a:lnTo>
                    <a:lnTo>
                      <a:pt x="2597" y="0"/>
                    </a:lnTo>
                    <a:lnTo>
                      <a:pt x="2604" y="0"/>
                    </a:lnTo>
                    <a:lnTo>
                      <a:pt x="2611" y="0"/>
                    </a:lnTo>
                    <a:lnTo>
                      <a:pt x="2621" y="0"/>
                    </a:lnTo>
                    <a:lnTo>
                      <a:pt x="2631" y="0"/>
                    </a:lnTo>
                    <a:lnTo>
                      <a:pt x="2637" y="0"/>
                    </a:lnTo>
                    <a:lnTo>
                      <a:pt x="2638" y="8"/>
                    </a:lnTo>
                    <a:lnTo>
                      <a:pt x="2638" y="16"/>
                    </a:lnTo>
                    <a:lnTo>
                      <a:pt x="2640" y="24"/>
                    </a:lnTo>
                    <a:lnTo>
                      <a:pt x="2642" y="30"/>
                    </a:lnTo>
                    <a:lnTo>
                      <a:pt x="2646" y="42"/>
                    </a:lnTo>
                    <a:lnTo>
                      <a:pt x="2651" y="53"/>
                    </a:lnTo>
                    <a:lnTo>
                      <a:pt x="2656" y="62"/>
                    </a:lnTo>
                    <a:lnTo>
                      <a:pt x="2660" y="71"/>
                    </a:lnTo>
                    <a:lnTo>
                      <a:pt x="2663" y="81"/>
                    </a:lnTo>
                    <a:lnTo>
                      <a:pt x="2664" y="91"/>
                    </a:lnTo>
                    <a:lnTo>
                      <a:pt x="2664" y="95"/>
                    </a:lnTo>
                    <a:lnTo>
                      <a:pt x="2663" y="97"/>
                    </a:lnTo>
                    <a:lnTo>
                      <a:pt x="2660" y="100"/>
                    </a:lnTo>
                    <a:lnTo>
                      <a:pt x="2658" y="101"/>
                    </a:lnTo>
                    <a:lnTo>
                      <a:pt x="2652" y="103"/>
                    </a:lnTo>
                    <a:lnTo>
                      <a:pt x="2644" y="105"/>
                    </a:lnTo>
                    <a:lnTo>
                      <a:pt x="2635" y="106"/>
                    </a:lnTo>
                    <a:lnTo>
                      <a:pt x="2627" y="108"/>
                    </a:lnTo>
                    <a:lnTo>
                      <a:pt x="2624" y="109"/>
                    </a:lnTo>
                    <a:lnTo>
                      <a:pt x="2622" y="111"/>
                    </a:lnTo>
                    <a:lnTo>
                      <a:pt x="2620" y="114"/>
                    </a:lnTo>
                    <a:lnTo>
                      <a:pt x="2618" y="117"/>
                    </a:lnTo>
                    <a:lnTo>
                      <a:pt x="2627" y="118"/>
                    </a:lnTo>
                    <a:lnTo>
                      <a:pt x="2637" y="120"/>
                    </a:lnTo>
                    <a:lnTo>
                      <a:pt x="2647" y="122"/>
                    </a:lnTo>
                    <a:lnTo>
                      <a:pt x="2657" y="123"/>
                    </a:lnTo>
                    <a:lnTo>
                      <a:pt x="2653" y="127"/>
                    </a:lnTo>
                    <a:lnTo>
                      <a:pt x="2649" y="132"/>
                    </a:lnTo>
                    <a:lnTo>
                      <a:pt x="2647" y="137"/>
                    </a:lnTo>
                    <a:lnTo>
                      <a:pt x="2646" y="142"/>
                    </a:lnTo>
                    <a:lnTo>
                      <a:pt x="2644" y="153"/>
                    </a:lnTo>
                    <a:lnTo>
                      <a:pt x="2644" y="166"/>
                    </a:lnTo>
                    <a:lnTo>
                      <a:pt x="2645" y="168"/>
                    </a:lnTo>
                    <a:lnTo>
                      <a:pt x="2646" y="169"/>
                    </a:lnTo>
                    <a:lnTo>
                      <a:pt x="2648" y="169"/>
                    </a:lnTo>
                    <a:lnTo>
                      <a:pt x="2652" y="168"/>
                    </a:lnTo>
                    <a:lnTo>
                      <a:pt x="2658" y="167"/>
                    </a:lnTo>
                    <a:lnTo>
                      <a:pt x="2664" y="166"/>
                    </a:lnTo>
                    <a:lnTo>
                      <a:pt x="2664" y="160"/>
                    </a:lnTo>
                    <a:lnTo>
                      <a:pt x="2664" y="153"/>
                    </a:lnTo>
                    <a:lnTo>
                      <a:pt x="2672" y="151"/>
                    </a:lnTo>
                    <a:lnTo>
                      <a:pt x="2680" y="148"/>
                    </a:lnTo>
                    <a:lnTo>
                      <a:pt x="2685" y="145"/>
                    </a:lnTo>
                    <a:lnTo>
                      <a:pt x="2689" y="142"/>
                    </a:lnTo>
                    <a:lnTo>
                      <a:pt x="2692" y="139"/>
                    </a:lnTo>
                    <a:lnTo>
                      <a:pt x="2696" y="137"/>
                    </a:lnTo>
                    <a:lnTo>
                      <a:pt x="2700" y="135"/>
                    </a:lnTo>
                    <a:lnTo>
                      <a:pt x="2704" y="135"/>
                    </a:lnTo>
                    <a:lnTo>
                      <a:pt x="2709" y="137"/>
                    </a:lnTo>
                    <a:lnTo>
                      <a:pt x="2715" y="138"/>
                    </a:lnTo>
                    <a:lnTo>
                      <a:pt x="2724" y="139"/>
                    </a:lnTo>
                    <a:lnTo>
                      <a:pt x="2733" y="140"/>
                    </a:lnTo>
                    <a:lnTo>
                      <a:pt x="2749" y="141"/>
                    </a:lnTo>
                    <a:lnTo>
                      <a:pt x="2757" y="141"/>
                    </a:lnTo>
                    <a:lnTo>
                      <a:pt x="2752" y="153"/>
                    </a:lnTo>
                    <a:lnTo>
                      <a:pt x="2745" y="164"/>
                    </a:lnTo>
                    <a:lnTo>
                      <a:pt x="2738" y="173"/>
                    </a:lnTo>
                    <a:lnTo>
                      <a:pt x="2731" y="180"/>
                    </a:lnTo>
                    <a:lnTo>
                      <a:pt x="2723" y="188"/>
                    </a:lnTo>
                    <a:lnTo>
                      <a:pt x="2716" y="196"/>
                    </a:lnTo>
                    <a:lnTo>
                      <a:pt x="2710" y="204"/>
                    </a:lnTo>
                    <a:lnTo>
                      <a:pt x="2704" y="216"/>
                    </a:lnTo>
                    <a:lnTo>
                      <a:pt x="2712" y="217"/>
                    </a:lnTo>
                    <a:lnTo>
                      <a:pt x="2719" y="218"/>
                    </a:lnTo>
                    <a:lnTo>
                      <a:pt x="2725" y="218"/>
                    </a:lnTo>
                    <a:lnTo>
                      <a:pt x="2732" y="218"/>
                    </a:lnTo>
                    <a:lnTo>
                      <a:pt x="2744" y="216"/>
                    </a:lnTo>
                    <a:lnTo>
                      <a:pt x="2750" y="216"/>
                    </a:lnTo>
                    <a:lnTo>
                      <a:pt x="2780" y="194"/>
                    </a:lnTo>
                    <a:lnTo>
                      <a:pt x="2810" y="172"/>
                    </a:lnTo>
                    <a:lnTo>
                      <a:pt x="2817" y="167"/>
                    </a:lnTo>
                    <a:lnTo>
                      <a:pt x="2825" y="163"/>
                    </a:lnTo>
                    <a:lnTo>
                      <a:pt x="2834" y="159"/>
                    </a:lnTo>
                    <a:lnTo>
                      <a:pt x="2843" y="155"/>
                    </a:lnTo>
                    <a:lnTo>
                      <a:pt x="2853" y="151"/>
                    </a:lnTo>
                    <a:lnTo>
                      <a:pt x="2862" y="149"/>
                    </a:lnTo>
                    <a:lnTo>
                      <a:pt x="2872" y="147"/>
                    </a:lnTo>
                    <a:lnTo>
                      <a:pt x="2883" y="147"/>
                    </a:lnTo>
                    <a:lnTo>
                      <a:pt x="2884" y="139"/>
                    </a:lnTo>
                    <a:lnTo>
                      <a:pt x="2885" y="132"/>
                    </a:lnTo>
                    <a:lnTo>
                      <a:pt x="2888" y="126"/>
                    </a:lnTo>
                    <a:lnTo>
                      <a:pt x="2891" y="121"/>
                    </a:lnTo>
                    <a:lnTo>
                      <a:pt x="2895" y="116"/>
                    </a:lnTo>
                    <a:lnTo>
                      <a:pt x="2900" y="111"/>
                    </a:lnTo>
                    <a:lnTo>
                      <a:pt x="2905" y="107"/>
                    </a:lnTo>
                    <a:lnTo>
                      <a:pt x="2912" y="104"/>
                    </a:lnTo>
                    <a:lnTo>
                      <a:pt x="2918" y="101"/>
                    </a:lnTo>
                    <a:lnTo>
                      <a:pt x="2925" y="98"/>
                    </a:lnTo>
                    <a:lnTo>
                      <a:pt x="2932" y="96"/>
                    </a:lnTo>
                    <a:lnTo>
                      <a:pt x="2939" y="94"/>
                    </a:lnTo>
                    <a:lnTo>
                      <a:pt x="2955" y="92"/>
                    </a:lnTo>
                    <a:lnTo>
                      <a:pt x="2970" y="91"/>
                    </a:lnTo>
                    <a:lnTo>
                      <a:pt x="2978" y="92"/>
                    </a:lnTo>
                    <a:lnTo>
                      <a:pt x="2984" y="93"/>
                    </a:lnTo>
                    <a:lnTo>
                      <a:pt x="2993" y="95"/>
                    </a:lnTo>
                    <a:lnTo>
                      <a:pt x="3001" y="98"/>
                    </a:lnTo>
                    <a:lnTo>
                      <a:pt x="3008" y="101"/>
                    </a:lnTo>
                    <a:lnTo>
                      <a:pt x="3017" y="103"/>
                    </a:lnTo>
                    <a:lnTo>
                      <a:pt x="3026" y="104"/>
                    </a:lnTo>
                    <a:lnTo>
                      <a:pt x="3036" y="105"/>
                    </a:lnTo>
                    <a:lnTo>
                      <a:pt x="3036" y="110"/>
                    </a:lnTo>
                    <a:lnTo>
                      <a:pt x="3036" y="117"/>
                    </a:lnTo>
                    <a:lnTo>
                      <a:pt x="3036" y="126"/>
                    </a:lnTo>
                    <a:lnTo>
                      <a:pt x="3036" y="135"/>
                    </a:lnTo>
                    <a:lnTo>
                      <a:pt x="3036" y="139"/>
                    </a:lnTo>
                    <a:lnTo>
                      <a:pt x="3035" y="143"/>
                    </a:lnTo>
                    <a:lnTo>
                      <a:pt x="3033" y="147"/>
                    </a:lnTo>
                    <a:lnTo>
                      <a:pt x="3030" y="150"/>
                    </a:lnTo>
                    <a:lnTo>
                      <a:pt x="3025" y="157"/>
                    </a:lnTo>
                    <a:lnTo>
                      <a:pt x="3018" y="162"/>
                    </a:lnTo>
                    <a:lnTo>
                      <a:pt x="3003" y="170"/>
                    </a:lnTo>
                    <a:lnTo>
                      <a:pt x="2990" y="178"/>
                    </a:lnTo>
                    <a:lnTo>
                      <a:pt x="2982" y="196"/>
                    </a:lnTo>
                    <a:lnTo>
                      <a:pt x="2973" y="214"/>
                    </a:lnTo>
                    <a:lnTo>
                      <a:pt x="2968" y="222"/>
                    </a:lnTo>
                    <a:lnTo>
                      <a:pt x="2963" y="229"/>
                    </a:lnTo>
                    <a:lnTo>
                      <a:pt x="2958" y="236"/>
                    </a:lnTo>
                    <a:lnTo>
                      <a:pt x="2951" y="243"/>
                    </a:lnTo>
                    <a:lnTo>
                      <a:pt x="2945" y="249"/>
                    </a:lnTo>
                    <a:lnTo>
                      <a:pt x="2938" y="254"/>
                    </a:lnTo>
                    <a:lnTo>
                      <a:pt x="2931" y="259"/>
                    </a:lnTo>
                    <a:lnTo>
                      <a:pt x="2923" y="263"/>
                    </a:lnTo>
                    <a:lnTo>
                      <a:pt x="2914" y="267"/>
                    </a:lnTo>
                    <a:lnTo>
                      <a:pt x="2904" y="269"/>
                    </a:lnTo>
                    <a:lnTo>
                      <a:pt x="2894" y="271"/>
                    </a:lnTo>
                    <a:lnTo>
                      <a:pt x="2883" y="271"/>
                    </a:lnTo>
                    <a:lnTo>
                      <a:pt x="2878" y="271"/>
                    </a:lnTo>
                    <a:lnTo>
                      <a:pt x="2872" y="270"/>
                    </a:lnTo>
                    <a:lnTo>
                      <a:pt x="2867" y="268"/>
                    </a:lnTo>
                    <a:lnTo>
                      <a:pt x="2861" y="266"/>
                    </a:lnTo>
                    <a:lnTo>
                      <a:pt x="2856" y="263"/>
                    </a:lnTo>
                    <a:lnTo>
                      <a:pt x="2850" y="260"/>
                    </a:lnTo>
                    <a:lnTo>
                      <a:pt x="2847" y="256"/>
                    </a:lnTo>
                    <a:lnTo>
                      <a:pt x="2844" y="252"/>
                    </a:lnTo>
                    <a:lnTo>
                      <a:pt x="2838" y="257"/>
                    </a:lnTo>
                    <a:lnTo>
                      <a:pt x="2835" y="264"/>
                    </a:lnTo>
                    <a:lnTo>
                      <a:pt x="2834" y="268"/>
                    </a:lnTo>
                    <a:lnTo>
                      <a:pt x="2834" y="272"/>
                    </a:lnTo>
                    <a:lnTo>
                      <a:pt x="2835" y="275"/>
                    </a:lnTo>
                    <a:lnTo>
                      <a:pt x="2837" y="277"/>
                    </a:lnTo>
                    <a:lnTo>
                      <a:pt x="2829" y="278"/>
                    </a:lnTo>
                    <a:lnTo>
                      <a:pt x="2823" y="279"/>
                    </a:lnTo>
                    <a:lnTo>
                      <a:pt x="2817" y="281"/>
                    </a:lnTo>
                    <a:lnTo>
                      <a:pt x="2811" y="283"/>
                    </a:lnTo>
                    <a:lnTo>
                      <a:pt x="2805" y="285"/>
                    </a:lnTo>
                    <a:lnTo>
                      <a:pt x="2801" y="287"/>
                    </a:lnTo>
                    <a:lnTo>
                      <a:pt x="2795" y="289"/>
                    </a:lnTo>
                    <a:lnTo>
                      <a:pt x="2790" y="289"/>
                    </a:lnTo>
                    <a:lnTo>
                      <a:pt x="2783" y="288"/>
                    </a:lnTo>
                    <a:lnTo>
                      <a:pt x="2777" y="286"/>
                    </a:lnTo>
                    <a:lnTo>
                      <a:pt x="2770" y="283"/>
                    </a:lnTo>
                    <a:lnTo>
                      <a:pt x="2765" y="279"/>
                    </a:lnTo>
                    <a:lnTo>
                      <a:pt x="2754" y="271"/>
                    </a:lnTo>
                    <a:lnTo>
                      <a:pt x="2744" y="264"/>
                    </a:lnTo>
                    <a:lnTo>
                      <a:pt x="2730" y="272"/>
                    </a:lnTo>
                    <a:lnTo>
                      <a:pt x="2717" y="281"/>
                    </a:lnTo>
                    <a:lnTo>
                      <a:pt x="2707" y="290"/>
                    </a:lnTo>
                    <a:lnTo>
                      <a:pt x="2696" y="299"/>
                    </a:lnTo>
                    <a:lnTo>
                      <a:pt x="2685" y="307"/>
                    </a:lnTo>
                    <a:lnTo>
                      <a:pt x="2671" y="313"/>
                    </a:lnTo>
                    <a:lnTo>
                      <a:pt x="2664" y="316"/>
                    </a:lnTo>
                    <a:lnTo>
                      <a:pt x="2656" y="318"/>
                    </a:lnTo>
                    <a:lnTo>
                      <a:pt x="2647" y="319"/>
                    </a:lnTo>
                    <a:lnTo>
                      <a:pt x="2637" y="319"/>
                    </a:lnTo>
                    <a:lnTo>
                      <a:pt x="2626" y="319"/>
                    </a:lnTo>
                    <a:lnTo>
                      <a:pt x="2615" y="317"/>
                    </a:lnTo>
                    <a:lnTo>
                      <a:pt x="2602" y="315"/>
                    </a:lnTo>
                    <a:lnTo>
                      <a:pt x="2590" y="312"/>
                    </a:lnTo>
                    <a:lnTo>
                      <a:pt x="2579" y="308"/>
                    </a:lnTo>
                    <a:lnTo>
                      <a:pt x="2569" y="304"/>
                    </a:lnTo>
                    <a:lnTo>
                      <a:pt x="2562" y="300"/>
                    </a:lnTo>
                    <a:lnTo>
                      <a:pt x="2558" y="295"/>
                    </a:lnTo>
                    <a:lnTo>
                      <a:pt x="2518" y="295"/>
                    </a:lnTo>
                    <a:lnTo>
                      <a:pt x="2521" y="303"/>
                    </a:lnTo>
                    <a:lnTo>
                      <a:pt x="2525" y="309"/>
                    </a:lnTo>
                    <a:lnTo>
                      <a:pt x="2530" y="314"/>
                    </a:lnTo>
                    <a:lnTo>
                      <a:pt x="2536" y="318"/>
                    </a:lnTo>
                    <a:lnTo>
                      <a:pt x="2542" y="322"/>
                    </a:lnTo>
                    <a:lnTo>
                      <a:pt x="2550" y="324"/>
                    </a:lnTo>
                    <a:lnTo>
                      <a:pt x="2557" y="326"/>
                    </a:lnTo>
                    <a:lnTo>
                      <a:pt x="2565" y="327"/>
                    </a:lnTo>
                    <a:lnTo>
                      <a:pt x="2601" y="328"/>
                    </a:lnTo>
                    <a:lnTo>
                      <a:pt x="2637" y="326"/>
                    </a:lnTo>
                    <a:lnTo>
                      <a:pt x="2637" y="335"/>
                    </a:lnTo>
                    <a:lnTo>
                      <a:pt x="2638" y="342"/>
                    </a:lnTo>
                    <a:lnTo>
                      <a:pt x="2641" y="349"/>
                    </a:lnTo>
                    <a:lnTo>
                      <a:pt x="2644" y="357"/>
                    </a:lnTo>
                    <a:lnTo>
                      <a:pt x="2619" y="363"/>
                    </a:lnTo>
                    <a:lnTo>
                      <a:pt x="2590" y="371"/>
                    </a:lnTo>
                    <a:lnTo>
                      <a:pt x="2562" y="382"/>
                    </a:lnTo>
                    <a:lnTo>
                      <a:pt x="2531" y="392"/>
                    </a:lnTo>
                    <a:lnTo>
                      <a:pt x="2501" y="402"/>
                    </a:lnTo>
                    <a:lnTo>
                      <a:pt x="2473" y="410"/>
                    </a:lnTo>
                    <a:lnTo>
                      <a:pt x="2458" y="414"/>
                    </a:lnTo>
                    <a:lnTo>
                      <a:pt x="2444" y="416"/>
                    </a:lnTo>
                    <a:lnTo>
                      <a:pt x="2431" y="418"/>
                    </a:lnTo>
                    <a:lnTo>
                      <a:pt x="2419" y="418"/>
                    </a:lnTo>
                    <a:lnTo>
                      <a:pt x="2339" y="400"/>
                    </a:lnTo>
                    <a:lnTo>
                      <a:pt x="2319" y="400"/>
                    </a:lnTo>
                    <a:lnTo>
                      <a:pt x="2340" y="408"/>
                    </a:lnTo>
                    <a:lnTo>
                      <a:pt x="2361" y="416"/>
                    </a:lnTo>
                    <a:lnTo>
                      <a:pt x="2372" y="420"/>
                    </a:lnTo>
                    <a:lnTo>
                      <a:pt x="2382" y="425"/>
                    </a:lnTo>
                    <a:lnTo>
                      <a:pt x="2390" y="430"/>
                    </a:lnTo>
                    <a:lnTo>
                      <a:pt x="2398" y="437"/>
                    </a:lnTo>
                    <a:lnTo>
                      <a:pt x="2394" y="444"/>
                    </a:lnTo>
                    <a:lnTo>
                      <a:pt x="2388" y="449"/>
                    </a:lnTo>
                    <a:lnTo>
                      <a:pt x="2384" y="454"/>
                    </a:lnTo>
                    <a:lnTo>
                      <a:pt x="2378" y="457"/>
                    </a:lnTo>
                    <a:lnTo>
                      <a:pt x="2373" y="461"/>
                    </a:lnTo>
                    <a:lnTo>
                      <a:pt x="2368" y="463"/>
                    </a:lnTo>
                    <a:lnTo>
                      <a:pt x="2363" y="465"/>
                    </a:lnTo>
                    <a:lnTo>
                      <a:pt x="2357" y="467"/>
                    </a:lnTo>
                    <a:lnTo>
                      <a:pt x="2333" y="471"/>
                    </a:lnTo>
                    <a:lnTo>
                      <a:pt x="2306" y="474"/>
                    </a:lnTo>
                    <a:lnTo>
                      <a:pt x="2296" y="477"/>
                    </a:lnTo>
                    <a:lnTo>
                      <a:pt x="2286" y="481"/>
                    </a:lnTo>
                    <a:lnTo>
                      <a:pt x="2277" y="486"/>
                    </a:lnTo>
                    <a:lnTo>
                      <a:pt x="2268" y="492"/>
                    </a:lnTo>
                    <a:lnTo>
                      <a:pt x="2260" y="497"/>
                    </a:lnTo>
                    <a:lnTo>
                      <a:pt x="2251" y="501"/>
                    </a:lnTo>
                    <a:lnTo>
                      <a:pt x="2242" y="504"/>
                    </a:lnTo>
                    <a:lnTo>
                      <a:pt x="2232" y="505"/>
                    </a:lnTo>
                    <a:lnTo>
                      <a:pt x="2232" y="517"/>
                    </a:lnTo>
                    <a:lnTo>
                      <a:pt x="2232" y="529"/>
                    </a:lnTo>
                    <a:lnTo>
                      <a:pt x="2220" y="532"/>
                    </a:lnTo>
                    <a:lnTo>
                      <a:pt x="2208" y="537"/>
                    </a:lnTo>
                    <a:lnTo>
                      <a:pt x="2194" y="542"/>
                    </a:lnTo>
                    <a:lnTo>
                      <a:pt x="2181" y="550"/>
                    </a:lnTo>
                    <a:lnTo>
                      <a:pt x="2166" y="559"/>
                    </a:lnTo>
                    <a:lnTo>
                      <a:pt x="2151" y="568"/>
                    </a:lnTo>
                    <a:lnTo>
                      <a:pt x="2138" y="578"/>
                    </a:lnTo>
                    <a:lnTo>
                      <a:pt x="2123" y="588"/>
                    </a:lnTo>
                    <a:lnTo>
                      <a:pt x="2110" y="601"/>
                    </a:lnTo>
                    <a:lnTo>
                      <a:pt x="2098" y="613"/>
                    </a:lnTo>
                    <a:lnTo>
                      <a:pt x="2087" y="625"/>
                    </a:lnTo>
                    <a:lnTo>
                      <a:pt x="2078" y="637"/>
                    </a:lnTo>
                    <a:lnTo>
                      <a:pt x="2071" y="650"/>
                    </a:lnTo>
                    <a:lnTo>
                      <a:pt x="2064" y="664"/>
                    </a:lnTo>
                    <a:lnTo>
                      <a:pt x="2062" y="670"/>
                    </a:lnTo>
                    <a:lnTo>
                      <a:pt x="2061" y="677"/>
                    </a:lnTo>
                    <a:lnTo>
                      <a:pt x="2060" y="683"/>
                    </a:lnTo>
                    <a:lnTo>
                      <a:pt x="2060" y="689"/>
                    </a:lnTo>
                    <a:lnTo>
                      <a:pt x="2106" y="689"/>
                    </a:lnTo>
                    <a:lnTo>
                      <a:pt x="2104" y="714"/>
                    </a:lnTo>
                    <a:lnTo>
                      <a:pt x="2102" y="736"/>
                    </a:lnTo>
                    <a:lnTo>
                      <a:pt x="2100" y="745"/>
                    </a:lnTo>
                    <a:lnTo>
                      <a:pt x="2100" y="753"/>
                    </a:lnTo>
                    <a:lnTo>
                      <a:pt x="2102" y="757"/>
                    </a:lnTo>
                    <a:lnTo>
                      <a:pt x="2103" y="759"/>
                    </a:lnTo>
                    <a:lnTo>
                      <a:pt x="2104" y="762"/>
                    </a:lnTo>
                    <a:lnTo>
                      <a:pt x="2106" y="763"/>
                    </a:lnTo>
                    <a:lnTo>
                      <a:pt x="2086" y="776"/>
                    </a:lnTo>
                    <a:lnTo>
                      <a:pt x="2087" y="780"/>
                    </a:lnTo>
                    <a:lnTo>
                      <a:pt x="2089" y="784"/>
                    </a:lnTo>
                    <a:lnTo>
                      <a:pt x="2093" y="787"/>
                    </a:lnTo>
                    <a:lnTo>
                      <a:pt x="2097" y="790"/>
                    </a:lnTo>
                    <a:lnTo>
                      <a:pt x="2106" y="793"/>
                    </a:lnTo>
                    <a:lnTo>
                      <a:pt x="2112" y="794"/>
                    </a:lnTo>
                    <a:lnTo>
                      <a:pt x="2193" y="776"/>
                    </a:lnTo>
                    <a:lnTo>
                      <a:pt x="2204" y="782"/>
                    </a:lnTo>
                    <a:lnTo>
                      <a:pt x="2214" y="789"/>
                    </a:lnTo>
                    <a:lnTo>
                      <a:pt x="2223" y="796"/>
                    </a:lnTo>
                    <a:lnTo>
                      <a:pt x="2232" y="803"/>
                    </a:lnTo>
                    <a:lnTo>
                      <a:pt x="2250" y="819"/>
                    </a:lnTo>
                    <a:lnTo>
                      <a:pt x="2266" y="836"/>
                    </a:lnTo>
                    <a:lnTo>
                      <a:pt x="2284" y="852"/>
                    </a:lnTo>
                    <a:lnTo>
                      <a:pt x="2301" y="866"/>
                    </a:lnTo>
                    <a:lnTo>
                      <a:pt x="2311" y="872"/>
                    </a:lnTo>
                    <a:lnTo>
                      <a:pt x="2322" y="878"/>
                    </a:lnTo>
                    <a:lnTo>
                      <a:pt x="2333" y="883"/>
                    </a:lnTo>
                    <a:lnTo>
                      <a:pt x="2345" y="887"/>
                    </a:lnTo>
                    <a:lnTo>
                      <a:pt x="2345" y="891"/>
                    </a:lnTo>
                    <a:lnTo>
                      <a:pt x="2346" y="895"/>
                    </a:lnTo>
                    <a:lnTo>
                      <a:pt x="2347" y="898"/>
                    </a:lnTo>
                    <a:lnTo>
                      <a:pt x="2350" y="901"/>
                    </a:lnTo>
                    <a:lnTo>
                      <a:pt x="2352" y="903"/>
                    </a:lnTo>
                    <a:lnTo>
                      <a:pt x="2354" y="905"/>
                    </a:lnTo>
                    <a:lnTo>
                      <a:pt x="2356" y="906"/>
                    </a:lnTo>
                    <a:lnTo>
                      <a:pt x="2360" y="907"/>
                    </a:lnTo>
                    <a:lnTo>
                      <a:pt x="2367" y="909"/>
                    </a:lnTo>
                    <a:lnTo>
                      <a:pt x="2375" y="908"/>
                    </a:lnTo>
                    <a:lnTo>
                      <a:pt x="2383" y="907"/>
                    </a:lnTo>
                    <a:lnTo>
                      <a:pt x="2391" y="905"/>
                    </a:lnTo>
                    <a:lnTo>
                      <a:pt x="2409" y="900"/>
                    </a:lnTo>
                    <a:lnTo>
                      <a:pt x="2423" y="894"/>
                    </a:lnTo>
                    <a:lnTo>
                      <a:pt x="2434" y="889"/>
                    </a:lnTo>
                    <a:lnTo>
                      <a:pt x="2439" y="887"/>
                    </a:lnTo>
                    <a:lnTo>
                      <a:pt x="2485" y="905"/>
                    </a:lnTo>
                    <a:lnTo>
                      <a:pt x="2479" y="917"/>
                    </a:lnTo>
                    <a:lnTo>
                      <a:pt x="2474" y="925"/>
                    </a:lnTo>
                    <a:lnTo>
                      <a:pt x="2467" y="931"/>
                    </a:lnTo>
                    <a:lnTo>
                      <a:pt x="2458" y="936"/>
                    </a:lnTo>
                    <a:lnTo>
                      <a:pt x="2472" y="949"/>
                    </a:lnTo>
                    <a:lnTo>
                      <a:pt x="2461" y="971"/>
                    </a:lnTo>
                    <a:lnTo>
                      <a:pt x="2450" y="995"/>
                    </a:lnTo>
                    <a:lnTo>
                      <a:pt x="2445" y="1006"/>
                    </a:lnTo>
                    <a:lnTo>
                      <a:pt x="2442" y="1018"/>
                    </a:lnTo>
                    <a:lnTo>
                      <a:pt x="2440" y="1029"/>
                    </a:lnTo>
                    <a:lnTo>
                      <a:pt x="2439" y="1040"/>
                    </a:lnTo>
                    <a:lnTo>
                      <a:pt x="2440" y="1049"/>
                    </a:lnTo>
                    <a:lnTo>
                      <a:pt x="2443" y="1059"/>
                    </a:lnTo>
                    <a:lnTo>
                      <a:pt x="2447" y="1070"/>
                    </a:lnTo>
                    <a:lnTo>
                      <a:pt x="2454" y="1081"/>
                    </a:lnTo>
                    <a:lnTo>
                      <a:pt x="2462" y="1092"/>
                    </a:lnTo>
                    <a:lnTo>
                      <a:pt x="2469" y="1101"/>
                    </a:lnTo>
                    <a:lnTo>
                      <a:pt x="2473" y="1104"/>
                    </a:lnTo>
                    <a:lnTo>
                      <a:pt x="2477" y="1107"/>
                    </a:lnTo>
                    <a:lnTo>
                      <a:pt x="2481" y="1108"/>
                    </a:lnTo>
                    <a:lnTo>
                      <a:pt x="2485" y="1109"/>
                    </a:lnTo>
                    <a:lnTo>
                      <a:pt x="2487" y="1114"/>
                    </a:lnTo>
                    <a:lnTo>
                      <a:pt x="2492" y="1121"/>
                    </a:lnTo>
                    <a:lnTo>
                      <a:pt x="2499" y="1128"/>
                    </a:lnTo>
                    <a:lnTo>
                      <a:pt x="2504" y="1133"/>
                    </a:lnTo>
                    <a:lnTo>
                      <a:pt x="2528" y="1113"/>
                    </a:lnTo>
                    <a:lnTo>
                      <a:pt x="2548" y="1091"/>
                    </a:lnTo>
                    <a:lnTo>
                      <a:pt x="2559" y="1080"/>
                    </a:lnTo>
                    <a:lnTo>
                      <a:pt x="2569" y="1068"/>
                    </a:lnTo>
                    <a:lnTo>
                      <a:pt x="2578" y="1057"/>
                    </a:lnTo>
                    <a:lnTo>
                      <a:pt x="2587" y="1043"/>
                    </a:lnTo>
                    <a:lnTo>
                      <a:pt x="2595" y="1031"/>
                    </a:lnTo>
                    <a:lnTo>
                      <a:pt x="2602" y="1017"/>
                    </a:lnTo>
                    <a:lnTo>
                      <a:pt x="2609" y="1003"/>
                    </a:lnTo>
                    <a:lnTo>
                      <a:pt x="2614" y="987"/>
                    </a:lnTo>
                    <a:lnTo>
                      <a:pt x="2619" y="971"/>
                    </a:lnTo>
                    <a:lnTo>
                      <a:pt x="2622" y="955"/>
                    </a:lnTo>
                    <a:lnTo>
                      <a:pt x="2624" y="937"/>
                    </a:lnTo>
                    <a:lnTo>
                      <a:pt x="2624" y="917"/>
                    </a:lnTo>
                    <a:lnTo>
                      <a:pt x="2638" y="917"/>
                    </a:lnTo>
                    <a:lnTo>
                      <a:pt x="2655" y="914"/>
                    </a:lnTo>
                    <a:lnTo>
                      <a:pt x="2672" y="911"/>
                    </a:lnTo>
                    <a:lnTo>
                      <a:pt x="2690" y="906"/>
                    </a:lnTo>
                    <a:lnTo>
                      <a:pt x="2709" y="900"/>
                    </a:lnTo>
                    <a:lnTo>
                      <a:pt x="2727" y="892"/>
                    </a:lnTo>
                    <a:lnTo>
                      <a:pt x="2746" y="884"/>
                    </a:lnTo>
                    <a:lnTo>
                      <a:pt x="2765" y="873"/>
                    </a:lnTo>
                    <a:lnTo>
                      <a:pt x="2782" y="863"/>
                    </a:lnTo>
                    <a:lnTo>
                      <a:pt x="2798" y="852"/>
                    </a:lnTo>
                    <a:lnTo>
                      <a:pt x="2813" y="840"/>
                    </a:lnTo>
                    <a:lnTo>
                      <a:pt x="2825" y="827"/>
                    </a:lnTo>
                    <a:lnTo>
                      <a:pt x="2831" y="819"/>
                    </a:lnTo>
                    <a:lnTo>
                      <a:pt x="2836" y="813"/>
                    </a:lnTo>
                    <a:lnTo>
                      <a:pt x="2839" y="806"/>
                    </a:lnTo>
                    <a:lnTo>
                      <a:pt x="2844" y="799"/>
                    </a:lnTo>
                    <a:lnTo>
                      <a:pt x="2846" y="792"/>
                    </a:lnTo>
                    <a:lnTo>
                      <a:pt x="2848" y="785"/>
                    </a:lnTo>
                    <a:lnTo>
                      <a:pt x="2849" y="777"/>
                    </a:lnTo>
                    <a:lnTo>
                      <a:pt x="2850" y="770"/>
                    </a:lnTo>
                    <a:lnTo>
                      <a:pt x="2849" y="763"/>
                    </a:lnTo>
                    <a:lnTo>
                      <a:pt x="2848" y="757"/>
                    </a:lnTo>
                    <a:lnTo>
                      <a:pt x="2846" y="752"/>
                    </a:lnTo>
                    <a:lnTo>
                      <a:pt x="2843" y="747"/>
                    </a:lnTo>
                    <a:lnTo>
                      <a:pt x="2835" y="738"/>
                    </a:lnTo>
                    <a:lnTo>
                      <a:pt x="2827" y="731"/>
                    </a:lnTo>
                    <a:lnTo>
                      <a:pt x="2819" y="725"/>
                    </a:lnTo>
                    <a:lnTo>
                      <a:pt x="2811" y="718"/>
                    </a:lnTo>
                    <a:lnTo>
                      <a:pt x="2808" y="715"/>
                    </a:lnTo>
                    <a:lnTo>
                      <a:pt x="2805" y="711"/>
                    </a:lnTo>
                    <a:lnTo>
                      <a:pt x="2804" y="706"/>
                    </a:lnTo>
                    <a:lnTo>
                      <a:pt x="2804" y="702"/>
                    </a:lnTo>
                    <a:lnTo>
                      <a:pt x="2804" y="698"/>
                    </a:lnTo>
                    <a:lnTo>
                      <a:pt x="2808" y="694"/>
                    </a:lnTo>
                    <a:lnTo>
                      <a:pt x="2812" y="688"/>
                    </a:lnTo>
                    <a:lnTo>
                      <a:pt x="2819" y="680"/>
                    </a:lnTo>
                    <a:lnTo>
                      <a:pt x="2833" y="664"/>
                    </a:lnTo>
                    <a:lnTo>
                      <a:pt x="2850" y="645"/>
                    </a:lnTo>
                    <a:lnTo>
                      <a:pt x="2882" y="612"/>
                    </a:lnTo>
                    <a:lnTo>
                      <a:pt x="2896" y="597"/>
                    </a:lnTo>
                    <a:lnTo>
                      <a:pt x="2894" y="593"/>
                    </a:lnTo>
                    <a:lnTo>
                      <a:pt x="2892" y="589"/>
                    </a:lnTo>
                    <a:lnTo>
                      <a:pt x="2891" y="585"/>
                    </a:lnTo>
                    <a:lnTo>
                      <a:pt x="2890" y="581"/>
                    </a:lnTo>
                    <a:lnTo>
                      <a:pt x="2890" y="573"/>
                    </a:lnTo>
                    <a:lnTo>
                      <a:pt x="2892" y="566"/>
                    </a:lnTo>
                    <a:lnTo>
                      <a:pt x="2896" y="558"/>
                    </a:lnTo>
                    <a:lnTo>
                      <a:pt x="2902" y="551"/>
                    </a:lnTo>
                    <a:lnTo>
                      <a:pt x="2909" y="544"/>
                    </a:lnTo>
                    <a:lnTo>
                      <a:pt x="2916" y="535"/>
                    </a:lnTo>
                    <a:lnTo>
                      <a:pt x="2934" y="520"/>
                    </a:lnTo>
                    <a:lnTo>
                      <a:pt x="2951" y="505"/>
                    </a:lnTo>
                    <a:lnTo>
                      <a:pt x="2959" y="498"/>
                    </a:lnTo>
                    <a:lnTo>
                      <a:pt x="2966" y="490"/>
                    </a:lnTo>
                    <a:lnTo>
                      <a:pt x="2972" y="482"/>
                    </a:lnTo>
                    <a:lnTo>
                      <a:pt x="2977" y="474"/>
                    </a:lnTo>
                    <a:lnTo>
                      <a:pt x="3149" y="480"/>
                    </a:lnTo>
                    <a:lnTo>
                      <a:pt x="3149" y="485"/>
                    </a:lnTo>
                    <a:lnTo>
                      <a:pt x="3150" y="490"/>
                    </a:lnTo>
                    <a:lnTo>
                      <a:pt x="3151" y="494"/>
                    </a:lnTo>
                    <a:lnTo>
                      <a:pt x="3153" y="497"/>
                    </a:lnTo>
                    <a:lnTo>
                      <a:pt x="3156" y="500"/>
                    </a:lnTo>
                    <a:lnTo>
                      <a:pt x="3159" y="502"/>
                    </a:lnTo>
                    <a:lnTo>
                      <a:pt x="3161" y="503"/>
                    </a:lnTo>
                    <a:lnTo>
                      <a:pt x="3165" y="504"/>
                    </a:lnTo>
                    <a:lnTo>
                      <a:pt x="3180" y="505"/>
                    </a:lnTo>
                    <a:lnTo>
                      <a:pt x="3196" y="505"/>
                    </a:lnTo>
                    <a:lnTo>
                      <a:pt x="3201" y="509"/>
                    </a:lnTo>
                    <a:lnTo>
                      <a:pt x="3204" y="514"/>
                    </a:lnTo>
                    <a:lnTo>
                      <a:pt x="3208" y="521"/>
                    </a:lnTo>
                    <a:lnTo>
                      <a:pt x="3210" y="529"/>
                    </a:lnTo>
                    <a:lnTo>
                      <a:pt x="3215" y="545"/>
                    </a:lnTo>
                    <a:lnTo>
                      <a:pt x="3216" y="554"/>
                    </a:lnTo>
                    <a:lnTo>
                      <a:pt x="3221" y="556"/>
                    </a:lnTo>
                    <a:lnTo>
                      <a:pt x="3229" y="557"/>
                    </a:lnTo>
                    <a:lnTo>
                      <a:pt x="3238" y="557"/>
                    </a:lnTo>
                    <a:lnTo>
                      <a:pt x="3247" y="557"/>
                    </a:lnTo>
                    <a:lnTo>
                      <a:pt x="3268" y="555"/>
                    </a:lnTo>
                    <a:lnTo>
                      <a:pt x="3288" y="554"/>
                    </a:lnTo>
                    <a:lnTo>
                      <a:pt x="3292" y="566"/>
                    </a:lnTo>
                    <a:lnTo>
                      <a:pt x="3295" y="572"/>
                    </a:lnTo>
                    <a:lnTo>
                      <a:pt x="3288" y="579"/>
                    </a:lnTo>
                    <a:lnTo>
                      <a:pt x="3282" y="585"/>
                    </a:lnTo>
                    <a:lnTo>
                      <a:pt x="3276" y="592"/>
                    </a:lnTo>
                    <a:lnTo>
                      <a:pt x="3272" y="601"/>
                    </a:lnTo>
                    <a:lnTo>
                      <a:pt x="3264" y="616"/>
                    </a:lnTo>
                    <a:lnTo>
                      <a:pt x="3257" y="632"/>
                    </a:lnTo>
                    <a:lnTo>
                      <a:pt x="3251" y="646"/>
                    </a:lnTo>
                    <a:lnTo>
                      <a:pt x="3245" y="660"/>
                    </a:lnTo>
                    <a:lnTo>
                      <a:pt x="3241" y="666"/>
                    </a:lnTo>
                    <a:lnTo>
                      <a:pt x="3238" y="671"/>
                    </a:lnTo>
                    <a:lnTo>
                      <a:pt x="3234" y="675"/>
                    </a:lnTo>
                    <a:lnTo>
                      <a:pt x="3229" y="677"/>
                    </a:lnTo>
                    <a:lnTo>
                      <a:pt x="3238" y="677"/>
                    </a:lnTo>
                    <a:lnTo>
                      <a:pt x="3246" y="677"/>
                    </a:lnTo>
                    <a:lnTo>
                      <a:pt x="3253" y="677"/>
                    </a:lnTo>
                    <a:lnTo>
                      <a:pt x="3262" y="677"/>
                    </a:lnTo>
                    <a:lnTo>
                      <a:pt x="3262" y="683"/>
                    </a:lnTo>
                    <a:lnTo>
                      <a:pt x="3261" y="688"/>
                    </a:lnTo>
                    <a:lnTo>
                      <a:pt x="3259" y="693"/>
                    </a:lnTo>
                    <a:lnTo>
                      <a:pt x="3257" y="697"/>
                    </a:lnTo>
                    <a:lnTo>
                      <a:pt x="3251" y="705"/>
                    </a:lnTo>
                    <a:lnTo>
                      <a:pt x="3245" y="714"/>
                    </a:lnTo>
                    <a:lnTo>
                      <a:pt x="3238" y="721"/>
                    </a:lnTo>
                    <a:lnTo>
                      <a:pt x="3231" y="729"/>
                    </a:lnTo>
                    <a:lnTo>
                      <a:pt x="3226" y="736"/>
                    </a:lnTo>
                    <a:lnTo>
                      <a:pt x="3223" y="745"/>
                    </a:lnTo>
                    <a:lnTo>
                      <a:pt x="3229" y="742"/>
                    </a:lnTo>
                    <a:lnTo>
                      <a:pt x="3237" y="738"/>
                    </a:lnTo>
                    <a:lnTo>
                      <a:pt x="3245" y="734"/>
                    </a:lnTo>
                    <a:lnTo>
                      <a:pt x="3251" y="730"/>
                    </a:lnTo>
                    <a:lnTo>
                      <a:pt x="3264" y="721"/>
                    </a:lnTo>
                    <a:lnTo>
                      <a:pt x="3275" y="715"/>
                    </a:lnTo>
                    <a:lnTo>
                      <a:pt x="3280" y="717"/>
                    </a:lnTo>
                    <a:lnTo>
                      <a:pt x="3284" y="718"/>
                    </a:lnTo>
                    <a:lnTo>
                      <a:pt x="3290" y="718"/>
                    </a:lnTo>
                    <a:lnTo>
                      <a:pt x="3295" y="718"/>
                    </a:lnTo>
                    <a:lnTo>
                      <a:pt x="3307" y="715"/>
                    </a:lnTo>
                    <a:lnTo>
                      <a:pt x="3320" y="709"/>
                    </a:lnTo>
                    <a:lnTo>
                      <a:pt x="3336" y="703"/>
                    </a:lnTo>
                    <a:lnTo>
                      <a:pt x="3351" y="695"/>
                    </a:lnTo>
                    <a:lnTo>
                      <a:pt x="3368" y="685"/>
                    </a:lnTo>
                    <a:lnTo>
                      <a:pt x="3384" y="675"/>
                    </a:lnTo>
                    <a:lnTo>
                      <a:pt x="3417" y="653"/>
                    </a:lnTo>
                    <a:lnTo>
                      <a:pt x="3447" y="632"/>
                    </a:lnTo>
                    <a:lnTo>
                      <a:pt x="3471" y="615"/>
                    </a:lnTo>
                    <a:lnTo>
                      <a:pt x="3488" y="604"/>
                    </a:lnTo>
                    <a:lnTo>
                      <a:pt x="3492" y="613"/>
                    </a:lnTo>
                    <a:lnTo>
                      <a:pt x="3495" y="621"/>
                    </a:lnTo>
                    <a:lnTo>
                      <a:pt x="3496" y="629"/>
                    </a:lnTo>
                    <a:lnTo>
                      <a:pt x="3496" y="637"/>
                    </a:lnTo>
                    <a:lnTo>
                      <a:pt x="3496" y="653"/>
                    </a:lnTo>
                    <a:lnTo>
                      <a:pt x="3495" y="671"/>
                    </a:lnTo>
                    <a:lnTo>
                      <a:pt x="3521" y="671"/>
                    </a:lnTo>
                    <a:lnTo>
                      <a:pt x="3522" y="680"/>
                    </a:lnTo>
                    <a:lnTo>
                      <a:pt x="3523" y="687"/>
                    </a:lnTo>
                    <a:lnTo>
                      <a:pt x="3521" y="692"/>
                    </a:lnTo>
                    <a:lnTo>
                      <a:pt x="3519" y="698"/>
                    </a:lnTo>
                    <a:lnTo>
                      <a:pt x="3514" y="708"/>
                    </a:lnTo>
                    <a:lnTo>
                      <a:pt x="3508" y="721"/>
                    </a:lnTo>
                    <a:lnTo>
                      <a:pt x="3521" y="721"/>
                    </a:lnTo>
                    <a:lnTo>
                      <a:pt x="3534" y="721"/>
                    </a:lnTo>
                    <a:lnTo>
                      <a:pt x="3534" y="732"/>
                    </a:lnTo>
                    <a:lnTo>
                      <a:pt x="3534" y="741"/>
                    </a:lnTo>
                    <a:lnTo>
                      <a:pt x="3534" y="749"/>
                    </a:lnTo>
                    <a:lnTo>
                      <a:pt x="3534" y="757"/>
                    </a:lnTo>
                    <a:lnTo>
                      <a:pt x="3536" y="762"/>
                    </a:lnTo>
                    <a:lnTo>
                      <a:pt x="3540" y="769"/>
                    </a:lnTo>
                    <a:lnTo>
                      <a:pt x="3542" y="772"/>
                    </a:lnTo>
                    <a:lnTo>
                      <a:pt x="3545" y="774"/>
                    </a:lnTo>
                    <a:lnTo>
                      <a:pt x="3550" y="776"/>
                    </a:lnTo>
                    <a:lnTo>
                      <a:pt x="3554" y="776"/>
                    </a:lnTo>
                    <a:lnTo>
                      <a:pt x="3551" y="786"/>
                    </a:lnTo>
                    <a:lnTo>
                      <a:pt x="3548" y="794"/>
                    </a:lnTo>
                    <a:lnTo>
                      <a:pt x="3542" y="800"/>
                    </a:lnTo>
                    <a:lnTo>
                      <a:pt x="3537" y="804"/>
                    </a:lnTo>
                    <a:lnTo>
                      <a:pt x="3526" y="811"/>
                    </a:lnTo>
                    <a:lnTo>
                      <a:pt x="3515" y="818"/>
                    </a:lnTo>
                    <a:lnTo>
                      <a:pt x="3522" y="828"/>
                    </a:lnTo>
                    <a:lnTo>
                      <a:pt x="3530" y="836"/>
                    </a:lnTo>
                    <a:lnTo>
                      <a:pt x="3539" y="844"/>
                    </a:lnTo>
                    <a:lnTo>
                      <a:pt x="3546" y="851"/>
                    </a:lnTo>
                    <a:lnTo>
                      <a:pt x="3556" y="857"/>
                    </a:lnTo>
                    <a:lnTo>
                      <a:pt x="3565" y="863"/>
                    </a:lnTo>
                    <a:lnTo>
                      <a:pt x="3575" y="869"/>
                    </a:lnTo>
                    <a:lnTo>
                      <a:pt x="3584" y="874"/>
                    </a:lnTo>
                    <a:lnTo>
                      <a:pt x="3605" y="885"/>
                    </a:lnTo>
                    <a:lnTo>
                      <a:pt x="3627" y="894"/>
                    </a:lnTo>
                    <a:lnTo>
                      <a:pt x="3650" y="902"/>
                    </a:lnTo>
                    <a:lnTo>
                      <a:pt x="3674" y="911"/>
                    </a:lnTo>
                    <a:lnTo>
                      <a:pt x="3668" y="918"/>
                    </a:lnTo>
                    <a:lnTo>
                      <a:pt x="3662" y="924"/>
                    </a:lnTo>
                    <a:lnTo>
                      <a:pt x="3652" y="930"/>
                    </a:lnTo>
                    <a:lnTo>
                      <a:pt x="3640" y="936"/>
                    </a:lnTo>
                    <a:lnTo>
                      <a:pt x="3615" y="946"/>
                    </a:lnTo>
                    <a:lnTo>
                      <a:pt x="3588" y="954"/>
                    </a:lnTo>
                    <a:lnTo>
                      <a:pt x="3563" y="961"/>
                    </a:lnTo>
                    <a:lnTo>
                      <a:pt x="3545" y="966"/>
                    </a:lnTo>
                    <a:lnTo>
                      <a:pt x="3540" y="968"/>
                    </a:lnTo>
                    <a:lnTo>
                      <a:pt x="3537" y="970"/>
                    </a:lnTo>
                    <a:lnTo>
                      <a:pt x="3537" y="971"/>
                    </a:lnTo>
                    <a:lnTo>
                      <a:pt x="3537" y="972"/>
                    </a:lnTo>
                    <a:lnTo>
                      <a:pt x="3539" y="972"/>
                    </a:lnTo>
                    <a:lnTo>
                      <a:pt x="3541" y="973"/>
                    </a:lnTo>
                    <a:lnTo>
                      <a:pt x="3548" y="974"/>
                    </a:lnTo>
                    <a:lnTo>
                      <a:pt x="3554" y="974"/>
                    </a:lnTo>
                    <a:lnTo>
                      <a:pt x="3560" y="974"/>
                    </a:lnTo>
                    <a:lnTo>
                      <a:pt x="3564" y="972"/>
                    </a:lnTo>
                    <a:lnTo>
                      <a:pt x="3570" y="970"/>
                    </a:lnTo>
                    <a:lnTo>
                      <a:pt x="3575" y="969"/>
                    </a:lnTo>
                    <a:lnTo>
                      <a:pt x="3581" y="967"/>
                    </a:lnTo>
                    <a:lnTo>
                      <a:pt x="3588" y="967"/>
                    </a:lnTo>
                    <a:lnTo>
                      <a:pt x="3598" y="965"/>
                    </a:lnTo>
                    <a:lnTo>
                      <a:pt x="3616" y="961"/>
                    </a:lnTo>
                    <a:lnTo>
                      <a:pt x="3637" y="957"/>
                    </a:lnTo>
                    <a:lnTo>
                      <a:pt x="3654" y="955"/>
                    </a:lnTo>
                    <a:lnTo>
                      <a:pt x="3673" y="955"/>
                    </a:lnTo>
                    <a:lnTo>
                      <a:pt x="3686" y="956"/>
                    </a:lnTo>
                    <a:lnTo>
                      <a:pt x="3695" y="958"/>
                    </a:lnTo>
                    <a:lnTo>
                      <a:pt x="3701" y="959"/>
                    </a:lnTo>
                    <a:lnTo>
                      <a:pt x="3707" y="960"/>
                    </a:lnTo>
                    <a:lnTo>
                      <a:pt x="3713" y="960"/>
                    </a:lnTo>
                    <a:lnTo>
                      <a:pt x="3721" y="958"/>
                    </a:lnTo>
                    <a:lnTo>
                      <a:pt x="3734" y="955"/>
                    </a:lnTo>
                    <a:lnTo>
                      <a:pt x="3734" y="964"/>
                    </a:lnTo>
                    <a:lnTo>
                      <a:pt x="3734" y="972"/>
                    </a:lnTo>
                    <a:lnTo>
                      <a:pt x="3734" y="979"/>
                    </a:lnTo>
                    <a:lnTo>
                      <a:pt x="3734" y="985"/>
                    </a:lnTo>
                    <a:lnTo>
                      <a:pt x="3734" y="998"/>
                    </a:lnTo>
                    <a:lnTo>
                      <a:pt x="3733" y="1007"/>
                    </a:lnTo>
                    <a:lnTo>
                      <a:pt x="3732" y="1014"/>
                    </a:lnTo>
                    <a:lnTo>
                      <a:pt x="3729" y="1018"/>
                    </a:lnTo>
                    <a:lnTo>
                      <a:pt x="3724" y="1022"/>
                    </a:lnTo>
                    <a:lnTo>
                      <a:pt x="3717" y="1024"/>
                    </a:lnTo>
                    <a:lnTo>
                      <a:pt x="3707" y="1026"/>
                    </a:lnTo>
                    <a:lnTo>
                      <a:pt x="3694" y="1028"/>
                    </a:lnTo>
                    <a:lnTo>
                      <a:pt x="3699" y="1037"/>
                    </a:lnTo>
                    <a:lnTo>
                      <a:pt x="3704" y="1047"/>
                    </a:lnTo>
                    <a:lnTo>
                      <a:pt x="3709" y="1054"/>
                    </a:lnTo>
                    <a:lnTo>
                      <a:pt x="3713" y="1059"/>
                    </a:lnTo>
                    <a:lnTo>
                      <a:pt x="3706" y="1068"/>
                    </a:lnTo>
                    <a:lnTo>
                      <a:pt x="3697" y="1076"/>
                    </a:lnTo>
                    <a:lnTo>
                      <a:pt x="3687" y="1083"/>
                    </a:lnTo>
                    <a:lnTo>
                      <a:pt x="3676" y="1087"/>
                    </a:lnTo>
                    <a:lnTo>
                      <a:pt x="3672" y="1089"/>
                    </a:lnTo>
                    <a:lnTo>
                      <a:pt x="3666" y="1090"/>
                    </a:lnTo>
                    <a:lnTo>
                      <a:pt x="3661" y="1091"/>
                    </a:lnTo>
                    <a:lnTo>
                      <a:pt x="3655" y="1091"/>
                    </a:lnTo>
                    <a:lnTo>
                      <a:pt x="3650" y="1090"/>
                    </a:lnTo>
                    <a:lnTo>
                      <a:pt x="3644" y="1089"/>
                    </a:lnTo>
                    <a:lnTo>
                      <a:pt x="3639" y="1087"/>
                    </a:lnTo>
                    <a:lnTo>
                      <a:pt x="3634" y="1084"/>
                    </a:lnTo>
                    <a:lnTo>
                      <a:pt x="3627" y="1089"/>
                    </a:lnTo>
                    <a:lnTo>
                      <a:pt x="3617" y="1093"/>
                    </a:lnTo>
                    <a:lnTo>
                      <a:pt x="3608" y="1096"/>
                    </a:lnTo>
                    <a:lnTo>
                      <a:pt x="3598" y="1099"/>
                    </a:lnTo>
                    <a:lnTo>
                      <a:pt x="3577" y="1104"/>
                    </a:lnTo>
                    <a:lnTo>
                      <a:pt x="3556" y="1108"/>
                    </a:lnTo>
                    <a:lnTo>
                      <a:pt x="3546" y="1110"/>
                    </a:lnTo>
                    <a:lnTo>
                      <a:pt x="3538" y="1113"/>
                    </a:lnTo>
                    <a:lnTo>
                      <a:pt x="3529" y="1116"/>
                    </a:lnTo>
                    <a:lnTo>
                      <a:pt x="3522" y="1120"/>
                    </a:lnTo>
                    <a:lnTo>
                      <a:pt x="3516" y="1124"/>
                    </a:lnTo>
                    <a:lnTo>
                      <a:pt x="3511" y="1130"/>
                    </a:lnTo>
                    <a:lnTo>
                      <a:pt x="3509" y="1137"/>
                    </a:lnTo>
                    <a:lnTo>
                      <a:pt x="3508" y="1145"/>
                    </a:lnTo>
                    <a:lnTo>
                      <a:pt x="3501" y="1145"/>
                    </a:lnTo>
                    <a:lnTo>
                      <a:pt x="3489" y="1159"/>
                    </a:lnTo>
                    <a:lnTo>
                      <a:pt x="3480" y="1168"/>
                    </a:lnTo>
                    <a:lnTo>
                      <a:pt x="3474" y="1172"/>
                    </a:lnTo>
                    <a:lnTo>
                      <a:pt x="3467" y="1174"/>
                    </a:lnTo>
                    <a:lnTo>
                      <a:pt x="3459" y="1176"/>
                    </a:lnTo>
                    <a:lnTo>
                      <a:pt x="3448" y="1176"/>
                    </a:lnTo>
                    <a:lnTo>
                      <a:pt x="3336" y="1164"/>
                    </a:lnTo>
                    <a:lnTo>
                      <a:pt x="3301" y="1164"/>
                    </a:lnTo>
                    <a:lnTo>
                      <a:pt x="3264" y="1164"/>
                    </a:lnTo>
                    <a:lnTo>
                      <a:pt x="3228" y="1164"/>
                    </a:lnTo>
                    <a:lnTo>
                      <a:pt x="3189" y="1164"/>
                    </a:lnTo>
                    <a:lnTo>
                      <a:pt x="3169" y="1165"/>
                    </a:lnTo>
                    <a:lnTo>
                      <a:pt x="3151" y="1168"/>
                    </a:lnTo>
                    <a:lnTo>
                      <a:pt x="3135" y="1172"/>
                    </a:lnTo>
                    <a:lnTo>
                      <a:pt x="3119" y="1177"/>
                    </a:lnTo>
                    <a:lnTo>
                      <a:pt x="3105" y="1183"/>
                    </a:lnTo>
                    <a:lnTo>
                      <a:pt x="3093" y="1191"/>
                    </a:lnTo>
                    <a:lnTo>
                      <a:pt x="3081" y="1198"/>
                    </a:lnTo>
                    <a:lnTo>
                      <a:pt x="3070" y="1207"/>
                    </a:lnTo>
                    <a:lnTo>
                      <a:pt x="3047" y="1225"/>
                    </a:lnTo>
                    <a:lnTo>
                      <a:pt x="3025" y="1242"/>
                    </a:lnTo>
                    <a:lnTo>
                      <a:pt x="3013" y="1250"/>
                    </a:lnTo>
                    <a:lnTo>
                      <a:pt x="3000" y="1257"/>
                    </a:lnTo>
                    <a:lnTo>
                      <a:pt x="2985" y="1263"/>
                    </a:lnTo>
                    <a:lnTo>
                      <a:pt x="2970" y="1269"/>
                    </a:lnTo>
                    <a:lnTo>
                      <a:pt x="2959" y="1272"/>
                    </a:lnTo>
                    <a:lnTo>
                      <a:pt x="2948" y="1276"/>
                    </a:lnTo>
                    <a:lnTo>
                      <a:pt x="2936" y="1281"/>
                    </a:lnTo>
                    <a:lnTo>
                      <a:pt x="2924" y="1286"/>
                    </a:lnTo>
                    <a:lnTo>
                      <a:pt x="2912" y="1293"/>
                    </a:lnTo>
                    <a:lnTo>
                      <a:pt x="2900" y="1300"/>
                    </a:lnTo>
                    <a:lnTo>
                      <a:pt x="2887" y="1308"/>
                    </a:lnTo>
                    <a:lnTo>
                      <a:pt x="2876" y="1316"/>
                    </a:lnTo>
                    <a:lnTo>
                      <a:pt x="2864" y="1326"/>
                    </a:lnTo>
                    <a:lnTo>
                      <a:pt x="2853" y="1335"/>
                    </a:lnTo>
                    <a:lnTo>
                      <a:pt x="2843" y="1344"/>
                    </a:lnTo>
                    <a:lnTo>
                      <a:pt x="2834" y="1354"/>
                    </a:lnTo>
                    <a:lnTo>
                      <a:pt x="2825" y="1363"/>
                    </a:lnTo>
                    <a:lnTo>
                      <a:pt x="2819" y="1373"/>
                    </a:lnTo>
                    <a:lnTo>
                      <a:pt x="2814" y="1383"/>
                    </a:lnTo>
                    <a:lnTo>
                      <a:pt x="2811" y="1392"/>
                    </a:lnTo>
                    <a:lnTo>
                      <a:pt x="2819" y="1392"/>
                    </a:lnTo>
                    <a:lnTo>
                      <a:pt x="2825" y="1391"/>
                    </a:lnTo>
                    <a:lnTo>
                      <a:pt x="2832" y="1389"/>
                    </a:lnTo>
                    <a:lnTo>
                      <a:pt x="2836" y="1387"/>
                    </a:lnTo>
                    <a:lnTo>
                      <a:pt x="2840" y="1385"/>
                    </a:lnTo>
                    <a:lnTo>
                      <a:pt x="2845" y="1382"/>
                    </a:lnTo>
                    <a:lnTo>
                      <a:pt x="2847" y="1379"/>
                    </a:lnTo>
                    <a:lnTo>
                      <a:pt x="2850" y="1375"/>
                    </a:lnTo>
                    <a:lnTo>
                      <a:pt x="2855" y="1369"/>
                    </a:lnTo>
                    <a:lnTo>
                      <a:pt x="2859" y="1363"/>
                    </a:lnTo>
                    <a:lnTo>
                      <a:pt x="2861" y="1361"/>
                    </a:lnTo>
                    <a:lnTo>
                      <a:pt x="2864" y="1358"/>
                    </a:lnTo>
                    <a:lnTo>
                      <a:pt x="2867" y="1356"/>
                    </a:lnTo>
                    <a:lnTo>
                      <a:pt x="2870" y="1355"/>
                    </a:lnTo>
                    <a:lnTo>
                      <a:pt x="2888" y="1346"/>
                    </a:lnTo>
                    <a:lnTo>
                      <a:pt x="2905" y="1337"/>
                    </a:lnTo>
                    <a:lnTo>
                      <a:pt x="2923" y="1327"/>
                    </a:lnTo>
                    <a:lnTo>
                      <a:pt x="2940" y="1315"/>
                    </a:lnTo>
                    <a:lnTo>
                      <a:pt x="2976" y="1293"/>
                    </a:lnTo>
                    <a:lnTo>
                      <a:pt x="3012" y="1271"/>
                    </a:lnTo>
                    <a:lnTo>
                      <a:pt x="3029" y="1260"/>
                    </a:lnTo>
                    <a:lnTo>
                      <a:pt x="3048" y="1251"/>
                    </a:lnTo>
                    <a:lnTo>
                      <a:pt x="3067" y="1242"/>
                    </a:lnTo>
                    <a:lnTo>
                      <a:pt x="3085" y="1235"/>
                    </a:lnTo>
                    <a:lnTo>
                      <a:pt x="3104" y="1228"/>
                    </a:lnTo>
                    <a:lnTo>
                      <a:pt x="3123" y="1224"/>
                    </a:lnTo>
                    <a:lnTo>
                      <a:pt x="3142" y="1221"/>
                    </a:lnTo>
                    <a:lnTo>
                      <a:pt x="3162" y="1220"/>
                    </a:lnTo>
                    <a:lnTo>
                      <a:pt x="3171" y="1220"/>
                    </a:lnTo>
                    <a:lnTo>
                      <a:pt x="3179" y="1222"/>
                    </a:lnTo>
                    <a:lnTo>
                      <a:pt x="3189" y="1225"/>
                    </a:lnTo>
                    <a:lnTo>
                      <a:pt x="3196" y="1229"/>
                    </a:lnTo>
                    <a:lnTo>
                      <a:pt x="3204" y="1234"/>
                    </a:lnTo>
                    <a:lnTo>
                      <a:pt x="3210" y="1240"/>
                    </a:lnTo>
                    <a:lnTo>
                      <a:pt x="3213" y="1244"/>
                    </a:lnTo>
                    <a:lnTo>
                      <a:pt x="3214" y="1248"/>
                    </a:lnTo>
                    <a:lnTo>
                      <a:pt x="3215" y="1252"/>
                    </a:lnTo>
                    <a:lnTo>
                      <a:pt x="3216" y="1256"/>
                    </a:lnTo>
                    <a:lnTo>
                      <a:pt x="3215" y="1265"/>
                    </a:lnTo>
                    <a:lnTo>
                      <a:pt x="3213" y="1274"/>
                    </a:lnTo>
                    <a:lnTo>
                      <a:pt x="3208" y="1281"/>
                    </a:lnTo>
                    <a:lnTo>
                      <a:pt x="3203" y="1287"/>
                    </a:lnTo>
                    <a:lnTo>
                      <a:pt x="3197" y="1293"/>
                    </a:lnTo>
                    <a:lnTo>
                      <a:pt x="3191" y="1296"/>
                    </a:lnTo>
                    <a:lnTo>
                      <a:pt x="3183" y="1299"/>
                    </a:lnTo>
                    <a:lnTo>
                      <a:pt x="3175" y="1299"/>
                    </a:lnTo>
                    <a:lnTo>
                      <a:pt x="3165" y="1299"/>
                    </a:lnTo>
                    <a:lnTo>
                      <a:pt x="3156" y="1298"/>
                    </a:lnTo>
                    <a:lnTo>
                      <a:pt x="3146" y="1296"/>
                    </a:lnTo>
                    <a:lnTo>
                      <a:pt x="3136" y="1293"/>
                    </a:lnTo>
                    <a:lnTo>
                      <a:pt x="3126" y="1291"/>
                    </a:lnTo>
                    <a:lnTo>
                      <a:pt x="3116" y="1289"/>
                    </a:lnTo>
                    <a:lnTo>
                      <a:pt x="3106" y="1288"/>
                    </a:lnTo>
                    <a:lnTo>
                      <a:pt x="3096" y="1287"/>
                    </a:lnTo>
                    <a:lnTo>
                      <a:pt x="3089" y="1288"/>
                    </a:lnTo>
                    <a:lnTo>
                      <a:pt x="3082" y="1289"/>
                    </a:lnTo>
                    <a:lnTo>
                      <a:pt x="3077" y="1290"/>
                    </a:lnTo>
                    <a:lnTo>
                      <a:pt x="3072" y="1292"/>
                    </a:lnTo>
                    <a:lnTo>
                      <a:pt x="3068" y="1294"/>
                    </a:lnTo>
                    <a:lnTo>
                      <a:pt x="3066" y="1298"/>
                    </a:lnTo>
                    <a:lnTo>
                      <a:pt x="3063" y="1301"/>
                    </a:lnTo>
                    <a:lnTo>
                      <a:pt x="3063" y="1306"/>
                    </a:lnTo>
                    <a:lnTo>
                      <a:pt x="3129" y="1331"/>
                    </a:lnTo>
                    <a:lnTo>
                      <a:pt x="3140" y="1329"/>
                    </a:lnTo>
                    <a:lnTo>
                      <a:pt x="3152" y="1325"/>
                    </a:lnTo>
                    <a:lnTo>
                      <a:pt x="3159" y="1324"/>
                    </a:lnTo>
                    <a:lnTo>
                      <a:pt x="3164" y="1323"/>
                    </a:lnTo>
                    <a:lnTo>
                      <a:pt x="3171" y="1323"/>
                    </a:lnTo>
                    <a:lnTo>
                      <a:pt x="3175" y="1325"/>
                    </a:lnTo>
                    <a:lnTo>
                      <a:pt x="3170" y="1333"/>
                    </a:lnTo>
                    <a:lnTo>
                      <a:pt x="3164" y="1340"/>
                    </a:lnTo>
                    <a:lnTo>
                      <a:pt x="3158" y="1346"/>
                    </a:lnTo>
                    <a:lnTo>
                      <a:pt x="3151" y="1351"/>
                    </a:lnTo>
                    <a:lnTo>
                      <a:pt x="3145" y="1356"/>
                    </a:lnTo>
                    <a:lnTo>
                      <a:pt x="3140" y="1361"/>
                    </a:lnTo>
                    <a:lnTo>
                      <a:pt x="3138" y="1364"/>
                    </a:lnTo>
                    <a:lnTo>
                      <a:pt x="3137" y="1367"/>
                    </a:lnTo>
                    <a:lnTo>
                      <a:pt x="3136" y="1370"/>
                    </a:lnTo>
                    <a:lnTo>
                      <a:pt x="3136" y="1373"/>
                    </a:lnTo>
                    <a:lnTo>
                      <a:pt x="3136" y="1380"/>
                    </a:lnTo>
                    <a:lnTo>
                      <a:pt x="3137" y="1386"/>
                    </a:lnTo>
                    <a:lnTo>
                      <a:pt x="3138" y="1391"/>
                    </a:lnTo>
                    <a:lnTo>
                      <a:pt x="3140" y="1396"/>
                    </a:lnTo>
                    <a:lnTo>
                      <a:pt x="3144" y="1401"/>
                    </a:lnTo>
                    <a:lnTo>
                      <a:pt x="3146" y="1405"/>
                    </a:lnTo>
                    <a:lnTo>
                      <a:pt x="3149" y="1410"/>
                    </a:lnTo>
                    <a:lnTo>
                      <a:pt x="3153" y="1413"/>
                    </a:lnTo>
                    <a:lnTo>
                      <a:pt x="3162" y="1420"/>
                    </a:lnTo>
                    <a:lnTo>
                      <a:pt x="3173" y="1426"/>
                    </a:lnTo>
                    <a:lnTo>
                      <a:pt x="3184" y="1431"/>
                    </a:lnTo>
                    <a:lnTo>
                      <a:pt x="3196" y="1436"/>
                    </a:lnTo>
                    <a:lnTo>
                      <a:pt x="3209" y="1439"/>
                    </a:lnTo>
                    <a:lnTo>
                      <a:pt x="3224" y="1441"/>
                    </a:lnTo>
                    <a:lnTo>
                      <a:pt x="3237" y="1442"/>
                    </a:lnTo>
                    <a:lnTo>
                      <a:pt x="3251" y="1443"/>
                    </a:lnTo>
                    <a:lnTo>
                      <a:pt x="3277" y="1443"/>
                    </a:lnTo>
                    <a:lnTo>
                      <a:pt x="3302" y="1442"/>
                    </a:lnTo>
                    <a:lnTo>
                      <a:pt x="3302" y="1466"/>
                    </a:lnTo>
                    <a:lnTo>
                      <a:pt x="3292" y="1469"/>
                    </a:lnTo>
                    <a:lnTo>
                      <a:pt x="3283" y="1471"/>
                    </a:lnTo>
                    <a:lnTo>
                      <a:pt x="3274" y="1472"/>
                    </a:lnTo>
                    <a:lnTo>
                      <a:pt x="3265" y="1472"/>
                    </a:lnTo>
                    <a:lnTo>
                      <a:pt x="3257" y="1472"/>
                    </a:lnTo>
                    <a:lnTo>
                      <a:pt x="3248" y="1473"/>
                    </a:lnTo>
                    <a:lnTo>
                      <a:pt x="3239" y="1474"/>
                    </a:lnTo>
                    <a:lnTo>
                      <a:pt x="3229" y="1478"/>
                    </a:lnTo>
                    <a:lnTo>
                      <a:pt x="3213" y="1485"/>
                    </a:lnTo>
                    <a:lnTo>
                      <a:pt x="3198" y="1494"/>
                    </a:lnTo>
                    <a:lnTo>
                      <a:pt x="3184" y="1502"/>
                    </a:lnTo>
                    <a:lnTo>
                      <a:pt x="3172" y="1510"/>
                    </a:lnTo>
                    <a:lnTo>
                      <a:pt x="3158" y="1519"/>
                    </a:lnTo>
                    <a:lnTo>
                      <a:pt x="3144" y="1527"/>
                    </a:lnTo>
                    <a:lnTo>
                      <a:pt x="3128" y="1536"/>
                    </a:lnTo>
                    <a:lnTo>
                      <a:pt x="3109" y="1546"/>
                    </a:lnTo>
                    <a:lnTo>
                      <a:pt x="3099" y="1550"/>
                    </a:lnTo>
                    <a:lnTo>
                      <a:pt x="3088" y="1553"/>
                    </a:lnTo>
                    <a:lnTo>
                      <a:pt x="3077" y="1555"/>
                    </a:lnTo>
                    <a:lnTo>
                      <a:pt x="3066" y="1556"/>
                    </a:lnTo>
                    <a:lnTo>
                      <a:pt x="3056" y="1558"/>
                    </a:lnTo>
                    <a:lnTo>
                      <a:pt x="3047" y="1561"/>
                    </a:lnTo>
                    <a:lnTo>
                      <a:pt x="3044" y="1563"/>
                    </a:lnTo>
                    <a:lnTo>
                      <a:pt x="3040" y="1565"/>
                    </a:lnTo>
                    <a:lnTo>
                      <a:pt x="3038" y="1568"/>
                    </a:lnTo>
                    <a:lnTo>
                      <a:pt x="3036" y="1571"/>
                    </a:lnTo>
                    <a:lnTo>
                      <a:pt x="3026" y="1567"/>
                    </a:lnTo>
                    <a:lnTo>
                      <a:pt x="3018" y="1564"/>
                    </a:lnTo>
                    <a:lnTo>
                      <a:pt x="3015" y="1562"/>
                    </a:lnTo>
                    <a:lnTo>
                      <a:pt x="3012" y="1560"/>
                    </a:lnTo>
                    <a:lnTo>
                      <a:pt x="3011" y="1557"/>
                    </a:lnTo>
                    <a:lnTo>
                      <a:pt x="3010" y="1553"/>
                    </a:lnTo>
                    <a:lnTo>
                      <a:pt x="3010" y="1546"/>
                    </a:lnTo>
                    <a:lnTo>
                      <a:pt x="3012" y="1539"/>
                    </a:lnTo>
                    <a:lnTo>
                      <a:pt x="3013" y="1533"/>
                    </a:lnTo>
                    <a:lnTo>
                      <a:pt x="3016" y="1528"/>
                    </a:lnTo>
                    <a:lnTo>
                      <a:pt x="3019" y="1524"/>
                    </a:lnTo>
                    <a:lnTo>
                      <a:pt x="3024" y="1519"/>
                    </a:lnTo>
                    <a:lnTo>
                      <a:pt x="3028" y="1516"/>
                    </a:lnTo>
                    <a:lnTo>
                      <a:pt x="3033" y="1512"/>
                    </a:lnTo>
                    <a:lnTo>
                      <a:pt x="3045" y="1506"/>
                    </a:lnTo>
                    <a:lnTo>
                      <a:pt x="3058" y="1501"/>
                    </a:lnTo>
                    <a:lnTo>
                      <a:pt x="3072" y="1497"/>
                    </a:lnTo>
                    <a:lnTo>
                      <a:pt x="3086" y="1493"/>
                    </a:lnTo>
                    <a:lnTo>
                      <a:pt x="3117" y="1487"/>
                    </a:lnTo>
                    <a:lnTo>
                      <a:pt x="3147" y="1482"/>
                    </a:lnTo>
                    <a:lnTo>
                      <a:pt x="3160" y="1479"/>
                    </a:lnTo>
                    <a:lnTo>
                      <a:pt x="3172" y="1475"/>
                    </a:lnTo>
                    <a:lnTo>
                      <a:pt x="3182" y="1471"/>
                    </a:lnTo>
                    <a:lnTo>
                      <a:pt x="3189" y="1466"/>
                    </a:lnTo>
                    <a:lnTo>
                      <a:pt x="3178" y="1463"/>
                    </a:lnTo>
                    <a:lnTo>
                      <a:pt x="3169" y="1460"/>
                    </a:lnTo>
                    <a:lnTo>
                      <a:pt x="3160" y="1456"/>
                    </a:lnTo>
                    <a:lnTo>
                      <a:pt x="3153" y="1451"/>
                    </a:lnTo>
                    <a:lnTo>
                      <a:pt x="3147" y="1448"/>
                    </a:lnTo>
                    <a:lnTo>
                      <a:pt x="3139" y="1445"/>
                    </a:lnTo>
                    <a:lnTo>
                      <a:pt x="3131" y="1442"/>
                    </a:lnTo>
                    <a:lnTo>
                      <a:pt x="3123" y="1442"/>
                    </a:lnTo>
                    <a:lnTo>
                      <a:pt x="3117" y="1442"/>
                    </a:lnTo>
                    <a:lnTo>
                      <a:pt x="3113" y="1443"/>
                    </a:lnTo>
                    <a:lnTo>
                      <a:pt x="3107" y="1445"/>
                    </a:lnTo>
                    <a:lnTo>
                      <a:pt x="3103" y="1446"/>
                    </a:lnTo>
                    <a:lnTo>
                      <a:pt x="3093" y="1452"/>
                    </a:lnTo>
                    <a:lnTo>
                      <a:pt x="3083" y="1458"/>
                    </a:lnTo>
                    <a:lnTo>
                      <a:pt x="3074" y="1464"/>
                    </a:lnTo>
                    <a:lnTo>
                      <a:pt x="3066" y="1470"/>
                    </a:lnTo>
                    <a:lnTo>
                      <a:pt x="3057" y="1475"/>
                    </a:lnTo>
                    <a:lnTo>
                      <a:pt x="3049" y="1478"/>
                    </a:lnTo>
                    <a:lnTo>
                      <a:pt x="3044" y="1479"/>
                    </a:lnTo>
                    <a:lnTo>
                      <a:pt x="3036" y="1481"/>
                    </a:lnTo>
                    <a:lnTo>
                      <a:pt x="3026" y="1483"/>
                    </a:lnTo>
                    <a:lnTo>
                      <a:pt x="3016" y="1484"/>
                    </a:lnTo>
                    <a:lnTo>
                      <a:pt x="3010" y="1478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878" name="Freeform 434"/>
            <p:cNvSpPr>
              <a:spLocks/>
            </p:cNvSpPr>
            <p:nvPr>
              <p:custDataLst>
                <p:tags r:id="rId270"/>
              </p:custDataLst>
            </p:nvPr>
          </p:nvSpPr>
          <p:spPr bwMode="auto">
            <a:xfrm>
              <a:off x="6488713" y="3958699"/>
              <a:ext cx="151408" cy="190638"/>
            </a:xfrm>
            <a:custGeom>
              <a:avLst/>
              <a:gdLst>
                <a:gd name="T0" fmla="*/ 115257 w 292"/>
                <a:gd name="T1" fmla="*/ 5154 h 308"/>
                <a:gd name="T2" fmla="*/ 120041 w 292"/>
                <a:gd name="T3" fmla="*/ 19071 h 308"/>
                <a:gd name="T4" fmla="*/ 124390 w 292"/>
                <a:gd name="T5" fmla="*/ 46903 h 308"/>
                <a:gd name="T6" fmla="*/ 127000 w 292"/>
                <a:gd name="T7" fmla="*/ 74221 h 308"/>
                <a:gd name="T8" fmla="*/ 126565 w 292"/>
                <a:gd name="T9" fmla="*/ 82983 h 308"/>
                <a:gd name="T10" fmla="*/ 124390 w 292"/>
                <a:gd name="T11" fmla="*/ 92261 h 308"/>
                <a:gd name="T12" fmla="*/ 116997 w 292"/>
                <a:gd name="T13" fmla="*/ 106177 h 308"/>
                <a:gd name="T14" fmla="*/ 100469 w 292"/>
                <a:gd name="T15" fmla="*/ 95353 h 308"/>
                <a:gd name="T16" fmla="*/ 71764 w 292"/>
                <a:gd name="T17" fmla="*/ 132979 h 308"/>
                <a:gd name="T18" fmla="*/ 57411 w 292"/>
                <a:gd name="T19" fmla="*/ 143287 h 308"/>
                <a:gd name="T20" fmla="*/ 25661 w 292"/>
                <a:gd name="T21" fmla="*/ 152565 h 308"/>
                <a:gd name="T22" fmla="*/ 13918 w 292"/>
                <a:gd name="T23" fmla="*/ 158750 h 308"/>
                <a:gd name="T24" fmla="*/ 2610 w 292"/>
                <a:gd name="T25" fmla="*/ 158750 h 308"/>
                <a:gd name="T26" fmla="*/ 3914 w 292"/>
                <a:gd name="T27" fmla="*/ 153080 h 308"/>
                <a:gd name="T28" fmla="*/ 4784 w 292"/>
                <a:gd name="T29" fmla="*/ 147411 h 308"/>
                <a:gd name="T30" fmla="*/ 3045 w 292"/>
                <a:gd name="T31" fmla="*/ 136587 h 308"/>
                <a:gd name="T32" fmla="*/ 870 w 292"/>
                <a:gd name="T33" fmla="*/ 126794 h 308"/>
                <a:gd name="T34" fmla="*/ 0 w 292"/>
                <a:gd name="T35" fmla="*/ 117516 h 308"/>
                <a:gd name="T36" fmla="*/ 1305 w 292"/>
                <a:gd name="T37" fmla="*/ 105662 h 308"/>
                <a:gd name="T38" fmla="*/ 5219 w 292"/>
                <a:gd name="T39" fmla="*/ 96899 h 308"/>
                <a:gd name="T40" fmla="*/ 11308 w 292"/>
                <a:gd name="T41" fmla="*/ 89683 h 308"/>
                <a:gd name="T42" fmla="*/ 18267 w 292"/>
                <a:gd name="T43" fmla="*/ 82983 h 308"/>
                <a:gd name="T44" fmla="*/ 33490 w 292"/>
                <a:gd name="T45" fmla="*/ 69582 h 308"/>
                <a:gd name="T46" fmla="*/ 40449 w 292"/>
                <a:gd name="T47" fmla="*/ 61335 h 308"/>
                <a:gd name="T48" fmla="*/ 45668 w 292"/>
                <a:gd name="T49" fmla="*/ 50511 h 308"/>
                <a:gd name="T50" fmla="*/ 42623 w 292"/>
                <a:gd name="T51" fmla="*/ 49481 h 308"/>
                <a:gd name="T52" fmla="*/ 40014 w 292"/>
                <a:gd name="T53" fmla="*/ 46903 h 308"/>
                <a:gd name="T54" fmla="*/ 35664 w 292"/>
                <a:gd name="T55" fmla="*/ 37626 h 308"/>
                <a:gd name="T56" fmla="*/ 32185 w 292"/>
                <a:gd name="T57" fmla="*/ 25771 h 308"/>
                <a:gd name="T58" fmla="*/ 31315 w 292"/>
                <a:gd name="T59" fmla="*/ 12370 h 308"/>
                <a:gd name="T60" fmla="*/ 39144 w 292"/>
                <a:gd name="T61" fmla="*/ 9793 h 308"/>
                <a:gd name="T62" fmla="*/ 45668 w 292"/>
                <a:gd name="T63" fmla="*/ 10308 h 308"/>
                <a:gd name="T64" fmla="*/ 57411 w 292"/>
                <a:gd name="T65" fmla="*/ 12370 h 308"/>
                <a:gd name="T66" fmla="*/ 73503 w 292"/>
                <a:gd name="T67" fmla="*/ 10824 h 308"/>
                <a:gd name="T68" fmla="*/ 91336 w 292"/>
                <a:gd name="T69" fmla="*/ 6185 h 308"/>
                <a:gd name="T70" fmla="*/ 112647 w 292"/>
                <a:gd name="T71" fmla="*/ 0 h 30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92" h="308">
                  <a:moveTo>
                    <a:pt x="259" y="0"/>
                  </a:moveTo>
                  <a:lnTo>
                    <a:pt x="265" y="10"/>
                  </a:lnTo>
                  <a:lnTo>
                    <a:pt x="271" y="23"/>
                  </a:lnTo>
                  <a:lnTo>
                    <a:pt x="276" y="37"/>
                  </a:lnTo>
                  <a:lnTo>
                    <a:pt x="280" y="54"/>
                  </a:lnTo>
                  <a:lnTo>
                    <a:pt x="286" y="91"/>
                  </a:lnTo>
                  <a:lnTo>
                    <a:pt x="292" y="135"/>
                  </a:lnTo>
                  <a:lnTo>
                    <a:pt x="292" y="144"/>
                  </a:lnTo>
                  <a:lnTo>
                    <a:pt x="292" y="153"/>
                  </a:lnTo>
                  <a:lnTo>
                    <a:pt x="291" y="161"/>
                  </a:lnTo>
                  <a:lnTo>
                    <a:pt x="289" y="168"/>
                  </a:lnTo>
                  <a:lnTo>
                    <a:pt x="286" y="179"/>
                  </a:lnTo>
                  <a:lnTo>
                    <a:pt x="281" y="189"/>
                  </a:lnTo>
                  <a:lnTo>
                    <a:pt x="269" y="206"/>
                  </a:lnTo>
                  <a:lnTo>
                    <a:pt x="258" y="225"/>
                  </a:lnTo>
                  <a:lnTo>
                    <a:pt x="231" y="185"/>
                  </a:lnTo>
                  <a:lnTo>
                    <a:pt x="192" y="222"/>
                  </a:lnTo>
                  <a:lnTo>
                    <a:pt x="165" y="258"/>
                  </a:lnTo>
                  <a:lnTo>
                    <a:pt x="152" y="246"/>
                  </a:lnTo>
                  <a:lnTo>
                    <a:pt x="132" y="278"/>
                  </a:lnTo>
                  <a:lnTo>
                    <a:pt x="132" y="296"/>
                  </a:lnTo>
                  <a:lnTo>
                    <a:pt x="59" y="296"/>
                  </a:lnTo>
                  <a:lnTo>
                    <a:pt x="46" y="302"/>
                  </a:lnTo>
                  <a:lnTo>
                    <a:pt x="32" y="308"/>
                  </a:lnTo>
                  <a:lnTo>
                    <a:pt x="19" y="308"/>
                  </a:lnTo>
                  <a:lnTo>
                    <a:pt x="6" y="308"/>
                  </a:lnTo>
                  <a:lnTo>
                    <a:pt x="8" y="302"/>
                  </a:lnTo>
                  <a:lnTo>
                    <a:pt x="9" y="297"/>
                  </a:lnTo>
                  <a:lnTo>
                    <a:pt x="11" y="291"/>
                  </a:lnTo>
                  <a:lnTo>
                    <a:pt x="11" y="286"/>
                  </a:lnTo>
                  <a:lnTo>
                    <a:pt x="9" y="276"/>
                  </a:lnTo>
                  <a:lnTo>
                    <a:pt x="7" y="265"/>
                  </a:lnTo>
                  <a:lnTo>
                    <a:pt x="5" y="256"/>
                  </a:lnTo>
                  <a:lnTo>
                    <a:pt x="2" y="246"/>
                  </a:lnTo>
                  <a:lnTo>
                    <a:pt x="0" y="237"/>
                  </a:lnTo>
                  <a:lnTo>
                    <a:pt x="0" y="228"/>
                  </a:lnTo>
                  <a:lnTo>
                    <a:pt x="0" y="216"/>
                  </a:lnTo>
                  <a:lnTo>
                    <a:pt x="3" y="205"/>
                  </a:lnTo>
                  <a:lnTo>
                    <a:pt x="6" y="196"/>
                  </a:lnTo>
                  <a:lnTo>
                    <a:pt x="12" y="188"/>
                  </a:lnTo>
                  <a:lnTo>
                    <a:pt x="18" y="180"/>
                  </a:lnTo>
                  <a:lnTo>
                    <a:pt x="26" y="174"/>
                  </a:lnTo>
                  <a:lnTo>
                    <a:pt x="34" y="167"/>
                  </a:lnTo>
                  <a:lnTo>
                    <a:pt x="42" y="161"/>
                  </a:lnTo>
                  <a:lnTo>
                    <a:pt x="60" y="148"/>
                  </a:lnTo>
                  <a:lnTo>
                    <a:pt x="77" y="135"/>
                  </a:lnTo>
                  <a:lnTo>
                    <a:pt x="85" y="128"/>
                  </a:lnTo>
                  <a:lnTo>
                    <a:pt x="93" y="119"/>
                  </a:lnTo>
                  <a:lnTo>
                    <a:pt x="99" y="110"/>
                  </a:lnTo>
                  <a:lnTo>
                    <a:pt x="105" y="98"/>
                  </a:lnTo>
                  <a:lnTo>
                    <a:pt x="102" y="98"/>
                  </a:lnTo>
                  <a:lnTo>
                    <a:pt x="98" y="96"/>
                  </a:lnTo>
                  <a:lnTo>
                    <a:pt x="95" y="94"/>
                  </a:lnTo>
                  <a:lnTo>
                    <a:pt x="92" y="91"/>
                  </a:lnTo>
                  <a:lnTo>
                    <a:pt x="86" y="83"/>
                  </a:lnTo>
                  <a:lnTo>
                    <a:pt x="82" y="73"/>
                  </a:lnTo>
                  <a:lnTo>
                    <a:pt x="77" y="62"/>
                  </a:lnTo>
                  <a:lnTo>
                    <a:pt x="74" y="50"/>
                  </a:lnTo>
                  <a:lnTo>
                    <a:pt x="73" y="36"/>
                  </a:lnTo>
                  <a:lnTo>
                    <a:pt x="72" y="24"/>
                  </a:lnTo>
                  <a:lnTo>
                    <a:pt x="82" y="21"/>
                  </a:lnTo>
                  <a:lnTo>
                    <a:pt x="90" y="19"/>
                  </a:lnTo>
                  <a:lnTo>
                    <a:pt x="97" y="19"/>
                  </a:lnTo>
                  <a:lnTo>
                    <a:pt x="105" y="20"/>
                  </a:lnTo>
                  <a:lnTo>
                    <a:pt x="118" y="23"/>
                  </a:lnTo>
                  <a:lnTo>
                    <a:pt x="132" y="24"/>
                  </a:lnTo>
                  <a:lnTo>
                    <a:pt x="149" y="23"/>
                  </a:lnTo>
                  <a:lnTo>
                    <a:pt x="169" y="21"/>
                  </a:lnTo>
                  <a:lnTo>
                    <a:pt x="189" y="17"/>
                  </a:lnTo>
                  <a:lnTo>
                    <a:pt x="210" y="12"/>
                  </a:lnTo>
                  <a:lnTo>
                    <a:pt x="244" y="4"/>
                  </a:lnTo>
                  <a:lnTo>
                    <a:pt x="259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879" name="Freeform 435"/>
            <p:cNvSpPr>
              <a:spLocks/>
            </p:cNvSpPr>
            <p:nvPr>
              <p:custDataLst>
                <p:tags r:id="rId271"/>
              </p:custDataLst>
            </p:nvPr>
          </p:nvSpPr>
          <p:spPr bwMode="auto">
            <a:xfrm>
              <a:off x="6615517" y="4139804"/>
              <a:ext cx="7570" cy="68630"/>
            </a:xfrm>
            <a:custGeom>
              <a:avLst/>
              <a:gdLst>
                <a:gd name="T0" fmla="*/ 4989 w 14"/>
                <a:gd name="T1" fmla="*/ 0 h 7"/>
                <a:gd name="T2" fmla="*/ 5896 w 14"/>
                <a:gd name="T3" fmla="*/ 24493 h 7"/>
                <a:gd name="T4" fmla="*/ 6350 w 14"/>
                <a:gd name="T5" fmla="*/ 57150 h 7"/>
                <a:gd name="T6" fmla="*/ 0 w 14"/>
                <a:gd name="T7" fmla="*/ 57150 h 7"/>
                <a:gd name="T8" fmla="*/ 4989 w 14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4" h="7">
                  <a:moveTo>
                    <a:pt x="11" y="0"/>
                  </a:moveTo>
                  <a:lnTo>
                    <a:pt x="13" y="3"/>
                  </a:lnTo>
                  <a:lnTo>
                    <a:pt x="14" y="7"/>
                  </a:lnTo>
                  <a:lnTo>
                    <a:pt x="0" y="7"/>
                  </a:lnTo>
                  <a:lnTo>
                    <a:pt x="11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880" name="Freeform 436"/>
            <p:cNvSpPr>
              <a:spLocks/>
            </p:cNvSpPr>
            <p:nvPr>
              <p:custDataLst>
                <p:tags r:id="rId272"/>
              </p:custDataLst>
            </p:nvPr>
          </p:nvSpPr>
          <p:spPr bwMode="auto">
            <a:xfrm>
              <a:off x="6007994" y="3222837"/>
              <a:ext cx="297138" cy="600508"/>
            </a:xfrm>
            <a:custGeom>
              <a:avLst/>
              <a:gdLst>
                <a:gd name="T0" fmla="*/ 34747 w 581"/>
                <a:gd name="T1" fmla="*/ 60217 h 955"/>
                <a:gd name="T2" fmla="*/ 44614 w 581"/>
                <a:gd name="T3" fmla="*/ 79591 h 955"/>
                <a:gd name="T4" fmla="*/ 47617 w 581"/>
                <a:gd name="T5" fmla="*/ 94253 h 955"/>
                <a:gd name="T6" fmla="*/ 40753 w 581"/>
                <a:gd name="T7" fmla="*/ 122528 h 955"/>
                <a:gd name="T8" fmla="*/ 41182 w 581"/>
                <a:gd name="T9" fmla="*/ 170178 h 955"/>
                <a:gd name="T10" fmla="*/ 39895 w 581"/>
                <a:gd name="T11" fmla="*/ 190076 h 955"/>
                <a:gd name="T12" fmla="*/ 35176 w 581"/>
                <a:gd name="T13" fmla="*/ 207356 h 955"/>
                <a:gd name="T14" fmla="*/ 25310 w 581"/>
                <a:gd name="T15" fmla="*/ 224635 h 955"/>
                <a:gd name="T16" fmla="*/ 13298 w 581"/>
                <a:gd name="T17" fmla="*/ 241391 h 955"/>
                <a:gd name="T18" fmla="*/ 7293 w 581"/>
                <a:gd name="T19" fmla="*/ 251864 h 955"/>
                <a:gd name="T20" fmla="*/ 858 w 581"/>
                <a:gd name="T21" fmla="*/ 283805 h 955"/>
                <a:gd name="T22" fmla="*/ 29600 w 581"/>
                <a:gd name="T23" fmla="*/ 322553 h 955"/>
                <a:gd name="T24" fmla="*/ 29600 w 581"/>
                <a:gd name="T25" fmla="*/ 331978 h 955"/>
                <a:gd name="T26" fmla="*/ 31744 w 581"/>
                <a:gd name="T27" fmla="*/ 348211 h 955"/>
                <a:gd name="T28" fmla="*/ 31744 w 581"/>
                <a:gd name="T29" fmla="*/ 364443 h 955"/>
                <a:gd name="T30" fmla="*/ 33460 w 581"/>
                <a:gd name="T31" fmla="*/ 383817 h 955"/>
                <a:gd name="T32" fmla="*/ 40324 w 581"/>
                <a:gd name="T33" fmla="*/ 407380 h 955"/>
                <a:gd name="T34" fmla="*/ 45043 w 581"/>
                <a:gd name="T35" fmla="*/ 414711 h 955"/>
                <a:gd name="T36" fmla="*/ 29171 w 581"/>
                <a:gd name="T37" fmla="*/ 415758 h 955"/>
                <a:gd name="T38" fmla="*/ 18017 w 581"/>
                <a:gd name="T39" fmla="*/ 419947 h 955"/>
                <a:gd name="T40" fmla="*/ 15443 w 581"/>
                <a:gd name="T41" fmla="*/ 425184 h 955"/>
                <a:gd name="T42" fmla="*/ 18017 w 581"/>
                <a:gd name="T43" fmla="*/ 440892 h 955"/>
                <a:gd name="T44" fmla="*/ 29600 w 581"/>
                <a:gd name="T45" fmla="*/ 458696 h 955"/>
                <a:gd name="T46" fmla="*/ 37321 w 581"/>
                <a:gd name="T47" fmla="*/ 470739 h 955"/>
                <a:gd name="T48" fmla="*/ 42898 w 581"/>
                <a:gd name="T49" fmla="*/ 485400 h 955"/>
                <a:gd name="T50" fmla="*/ 66921 w 581"/>
                <a:gd name="T51" fmla="*/ 500062 h 955"/>
                <a:gd name="T52" fmla="*/ 81077 w 581"/>
                <a:gd name="T53" fmla="*/ 493255 h 955"/>
                <a:gd name="T54" fmla="*/ 106387 w 581"/>
                <a:gd name="T55" fmla="*/ 486448 h 955"/>
                <a:gd name="T56" fmla="*/ 119685 w 581"/>
                <a:gd name="T57" fmla="*/ 482259 h 955"/>
                <a:gd name="T58" fmla="*/ 127407 w 581"/>
                <a:gd name="T59" fmla="*/ 473357 h 955"/>
                <a:gd name="T60" fmla="*/ 129552 w 581"/>
                <a:gd name="T61" fmla="*/ 467074 h 955"/>
                <a:gd name="T62" fmla="*/ 129552 w 581"/>
                <a:gd name="T63" fmla="*/ 454507 h 955"/>
                <a:gd name="T64" fmla="*/ 144995 w 581"/>
                <a:gd name="T65" fmla="*/ 456077 h 955"/>
                <a:gd name="T66" fmla="*/ 157435 w 581"/>
                <a:gd name="T67" fmla="*/ 453459 h 955"/>
                <a:gd name="T68" fmla="*/ 166873 w 581"/>
                <a:gd name="T69" fmla="*/ 448223 h 955"/>
                <a:gd name="T70" fmla="*/ 173737 w 581"/>
                <a:gd name="T71" fmla="*/ 440892 h 955"/>
                <a:gd name="T72" fmla="*/ 185319 w 581"/>
                <a:gd name="T73" fmla="*/ 422565 h 955"/>
                <a:gd name="T74" fmla="*/ 197330 w 581"/>
                <a:gd name="T75" fmla="*/ 404762 h 955"/>
                <a:gd name="T76" fmla="*/ 204623 w 581"/>
                <a:gd name="T77" fmla="*/ 397955 h 955"/>
                <a:gd name="T78" fmla="*/ 215348 w 581"/>
                <a:gd name="T79" fmla="*/ 393766 h 955"/>
                <a:gd name="T80" fmla="*/ 223498 w 581"/>
                <a:gd name="T81" fmla="*/ 390101 h 955"/>
                <a:gd name="T82" fmla="*/ 214061 w 581"/>
                <a:gd name="T83" fmla="*/ 364967 h 955"/>
                <a:gd name="T84" fmla="*/ 207626 w 581"/>
                <a:gd name="T85" fmla="*/ 341927 h 955"/>
                <a:gd name="T86" fmla="*/ 202478 w 581"/>
                <a:gd name="T87" fmla="*/ 326218 h 955"/>
                <a:gd name="T88" fmla="*/ 206339 w 581"/>
                <a:gd name="T89" fmla="*/ 319411 h 955"/>
                <a:gd name="T90" fmla="*/ 208913 w 581"/>
                <a:gd name="T91" fmla="*/ 303179 h 955"/>
                <a:gd name="T92" fmla="*/ 211916 w 581"/>
                <a:gd name="T93" fmla="*/ 283281 h 955"/>
                <a:gd name="T94" fmla="*/ 216635 w 581"/>
                <a:gd name="T95" fmla="*/ 271761 h 955"/>
                <a:gd name="T96" fmla="*/ 228217 w 581"/>
                <a:gd name="T97" fmla="*/ 254482 h 955"/>
                <a:gd name="T98" fmla="*/ 244518 w 581"/>
                <a:gd name="T99" fmla="*/ 241391 h 955"/>
                <a:gd name="T100" fmla="*/ 55338 w 581"/>
                <a:gd name="T101" fmla="*/ 0 h 955"/>
                <a:gd name="T102" fmla="*/ 42040 w 581"/>
                <a:gd name="T103" fmla="*/ 2618 h 955"/>
                <a:gd name="T104" fmla="*/ 29600 w 581"/>
                <a:gd name="T105" fmla="*/ 12567 h 95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581" h="955">
                  <a:moveTo>
                    <a:pt x="69" y="24"/>
                  </a:moveTo>
                  <a:lnTo>
                    <a:pt x="69" y="97"/>
                  </a:lnTo>
                  <a:lnTo>
                    <a:pt x="81" y="115"/>
                  </a:lnTo>
                  <a:lnTo>
                    <a:pt x="91" y="129"/>
                  </a:lnTo>
                  <a:lnTo>
                    <a:pt x="99" y="141"/>
                  </a:lnTo>
                  <a:lnTo>
                    <a:pt x="104" y="152"/>
                  </a:lnTo>
                  <a:lnTo>
                    <a:pt x="107" y="163"/>
                  </a:lnTo>
                  <a:lnTo>
                    <a:pt x="110" y="172"/>
                  </a:lnTo>
                  <a:lnTo>
                    <a:pt x="111" y="180"/>
                  </a:lnTo>
                  <a:lnTo>
                    <a:pt x="110" y="186"/>
                  </a:lnTo>
                  <a:lnTo>
                    <a:pt x="102" y="209"/>
                  </a:lnTo>
                  <a:lnTo>
                    <a:pt x="95" y="234"/>
                  </a:lnTo>
                  <a:lnTo>
                    <a:pt x="96" y="276"/>
                  </a:lnTo>
                  <a:lnTo>
                    <a:pt x="96" y="309"/>
                  </a:lnTo>
                  <a:lnTo>
                    <a:pt x="96" y="325"/>
                  </a:lnTo>
                  <a:lnTo>
                    <a:pt x="96" y="339"/>
                  </a:lnTo>
                  <a:lnTo>
                    <a:pt x="95" y="351"/>
                  </a:lnTo>
                  <a:lnTo>
                    <a:pt x="93" y="363"/>
                  </a:lnTo>
                  <a:lnTo>
                    <a:pt x="91" y="374"/>
                  </a:lnTo>
                  <a:lnTo>
                    <a:pt x="87" y="386"/>
                  </a:lnTo>
                  <a:lnTo>
                    <a:pt x="82" y="396"/>
                  </a:lnTo>
                  <a:lnTo>
                    <a:pt x="76" y="407"/>
                  </a:lnTo>
                  <a:lnTo>
                    <a:pt x="69" y="418"/>
                  </a:lnTo>
                  <a:lnTo>
                    <a:pt x="59" y="429"/>
                  </a:lnTo>
                  <a:lnTo>
                    <a:pt x="48" y="442"/>
                  </a:lnTo>
                  <a:lnTo>
                    <a:pt x="36" y="455"/>
                  </a:lnTo>
                  <a:lnTo>
                    <a:pt x="31" y="461"/>
                  </a:lnTo>
                  <a:lnTo>
                    <a:pt x="26" y="467"/>
                  </a:lnTo>
                  <a:lnTo>
                    <a:pt x="22" y="474"/>
                  </a:lnTo>
                  <a:lnTo>
                    <a:pt x="17" y="481"/>
                  </a:lnTo>
                  <a:lnTo>
                    <a:pt x="12" y="496"/>
                  </a:lnTo>
                  <a:lnTo>
                    <a:pt x="8" y="512"/>
                  </a:lnTo>
                  <a:lnTo>
                    <a:pt x="2" y="542"/>
                  </a:lnTo>
                  <a:lnTo>
                    <a:pt x="0" y="568"/>
                  </a:lnTo>
                  <a:lnTo>
                    <a:pt x="29" y="578"/>
                  </a:lnTo>
                  <a:lnTo>
                    <a:pt x="69" y="616"/>
                  </a:lnTo>
                  <a:lnTo>
                    <a:pt x="51" y="632"/>
                  </a:lnTo>
                  <a:lnTo>
                    <a:pt x="60" y="633"/>
                  </a:lnTo>
                  <a:lnTo>
                    <a:pt x="69" y="634"/>
                  </a:lnTo>
                  <a:lnTo>
                    <a:pt x="70" y="643"/>
                  </a:lnTo>
                  <a:lnTo>
                    <a:pt x="72" y="653"/>
                  </a:lnTo>
                  <a:lnTo>
                    <a:pt x="74" y="665"/>
                  </a:lnTo>
                  <a:lnTo>
                    <a:pt x="76" y="677"/>
                  </a:lnTo>
                  <a:lnTo>
                    <a:pt x="74" y="686"/>
                  </a:lnTo>
                  <a:lnTo>
                    <a:pt x="74" y="696"/>
                  </a:lnTo>
                  <a:lnTo>
                    <a:pt x="74" y="705"/>
                  </a:lnTo>
                  <a:lnTo>
                    <a:pt x="76" y="715"/>
                  </a:lnTo>
                  <a:lnTo>
                    <a:pt x="78" y="733"/>
                  </a:lnTo>
                  <a:lnTo>
                    <a:pt x="82" y="749"/>
                  </a:lnTo>
                  <a:lnTo>
                    <a:pt x="88" y="764"/>
                  </a:lnTo>
                  <a:lnTo>
                    <a:pt x="94" y="778"/>
                  </a:lnTo>
                  <a:lnTo>
                    <a:pt x="98" y="783"/>
                  </a:lnTo>
                  <a:lnTo>
                    <a:pt x="102" y="788"/>
                  </a:lnTo>
                  <a:lnTo>
                    <a:pt x="105" y="792"/>
                  </a:lnTo>
                  <a:lnTo>
                    <a:pt x="109" y="794"/>
                  </a:lnTo>
                  <a:lnTo>
                    <a:pt x="92" y="794"/>
                  </a:lnTo>
                  <a:lnTo>
                    <a:pt x="68" y="794"/>
                  </a:lnTo>
                  <a:lnTo>
                    <a:pt x="56" y="796"/>
                  </a:lnTo>
                  <a:lnTo>
                    <a:pt x="46" y="799"/>
                  </a:lnTo>
                  <a:lnTo>
                    <a:pt x="42" y="802"/>
                  </a:lnTo>
                  <a:lnTo>
                    <a:pt x="38" y="805"/>
                  </a:lnTo>
                  <a:lnTo>
                    <a:pt x="36" y="808"/>
                  </a:lnTo>
                  <a:lnTo>
                    <a:pt x="36" y="812"/>
                  </a:lnTo>
                  <a:lnTo>
                    <a:pt x="36" y="824"/>
                  </a:lnTo>
                  <a:lnTo>
                    <a:pt x="38" y="834"/>
                  </a:lnTo>
                  <a:lnTo>
                    <a:pt x="42" y="842"/>
                  </a:lnTo>
                  <a:lnTo>
                    <a:pt x="46" y="850"/>
                  </a:lnTo>
                  <a:lnTo>
                    <a:pt x="57" y="863"/>
                  </a:lnTo>
                  <a:lnTo>
                    <a:pt x="69" y="876"/>
                  </a:lnTo>
                  <a:lnTo>
                    <a:pt x="76" y="884"/>
                  </a:lnTo>
                  <a:lnTo>
                    <a:pt x="81" y="891"/>
                  </a:lnTo>
                  <a:lnTo>
                    <a:pt x="87" y="899"/>
                  </a:lnTo>
                  <a:lnTo>
                    <a:pt x="92" y="907"/>
                  </a:lnTo>
                  <a:lnTo>
                    <a:pt x="96" y="917"/>
                  </a:lnTo>
                  <a:lnTo>
                    <a:pt x="100" y="927"/>
                  </a:lnTo>
                  <a:lnTo>
                    <a:pt x="102" y="941"/>
                  </a:lnTo>
                  <a:lnTo>
                    <a:pt x="102" y="955"/>
                  </a:lnTo>
                  <a:lnTo>
                    <a:pt x="156" y="955"/>
                  </a:lnTo>
                  <a:lnTo>
                    <a:pt x="166" y="949"/>
                  </a:lnTo>
                  <a:lnTo>
                    <a:pt x="177" y="945"/>
                  </a:lnTo>
                  <a:lnTo>
                    <a:pt x="189" y="942"/>
                  </a:lnTo>
                  <a:lnTo>
                    <a:pt x="201" y="939"/>
                  </a:lnTo>
                  <a:lnTo>
                    <a:pt x="225" y="935"/>
                  </a:lnTo>
                  <a:lnTo>
                    <a:pt x="248" y="929"/>
                  </a:lnTo>
                  <a:lnTo>
                    <a:pt x="259" y="927"/>
                  </a:lnTo>
                  <a:lnTo>
                    <a:pt x="270" y="924"/>
                  </a:lnTo>
                  <a:lnTo>
                    <a:pt x="279" y="921"/>
                  </a:lnTo>
                  <a:lnTo>
                    <a:pt x="286" y="916"/>
                  </a:lnTo>
                  <a:lnTo>
                    <a:pt x="293" y="911"/>
                  </a:lnTo>
                  <a:lnTo>
                    <a:pt x="297" y="904"/>
                  </a:lnTo>
                  <a:lnTo>
                    <a:pt x="300" y="901"/>
                  </a:lnTo>
                  <a:lnTo>
                    <a:pt x="301" y="896"/>
                  </a:lnTo>
                  <a:lnTo>
                    <a:pt x="302" y="892"/>
                  </a:lnTo>
                  <a:lnTo>
                    <a:pt x="302" y="887"/>
                  </a:lnTo>
                  <a:lnTo>
                    <a:pt x="302" y="877"/>
                  </a:lnTo>
                  <a:lnTo>
                    <a:pt x="302" y="868"/>
                  </a:lnTo>
                  <a:lnTo>
                    <a:pt x="315" y="870"/>
                  </a:lnTo>
                  <a:lnTo>
                    <a:pt x="327" y="871"/>
                  </a:lnTo>
                  <a:lnTo>
                    <a:pt x="338" y="871"/>
                  </a:lnTo>
                  <a:lnTo>
                    <a:pt x="348" y="870"/>
                  </a:lnTo>
                  <a:lnTo>
                    <a:pt x="358" y="868"/>
                  </a:lnTo>
                  <a:lnTo>
                    <a:pt x="367" y="866"/>
                  </a:lnTo>
                  <a:lnTo>
                    <a:pt x="374" y="863"/>
                  </a:lnTo>
                  <a:lnTo>
                    <a:pt x="382" y="860"/>
                  </a:lnTo>
                  <a:lnTo>
                    <a:pt x="389" y="856"/>
                  </a:lnTo>
                  <a:lnTo>
                    <a:pt x="394" y="852"/>
                  </a:lnTo>
                  <a:lnTo>
                    <a:pt x="401" y="847"/>
                  </a:lnTo>
                  <a:lnTo>
                    <a:pt x="405" y="842"/>
                  </a:lnTo>
                  <a:lnTo>
                    <a:pt x="415" y="831"/>
                  </a:lnTo>
                  <a:lnTo>
                    <a:pt x="424" y="818"/>
                  </a:lnTo>
                  <a:lnTo>
                    <a:pt x="432" y="807"/>
                  </a:lnTo>
                  <a:lnTo>
                    <a:pt x="440" y="795"/>
                  </a:lnTo>
                  <a:lnTo>
                    <a:pt x="449" y="783"/>
                  </a:lnTo>
                  <a:lnTo>
                    <a:pt x="460" y="773"/>
                  </a:lnTo>
                  <a:lnTo>
                    <a:pt x="465" y="769"/>
                  </a:lnTo>
                  <a:lnTo>
                    <a:pt x="471" y="764"/>
                  </a:lnTo>
                  <a:lnTo>
                    <a:pt x="477" y="760"/>
                  </a:lnTo>
                  <a:lnTo>
                    <a:pt x="485" y="757"/>
                  </a:lnTo>
                  <a:lnTo>
                    <a:pt x="493" y="754"/>
                  </a:lnTo>
                  <a:lnTo>
                    <a:pt x="502" y="752"/>
                  </a:lnTo>
                  <a:lnTo>
                    <a:pt x="510" y="751"/>
                  </a:lnTo>
                  <a:lnTo>
                    <a:pt x="521" y="751"/>
                  </a:lnTo>
                  <a:lnTo>
                    <a:pt x="521" y="745"/>
                  </a:lnTo>
                  <a:lnTo>
                    <a:pt x="511" y="729"/>
                  </a:lnTo>
                  <a:lnTo>
                    <a:pt x="505" y="713"/>
                  </a:lnTo>
                  <a:lnTo>
                    <a:pt x="499" y="697"/>
                  </a:lnTo>
                  <a:lnTo>
                    <a:pt x="494" y="682"/>
                  </a:lnTo>
                  <a:lnTo>
                    <a:pt x="490" y="667"/>
                  </a:lnTo>
                  <a:lnTo>
                    <a:pt x="484" y="653"/>
                  </a:lnTo>
                  <a:lnTo>
                    <a:pt x="476" y="640"/>
                  </a:lnTo>
                  <a:lnTo>
                    <a:pt x="468" y="628"/>
                  </a:lnTo>
                  <a:lnTo>
                    <a:pt x="472" y="623"/>
                  </a:lnTo>
                  <a:lnTo>
                    <a:pt x="476" y="619"/>
                  </a:lnTo>
                  <a:lnTo>
                    <a:pt x="479" y="614"/>
                  </a:lnTo>
                  <a:lnTo>
                    <a:pt x="481" y="610"/>
                  </a:lnTo>
                  <a:lnTo>
                    <a:pt x="484" y="599"/>
                  </a:lnTo>
                  <a:lnTo>
                    <a:pt x="486" y="589"/>
                  </a:lnTo>
                  <a:lnTo>
                    <a:pt x="487" y="579"/>
                  </a:lnTo>
                  <a:lnTo>
                    <a:pt x="488" y="567"/>
                  </a:lnTo>
                  <a:lnTo>
                    <a:pt x="491" y="555"/>
                  </a:lnTo>
                  <a:lnTo>
                    <a:pt x="494" y="541"/>
                  </a:lnTo>
                  <a:lnTo>
                    <a:pt x="497" y="533"/>
                  </a:lnTo>
                  <a:lnTo>
                    <a:pt x="501" y="526"/>
                  </a:lnTo>
                  <a:lnTo>
                    <a:pt x="505" y="519"/>
                  </a:lnTo>
                  <a:lnTo>
                    <a:pt x="509" y="512"/>
                  </a:lnTo>
                  <a:lnTo>
                    <a:pt x="520" y="499"/>
                  </a:lnTo>
                  <a:lnTo>
                    <a:pt x="532" y="486"/>
                  </a:lnTo>
                  <a:lnTo>
                    <a:pt x="546" y="476"/>
                  </a:lnTo>
                  <a:lnTo>
                    <a:pt x="558" y="468"/>
                  </a:lnTo>
                  <a:lnTo>
                    <a:pt x="570" y="461"/>
                  </a:lnTo>
                  <a:lnTo>
                    <a:pt x="581" y="455"/>
                  </a:lnTo>
                  <a:lnTo>
                    <a:pt x="581" y="234"/>
                  </a:lnTo>
                  <a:lnTo>
                    <a:pt x="129" y="0"/>
                  </a:lnTo>
                  <a:lnTo>
                    <a:pt x="116" y="1"/>
                  </a:lnTo>
                  <a:lnTo>
                    <a:pt x="106" y="3"/>
                  </a:lnTo>
                  <a:lnTo>
                    <a:pt x="98" y="5"/>
                  </a:lnTo>
                  <a:lnTo>
                    <a:pt x="89" y="6"/>
                  </a:lnTo>
                  <a:lnTo>
                    <a:pt x="79" y="15"/>
                  </a:lnTo>
                  <a:lnTo>
                    <a:pt x="69" y="24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881" name="Freeform 437"/>
            <p:cNvSpPr>
              <a:spLocks/>
            </p:cNvSpPr>
            <p:nvPr>
              <p:custDataLst>
                <p:tags r:id="rId273"/>
              </p:custDataLst>
            </p:nvPr>
          </p:nvSpPr>
          <p:spPr bwMode="auto">
            <a:xfrm>
              <a:off x="5621903" y="2481255"/>
              <a:ext cx="18926" cy="68630"/>
            </a:xfrm>
            <a:custGeom>
              <a:avLst/>
              <a:gdLst>
                <a:gd name="T0" fmla="*/ 9172 w 45"/>
                <a:gd name="T1" fmla="*/ 0 h 36"/>
                <a:gd name="T2" fmla="*/ 0 w 45"/>
                <a:gd name="T3" fmla="*/ 28575 h 36"/>
                <a:gd name="T4" fmla="*/ 8114 w 45"/>
                <a:gd name="T5" fmla="*/ 57150 h 36"/>
                <a:gd name="T6" fmla="*/ 15875 w 45"/>
                <a:gd name="T7" fmla="*/ 23813 h 36"/>
                <a:gd name="T8" fmla="*/ 9172 w 45"/>
                <a:gd name="T9" fmla="*/ 0 h 3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5" h="36">
                  <a:moveTo>
                    <a:pt x="26" y="0"/>
                  </a:moveTo>
                  <a:lnTo>
                    <a:pt x="0" y="18"/>
                  </a:lnTo>
                  <a:lnTo>
                    <a:pt x="23" y="36"/>
                  </a:lnTo>
                  <a:lnTo>
                    <a:pt x="45" y="15"/>
                  </a:lnTo>
                  <a:lnTo>
                    <a:pt x="26" y="0"/>
                  </a:ln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grpSp>
          <p:nvGrpSpPr>
            <p:cNvPr id="882" name="Group 438"/>
            <p:cNvGrpSpPr>
              <a:grpSpLocks/>
            </p:cNvGrpSpPr>
            <p:nvPr>
              <p:custDataLst>
                <p:tags r:id="rId274"/>
              </p:custDataLst>
            </p:nvPr>
          </p:nvGrpSpPr>
          <p:grpSpPr bwMode="auto">
            <a:xfrm>
              <a:off x="3594927" y="4955735"/>
              <a:ext cx="458009" cy="1239146"/>
              <a:chOff x="1589" y="3126"/>
              <a:chExt cx="290" cy="657"/>
            </a:xfrm>
            <a:grpFill/>
          </p:grpSpPr>
          <p:sp>
            <p:nvSpPr>
              <p:cNvPr id="993" name="Freeform 439"/>
              <p:cNvSpPr>
                <a:spLocks/>
              </p:cNvSpPr>
              <p:nvPr/>
            </p:nvSpPr>
            <p:spPr bwMode="auto">
              <a:xfrm>
                <a:off x="1748" y="3531"/>
                <a:ext cx="15" cy="17"/>
              </a:xfrm>
              <a:custGeom>
                <a:avLst/>
                <a:gdLst>
                  <a:gd name="T0" fmla="*/ 15 w 46"/>
                  <a:gd name="T1" fmla="*/ 4 h 51"/>
                  <a:gd name="T2" fmla="*/ 6 w 46"/>
                  <a:gd name="T3" fmla="*/ 0 h 51"/>
                  <a:gd name="T4" fmla="*/ 4 w 46"/>
                  <a:gd name="T5" fmla="*/ 2 h 51"/>
                  <a:gd name="T6" fmla="*/ 2 w 46"/>
                  <a:gd name="T7" fmla="*/ 3 h 51"/>
                  <a:gd name="T8" fmla="*/ 1 w 46"/>
                  <a:gd name="T9" fmla="*/ 4 h 51"/>
                  <a:gd name="T10" fmla="*/ 1 w 46"/>
                  <a:gd name="T11" fmla="*/ 5 h 51"/>
                  <a:gd name="T12" fmla="*/ 0 w 46"/>
                  <a:gd name="T13" fmla="*/ 5 h 51"/>
                  <a:gd name="T14" fmla="*/ 0 w 46"/>
                  <a:gd name="T15" fmla="*/ 6 h 51"/>
                  <a:gd name="T16" fmla="*/ 0 w 46"/>
                  <a:gd name="T17" fmla="*/ 8 h 51"/>
                  <a:gd name="T18" fmla="*/ 1 w 46"/>
                  <a:gd name="T19" fmla="*/ 10 h 51"/>
                  <a:gd name="T20" fmla="*/ 1 w 46"/>
                  <a:gd name="T21" fmla="*/ 12 h 51"/>
                  <a:gd name="T22" fmla="*/ 2 w 46"/>
                  <a:gd name="T23" fmla="*/ 14 h 51"/>
                  <a:gd name="T24" fmla="*/ 3 w 46"/>
                  <a:gd name="T25" fmla="*/ 15 h 51"/>
                  <a:gd name="T26" fmla="*/ 4 w 46"/>
                  <a:gd name="T27" fmla="*/ 16 h 51"/>
                  <a:gd name="T28" fmla="*/ 5 w 46"/>
                  <a:gd name="T29" fmla="*/ 17 h 51"/>
                  <a:gd name="T30" fmla="*/ 5 w 46"/>
                  <a:gd name="T31" fmla="*/ 17 h 51"/>
                  <a:gd name="T32" fmla="*/ 6 w 46"/>
                  <a:gd name="T33" fmla="*/ 17 h 51"/>
                  <a:gd name="T34" fmla="*/ 6 w 46"/>
                  <a:gd name="T35" fmla="*/ 17 h 51"/>
                  <a:gd name="T36" fmla="*/ 11 w 46"/>
                  <a:gd name="T37" fmla="*/ 17 h 51"/>
                  <a:gd name="T38" fmla="*/ 15 w 46"/>
                  <a:gd name="T39" fmla="*/ 17 h 51"/>
                  <a:gd name="T40" fmla="*/ 15 w 46"/>
                  <a:gd name="T41" fmla="*/ 12 h 51"/>
                  <a:gd name="T42" fmla="*/ 15 w 46"/>
                  <a:gd name="T43" fmla="*/ 9 h 51"/>
                  <a:gd name="T44" fmla="*/ 15 w 46"/>
                  <a:gd name="T45" fmla="*/ 6 h 51"/>
                  <a:gd name="T46" fmla="*/ 15 w 46"/>
                  <a:gd name="T47" fmla="*/ 4 h 51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46" h="51">
                    <a:moveTo>
                      <a:pt x="46" y="12"/>
                    </a:moveTo>
                    <a:lnTo>
                      <a:pt x="19" y="0"/>
                    </a:lnTo>
                    <a:lnTo>
                      <a:pt x="13" y="5"/>
                    </a:lnTo>
                    <a:lnTo>
                      <a:pt x="7" y="9"/>
                    </a:lnTo>
                    <a:lnTo>
                      <a:pt x="4" y="12"/>
                    </a:lnTo>
                    <a:lnTo>
                      <a:pt x="2" y="14"/>
                    </a:lnTo>
                    <a:lnTo>
                      <a:pt x="0" y="16"/>
                    </a:lnTo>
                    <a:lnTo>
                      <a:pt x="0" y="19"/>
                    </a:lnTo>
                    <a:lnTo>
                      <a:pt x="0" y="24"/>
                    </a:lnTo>
                    <a:lnTo>
                      <a:pt x="2" y="29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3" y="49"/>
                    </a:lnTo>
                    <a:lnTo>
                      <a:pt x="15" y="50"/>
                    </a:lnTo>
                    <a:lnTo>
                      <a:pt x="16" y="51"/>
                    </a:lnTo>
                    <a:lnTo>
                      <a:pt x="18" y="51"/>
                    </a:lnTo>
                    <a:lnTo>
                      <a:pt x="19" y="50"/>
                    </a:lnTo>
                    <a:lnTo>
                      <a:pt x="35" y="50"/>
                    </a:lnTo>
                    <a:lnTo>
                      <a:pt x="46" y="50"/>
                    </a:lnTo>
                    <a:lnTo>
                      <a:pt x="46" y="37"/>
                    </a:lnTo>
                    <a:lnTo>
                      <a:pt x="46" y="26"/>
                    </a:lnTo>
                    <a:lnTo>
                      <a:pt x="46" y="18"/>
                    </a:lnTo>
                    <a:lnTo>
                      <a:pt x="46" y="1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994" name="Freeform 440"/>
              <p:cNvSpPr>
                <a:spLocks/>
              </p:cNvSpPr>
              <p:nvPr/>
            </p:nvSpPr>
            <p:spPr bwMode="auto">
              <a:xfrm>
                <a:off x="1759" y="3730"/>
                <a:ext cx="63" cy="53"/>
              </a:xfrm>
              <a:custGeom>
                <a:avLst/>
                <a:gdLst>
                  <a:gd name="T0" fmla="*/ 0 w 192"/>
                  <a:gd name="T1" fmla="*/ 0 h 158"/>
                  <a:gd name="T2" fmla="*/ 0 w 192"/>
                  <a:gd name="T3" fmla="*/ 5 h 158"/>
                  <a:gd name="T4" fmla="*/ 1 w 192"/>
                  <a:gd name="T5" fmla="*/ 9 h 158"/>
                  <a:gd name="T6" fmla="*/ 1 w 192"/>
                  <a:gd name="T7" fmla="*/ 13 h 158"/>
                  <a:gd name="T8" fmla="*/ 2 w 192"/>
                  <a:gd name="T9" fmla="*/ 17 h 158"/>
                  <a:gd name="T10" fmla="*/ 4 w 192"/>
                  <a:gd name="T11" fmla="*/ 20 h 158"/>
                  <a:gd name="T12" fmla="*/ 5 w 192"/>
                  <a:gd name="T13" fmla="*/ 24 h 158"/>
                  <a:gd name="T14" fmla="*/ 7 w 192"/>
                  <a:gd name="T15" fmla="*/ 27 h 158"/>
                  <a:gd name="T16" fmla="*/ 8 w 192"/>
                  <a:gd name="T17" fmla="*/ 30 h 158"/>
                  <a:gd name="T18" fmla="*/ 15 w 192"/>
                  <a:gd name="T19" fmla="*/ 41 h 158"/>
                  <a:gd name="T20" fmla="*/ 22 w 192"/>
                  <a:gd name="T21" fmla="*/ 50 h 158"/>
                  <a:gd name="T22" fmla="*/ 24 w 192"/>
                  <a:gd name="T23" fmla="*/ 51 h 158"/>
                  <a:gd name="T24" fmla="*/ 26 w 192"/>
                  <a:gd name="T25" fmla="*/ 51 h 158"/>
                  <a:gd name="T26" fmla="*/ 28 w 192"/>
                  <a:gd name="T27" fmla="*/ 52 h 158"/>
                  <a:gd name="T28" fmla="*/ 30 w 192"/>
                  <a:gd name="T29" fmla="*/ 52 h 158"/>
                  <a:gd name="T30" fmla="*/ 34 w 192"/>
                  <a:gd name="T31" fmla="*/ 53 h 158"/>
                  <a:gd name="T32" fmla="*/ 39 w 192"/>
                  <a:gd name="T33" fmla="*/ 53 h 158"/>
                  <a:gd name="T34" fmla="*/ 50 w 192"/>
                  <a:gd name="T35" fmla="*/ 52 h 158"/>
                  <a:gd name="T36" fmla="*/ 63 w 192"/>
                  <a:gd name="T37" fmla="*/ 52 h 158"/>
                  <a:gd name="T38" fmla="*/ 60 w 192"/>
                  <a:gd name="T39" fmla="*/ 51 h 158"/>
                  <a:gd name="T40" fmla="*/ 58 w 192"/>
                  <a:gd name="T41" fmla="*/ 51 h 158"/>
                  <a:gd name="T42" fmla="*/ 55 w 192"/>
                  <a:gd name="T43" fmla="*/ 51 h 158"/>
                  <a:gd name="T44" fmla="*/ 53 w 192"/>
                  <a:gd name="T45" fmla="*/ 50 h 158"/>
                  <a:gd name="T46" fmla="*/ 48 w 192"/>
                  <a:gd name="T47" fmla="*/ 48 h 158"/>
                  <a:gd name="T48" fmla="*/ 42 w 192"/>
                  <a:gd name="T49" fmla="*/ 46 h 158"/>
                  <a:gd name="T50" fmla="*/ 38 w 192"/>
                  <a:gd name="T51" fmla="*/ 44 h 158"/>
                  <a:gd name="T52" fmla="*/ 33 w 192"/>
                  <a:gd name="T53" fmla="*/ 40 h 158"/>
                  <a:gd name="T54" fmla="*/ 29 w 192"/>
                  <a:gd name="T55" fmla="*/ 37 h 158"/>
                  <a:gd name="T56" fmla="*/ 25 w 192"/>
                  <a:gd name="T57" fmla="*/ 33 h 158"/>
                  <a:gd name="T58" fmla="*/ 21 w 192"/>
                  <a:gd name="T59" fmla="*/ 29 h 158"/>
                  <a:gd name="T60" fmla="*/ 17 w 192"/>
                  <a:gd name="T61" fmla="*/ 25 h 158"/>
                  <a:gd name="T62" fmla="*/ 14 w 192"/>
                  <a:gd name="T63" fmla="*/ 21 h 158"/>
                  <a:gd name="T64" fmla="*/ 11 w 192"/>
                  <a:gd name="T65" fmla="*/ 17 h 158"/>
                  <a:gd name="T66" fmla="*/ 9 w 192"/>
                  <a:gd name="T67" fmla="*/ 13 h 158"/>
                  <a:gd name="T68" fmla="*/ 7 w 192"/>
                  <a:gd name="T69" fmla="*/ 9 h 158"/>
                  <a:gd name="T70" fmla="*/ 5 w 192"/>
                  <a:gd name="T71" fmla="*/ 5 h 158"/>
                  <a:gd name="T72" fmla="*/ 4 w 192"/>
                  <a:gd name="T73" fmla="*/ 2 h 158"/>
                  <a:gd name="T74" fmla="*/ 0 w 192"/>
                  <a:gd name="T75" fmla="*/ 0 h 158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192" h="158">
                    <a:moveTo>
                      <a:pt x="0" y="0"/>
                    </a:moveTo>
                    <a:lnTo>
                      <a:pt x="0" y="14"/>
                    </a:lnTo>
                    <a:lnTo>
                      <a:pt x="2" y="26"/>
                    </a:lnTo>
                    <a:lnTo>
                      <a:pt x="4" y="38"/>
                    </a:lnTo>
                    <a:lnTo>
                      <a:pt x="7" y="50"/>
                    </a:lnTo>
                    <a:lnTo>
                      <a:pt x="11" y="61"/>
                    </a:lnTo>
                    <a:lnTo>
                      <a:pt x="15" y="71"/>
                    </a:lnTo>
                    <a:lnTo>
                      <a:pt x="21" y="81"/>
                    </a:lnTo>
                    <a:lnTo>
                      <a:pt x="25" y="90"/>
                    </a:lnTo>
                    <a:lnTo>
                      <a:pt x="47" y="122"/>
                    </a:lnTo>
                    <a:lnTo>
                      <a:pt x="66" y="148"/>
                    </a:lnTo>
                    <a:lnTo>
                      <a:pt x="72" y="151"/>
                    </a:lnTo>
                    <a:lnTo>
                      <a:pt x="79" y="153"/>
                    </a:lnTo>
                    <a:lnTo>
                      <a:pt x="85" y="155"/>
                    </a:lnTo>
                    <a:lnTo>
                      <a:pt x="92" y="156"/>
                    </a:lnTo>
                    <a:lnTo>
                      <a:pt x="105" y="158"/>
                    </a:lnTo>
                    <a:lnTo>
                      <a:pt x="119" y="158"/>
                    </a:lnTo>
                    <a:lnTo>
                      <a:pt x="152" y="155"/>
                    </a:lnTo>
                    <a:lnTo>
                      <a:pt x="192" y="154"/>
                    </a:lnTo>
                    <a:lnTo>
                      <a:pt x="184" y="153"/>
                    </a:lnTo>
                    <a:lnTo>
                      <a:pt x="176" y="152"/>
                    </a:lnTo>
                    <a:lnTo>
                      <a:pt x="168" y="151"/>
                    </a:lnTo>
                    <a:lnTo>
                      <a:pt x="160" y="149"/>
                    </a:lnTo>
                    <a:lnTo>
                      <a:pt x="145" y="144"/>
                    </a:lnTo>
                    <a:lnTo>
                      <a:pt x="129" y="138"/>
                    </a:lnTo>
                    <a:lnTo>
                      <a:pt x="115" y="130"/>
                    </a:lnTo>
                    <a:lnTo>
                      <a:pt x="101" y="120"/>
                    </a:lnTo>
                    <a:lnTo>
                      <a:pt x="87" y="110"/>
                    </a:lnTo>
                    <a:lnTo>
                      <a:pt x="75" y="98"/>
                    </a:lnTo>
                    <a:lnTo>
                      <a:pt x="63" y="87"/>
                    </a:lnTo>
                    <a:lnTo>
                      <a:pt x="52" y="75"/>
                    </a:lnTo>
                    <a:lnTo>
                      <a:pt x="42" y="63"/>
                    </a:lnTo>
                    <a:lnTo>
                      <a:pt x="35" y="50"/>
                    </a:lnTo>
                    <a:lnTo>
                      <a:pt x="27" y="38"/>
                    </a:lnTo>
                    <a:lnTo>
                      <a:pt x="21" y="26"/>
                    </a:lnTo>
                    <a:lnTo>
                      <a:pt x="16" y="16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995" name="Freeform 441"/>
              <p:cNvSpPr>
                <a:spLocks/>
              </p:cNvSpPr>
              <p:nvPr/>
            </p:nvSpPr>
            <p:spPr bwMode="auto">
              <a:xfrm>
                <a:off x="1589" y="3126"/>
                <a:ext cx="290" cy="606"/>
              </a:xfrm>
              <a:custGeom>
                <a:avLst/>
                <a:gdLst>
                  <a:gd name="T0" fmla="*/ 253 w 884"/>
                  <a:gd name="T1" fmla="*/ 138 h 1818"/>
                  <a:gd name="T2" fmla="*/ 286 w 884"/>
                  <a:gd name="T3" fmla="*/ 114 h 1818"/>
                  <a:gd name="T4" fmla="*/ 290 w 884"/>
                  <a:gd name="T5" fmla="*/ 77 h 1818"/>
                  <a:gd name="T6" fmla="*/ 276 w 884"/>
                  <a:gd name="T7" fmla="*/ 64 h 1818"/>
                  <a:gd name="T8" fmla="*/ 276 w 884"/>
                  <a:gd name="T9" fmla="*/ 87 h 1818"/>
                  <a:gd name="T10" fmla="*/ 254 w 884"/>
                  <a:gd name="T11" fmla="*/ 109 h 1818"/>
                  <a:gd name="T12" fmla="*/ 219 w 884"/>
                  <a:gd name="T13" fmla="*/ 110 h 1818"/>
                  <a:gd name="T14" fmla="*/ 205 w 884"/>
                  <a:gd name="T15" fmla="*/ 97 h 1818"/>
                  <a:gd name="T16" fmla="*/ 216 w 884"/>
                  <a:gd name="T17" fmla="*/ 72 h 1818"/>
                  <a:gd name="T18" fmla="*/ 178 w 884"/>
                  <a:gd name="T19" fmla="*/ 49 h 1818"/>
                  <a:gd name="T20" fmla="*/ 139 w 884"/>
                  <a:gd name="T21" fmla="*/ 29 h 1818"/>
                  <a:gd name="T22" fmla="*/ 122 w 884"/>
                  <a:gd name="T23" fmla="*/ 3 h 1818"/>
                  <a:gd name="T24" fmla="*/ 94 w 884"/>
                  <a:gd name="T25" fmla="*/ 7 h 1818"/>
                  <a:gd name="T26" fmla="*/ 77 w 884"/>
                  <a:gd name="T27" fmla="*/ 8 h 1818"/>
                  <a:gd name="T28" fmla="*/ 56 w 884"/>
                  <a:gd name="T29" fmla="*/ 3 h 1818"/>
                  <a:gd name="T30" fmla="*/ 32 w 884"/>
                  <a:gd name="T31" fmla="*/ 18 h 1818"/>
                  <a:gd name="T32" fmla="*/ 22 w 884"/>
                  <a:gd name="T33" fmla="*/ 39 h 1818"/>
                  <a:gd name="T34" fmla="*/ 9 w 884"/>
                  <a:gd name="T35" fmla="*/ 60 h 1818"/>
                  <a:gd name="T36" fmla="*/ 18 w 884"/>
                  <a:gd name="T37" fmla="*/ 84 h 1818"/>
                  <a:gd name="T38" fmla="*/ 17 w 884"/>
                  <a:gd name="T39" fmla="*/ 106 h 1818"/>
                  <a:gd name="T40" fmla="*/ 0 w 884"/>
                  <a:gd name="T41" fmla="*/ 144 h 1818"/>
                  <a:gd name="T42" fmla="*/ 4 w 884"/>
                  <a:gd name="T43" fmla="*/ 203 h 1818"/>
                  <a:gd name="T44" fmla="*/ 25 w 884"/>
                  <a:gd name="T45" fmla="*/ 232 h 1818"/>
                  <a:gd name="T46" fmla="*/ 20 w 884"/>
                  <a:gd name="T47" fmla="*/ 251 h 1818"/>
                  <a:gd name="T48" fmla="*/ 20 w 884"/>
                  <a:gd name="T49" fmla="*/ 269 h 1818"/>
                  <a:gd name="T50" fmla="*/ 27 w 884"/>
                  <a:gd name="T51" fmla="*/ 283 h 1818"/>
                  <a:gd name="T52" fmla="*/ 17 w 884"/>
                  <a:gd name="T53" fmla="*/ 300 h 1818"/>
                  <a:gd name="T54" fmla="*/ 27 w 884"/>
                  <a:gd name="T55" fmla="*/ 328 h 1818"/>
                  <a:gd name="T56" fmla="*/ 27 w 884"/>
                  <a:gd name="T57" fmla="*/ 352 h 1818"/>
                  <a:gd name="T58" fmla="*/ 26 w 884"/>
                  <a:gd name="T59" fmla="*/ 384 h 1818"/>
                  <a:gd name="T60" fmla="*/ 45 w 884"/>
                  <a:gd name="T61" fmla="*/ 422 h 1818"/>
                  <a:gd name="T62" fmla="*/ 65 w 884"/>
                  <a:gd name="T63" fmla="*/ 465 h 1818"/>
                  <a:gd name="T64" fmla="*/ 71 w 884"/>
                  <a:gd name="T65" fmla="*/ 488 h 1818"/>
                  <a:gd name="T66" fmla="*/ 75 w 884"/>
                  <a:gd name="T67" fmla="*/ 509 h 1818"/>
                  <a:gd name="T68" fmla="*/ 70 w 884"/>
                  <a:gd name="T69" fmla="*/ 530 h 1818"/>
                  <a:gd name="T70" fmla="*/ 66 w 884"/>
                  <a:gd name="T71" fmla="*/ 548 h 1818"/>
                  <a:gd name="T72" fmla="*/ 75 w 884"/>
                  <a:gd name="T73" fmla="*/ 573 h 1818"/>
                  <a:gd name="T74" fmla="*/ 102 w 884"/>
                  <a:gd name="T75" fmla="*/ 591 h 1818"/>
                  <a:gd name="T76" fmla="*/ 129 w 884"/>
                  <a:gd name="T77" fmla="*/ 599 h 1818"/>
                  <a:gd name="T78" fmla="*/ 148 w 884"/>
                  <a:gd name="T79" fmla="*/ 595 h 1818"/>
                  <a:gd name="T80" fmla="*/ 149 w 884"/>
                  <a:gd name="T81" fmla="*/ 568 h 1818"/>
                  <a:gd name="T82" fmla="*/ 154 w 884"/>
                  <a:gd name="T83" fmla="*/ 537 h 1818"/>
                  <a:gd name="T84" fmla="*/ 162 w 884"/>
                  <a:gd name="T85" fmla="*/ 503 h 1818"/>
                  <a:gd name="T86" fmla="*/ 138 w 884"/>
                  <a:gd name="T87" fmla="*/ 495 h 1818"/>
                  <a:gd name="T88" fmla="*/ 132 w 884"/>
                  <a:gd name="T89" fmla="*/ 477 h 1818"/>
                  <a:gd name="T90" fmla="*/ 149 w 884"/>
                  <a:gd name="T91" fmla="*/ 465 h 1818"/>
                  <a:gd name="T92" fmla="*/ 159 w 884"/>
                  <a:gd name="T93" fmla="*/ 444 h 1818"/>
                  <a:gd name="T94" fmla="*/ 149 w 884"/>
                  <a:gd name="T95" fmla="*/ 408 h 1818"/>
                  <a:gd name="T96" fmla="*/ 139 w 884"/>
                  <a:gd name="T97" fmla="*/ 380 h 1818"/>
                  <a:gd name="T98" fmla="*/ 170 w 884"/>
                  <a:gd name="T99" fmla="*/ 389 h 1818"/>
                  <a:gd name="T100" fmla="*/ 186 w 884"/>
                  <a:gd name="T101" fmla="*/ 384 h 1818"/>
                  <a:gd name="T102" fmla="*/ 183 w 884"/>
                  <a:gd name="T103" fmla="*/ 359 h 1818"/>
                  <a:gd name="T104" fmla="*/ 185 w 884"/>
                  <a:gd name="T105" fmla="*/ 343 h 1818"/>
                  <a:gd name="T106" fmla="*/ 222 w 884"/>
                  <a:gd name="T107" fmla="*/ 341 h 1818"/>
                  <a:gd name="T108" fmla="*/ 261 w 884"/>
                  <a:gd name="T109" fmla="*/ 324 h 1818"/>
                  <a:gd name="T110" fmla="*/ 268 w 884"/>
                  <a:gd name="T111" fmla="*/ 294 h 1818"/>
                  <a:gd name="T112" fmla="*/ 256 w 884"/>
                  <a:gd name="T113" fmla="*/ 284 h 1818"/>
                  <a:gd name="T114" fmla="*/ 249 w 884"/>
                  <a:gd name="T115" fmla="*/ 270 h 1818"/>
                  <a:gd name="T116" fmla="*/ 227 w 884"/>
                  <a:gd name="T117" fmla="*/ 251 h 1818"/>
                  <a:gd name="T118" fmla="*/ 230 w 884"/>
                  <a:gd name="T119" fmla="*/ 177 h 1818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884" h="1818">
                    <a:moveTo>
                      <a:pt x="725" y="493"/>
                    </a:moveTo>
                    <a:lnTo>
                      <a:pt x="726" y="484"/>
                    </a:lnTo>
                    <a:lnTo>
                      <a:pt x="729" y="474"/>
                    </a:lnTo>
                    <a:lnTo>
                      <a:pt x="735" y="462"/>
                    </a:lnTo>
                    <a:lnTo>
                      <a:pt x="742" y="450"/>
                    </a:lnTo>
                    <a:lnTo>
                      <a:pt x="750" y="438"/>
                    </a:lnTo>
                    <a:lnTo>
                      <a:pt x="761" y="427"/>
                    </a:lnTo>
                    <a:lnTo>
                      <a:pt x="772" y="415"/>
                    </a:lnTo>
                    <a:lnTo>
                      <a:pt x="784" y="402"/>
                    </a:lnTo>
                    <a:lnTo>
                      <a:pt x="798" y="391"/>
                    </a:lnTo>
                    <a:lnTo>
                      <a:pt x="811" y="381"/>
                    </a:lnTo>
                    <a:lnTo>
                      <a:pt x="824" y="371"/>
                    </a:lnTo>
                    <a:lnTo>
                      <a:pt x="837" y="362"/>
                    </a:lnTo>
                    <a:lnTo>
                      <a:pt x="849" y="353"/>
                    </a:lnTo>
                    <a:lnTo>
                      <a:pt x="862" y="347"/>
                    </a:lnTo>
                    <a:lnTo>
                      <a:pt x="873" y="342"/>
                    </a:lnTo>
                    <a:lnTo>
                      <a:pt x="884" y="339"/>
                    </a:lnTo>
                    <a:lnTo>
                      <a:pt x="884" y="329"/>
                    </a:lnTo>
                    <a:lnTo>
                      <a:pt x="884" y="310"/>
                    </a:lnTo>
                    <a:lnTo>
                      <a:pt x="884" y="289"/>
                    </a:lnTo>
                    <a:lnTo>
                      <a:pt x="884" y="272"/>
                    </a:lnTo>
                    <a:lnTo>
                      <a:pt x="884" y="259"/>
                    </a:lnTo>
                    <a:lnTo>
                      <a:pt x="884" y="247"/>
                    </a:lnTo>
                    <a:lnTo>
                      <a:pt x="884" y="232"/>
                    </a:lnTo>
                    <a:lnTo>
                      <a:pt x="884" y="216"/>
                    </a:lnTo>
                    <a:lnTo>
                      <a:pt x="874" y="216"/>
                    </a:lnTo>
                    <a:lnTo>
                      <a:pt x="867" y="214"/>
                    </a:lnTo>
                    <a:lnTo>
                      <a:pt x="859" y="211"/>
                    </a:lnTo>
                    <a:lnTo>
                      <a:pt x="854" y="208"/>
                    </a:lnTo>
                    <a:lnTo>
                      <a:pt x="848" y="203"/>
                    </a:lnTo>
                    <a:lnTo>
                      <a:pt x="844" y="198"/>
                    </a:lnTo>
                    <a:lnTo>
                      <a:pt x="840" y="192"/>
                    </a:lnTo>
                    <a:lnTo>
                      <a:pt x="837" y="185"/>
                    </a:lnTo>
                    <a:lnTo>
                      <a:pt x="837" y="222"/>
                    </a:lnTo>
                    <a:lnTo>
                      <a:pt x="840" y="227"/>
                    </a:lnTo>
                    <a:lnTo>
                      <a:pt x="843" y="231"/>
                    </a:lnTo>
                    <a:lnTo>
                      <a:pt x="844" y="236"/>
                    </a:lnTo>
                    <a:lnTo>
                      <a:pt x="845" y="241"/>
                    </a:lnTo>
                    <a:lnTo>
                      <a:pt x="844" y="252"/>
                    </a:lnTo>
                    <a:lnTo>
                      <a:pt x="841" y="262"/>
                    </a:lnTo>
                    <a:lnTo>
                      <a:pt x="837" y="271"/>
                    </a:lnTo>
                    <a:lnTo>
                      <a:pt x="832" y="281"/>
                    </a:lnTo>
                    <a:lnTo>
                      <a:pt x="824" y="290"/>
                    </a:lnTo>
                    <a:lnTo>
                      <a:pt x="815" y="299"/>
                    </a:lnTo>
                    <a:lnTo>
                      <a:pt x="805" y="308"/>
                    </a:lnTo>
                    <a:lnTo>
                      <a:pt x="795" y="316"/>
                    </a:lnTo>
                    <a:lnTo>
                      <a:pt x="785" y="322"/>
                    </a:lnTo>
                    <a:lnTo>
                      <a:pt x="774" y="328"/>
                    </a:lnTo>
                    <a:lnTo>
                      <a:pt x="765" y="333"/>
                    </a:lnTo>
                    <a:lnTo>
                      <a:pt x="755" y="336"/>
                    </a:lnTo>
                    <a:lnTo>
                      <a:pt x="746" y="338"/>
                    </a:lnTo>
                    <a:lnTo>
                      <a:pt x="738" y="339"/>
                    </a:lnTo>
                    <a:lnTo>
                      <a:pt x="722" y="339"/>
                    </a:lnTo>
                    <a:lnTo>
                      <a:pt x="703" y="338"/>
                    </a:lnTo>
                    <a:lnTo>
                      <a:pt x="684" y="335"/>
                    </a:lnTo>
                    <a:lnTo>
                      <a:pt x="667" y="331"/>
                    </a:lnTo>
                    <a:lnTo>
                      <a:pt x="658" y="328"/>
                    </a:lnTo>
                    <a:lnTo>
                      <a:pt x="650" y="325"/>
                    </a:lnTo>
                    <a:lnTo>
                      <a:pt x="643" y="321"/>
                    </a:lnTo>
                    <a:lnTo>
                      <a:pt x="637" y="316"/>
                    </a:lnTo>
                    <a:lnTo>
                      <a:pt x="632" y="311"/>
                    </a:lnTo>
                    <a:lnTo>
                      <a:pt x="628" y="305"/>
                    </a:lnTo>
                    <a:lnTo>
                      <a:pt x="625" y="297"/>
                    </a:lnTo>
                    <a:lnTo>
                      <a:pt x="625" y="290"/>
                    </a:lnTo>
                    <a:lnTo>
                      <a:pt x="625" y="283"/>
                    </a:lnTo>
                    <a:lnTo>
                      <a:pt x="626" y="277"/>
                    </a:lnTo>
                    <a:lnTo>
                      <a:pt x="628" y="270"/>
                    </a:lnTo>
                    <a:lnTo>
                      <a:pt x="631" y="264"/>
                    </a:lnTo>
                    <a:lnTo>
                      <a:pt x="636" y="252"/>
                    </a:lnTo>
                    <a:lnTo>
                      <a:pt x="643" y="240"/>
                    </a:lnTo>
                    <a:lnTo>
                      <a:pt x="650" y="228"/>
                    </a:lnTo>
                    <a:lnTo>
                      <a:pt x="658" y="215"/>
                    </a:lnTo>
                    <a:lnTo>
                      <a:pt x="666" y="201"/>
                    </a:lnTo>
                    <a:lnTo>
                      <a:pt x="671" y="185"/>
                    </a:lnTo>
                    <a:lnTo>
                      <a:pt x="654" y="178"/>
                    </a:lnTo>
                    <a:lnTo>
                      <a:pt x="637" y="172"/>
                    </a:lnTo>
                    <a:lnTo>
                      <a:pt x="621" y="166"/>
                    </a:lnTo>
                    <a:lnTo>
                      <a:pt x="605" y="162"/>
                    </a:lnTo>
                    <a:lnTo>
                      <a:pt x="574" y="155"/>
                    </a:lnTo>
                    <a:lnTo>
                      <a:pt x="544" y="148"/>
                    </a:lnTo>
                    <a:lnTo>
                      <a:pt x="529" y="144"/>
                    </a:lnTo>
                    <a:lnTo>
                      <a:pt x="514" y="139"/>
                    </a:lnTo>
                    <a:lnTo>
                      <a:pt x="499" y="133"/>
                    </a:lnTo>
                    <a:lnTo>
                      <a:pt x="485" y="127"/>
                    </a:lnTo>
                    <a:lnTo>
                      <a:pt x="470" y="119"/>
                    </a:lnTo>
                    <a:lnTo>
                      <a:pt x="455" y="110"/>
                    </a:lnTo>
                    <a:lnTo>
                      <a:pt x="441" y="100"/>
                    </a:lnTo>
                    <a:lnTo>
                      <a:pt x="425" y="87"/>
                    </a:lnTo>
                    <a:lnTo>
                      <a:pt x="417" y="76"/>
                    </a:lnTo>
                    <a:lnTo>
                      <a:pt x="410" y="66"/>
                    </a:lnTo>
                    <a:lnTo>
                      <a:pt x="403" y="55"/>
                    </a:lnTo>
                    <a:lnTo>
                      <a:pt x="398" y="44"/>
                    </a:lnTo>
                    <a:lnTo>
                      <a:pt x="390" y="32"/>
                    </a:lnTo>
                    <a:lnTo>
                      <a:pt x="383" y="20"/>
                    </a:lnTo>
                    <a:lnTo>
                      <a:pt x="378" y="15"/>
                    </a:lnTo>
                    <a:lnTo>
                      <a:pt x="373" y="10"/>
                    </a:lnTo>
                    <a:lnTo>
                      <a:pt x="366" y="5"/>
                    </a:lnTo>
                    <a:lnTo>
                      <a:pt x="359" y="0"/>
                    </a:lnTo>
                    <a:lnTo>
                      <a:pt x="332" y="6"/>
                    </a:lnTo>
                    <a:lnTo>
                      <a:pt x="308" y="11"/>
                    </a:lnTo>
                    <a:lnTo>
                      <a:pt x="302" y="13"/>
                    </a:lnTo>
                    <a:lnTo>
                      <a:pt x="297" y="15"/>
                    </a:lnTo>
                    <a:lnTo>
                      <a:pt x="291" y="19"/>
                    </a:lnTo>
                    <a:lnTo>
                      <a:pt x="286" y="22"/>
                    </a:lnTo>
                    <a:lnTo>
                      <a:pt x="281" y="28"/>
                    </a:lnTo>
                    <a:lnTo>
                      <a:pt x="276" y="34"/>
                    </a:lnTo>
                    <a:lnTo>
                      <a:pt x="272" y="41"/>
                    </a:lnTo>
                    <a:lnTo>
                      <a:pt x="266" y="50"/>
                    </a:lnTo>
                    <a:lnTo>
                      <a:pt x="257" y="44"/>
                    </a:lnTo>
                    <a:lnTo>
                      <a:pt x="249" y="38"/>
                    </a:lnTo>
                    <a:lnTo>
                      <a:pt x="242" y="31"/>
                    </a:lnTo>
                    <a:lnTo>
                      <a:pt x="234" y="24"/>
                    </a:lnTo>
                    <a:lnTo>
                      <a:pt x="225" y="17"/>
                    </a:lnTo>
                    <a:lnTo>
                      <a:pt x="215" y="11"/>
                    </a:lnTo>
                    <a:lnTo>
                      <a:pt x="209" y="9"/>
                    </a:lnTo>
                    <a:lnTo>
                      <a:pt x="202" y="8"/>
                    </a:lnTo>
                    <a:lnTo>
                      <a:pt x="195" y="7"/>
                    </a:lnTo>
                    <a:lnTo>
                      <a:pt x="186" y="6"/>
                    </a:lnTo>
                    <a:lnTo>
                      <a:pt x="178" y="7"/>
                    </a:lnTo>
                    <a:lnTo>
                      <a:pt x="171" y="8"/>
                    </a:lnTo>
                    <a:lnTo>
                      <a:pt x="163" y="11"/>
                    </a:lnTo>
                    <a:lnTo>
                      <a:pt x="156" y="14"/>
                    </a:lnTo>
                    <a:lnTo>
                      <a:pt x="143" y="22"/>
                    </a:lnTo>
                    <a:lnTo>
                      <a:pt x="132" y="32"/>
                    </a:lnTo>
                    <a:lnTo>
                      <a:pt x="120" y="41"/>
                    </a:lnTo>
                    <a:lnTo>
                      <a:pt x="110" y="48"/>
                    </a:lnTo>
                    <a:lnTo>
                      <a:pt x="105" y="51"/>
                    </a:lnTo>
                    <a:lnTo>
                      <a:pt x="98" y="54"/>
                    </a:lnTo>
                    <a:lnTo>
                      <a:pt x="93" y="55"/>
                    </a:lnTo>
                    <a:lnTo>
                      <a:pt x="87" y="56"/>
                    </a:lnTo>
                    <a:lnTo>
                      <a:pt x="86" y="69"/>
                    </a:lnTo>
                    <a:lnTo>
                      <a:pt x="84" y="81"/>
                    </a:lnTo>
                    <a:lnTo>
                      <a:pt x="82" y="91"/>
                    </a:lnTo>
                    <a:lnTo>
                      <a:pt x="77" y="100"/>
                    </a:lnTo>
                    <a:lnTo>
                      <a:pt x="73" y="109"/>
                    </a:lnTo>
                    <a:lnTo>
                      <a:pt x="67" y="116"/>
                    </a:lnTo>
                    <a:lnTo>
                      <a:pt x="62" y="123"/>
                    </a:lnTo>
                    <a:lnTo>
                      <a:pt x="56" y="129"/>
                    </a:lnTo>
                    <a:lnTo>
                      <a:pt x="45" y="141"/>
                    </a:lnTo>
                    <a:lnTo>
                      <a:pt x="37" y="152"/>
                    </a:lnTo>
                    <a:lnTo>
                      <a:pt x="32" y="158"/>
                    </a:lnTo>
                    <a:lnTo>
                      <a:pt x="30" y="164"/>
                    </a:lnTo>
                    <a:lnTo>
                      <a:pt x="28" y="171"/>
                    </a:lnTo>
                    <a:lnTo>
                      <a:pt x="27" y="179"/>
                    </a:lnTo>
                    <a:lnTo>
                      <a:pt x="28" y="186"/>
                    </a:lnTo>
                    <a:lnTo>
                      <a:pt x="28" y="194"/>
                    </a:lnTo>
                    <a:lnTo>
                      <a:pt x="30" y="201"/>
                    </a:lnTo>
                    <a:lnTo>
                      <a:pt x="32" y="207"/>
                    </a:lnTo>
                    <a:lnTo>
                      <a:pt x="38" y="218"/>
                    </a:lnTo>
                    <a:lnTo>
                      <a:pt x="43" y="228"/>
                    </a:lnTo>
                    <a:lnTo>
                      <a:pt x="50" y="239"/>
                    </a:lnTo>
                    <a:lnTo>
                      <a:pt x="55" y="251"/>
                    </a:lnTo>
                    <a:lnTo>
                      <a:pt x="57" y="257"/>
                    </a:lnTo>
                    <a:lnTo>
                      <a:pt x="59" y="263"/>
                    </a:lnTo>
                    <a:lnTo>
                      <a:pt x="60" y="270"/>
                    </a:lnTo>
                    <a:lnTo>
                      <a:pt x="60" y="278"/>
                    </a:lnTo>
                    <a:lnTo>
                      <a:pt x="60" y="289"/>
                    </a:lnTo>
                    <a:lnTo>
                      <a:pt x="57" y="299"/>
                    </a:lnTo>
                    <a:lnTo>
                      <a:pt x="54" y="310"/>
                    </a:lnTo>
                    <a:lnTo>
                      <a:pt x="51" y="319"/>
                    </a:lnTo>
                    <a:lnTo>
                      <a:pt x="41" y="337"/>
                    </a:lnTo>
                    <a:lnTo>
                      <a:pt x="30" y="354"/>
                    </a:lnTo>
                    <a:lnTo>
                      <a:pt x="19" y="372"/>
                    </a:lnTo>
                    <a:lnTo>
                      <a:pt x="9" y="390"/>
                    </a:lnTo>
                    <a:lnTo>
                      <a:pt x="6" y="400"/>
                    </a:lnTo>
                    <a:lnTo>
                      <a:pt x="3" y="410"/>
                    </a:lnTo>
                    <a:lnTo>
                      <a:pt x="2" y="421"/>
                    </a:lnTo>
                    <a:lnTo>
                      <a:pt x="0" y="432"/>
                    </a:lnTo>
                    <a:lnTo>
                      <a:pt x="0" y="471"/>
                    </a:lnTo>
                    <a:lnTo>
                      <a:pt x="0" y="501"/>
                    </a:lnTo>
                    <a:lnTo>
                      <a:pt x="0" y="529"/>
                    </a:lnTo>
                    <a:lnTo>
                      <a:pt x="0" y="561"/>
                    </a:lnTo>
                    <a:lnTo>
                      <a:pt x="2" y="574"/>
                    </a:lnTo>
                    <a:lnTo>
                      <a:pt x="4" y="587"/>
                    </a:lnTo>
                    <a:lnTo>
                      <a:pt x="8" y="598"/>
                    </a:lnTo>
                    <a:lnTo>
                      <a:pt x="12" y="609"/>
                    </a:lnTo>
                    <a:lnTo>
                      <a:pt x="19" y="618"/>
                    </a:lnTo>
                    <a:lnTo>
                      <a:pt x="26" y="627"/>
                    </a:lnTo>
                    <a:lnTo>
                      <a:pt x="33" y="637"/>
                    </a:lnTo>
                    <a:lnTo>
                      <a:pt x="40" y="645"/>
                    </a:lnTo>
                    <a:lnTo>
                      <a:pt x="55" y="662"/>
                    </a:lnTo>
                    <a:lnTo>
                      <a:pt x="67" y="678"/>
                    </a:lnTo>
                    <a:lnTo>
                      <a:pt x="73" y="686"/>
                    </a:lnTo>
                    <a:lnTo>
                      <a:pt x="76" y="696"/>
                    </a:lnTo>
                    <a:lnTo>
                      <a:pt x="79" y="705"/>
                    </a:lnTo>
                    <a:lnTo>
                      <a:pt x="81" y="715"/>
                    </a:lnTo>
                    <a:lnTo>
                      <a:pt x="79" y="722"/>
                    </a:lnTo>
                    <a:lnTo>
                      <a:pt x="78" y="728"/>
                    </a:lnTo>
                    <a:lnTo>
                      <a:pt x="75" y="733"/>
                    </a:lnTo>
                    <a:lnTo>
                      <a:pt x="73" y="738"/>
                    </a:lnTo>
                    <a:lnTo>
                      <a:pt x="66" y="747"/>
                    </a:lnTo>
                    <a:lnTo>
                      <a:pt x="60" y="753"/>
                    </a:lnTo>
                    <a:lnTo>
                      <a:pt x="71" y="753"/>
                    </a:lnTo>
                    <a:lnTo>
                      <a:pt x="81" y="753"/>
                    </a:lnTo>
                    <a:lnTo>
                      <a:pt x="79" y="760"/>
                    </a:lnTo>
                    <a:lnTo>
                      <a:pt x="77" y="768"/>
                    </a:lnTo>
                    <a:lnTo>
                      <a:pt x="74" y="776"/>
                    </a:lnTo>
                    <a:lnTo>
                      <a:pt x="71" y="784"/>
                    </a:lnTo>
                    <a:lnTo>
                      <a:pt x="63" y="799"/>
                    </a:lnTo>
                    <a:lnTo>
                      <a:pt x="60" y="808"/>
                    </a:lnTo>
                    <a:lnTo>
                      <a:pt x="61" y="813"/>
                    </a:lnTo>
                    <a:lnTo>
                      <a:pt x="63" y="817"/>
                    </a:lnTo>
                    <a:lnTo>
                      <a:pt x="66" y="822"/>
                    </a:lnTo>
                    <a:lnTo>
                      <a:pt x="71" y="827"/>
                    </a:lnTo>
                    <a:lnTo>
                      <a:pt x="74" y="832"/>
                    </a:lnTo>
                    <a:lnTo>
                      <a:pt x="77" y="838"/>
                    </a:lnTo>
                    <a:lnTo>
                      <a:pt x="79" y="844"/>
                    </a:lnTo>
                    <a:lnTo>
                      <a:pt x="81" y="850"/>
                    </a:lnTo>
                    <a:lnTo>
                      <a:pt x="79" y="858"/>
                    </a:lnTo>
                    <a:lnTo>
                      <a:pt x="76" y="864"/>
                    </a:lnTo>
                    <a:lnTo>
                      <a:pt x="72" y="870"/>
                    </a:lnTo>
                    <a:lnTo>
                      <a:pt x="67" y="876"/>
                    </a:lnTo>
                    <a:lnTo>
                      <a:pt x="62" y="881"/>
                    </a:lnTo>
                    <a:lnTo>
                      <a:pt x="57" y="887"/>
                    </a:lnTo>
                    <a:lnTo>
                      <a:pt x="54" y="893"/>
                    </a:lnTo>
                    <a:lnTo>
                      <a:pt x="53" y="900"/>
                    </a:lnTo>
                    <a:lnTo>
                      <a:pt x="54" y="909"/>
                    </a:lnTo>
                    <a:lnTo>
                      <a:pt x="55" y="918"/>
                    </a:lnTo>
                    <a:lnTo>
                      <a:pt x="56" y="925"/>
                    </a:lnTo>
                    <a:lnTo>
                      <a:pt x="59" y="932"/>
                    </a:lnTo>
                    <a:lnTo>
                      <a:pt x="64" y="945"/>
                    </a:lnTo>
                    <a:lnTo>
                      <a:pt x="71" y="958"/>
                    </a:lnTo>
                    <a:lnTo>
                      <a:pt x="76" y="970"/>
                    </a:lnTo>
                    <a:lnTo>
                      <a:pt x="82" y="983"/>
                    </a:lnTo>
                    <a:lnTo>
                      <a:pt x="84" y="989"/>
                    </a:lnTo>
                    <a:lnTo>
                      <a:pt x="85" y="996"/>
                    </a:lnTo>
                    <a:lnTo>
                      <a:pt x="86" y="1003"/>
                    </a:lnTo>
                    <a:lnTo>
                      <a:pt x="87" y="1011"/>
                    </a:lnTo>
                    <a:lnTo>
                      <a:pt x="86" y="1022"/>
                    </a:lnTo>
                    <a:lnTo>
                      <a:pt x="85" y="1034"/>
                    </a:lnTo>
                    <a:lnTo>
                      <a:pt x="83" y="1044"/>
                    </a:lnTo>
                    <a:lnTo>
                      <a:pt x="81" y="1055"/>
                    </a:lnTo>
                    <a:lnTo>
                      <a:pt x="77" y="1066"/>
                    </a:lnTo>
                    <a:lnTo>
                      <a:pt x="75" y="1077"/>
                    </a:lnTo>
                    <a:lnTo>
                      <a:pt x="74" y="1090"/>
                    </a:lnTo>
                    <a:lnTo>
                      <a:pt x="74" y="1103"/>
                    </a:lnTo>
                    <a:lnTo>
                      <a:pt x="74" y="1116"/>
                    </a:lnTo>
                    <a:lnTo>
                      <a:pt x="75" y="1128"/>
                    </a:lnTo>
                    <a:lnTo>
                      <a:pt x="76" y="1141"/>
                    </a:lnTo>
                    <a:lnTo>
                      <a:pt x="78" y="1152"/>
                    </a:lnTo>
                    <a:lnTo>
                      <a:pt x="82" y="1163"/>
                    </a:lnTo>
                    <a:lnTo>
                      <a:pt x="85" y="1174"/>
                    </a:lnTo>
                    <a:lnTo>
                      <a:pt x="89" y="1184"/>
                    </a:lnTo>
                    <a:lnTo>
                      <a:pt x="94" y="1195"/>
                    </a:lnTo>
                    <a:lnTo>
                      <a:pt x="103" y="1213"/>
                    </a:lnTo>
                    <a:lnTo>
                      <a:pt x="113" y="1231"/>
                    </a:lnTo>
                    <a:lnTo>
                      <a:pt x="124" y="1249"/>
                    </a:lnTo>
                    <a:lnTo>
                      <a:pt x="137" y="1265"/>
                    </a:lnTo>
                    <a:lnTo>
                      <a:pt x="149" y="1282"/>
                    </a:lnTo>
                    <a:lnTo>
                      <a:pt x="160" y="1298"/>
                    </a:lnTo>
                    <a:lnTo>
                      <a:pt x="171" y="1316"/>
                    </a:lnTo>
                    <a:lnTo>
                      <a:pt x="180" y="1334"/>
                    </a:lnTo>
                    <a:lnTo>
                      <a:pt x="188" y="1352"/>
                    </a:lnTo>
                    <a:lnTo>
                      <a:pt x="195" y="1373"/>
                    </a:lnTo>
                    <a:lnTo>
                      <a:pt x="197" y="1383"/>
                    </a:lnTo>
                    <a:lnTo>
                      <a:pt x="198" y="1394"/>
                    </a:lnTo>
                    <a:lnTo>
                      <a:pt x="199" y="1405"/>
                    </a:lnTo>
                    <a:lnTo>
                      <a:pt x="200" y="1418"/>
                    </a:lnTo>
                    <a:lnTo>
                      <a:pt x="200" y="1425"/>
                    </a:lnTo>
                    <a:lnTo>
                      <a:pt x="201" y="1431"/>
                    </a:lnTo>
                    <a:lnTo>
                      <a:pt x="202" y="1437"/>
                    </a:lnTo>
                    <a:lnTo>
                      <a:pt x="205" y="1442"/>
                    </a:lnTo>
                    <a:lnTo>
                      <a:pt x="210" y="1453"/>
                    </a:lnTo>
                    <a:lnTo>
                      <a:pt x="217" y="1463"/>
                    </a:lnTo>
                    <a:lnTo>
                      <a:pt x="222" y="1475"/>
                    </a:lnTo>
                    <a:lnTo>
                      <a:pt x="228" y="1485"/>
                    </a:lnTo>
                    <a:lnTo>
                      <a:pt x="230" y="1491"/>
                    </a:lnTo>
                    <a:lnTo>
                      <a:pt x="231" y="1497"/>
                    </a:lnTo>
                    <a:lnTo>
                      <a:pt x="232" y="1503"/>
                    </a:lnTo>
                    <a:lnTo>
                      <a:pt x="233" y="1510"/>
                    </a:lnTo>
                    <a:lnTo>
                      <a:pt x="232" y="1518"/>
                    </a:lnTo>
                    <a:lnTo>
                      <a:pt x="230" y="1526"/>
                    </a:lnTo>
                    <a:lnTo>
                      <a:pt x="227" y="1532"/>
                    </a:lnTo>
                    <a:lnTo>
                      <a:pt x="223" y="1537"/>
                    </a:lnTo>
                    <a:lnTo>
                      <a:pt x="219" y="1542"/>
                    </a:lnTo>
                    <a:lnTo>
                      <a:pt x="216" y="1547"/>
                    </a:lnTo>
                    <a:lnTo>
                      <a:pt x="213" y="1553"/>
                    </a:lnTo>
                    <a:lnTo>
                      <a:pt x="213" y="1559"/>
                    </a:lnTo>
                    <a:lnTo>
                      <a:pt x="213" y="1578"/>
                    </a:lnTo>
                    <a:lnTo>
                      <a:pt x="213" y="1590"/>
                    </a:lnTo>
                    <a:lnTo>
                      <a:pt x="213" y="1598"/>
                    </a:lnTo>
                    <a:lnTo>
                      <a:pt x="213" y="1603"/>
                    </a:lnTo>
                    <a:lnTo>
                      <a:pt x="212" y="1609"/>
                    </a:lnTo>
                    <a:lnTo>
                      <a:pt x="211" y="1615"/>
                    </a:lnTo>
                    <a:lnTo>
                      <a:pt x="209" y="1622"/>
                    </a:lnTo>
                    <a:lnTo>
                      <a:pt x="207" y="1628"/>
                    </a:lnTo>
                    <a:lnTo>
                      <a:pt x="204" y="1635"/>
                    </a:lnTo>
                    <a:lnTo>
                      <a:pt x="201" y="1644"/>
                    </a:lnTo>
                    <a:lnTo>
                      <a:pt x="200" y="1654"/>
                    </a:lnTo>
                    <a:lnTo>
                      <a:pt x="200" y="1664"/>
                    </a:lnTo>
                    <a:lnTo>
                      <a:pt x="200" y="1672"/>
                    </a:lnTo>
                    <a:lnTo>
                      <a:pt x="204" y="1681"/>
                    </a:lnTo>
                    <a:lnTo>
                      <a:pt x="207" y="1690"/>
                    </a:lnTo>
                    <a:lnTo>
                      <a:pt x="213" y="1700"/>
                    </a:lnTo>
                    <a:lnTo>
                      <a:pt x="220" y="1709"/>
                    </a:lnTo>
                    <a:lnTo>
                      <a:pt x="228" y="1718"/>
                    </a:lnTo>
                    <a:lnTo>
                      <a:pt x="236" y="1727"/>
                    </a:lnTo>
                    <a:lnTo>
                      <a:pt x="246" y="1735"/>
                    </a:lnTo>
                    <a:lnTo>
                      <a:pt x="256" y="1743"/>
                    </a:lnTo>
                    <a:lnTo>
                      <a:pt x="267" y="1752"/>
                    </a:lnTo>
                    <a:lnTo>
                      <a:pt x="278" y="1758"/>
                    </a:lnTo>
                    <a:lnTo>
                      <a:pt x="289" y="1764"/>
                    </a:lnTo>
                    <a:lnTo>
                      <a:pt x="300" y="1769"/>
                    </a:lnTo>
                    <a:lnTo>
                      <a:pt x="311" y="1772"/>
                    </a:lnTo>
                    <a:lnTo>
                      <a:pt x="322" y="1774"/>
                    </a:lnTo>
                    <a:lnTo>
                      <a:pt x="333" y="1775"/>
                    </a:lnTo>
                    <a:lnTo>
                      <a:pt x="342" y="1776"/>
                    </a:lnTo>
                    <a:lnTo>
                      <a:pt x="351" y="1779"/>
                    </a:lnTo>
                    <a:lnTo>
                      <a:pt x="358" y="1781"/>
                    </a:lnTo>
                    <a:lnTo>
                      <a:pt x="366" y="1784"/>
                    </a:lnTo>
                    <a:lnTo>
                      <a:pt x="380" y="1791"/>
                    </a:lnTo>
                    <a:lnTo>
                      <a:pt x="392" y="1798"/>
                    </a:lnTo>
                    <a:lnTo>
                      <a:pt x="404" y="1807"/>
                    </a:lnTo>
                    <a:lnTo>
                      <a:pt x="419" y="1813"/>
                    </a:lnTo>
                    <a:lnTo>
                      <a:pt x="426" y="1815"/>
                    </a:lnTo>
                    <a:lnTo>
                      <a:pt x="434" y="1817"/>
                    </a:lnTo>
                    <a:lnTo>
                      <a:pt x="443" y="1818"/>
                    </a:lnTo>
                    <a:lnTo>
                      <a:pt x="452" y="1818"/>
                    </a:lnTo>
                    <a:lnTo>
                      <a:pt x="452" y="1803"/>
                    </a:lnTo>
                    <a:lnTo>
                      <a:pt x="451" y="1786"/>
                    </a:lnTo>
                    <a:lnTo>
                      <a:pt x="448" y="1772"/>
                    </a:lnTo>
                    <a:lnTo>
                      <a:pt x="445" y="1758"/>
                    </a:lnTo>
                    <a:lnTo>
                      <a:pt x="441" y="1736"/>
                    </a:lnTo>
                    <a:lnTo>
                      <a:pt x="439" y="1726"/>
                    </a:lnTo>
                    <a:lnTo>
                      <a:pt x="440" y="1721"/>
                    </a:lnTo>
                    <a:lnTo>
                      <a:pt x="443" y="1715"/>
                    </a:lnTo>
                    <a:lnTo>
                      <a:pt x="448" y="1709"/>
                    </a:lnTo>
                    <a:lnTo>
                      <a:pt x="454" y="1703"/>
                    </a:lnTo>
                    <a:lnTo>
                      <a:pt x="460" y="1698"/>
                    </a:lnTo>
                    <a:lnTo>
                      <a:pt x="467" y="1693"/>
                    </a:lnTo>
                    <a:lnTo>
                      <a:pt x="474" y="1689"/>
                    </a:lnTo>
                    <a:lnTo>
                      <a:pt x="479" y="1688"/>
                    </a:lnTo>
                    <a:lnTo>
                      <a:pt x="466" y="1633"/>
                    </a:lnTo>
                    <a:lnTo>
                      <a:pt x="459" y="1633"/>
                    </a:lnTo>
                    <a:lnTo>
                      <a:pt x="459" y="1615"/>
                    </a:lnTo>
                    <a:lnTo>
                      <a:pt x="470" y="1612"/>
                    </a:lnTo>
                    <a:lnTo>
                      <a:pt x="479" y="1610"/>
                    </a:lnTo>
                    <a:lnTo>
                      <a:pt x="487" y="1608"/>
                    </a:lnTo>
                    <a:lnTo>
                      <a:pt x="493" y="1605"/>
                    </a:lnTo>
                    <a:lnTo>
                      <a:pt x="505" y="1599"/>
                    </a:lnTo>
                    <a:lnTo>
                      <a:pt x="519" y="1590"/>
                    </a:lnTo>
                    <a:lnTo>
                      <a:pt x="519" y="1510"/>
                    </a:lnTo>
                    <a:lnTo>
                      <a:pt x="507" y="1510"/>
                    </a:lnTo>
                    <a:lnTo>
                      <a:pt x="495" y="1509"/>
                    </a:lnTo>
                    <a:lnTo>
                      <a:pt x="482" y="1508"/>
                    </a:lnTo>
                    <a:lnTo>
                      <a:pt x="471" y="1506"/>
                    </a:lnTo>
                    <a:lnTo>
                      <a:pt x="462" y="1504"/>
                    </a:lnTo>
                    <a:lnTo>
                      <a:pt x="452" y="1502"/>
                    </a:lnTo>
                    <a:lnTo>
                      <a:pt x="443" y="1498"/>
                    </a:lnTo>
                    <a:lnTo>
                      <a:pt x="434" y="1495"/>
                    </a:lnTo>
                    <a:lnTo>
                      <a:pt x="426" y="1490"/>
                    </a:lnTo>
                    <a:lnTo>
                      <a:pt x="420" y="1486"/>
                    </a:lnTo>
                    <a:lnTo>
                      <a:pt x="413" y="1480"/>
                    </a:lnTo>
                    <a:lnTo>
                      <a:pt x="409" y="1474"/>
                    </a:lnTo>
                    <a:lnTo>
                      <a:pt x="404" y="1466"/>
                    </a:lnTo>
                    <a:lnTo>
                      <a:pt x="401" y="1459"/>
                    </a:lnTo>
                    <a:lnTo>
                      <a:pt x="400" y="1451"/>
                    </a:lnTo>
                    <a:lnTo>
                      <a:pt x="399" y="1442"/>
                    </a:lnTo>
                    <a:lnTo>
                      <a:pt x="400" y="1436"/>
                    </a:lnTo>
                    <a:lnTo>
                      <a:pt x="401" y="1430"/>
                    </a:lnTo>
                    <a:lnTo>
                      <a:pt x="404" y="1424"/>
                    </a:lnTo>
                    <a:lnTo>
                      <a:pt x="408" y="1419"/>
                    </a:lnTo>
                    <a:lnTo>
                      <a:pt x="412" y="1415"/>
                    </a:lnTo>
                    <a:lnTo>
                      <a:pt x="417" y="1410"/>
                    </a:lnTo>
                    <a:lnTo>
                      <a:pt x="422" y="1407"/>
                    </a:lnTo>
                    <a:lnTo>
                      <a:pt x="429" y="1403"/>
                    </a:lnTo>
                    <a:lnTo>
                      <a:pt x="441" y="1399"/>
                    </a:lnTo>
                    <a:lnTo>
                      <a:pt x="453" y="1395"/>
                    </a:lnTo>
                    <a:lnTo>
                      <a:pt x="464" y="1393"/>
                    </a:lnTo>
                    <a:lnTo>
                      <a:pt x="473" y="1393"/>
                    </a:lnTo>
                    <a:lnTo>
                      <a:pt x="473" y="1384"/>
                    </a:lnTo>
                    <a:lnTo>
                      <a:pt x="474" y="1374"/>
                    </a:lnTo>
                    <a:lnTo>
                      <a:pt x="476" y="1364"/>
                    </a:lnTo>
                    <a:lnTo>
                      <a:pt x="479" y="1353"/>
                    </a:lnTo>
                    <a:lnTo>
                      <a:pt x="481" y="1342"/>
                    </a:lnTo>
                    <a:lnTo>
                      <a:pt x="484" y="1332"/>
                    </a:lnTo>
                    <a:lnTo>
                      <a:pt x="485" y="1323"/>
                    </a:lnTo>
                    <a:lnTo>
                      <a:pt x="486" y="1313"/>
                    </a:lnTo>
                    <a:lnTo>
                      <a:pt x="485" y="1301"/>
                    </a:lnTo>
                    <a:lnTo>
                      <a:pt x="482" y="1290"/>
                    </a:lnTo>
                    <a:lnTo>
                      <a:pt x="480" y="1278"/>
                    </a:lnTo>
                    <a:lnTo>
                      <a:pt x="476" y="1267"/>
                    </a:lnTo>
                    <a:lnTo>
                      <a:pt x="466" y="1245"/>
                    </a:lnTo>
                    <a:lnTo>
                      <a:pt x="455" y="1224"/>
                    </a:lnTo>
                    <a:lnTo>
                      <a:pt x="444" y="1205"/>
                    </a:lnTo>
                    <a:lnTo>
                      <a:pt x="435" y="1187"/>
                    </a:lnTo>
                    <a:lnTo>
                      <a:pt x="431" y="1179"/>
                    </a:lnTo>
                    <a:lnTo>
                      <a:pt x="429" y="1172"/>
                    </a:lnTo>
                    <a:lnTo>
                      <a:pt x="426" y="1165"/>
                    </a:lnTo>
                    <a:lnTo>
                      <a:pt x="425" y="1159"/>
                    </a:lnTo>
                    <a:lnTo>
                      <a:pt x="425" y="1148"/>
                    </a:lnTo>
                    <a:lnTo>
                      <a:pt x="425" y="1141"/>
                    </a:lnTo>
                    <a:lnTo>
                      <a:pt x="433" y="1141"/>
                    </a:lnTo>
                    <a:lnTo>
                      <a:pt x="441" y="1142"/>
                    </a:lnTo>
                    <a:lnTo>
                      <a:pt x="448" y="1144"/>
                    </a:lnTo>
                    <a:lnTo>
                      <a:pt x="456" y="1145"/>
                    </a:lnTo>
                    <a:lnTo>
                      <a:pt x="473" y="1150"/>
                    </a:lnTo>
                    <a:lnTo>
                      <a:pt x="488" y="1156"/>
                    </a:lnTo>
                    <a:lnTo>
                      <a:pt x="503" y="1161"/>
                    </a:lnTo>
                    <a:lnTo>
                      <a:pt x="518" y="1166"/>
                    </a:lnTo>
                    <a:lnTo>
                      <a:pt x="532" y="1170"/>
                    </a:lnTo>
                    <a:lnTo>
                      <a:pt x="545" y="1171"/>
                    </a:lnTo>
                    <a:lnTo>
                      <a:pt x="549" y="1171"/>
                    </a:lnTo>
                    <a:lnTo>
                      <a:pt x="554" y="1169"/>
                    </a:lnTo>
                    <a:lnTo>
                      <a:pt x="557" y="1168"/>
                    </a:lnTo>
                    <a:lnTo>
                      <a:pt x="560" y="1165"/>
                    </a:lnTo>
                    <a:lnTo>
                      <a:pt x="565" y="1159"/>
                    </a:lnTo>
                    <a:lnTo>
                      <a:pt x="568" y="1151"/>
                    </a:lnTo>
                    <a:lnTo>
                      <a:pt x="570" y="1142"/>
                    </a:lnTo>
                    <a:lnTo>
                      <a:pt x="571" y="1132"/>
                    </a:lnTo>
                    <a:lnTo>
                      <a:pt x="571" y="1123"/>
                    </a:lnTo>
                    <a:lnTo>
                      <a:pt x="571" y="1116"/>
                    </a:lnTo>
                    <a:lnTo>
                      <a:pt x="569" y="1112"/>
                    </a:lnTo>
                    <a:lnTo>
                      <a:pt x="565" y="1102"/>
                    </a:lnTo>
                    <a:lnTo>
                      <a:pt x="560" y="1090"/>
                    </a:lnTo>
                    <a:lnTo>
                      <a:pt x="558" y="1078"/>
                    </a:lnTo>
                    <a:lnTo>
                      <a:pt x="552" y="1066"/>
                    </a:lnTo>
                    <a:lnTo>
                      <a:pt x="545" y="1054"/>
                    </a:lnTo>
                    <a:lnTo>
                      <a:pt x="546" y="1049"/>
                    </a:lnTo>
                    <a:lnTo>
                      <a:pt x="548" y="1044"/>
                    </a:lnTo>
                    <a:lnTo>
                      <a:pt x="551" y="1040"/>
                    </a:lnTo>
                    <a:lnTo>
                      <a:pt x="555" y="1036"/>
                    </a:lnTo>
                    <a:lnTo>
                      <a:pt x="559" y="1032"/>
                    </a:lnTo>
                    <a:lnTo>
                      <a:pt x="565" y="1030"/>
                    </a:lnTo>
                    <a:lnTo>
                      <a:pt x="571" y="1027"/>
                    </a:lnTo>
                    <a:lnTo>
                      <a:pt x="578" y="1025"/>
                    </a:lnTo>
                    <a:lnTo>
                      <a:pt x="591" y="1022"/>
                    </a:lnTo>
                    <a:lnTo>
                      <a:pt x="604" y="1021"/>
                    </a:lnTo>
                    <a:lnTo>
                      <a:pt x="615" y="1021"/>
                    </a:lnTo>
                    <a:lnTo>
                      <a:pt x="625" y="1023"/>
                    </a:lnTo>
                    <a:lnTo>
                      <a:pt x="652" y="1023"/>
                    </a:lnTo>
                    <a:lnTo>
                      <a:pt x="676" y="1023"/>
                    </a:lnTo>
                    <a:lnTo>
                      <a:pt x="697" y="1021"/>
                    </a:lnTo>
                    <a:lnTo>
                      <a:pt x="716" y="1017"/>
                    </a:lnTo>
                    <a:lnTo>
                      <a:pt x="734" y="1013"/>
                    </a:lnTo>
                    <a:lnTo>
                      <a:pt x="750" y="1007"/>
                    </a:lnTo>
                    <a:lnTo>
                      <a:pt x="764" y="1001"/>
                    </a:lnTo>
                    <a:lnTo>
                      <a:pt x="776" y="993"/>
                    </a:lnTo>
                    <a:lnTo>
                      <a:pt x="787" y="984"/>
                    </a:lnTo>
                    <a:lnTo>
                      <a:pt x="795" y="973"/>
                    </a:lnTo>
                    <a:lnTo>
                      <a:pt x="802" y="961"/>
                    </a:lnTo>
                    <a:lnTo>
                      <a:pt x="809" y="949"/>
                    </a:lnTo>
                    <a:lnTo>
                      <a:pt x="812" y="935"/>
                    </a:lnTo>
                    <a:lnTo>
                      <a:pt x="815" y="921"/>
                    </a:lnTo>
                    <a:lnTo>
                      <a:pt x="817" y="904"/>
                    </a:lnTo>
                    <a:lnTo>
                      <a:pt x="817" y="888"/>
                    </a:lnTo>
                    <a:lnTo>
                      <a:pt x="817" y="884"/>
                    </a:lnTo>
                    <a:lnTo>
                      <a:pt x="816" y="882"/>
                    </a:lnTo>
                    <a:lnTo>
                      <a:pt x="815" y="879"/>
                    </a:lnTo>
                    <a:lnTo>
                      <a:pt x="813" y="877"/>
                    </a:lnTo>
                    <a:lnTo>
                      <a:pt x="809" y="874"/>
                    </a:lnTo>
                    <a:lnTo>
                      <a:pt x="803" y="871"/>
                    </a:lnTo>
                    <a:lnTo>
                      <a:pt x="792" y="867"/>
                    </a:lnTo>
                    <a:lnTo>
                      <a:pt x="784" y="863"/>
                    </a:lnTo>
                    <a:lnTo>
                      <a:pt x="782" y="859"/>
                    </a:lnTo>
                    <a:lnTo>
                      <a:pt x="781" y="852"/>
                    </a:lnTo>
                    <a:lnTo>
                      <a:pt x="780" y="847"/>
                    </a:lnTo>
                    <a:lnTo>
                      <a:pt x="779" y="841"/>
                    </a:lnTo>
                    <a:lnTo>
                      <a:pt x="780" y="836"/>
                    </a:lnTo>
                    <a:lnTo>
                      <a:pt x="781" y="830"/>
                    </a:lnTo>
                    <a:lnTo>
                      <a:pt x="782" y="825"/>
                    </a:lnTo>
                    <a:lnTo>
                      <a:pt x="784" y="820"/>
                    </a:lnTo>
                    <a:lnTo>
                      <a:pt x="772" y="816"/>
                    </a:lnTo>
                    <a:lnTo>
                      <a:pt x="758" y="810"/>
                    </a:lnTo>
                    <a:lnTo>
                      <a:pt x="742" y="800"/>
                    </a:lnTo>
                    <a:lnTo>
                      <a:pt x="725" y="789"/>
                    </a:lnTo>
                    <a:lnTo>
                      <a:pt x="717" y="783"/>
                    </a:lnTo>
                    <a:lnTo>
                      <a:pt x="711" y="777"/>
                    </a:lnTo>
                    <a:lnTo>
                      <a:pt x="704" y="771"/>
                    </a:lnTo>
                    <a:lnTo>
                      <a:pt x="700" y="765"/>
                    </a:lnTo>
                    <a:lnTo>
                      <a:pt x="695" y="758"/>
                    </a:lnTo>
                    <a:lnTo>
                      <a:pt x="692" y="752"/>
                    </a:lnTo>
                    <a:lnTo>
                      <a:pt x="691" y="745"/>
                    </a:lnTo>
                    <a:lnTo>
                      <a:pt x="691" y="739"/>
                    </a:lnTo>
                    <a:lnTo>
                      <a:pt x="698" y="616"/>
                    </a:lnTo>
                    <a:lnTo>
                      <a:pt x="697" y="585"/>
                    </a:lnTo>
                    <a:lnTo>
                      <a:pt x="697" y="553"/>
                    </a:lnTo>
                    <a:lnTo>
                      <a:pt x="698" y="546"/>
                    </a:lnTo>
                    <a:lnTo>
                      <a:pt x="699" y="539"/>
                    </a:lnTo>
                    <a:lnTo>
                      <a:pt x="701" y="532"/>
                    </a:lnTo>
                    <a:lnTo>
                      <a:pt x="703" y="525"/>
                    </a:lnTo>
                    <a:lnTo>
                      <a:pt x="708" y="518"/>
                    </a:lnTo>
                    <a:lnTo>
                      <a:pt x="712" y="511"/>
                    </a:lnTo>
                    <a:lnTo>
                      <a:pt x="717" y="505"/>
                    </a:lnTo>
                    <a:lnTo>
                      <a:pt x="725" y="499"/>
                    </a:lnTo>
                    <a:lnTo>
                      <a:pt x="725" y="49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883" name="Freeform 442"/>
            <p:cNvSpPr>
              <a:spLocks/>
            </p:cNvSpPr>
            <p:nvPr>
              <p:custDataLst>
                <p:tags r:id="rId275"/>
              </p:custDataLst>
            </p:nvPr>
          </p:nvSpPr>
          <p:spPr bwMode="auto">
            <a:xfrm>
              <a:off x="6825597" y="2496506"/>
              <a:ext cx="147623" cy="131541"/>
            </a:xfrm>
            <a:custGeom>
              <a:avLst/>
              <a:gdLst>
                <a:gd name="T0" fmla="*/ 14646 w 279"/>
                <a:gd name="T1" fmla="*/ 46715 h 204"/>
                <a:gd name="T2" fmla="*/ 26185 w 279"/>
                <a:gd name="T3" fmla="*/ 76247 h 204"/>
                <a:gd name="T4" fmla="*/ 26185 w 279"/>
                <a:gd name="T5" fmla="*/ 96114 h 204"/>
                <a:gd name="T6" fmla="*/ 45269 w 279"/>
                <a:gd name="T7" fmla="*/ 105242 h 204"/>
                <a:gd name="T8" fmla="*/ 54146 w 279"/>
                <a:gd name="T9" fmla="*/ 108464 h 204"/>
                <a:gd name="T10" fmla="*/ 61691 w 279"/>
                <a:gd name="T11" fmla="*/ 109538 h 204"/>
                <a:gd name="T12" fmla="*/ 64797 w 279"/>
                <a:gd name="T13" fmla="*/ 107927 h 204"/>
                <a:gd name="T14" fmla="*/ 67016 w 279"/>
                <a:gd name="T15" fmla="*/ 104168 h 204"/>
                <a:gd name="T16" fmla="*/ 71011 w 279"/>
                <a:gd name="T17" fmla="*/ 92356 h 204"/>
                <a:gd name="T18" fmla="*/ 76337 w 279"/>
                <a:gd name="T19" fmla="*/ 80006 h 204"/>
                <a:gd name="T20" fmla="*/ 80331 w 279"/>
                <a:gd name="T21" fmla="*/ 75710 h 204"/>
                <a:gd name="T22" fmla="*/ 85213 w 279"/>
                <a:gd name="T23" fmla="*/ 73025 h 204"/>
                <a:gd name="T24" fmla="*/ 92758 w 279"/>
                <a:gd name="T25" fmla="*/ 74099 h 204"/>
                <a:gd name="T26" fmla="*/ 97640 w 279"/>
                <a:gd name="T27" fmla="*/ 76247 h 204"/>
                <a:gd name="T28" fmla="*/ 101190 w 279"/>
                <a:gd name="T29" fmla="*/ 79469 h 204"/>
                <a:gd name="T30" fmla="*/ 102522 w 279"/>
                <a:gd name="T31" fmla="*/ 82690 h 204"/>
                <a:gd name="T32" fmla="*/ 103853 w 279"/>
                <a:gd name="T33" fmla="*/ 88060 h 204"/>
                <a:gd name="T34" fmla="*/ 102522 w 279"/>
                <a:gd name="T35" fmla="*/ 89671 h 204"/>
                <a:gd name="T36" fmla="*/ 103853 w 279"/>
                <a:gd name="T37" fmla="*/ 82154 h 204"/>
                <a:gd name="T38" fmla="*/ 105628 w 279"/>
                <a:gd name="T39" fmla="*/ 75173 h 204"/>
                <a:gd name="T40" fmla="*/ 108735 w 279"/>
                <a:gd name="T41" fmla="*/ 62823 h 204"/>
                <a:gd name="T42" fmla="*/ 112730 w 279"/>
                <a:gd name="T43" fmla="*/ 61749 h 204"/>
                <a:gd name="T44" fmla="*/ 117168 w 279"/>
                <a:gd name="T45" fmla="*/ 59065 h 204"/>
                <a:gd name="T46" fmla="*/ 123825 w 279"/>
                <a:gd name="T47" fmla="*/ 53158 h 204"/>
                <a:gd name="T48" fmla="*/ 111842 w 279"/>
                <a:gd name="T49" fmla="*/ 40271 h 204"/>
                <a:gd name="T50" fmla="*/ 100747 w 279"/>
                <a:gd name="T51" fmla="*/ 31143 h 204"/>
                <a:gd name="T52" fmla="*/ 90539 w 279"/>
                <a:gd name="T53" fmla="*/ 23626 h 204"/>
                <a:gd name="T54" fmla="*/ 82106 w 279"/>
                <a:gd name="T55" fmla="*/ 16645 h 204"/>
                <a:gd name="T56" fmla="*/ 64797 w 279"/>
                <a:gd name="T57" fmla="*/ 36513 h 204"/>
                <a:gd name="T58" fmla="*/ 35062 w 279"/>
                <a:gd name="T59" fmla="*/ 13424 h 204"/>
                <a:gd name="T60" fmla="*/ 23078 w 279"/>
                <a:gd name="T61" fmla="*/ 6443 h 204"/>
                <a:gd name="T62" fmla="*/ 20416 w 279"/>
                <a:gd name="T63" fmla="*/ 33291 h 204"/>
                <a:gd name="T64" fmla="*/ 0 w 279"/>
                <a:gd name="T65" fmla="*/ 30069 h 20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79" h="204">
                  <a:moveTo>
                    <a:pt x="0" y="56"/>
                  </a:moveTo>
                  <a:lnTo>
                    <a:pt x="33" y="87"/>
                  </a:lnTo>
                  <a:lnTo>
                    <a:pt x="46" y="123"/>
                  </a:lnTo>
                  <a:lnTo>
                    <a:pt x="59" y="142"/>
                  </a:lnTo>
                  <a:lnTo>
                    <a:pt x="59" y="173"/>
                  </a:lnTo>
                  <a:lnTo>
                    <a:pt x="59" y="179"/>
                  </a:lnTo>
                  <a:lnTo>
                    <a:pt x="80" y="188"/>
                  </a:lnTo>
                  <a:lnTo>
                    <a:pt x="102" y="196"/>
                  </a:lnTo>
                  <a:lnTo>
                    <a:pt x="112" y="199"/>
                  </a:lnTo>
                  <a:lnTo>
                    <a:pt x="122" y="202"/>
                  </a:lnTo>
                  <a:lnTo>
                    <a:pt x="130" y="203"/>
                  </a:lnTo>
                  <a:lnTo>
                    <a:pt x="139" y="204"/>
                  </a:lnTo>
                  <a:lnTo>
                    <a:pt x="142" y="203"/>
                  </a:lnTo>
                  <a:lnTo>
                    <a:pt x="146" y="201"/>
                  </a:lnTo>
                  <a:lnTo>
                    <a:pt x="148" y="198"/>
                  </a:lnTo>
                  <a:lnTo>
                    <a:pt x="151" y="194"/>
                  </a:lnTo>
                  <a:lnTo>
                    <a:pt x="156" y="183"/>
                  </a:lnTo>
                  <a:lnTo>
                    <a:pt x="160" y="172"/>
                  </a:lnTo>
                  <a:lnTo>
                    <a:pt x="165" y="160"/>
                  </a:lnTo>
                  <a:lnTo>
                    <a:pt x="172" y="149"/>
                  </a:lnTo>
                  <a:lnTo>
                    <a:pt x="176" y="145"/>
                  </a:lnTo>
                  <a:lnTo>
                    <a:pt x="181" y="141"/>
                  </a:lnTo>
                  <a:lnTo>
                    <a:pt x="186" y="138"/>
                  </a:lnTo>
                  <a:lnTo>
                    <a:pt x="192" y="136"/>
                  </a:lnTo>
                  <a:lnTo>
                    <a:pt x="201" y="137"/>
                  </a:lnTo>
                  <a:lnTo>
                    <a:pt x="209" y="138"/>
                  </a:lnTo>
                  <a:lnTo>
                    <a:pt x="215" y="140"/>
                  </a:lnTo>
                  <a:lnTo>
                    <a:pt x="220" y="142"/>
                  </a:lnTo>
                  <a:lnTo>
                    <a:pt x="225" y="145"/>
                  </a:lnTo>
                  <a:lnTo>
                    <a:pt x="228" y="148"/>
                  </a:lnTo>
                  <a:lnTo>
                    <a:pt x="230" y="151"/>
                  </a:lnTo>
                  <a:lnTo>
                    <a:pt x="231" y="154"/>
                  </a:lnTo>
                  <a:lnTo>
                    <a:pt x="234" y="160"/>
                  </a:lnTo>
                  <a:lnTo>
                    <a:pt x="234" y="164"/>
                  </a:lnTo>
                  <a:lnTo>
                    <a:pt x="232" y="167"/>
                  </a:lnTo>
                  <a:lnTo>
                    <a:pt x="231" y="167"/>
                  </a:lnTo>
                  <a:lnTo>
                    <a:pt x="232" y="160"/>
                  </a:lnTo>
                  <a:lnTo>
                    <a:pt x="234" y="153"/>
                  </a:lnTo>
                  <a:lnTo>
                    <a:pt x="236" y="147"/>
                  </a:lnTo>
                  <a:lnTo>
                    <a:pt x="238" y="140"/>
                  </a:lnTo>
                  <a:lnTo>
                    <a:pt x="243" y="127"/>
                  </a:lnTo>
                  <a:lnTo>
                    <a:pt x="245" y="117"/>
                  </a:lnTo>
                  <a:lnTo>
                    <a:pt x="250" y="117"/>
                  </a:lnTo>
                  <a:lnTo>
                    <a:pt x="254" y="115"/>
                  </a:lnTo>
                  <a:lnTo>
                    <a:pt x="260" y="113"/>
                  </a:lnTo>
                  <a:lnTo>
                    <a:pt x="264" y="110"/>
                  </a:lnTo>
                  <a:lnTo>
                    <a:pt x="272" y="104"/>
                  </a:lnTo>
                  <a:lnTo>
                    <a:pt x="279" y="99"/>
                  </a:lnTo>
                  <a:lnTo>
                    <a:pt x="265" y="87"/>
                  </a:lnTo>
                  <a:lnTo>
                    <a:pt x="252" y="75"/>
                  </a:lnTo>
                  <a:lnTo>
                    <a:pt x="239" y="66"/>
                  </a:lnTo>
                  <a:lnTo>
                    <a:pt x="227" y="58"/>
                  </a:lnTo>
                  <a:lnTo>
                    <a:pt x="215" y="51"/>
                  </a:lnTo>
                  <a:lnTo>
                    <a:pt x="204" y="44"/>
                  </a:lnTo>
                  <a:lnTo>
                    <a:pt x="194" y="38"/>
                  </a:lnTo>
                  <a:lnTo>
                    <a:pt x="185" y="31"/>
                  </a:lnTo>
                  <a:lnTo>
                    <a:pt x="172" y="31"/>
                  </a:lnTo>
                  <a:lnTo>
                    <a:pt x="146" y="68"/>
                  </a:lnTo>
                  <a:lnTo>
                    <a:pt x="112" y="50"/>
                  </a:lnTo>
                  <a:lnTo>
                    <a:pt x="79" y="25"/>
                  </a:lnTo>
                  <a:lnTo>
                    <a:pt x="33" y="0"/>
                  </a:lnTo>
                  <a:lnTo>
                    <a:pt x="52" y="12"/>
                  </a:lnTo>
                  <a:lnTo>
                    <a:pt x="72" y="74"/>
                  </a:lnTo>
                  <a:lnTo>
                    <a:pt x="46" y="62"/>
                  </a:lnTo>
                  <a:lnTo>
                    <a:pt x="19" y="50"/>
                  </a:lnTo>
                  <a:lnTo>
                    <a:pt x="0" y="5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884" name="Freeform 443"/>
            <p:cNvSpPr>
              <a:spLocks/>
            </p:cNvSpPr>
            <p:nvPr>
              <p:custDataLst>
                <p:tags r:id="rId276"/>
              </p:custDataLst>
            </p:nvPr>
          </p:nvSpPr>
          <p:spPr bwMode="auto">
            <a:xfrm>
              <a:off x="6189682" y="1983691"/>
              <a:ext cx="249823" cy="181105"/>
            </a:xfrm>
            <a:custGeom>
              <a:avLst/>
              <a:gdLst>
                <a:gd name="T0" fmla="*/ 108880 w 485"/>
                <a:gd name="T1" fmla="*/ 10365 h 291"/>
                <a:gd name="T2" fmla="*/ 129619 w 485"/>
                <a:gd name="T3" fmla="*/ 22803 h 291"/>
                <a:gd name="T4" fmla="*/ 160727 w 485"/>
                <a:gd name="T5" fmla="*/ 22803 h 291"/>
                <a:gd name="T6" fmla="*/ 183626 w 485"/>
                <a:gd name="T7" fmla="*/ 67891 h 291"/>
                <a:gd name="T8" fmla="*/ 209550 w 485"/>
                <a:gd name="T9" fmla="*/ 86548 h 291"/>
                <a:gd name="T10" fmla="*/ 178009 w 485"/>
                <a:gd name="T11" fmla="*/ 89658 h 291"/>
                <a:gd name="T12" fmla="*/ 187083 w 485"/>
                <a:gd name="T13" fmla="*/ 108833 h 291"/>
                <a:gd name="T14" fmla="*/ 169368 w 485"/>
                <a:gd name="T15" fmla="*/ 124899 h 291"/>
                <a:gd name="T16" fmla="*/ 166344 w 485"/>
                <a:gd name="T17" fmla="*/ 150812 h 291"/>
                <a:gd name="T18" fmla="*/ 123138 w 485"/>
                <a:gd name="T19" fmla="*/ 137856 h 291"/>
                <a:gd name="T20" fmla="*/ 74747 w 485"/>
                <a:gd name="T21" fmla="*/ 131637 h 291"/>
                <a:gd name="T22" fmla="*/ 25924 w 485"/>
                <a:gd name="T23" fmla="*/ 137856 h 291"/>
                <a:gd name="T24" fmla="*/ 6481 w 485"/>
                <a:gd name="T25" fmla="*/ 140447 h 291"/>
                <a:gd name="T26" fmla="*/ 3456 w 485"/>
                <a:gd name="T27" fmla="*/ 133191 h 291"/>
                <a:gd name="T28" fmla="*/ 1296 w 485"/>
                <a:gd name="T29" fmla="*/ 126454 h 291"/>
                <a:gd name="T30" fmla="*/ 0 w 485"/>
                <a:gd name="T31" fmla="*/ 118680 h 291"/>
                <a:gd name="T32" fmla="*/ 2160 w 485"/>
                <a:gd name="T33" fmla="*/ 113498 h 291"/>
                <a:gd name="T34" fmla="*/ 6049 w 485"/>
                <a:gd name="T35" fmla="*/ 107279 h 291"/>
                <a:gd name="T36" fmla="*/ 9937 w 485"/>
                <a:gd name="T37" fmla="*/ 97950 h 291"/>
                <a:gd name="T38" fmla="*/ 13394 w 485"/>
                <a:gd name="T39" fmla="*/ 86030 h 291"/>
                <a:gd name="T40" fmla="*/ 17715 w 485"/>
                <a:gd name="T41" fmla="*/ 71001 h 291"/>
                <a:gd name="T42" fmla="*/ 20739 w 485"/>
                <a:gd name="T43" fmla="*/ 65300 h 291"/>
                <a:gd name="T44" fmla="*/ 25924 w 485"/>
                <a:gd name="T45" fmla="*/ 61672 h 291"/>
                <a:gd name="T46" fmla="*/ 37589 w 485"/>
                <a:gd name="T47" fmla="*/ 57526 h 291"/>
                <a:gd name="T48" fmla="*/ 38454 w 485"/>
                <a:gd name="T49" fmla="*/ 54935 h 291"/>
                <a:gd name="T50" fmla="*/ 40614 w 485"/>
                <a:gd name="T51" fmla="*/ 51825 h 291"/>
                <a:gd name="T52" fmla="*/ 43638 w 485"/>
                <a:gd name="T53" fmla="*/ 49234 h 291"/>
                <a:gd name="T54" fmla="*/ 45799 w 485"/>
                <a:gd name="T55" fmla="*/ 48198 h 291"/>
                <a:gd name="T56" fmla="*/ 45799 w 485"/>
                <a:gd name="T57" fmla="*/ 39387 h 291"/>
                <a:gd name="T58" fmla="*/ 47095 w 485"/>
                <a:gd name="T59" fmla="*/ 36278 h 291"/>
                <a:gd name="T60" fmla="*/ 48823 w 485"/>
                <a:gd name="T61" fmla="*/ 34723 h 291"/>
                <a:gd name="T62" fmla="*/ 52712 w 485"/>
                <a:gd name="T63" fmla="*/ 35760 h 291"/>
                <a:gd name="T64" fmla="*/ 55304 w 485"/>
                <a:gd name="T65" fmla="*/ 35760 h 291"/>
                <a:gd name="T66" fmla="*/ 57032 w 485"/>
                <a:gd name="T67" fmla="*/ 34205 h 291"/>
                <a:gd name="T68" fmla="*/ 57896 w 485"/>
                <a:gd name="T69" fmla="*/ 29022 h 291"/>
                <a:gd name="T70" fmla="*/ 60057 w 485"/>
                <a:gd name="T71" fmla="*/ 22803 h 291"/>
                <a:gd name="T72" fmla="*/ 62217 w 485"/>
                <a:gd name="T73" fmla="*/ 20212 h 291"/>
                <a:gd name="T74" fmla="*/ 92029 w 485"/>
                <a:gd name="T75" fmla="*/ 0 h 291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485" h="291">
                  <a:moveTo>
                    <a:pt x="206" y="6"/>
                  </a:moveTo>
                  <a:lnTo>
                    <a:pt x="252" y="20"/>
                  </a:lnTo>
                  <a:lnTo>
                    <a:pt x="292" y="20"/>
                  </a:lnTo>
                  <a:lnTo>
                    <a:pt x="300" y="44"/>
                  </a:lnTo>
                  <a:lnTo>
                    <a:pt x="339" y="32"/>
                  </a:lnTo>
                  <a:lnTo>
                    <a:pt x="372" y="44"/>
                  </a:lnTo>
                  <a:lnTo>
                    <a:pt x="379" y="93"/>
                  </a:lnTo>
                  <a:lnTo>
                    <a:pt x="425" y="131"/>
                  </a:lnTo>
                  <a:lnTo>
                    <a:pt x="459" y="149"/>
                  </a:lnTo>
                  <a:lnTo>
                    <a:pt x="485" y="167"/>
                  </a:lnTo>
                  <a:lnTo>
                    <a:pt x="459" y="186"/>
                  </a:lnTo>
                  <a:lnTo>
                    <a:pt x="412" y="173"/>
                  </a:lnTo>
                  <a:lnTo>
                    <a:pt x="418" y="198"/>
                  </a:lnTo>
                  <a:lnTo>
                    <a:pt x="433" y="210"/>
                  </a:lnTo>
                  <a:lnTo>
                    <a:pt x="433" y="241"/>
                  </a:lnTo>
                  <a:lnTo>
                    <a:pt x="392" y="241"/>
                  </a:lnTo>
                  <a:lnTo>
                    <a:pt x="385" y="266"/>
                  </a:lnTo>
                  <a:lnTo>
                    <a:pt x="385" y="291"/>
                  </a:lnTo>
                  <a:lnTo>
                    <a:pt x="339" y="278"/>
                  </a:lnTo>
                  <a:lnTo>
                    <a:pt x="285" y="266"/>
                  </a:lnTo>
                  <a:lnTo>
                    <a:pt x="239" y="272"/>
                  </a:lnTo>
                  <a:lnTo>
                    <a:pt x="173" y="254"/>
                  </a:lnTo>
                  <a:lnTo>
                    <a:pt x="113" y="254"/>
                  </a:lnTo>
                  <a:lnTo>
                    <a:pt x="60" y="266"/>
                  </a:lnTo>
                  <a:lnTo>
                    <a:pt x="20" y="278"/>
                  </a:lnTo>
                  <a:lnTo>
                    <a:pt x="15" y="271"/>
                  </a:lnTo>
                  <a:lnTo>
                    <a:pt x="11" y="264"/>
                  </a:lnTo>
                  <a:lnTo>
                    <a:pt x="8" y="257"/>
                  </a:lnTo>
                  <a:lnTo>
                    <a:pt x="5" y="251"/>
                  </a:lnTo>
                  <a:lnTo>
                    <a:pt x="3" y="244"/>
                  </a:lnTo>
                  <a:lnTo>
                    <a:pt x="1" y="237"/>
                  </a:lnTo>
                  <a:lnTo>
                    <a:pt x="0" y="229"/>
                  </a:lnTo>
                  <a:lnTo>
                    <a:pt x="0" y="222"/>
                  </a:lnTo>
                  <a:lnTo>
                    <a:pt x="5" y="219"/>
                  </a:lnTo>
                  <a:lnTo>
                    <a:pt x="10" y="214"/>
                  </a:lnTo>
                  <a:lnTo>
                    <a:pt x="14" y="207"/>
                  </a:lnTo>
                  <a:lnTo>
                    <a:pt x="20" y="198"/>
                  </a:lnTo>
                  <a:lnTo>
                    <a:pt x="23" y="189"/>
                  </a:lnTo>
                  <a:lnTo>
                    <a:pt x="27" y="178"/>
                  </a:lnTo>
                  <a:lnTo>
                    <a:pt x="31" y="166"/>
                  </a:lnTo>
                  <a:lnTo>
                    <a:pt x="33" y="155"/>
                  </a:lnTo>
                  <a:lnTo>
                    <a:pt x="41" y="137"/>
                  </a:lnTo>
                  <a:lnTo>
                    <a:pt x="44" y="131"/>
                  </a:lnTo>
                  <a:lnTo>
                    <a:pt x="48" y="126"/>
                  </a:lnTo>
                  <a:lnTo>
                    <a:pt x="54" y="123"/>
                  </a:lnTo>
                  <a:lnTo>
                    <a:pt x="60" y="119"/>
                  </a:lnTo>
                  <a:lnTo>
                    <a:pt x="75" y="115"/>
                  </a:lnTo>
                  <a:lnTo>
                    <a:pt x="87" y="111"/>
                  </a:lnTo>
                  <a:lnTo>
                    <a:pt x="87" y="109"/>
                  </a:lnTo>
                  <a:lnTo>
                    <a:pt x="89" y="106"/>
                  </a:lnTo>
                  <a:lnTo>
                    <a:pt x="91" y="103"/>
                  </a:lnTo>
                  <a:lnTo>
                    <a:pt x="94" y="100"/>
                  </a:lnTo>
                  <a:lnTo>
                    <a:pt x="98" y="97"/>
                  </a:lnTo>
                  <a:lnTo>
                    <a:pt x="101" y="95"/>
                  </a:lnTo>
                  <a:lnTo>
                    <a:pt x="103" y="94"/>
                  </a:lnTo>
                  <a:lnTo>
                    <a:pt x="106" y="93"/>
                  </a:lnTo>
                  <a:lnTo>
                    <a:pt x="106" y="81"/>
                  </a:lnTo>
                  <a:lnTo>
                    <a:pt x="106" y="76"/>
                  </a:lnTo>
                  <a:lnTo>
                    <a:pt x="107" y="72"/>
                  </a:lnTo>
                  <a:lnTo>
                    <a:pt x="109" y="70"/>
                  </a:lnTo>
                  <a:lnTo>
                    <a:pt x="110" y="68"/>
                  </a:lnTo>
                  <a:lnTo>
                    <a:pt x="113" y="67"/>
                  </a:lnTo>
                  <a:lnTo>
                    <a:pt x="117" y="68"/>
                  </a:lnTo>
                  <a:lnTo>
                    <a:pt x="122" y="69"/>
                  </a:lnTo>
                  <a:lnTo>
                    <a:pt x="126" y="69"/>
                  </a:lnTo>
                  <a:lnTo>
                    <a:pt x="128" y="69"/>
                  </a:lnTo>
                  <a:lnTo>
                    <a:pt x="129" y="68"/>
                  </a:lnTo>
                  <a:lnTo>
                    <a:pt x="132" y="66"/>
                  </a:lnTo>
                  <a:lnTo>
                    <a:pt x="133" y="62"/>
                  </a:lnTo>
                  <a:lnTo>
                    <a:pt x="134" y="56"/>
                  </a:lnTo>
                  <a:lnTo>
                    <a:pt x="137" y="48"/>
                  </a:lnTo>
                  <a:lnTo>
                    <a:pt x="139" y="44"/>
                  </a:lnTo>
                  <a:lnTo>
                    <a:pt x="142" y="41"/>
                  </a:lnTo>
                  <a:lnTo>
                    <a:pt x="144" y="39"/>
                  </a:lnTo>
                  <a:lnTo>
                    <a:pt x="146" y="38"/>
                  </a:lnTo>
                  <a:lnTo>
                    <a:pt x="213" y="0"/>
                  </a:lnTo>
                  <a:lnTo>
                    <a:pt x="206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885" name="Freeform 444"/>
            <p:cNvSpPr>
              <a:spLocks/>
            </p:cNvSpPr>
            <p:nvPr>
              <p:custDataLst>
                <p:tags r:id="rId277"/>
              </p:custDataLst>
            </p:nvPr>
          </p:nvSpPr>
          <p:spPr bwMode="auto">
            <a:xfrm>
              <a:off x="6019348" y="2382125"/>
              <a:ext cx="98415" cy="104851"/>
            </a:xfrm>
            <a:custGeom>
              <a:avLst/>
              <a:gdLst>
                <a:gd name="T0" fmla="*/ 38168 w 186"/>
                <a:gd name="T1" fmla="*/ 77319 h 166"/>
                <a:gd name="T2" fmla="*/ 36837 w 186"/>
                <a:gd name="T3" fmla="*/ 71534 h 166"/>
                <a:gd name="T4" fmla="*/ 34618 w 186"/>
                <a:gd name="T5" fmla="*/ 66800 h 166"/>
                <a:gd name="T6" fmla="*/ 32842 w 186"/>
                <a:gd name="T7" fmla="*/ 62066 h 166"/>
                <a:gd name="T8" fmla="*/ 31067 w 186"/>
                <a:gd name="T9" fmla="*/ 57858 h 166"/>
                <a:gd name="T10" fmla="*/ 26629 w 186"/>
                <a:gd name="T11" fmla="*/ 49968 h 166"/>
                <a:gd name="T12" fmla="*/ 21747 w 186"/>
                <a:gd name="T13" fmla="*/ 43131 h 166"/>
                <a:gd name="T14" fmla="*/ 16421 w 186"/>
                <a:gd name="T15" fmla="*/ 36819 h 166"/>
                <a:gd name="T16" fmla="*/ 11095 w 186"/>
                <a:gd name="T17" fmla="*/ 29455 h 166"/>
                <a:gd name="T18" fmla="*/ 5770 w 186"/>
                <a:gd name="T19" fmla="*/ 19987 h 166"/>
                <a:gd name="T20" fmla="*/ 0 w 186"/>
                <a:gd name="T21" fmla="*/ 9468 h 166"/>
                <a:gd name="T22" fmla="*/ 0 w 186"/>
                <a:gd name="T23" fmla="*/ 0 h 166"/>
                <a:gd name="T24" fmla="*/ 3107 w 186"/>
                <a:gd name="T25" fmla="*/ 1052 h 166"/>
                <a:gd name="T26" fmla="*/ 6213 w 186"/>
                <a:gd name="T27" fmla="*/ 1578 h 166"/>
                <a:gd name="T28" fmla="*/ 8876 w 186"/>
                <a:gd name="T29" fmla="*/ 2104 h 166"/>
                <a:gd name="T30" fmla="*/ 11983 w 186"/>
                <a:gd name="T31" fmla="*/ 2104 h 166"/>
                <a:gd name="T32" fmla="*/ 14646 w 186"/>
                <a:gd name="T33" fmla="*/ 2104 h 166"/>
                <a:gd name="T34" fmla="*/ 17753 w 186"/>
                <a:gd name="T35" fmla="*/ 1578 h 166"/>
                <a:gd name="T36" fmla="*/ 20859 w 186"/>
                <a:gd name="T37" fmla="*/ 1052 h 166"/>
                <a:gd name="T38" fmla="*/ 23522 w 186"/>
                <a:gd name="T39" fmla="*/ 0 h 166"/>
                <a:gd name="T40" fmla="*/ 62134 w 186"/>
                <a:gd name="T41" fmla="*/ 6312 h 166"/>
                <a:gd name="T42" fmla="*/ 82550 w 186"/>
                <a:gd name="T43" fmla="*/ 47864 h 166"/>
                <a:gd name="T44" fmla="*/ 75893 w 186"/>
                <a:gd name="T45" fmla="*/ 58910 h 166"/>
                <a:gd name="T46" fmla="*/ 68792 w 186"/>
                <a:gd name="T47" fmla="*/ 67852 h 166"/>
                <a:gd name="T48" fmla="*/ 66129 w 186"/>
                <a:gd name="T49" fmla="*/ 72060 h 166"/>
                <a:gd name="T50" fmla="*/ 63910 w 186"/>
                <a:gd name="T51" fmla="*/ 76267 h 166"/>
                <a:gd name="T52" fmla="*/ 63022 w 186"/>
                <a:gd name="T53" fmla="*/ 78897 h 166"/>
                <a:gd name="T54" fmla="*/ 62578 w 186"/>
                <a:gd name="T55" fmla="*/ 82053 h 166"/>
                <a:gd name="T56" fmla="*/ 62134 w 186"/>
                <a:gd name="T57" fmla="*/ 84683 h 166"/>
                <a:gd name="T58" fmla="*/ 62134 w 186"/>
                <a:gd name="T59" fmla="*/ 87313 h 166"/>
                <a:gd name="T60" fmla="*/ 38168 w 186"/>
                <a:gd name="T61" fmla="*/ 77319 h 16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186" h="166">
                  <a:moveTo>
                    <a:pt x="86" y="147"/>
                  </a:moveTo>
                  <a:lnTo>
                    <a:pt x="83" y="136"/>
                  </a:lnTo>
                  <a:lnTo>
                    <a:pt x="78" y="127"/>
                  </a:lnTo>
                  <a:lnTo>
                    <a:pt x="74" y="118"/>
                  </a:lnTo>
                  <a:lnTo>
                    <a:pt x="70" y="110"/>
                  </a:lnTo>
                  <a:lnTo>
                    <a:pt x="60" y="95"/>
                  </a:lnTo>
                  <a:lnTo>
                    <a:pt x="49" y="82"/>
                  </a:lnTo>
                  <a:lnTo>
                    <a:pt x="37" y="70"/>
                  </a:lnTo>
                  <a:lnTo>
                    <a:pt x="25" y="56"/>
                  </a:lnTo>
                  <a:lnTo>
                    <a:pt x="13" y="3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2"/>
                  </a:lnTo>
                  <a:lnTo>
                    <a:pt x="14" y="3"/>
                  </a:lnTo>
                  <a:lnTo>
                    <a:pt x="20" y="4"/>
                  </a:lnTo>
                  <a:lnTo>
                    <a:pt x="27" y="4"/>
                  </a:lnTo>
                  <a:lnTo>
                    <a:pt x="33" y="4"/>
                  </a:lnTo>
                  <a:lnTo>
                    <a:pt x="40" y="3"/>
                  </a:lnTo>
                  <a:lnTo>
                    <a:pt x="47" y="2"/>
                  </a:lnTo>
                  <a:lnTo>
                    <a:pt x="53" y="0"/>
                  </a:lnTo>
                  <a:lnTo>
                    <a:pt x="140" y="12"/>
                  </a:lnTo>
                  <a:lnTo>
                    <a:pt x="186" y="91"/>
                  </a:lnTo>
                  <a:lnTo>
                    <a:pt x="171" y="112"/>
                  </a:lnTo>
                  <a:lnTo>
                    <a:pt x="155" y="129"/>
                  </a:lnTo>
                  <a:lnTo>
                    <a:pt x="149" y="137"/>
                  </a:lnTo>
                  <a:lnTo>
                    <a:pt x="144" y="145"/>
                  </a:lnTo>
                  <a:lnTo>
                    <a:pt x="142" y="150"/>
                  </a:lnTo>
                  <a:lnTo>
                    <a:pt x="141" y="156"/>
                  </a:lnTo>
                  <a:lnTo>
                    <a:pt x="140" y="161"/>
                  </a:lnTo>
                  <a:lnTo>
                    <a:pt x="140" y="166"/>
                  </a:lnTo>
                  <a:lnTo>
                    <a:pt x="86" y="14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886" name="Freeform 445"/>
            <p:cNvSpPr>
              <a:spLocks/>
            </p:cNvSpPr>
            <p:nvPr>
              <p:custDataLst>
                <p:tags r:id="rId278"/>
              </p:custDataLst>
            </p:nvPr>
          </p:nvSpPr>
          <p:spPr bwMode="auto">
            <a:xfrm>
              <a:off x="4069969" y="4107396"/>
              <a:ext cx="98415" cy="68630"/>
            </a:xfrm>
            <a:custGeom>
              <a:avLst/>
              <a:gdLst>
                <a:gd name="T0" fmla="*/ 67904 w 186"/>
                <a:gd name="T1" fmla="*/ 11540 h 104"/>
                <a:gd name="T2" fmla="*/ 64797 w 186"/>
                <a:gd name="T3" fmla="*/ 11540 h 104"/>
                <a:gd name="T4" fmla="*/ 62578 w 186"/>
                <a:gd name="T5" fmla="*/ 10990 h 104"/>
                <a:gd name="T6" fmla="*/ 60359 w 186"/>
                <a:gd name="T7" fmla="*/ 9891 h 104"/>
                <a:gd name="T8" fmla="*/ 59028 w 186"/>
                <a:gd name="T9" fmla="*/ 8243 h 104"/>
                <a:gd name="T10" fmla="*/ 57696 w 186"/>
                <a:gd name="T11" fmla="*/ 7144 h 104"/>
                <a:gd name="T12" fmla="*/ 55477 w 186"/>
                <a:gd name="T13" fmla="*/ 6045 h 104"/>
                <a:gd name="T14" fmla="*/ 53258 w 186"/>
                <a:gd name="T15" fmla="*/ 5495 h 104"/>
                <a:gd name="T16" fmla="*/ 50151 w 186"/>
                <a:gd name="T17" fmla="*/ 4946 h 104"/>
                <a:gd name="T18" fmla="*/ 44382 w 186"/>
                <a:gd name="T19" fmla="*/ 4396 h 104"/>
                <a:gd name="T20" fmla="*/ 39056 w 186"/>
                <a:gd name="T21" fmla="*/ 3297 h 104"/>
                <a:gd name="T22" fmla="*/ 33286 w 186"/>
                <a:gd name="T23" fmla="*/ 1649 h 104"/>
                <a:gd name="T24" fmla="*/ 28404 w 186"/>
                <a:gd name="T25" fmla="*/ 550 h 104"/>
                <a:gd name="T26" fmla="*/ 26629 w 186"/>
                <a:gd name="T27" fmla="*/ 0 h 104"/>
                <a:gd name="T28" fmla="*/ 23966 w 186"/>
                <a:gd name="T29" fmla="*/ 0 h 104"/>
                <a:gd name="T30" fmla="*/ 22635 w 186"/>
                <a:gd name="T31" fmla="*/ 550 h 104"/>
                <a:gd name="T32" fmla="*/ 20416 w 186"/>
                <a:gd name="T33" fmla="*/ 1099 h 104"/>
                <a:gd name="T34" fmla="*/ 19528 w 186"/>
                <a:gd name="T35" fmla="*/ 2198 h 104"/>
                <a:gd name="T36" fmla="*/ 18640 w 186"/>
                <a:gd name="T37" fmla="*/ 3297 h 104"/>
                <a:gd name="T38" fmla="*/ 18197 w 186"/>
                <a:gd name="T39" fmla="*/ 5495 h 104"/>
                <a:gd name="T40" fmla="*/ 17753 w 186"/>
                <a:gd name="T41" fmla="*/ 8243 h 104"/>
                <a:gd name="T42" fmla="*/ 15090 w 186"/>
                <a:gd name="T43" fmla="*/ 14837 h 104"/>
                <a:gd name="T44" fmla="*/ 8876 w 186"/>
                <a:gd name="T45" fmla="*/ 25827 h 104"/>
                <a:gd name="T46" fmla="*/ 3107 w 186"/>
                <a:gd name="T47" fmla="*/ 36268 h 104"/>
                <a:gd name="T48" fmla="*/ 0 w 186"/>
                <a:gd name="T49" fmla="*/ 42313 h 104"/>
                <a:gd name="T50" fmla="*/ 3551 w 186"/>
                <a:gd name="T51" fmla="*/ 42313 h 104"/>
                <a:gd name="T52" fmla="*/ 7101 w 186"/>
                <a:gd name="T53" fmla="*/ 42862 h 104"/>
                <a:gd name="T54" fmla="*/ 9320 w 186"/>
                <a:gd name="T55" fmla="*/ 43412 h 104"/>
                <a:gd name="T56" fmla="*/ 11095 w 186"/>
                <a:gd name="T57" fmla="*/ 44511 h 104"/>
                <a:gd name="T58" fmla="*/ 14646 w 186"/>
                <a:gd name="T59" fmla="*/ 46709 h 104"/>
                <a:gd name="T60" fmla="*/ 17753 w 186"/>
                <a:gd name="T61" fmla="*/ 48907 h 104"/>
                <a:gd name="T62" fmla="*/ 19972 w 186"/>
                <a:gd name="T63" fmla="*/ 51655 h 104"/>
                <a:gd name="T64" fmla="*/ 23078 w 186"/>
                <a:gd name="T65" fmla="*/ 53853 h 104"/>
                <a:gd name="T66" fmla="*/ 24854 w 186"/>
                <a:gd name="T67" fmla="*/ 54952 h 104"/>
                <a:gd name="T68" fmla="*/ 27073 w 186"/>
                <a:gd name="T69" fmla="*/ 55501 h 104"/>
                <a:gd name="T70" fmla="*/ 29292 w 186"/>
                <a:gd name="T71" fmla="*/ 56051 h 104"/>
                <a:gd name="T72" fmla="*/ 32842 w 186"/>
                <a:gd name="T73" fmla="*/ 56051 h 104"/>
                <a:gd name="T74" fmla="*/ 47488 w 186"/>
                <a:gd name="T75" fmla="*/ 56600 h 104"/>
                <a:gd name="T76" fmla="*/ 58140 w 186"/>
                <a:gd name="T77" fmla="*/ 57150 h 104"/>
                <a:gd name="T78" fmla="*/ 59915 w 186"/>
                <a:gd name="T79" fmla="*/ 56600 h 104"/>
                <a:gd name="T80" fmla="*/ 61691 w 186"/>
                <a:gd name="T81" fmla="*/ 56051 h 104"/>
                <a:gd name="T82" fmla="*/ 63022 w 186"/>
                <a:gd name="T83" fmla="*/ 54952 h 104"/>
                <a:gd name="T84" fmla="*/ 64353 w 186"/>
                <a:gd name="T85" fmla="*/ 53303 h 104"/>
                <a:gd name="T86" fmla="*/ 65241 w 186"/>
                <a:gd name="T87" fmla="*/ 51655 h 104"/>
                <a:gd name="T88" fmla="*/ 66573 w 186"/>
                <a:gd name="T89" fmla="*/ 48358 h 104"/>
                <a:gd name="T90" fmla="*/ 67460 w 186"/>
                <a:gd name="T91" fmla="*/ 45610 h 104"/>
                <a:gd name="T92" fmla="*/ 67904 w 186"/>
                <a:gd name="T93" fmla="*/ 42313 h 104"/>
                <a:gd name="T94" fmla="*/ 82550 w 186"/>
                <a:gd name="T95" fmla="*/ 14837 h 104"/>
                <a:gd name="T96" fmla="*/ 67904 w 186"/>
                <a:gd name="T97" fmla="*/ 11540 h 10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186" h="104">
                  <a:moveTo>
                    <a:pt x="153" y="21"/>
                  </a:moveTo>
                  <a:lnTo>
                    <a:pt x="146" y="21"/>
                  </a:lnTo>
                  <a:lnTo>
                    <a:pt x="141" y="20"/>
                  </a:lnTo>
                  <a:lnTo>
                    <a:pt x="136" y="18"/>
                  </a:lnTo>
                  <a:lnTo>
                    <a:pt x="133" y="15"/>
                  </a:lnTo>
                  <a:lnTo>
                    <a:pt x="130" y="13"/>
                  </a:lnTo>
                  <a:lnTo>
                    <a:pt x="125" y="11"/>
                  </a:lnTo>
                  <a:lnTo>
                    <a:pt x="120" y="10"/>
                  </a:lnTo>
                  <a:lnTo>
                    <a:pt x="113" y="9"/>
                  </a:lnTo>
                  <a:lnTo>
                    <a:pt x="100" y="8"/>
                  </a:lnTo>
                  <a:lnTo>
                    <a:pt x="88" y="6"/>
                  </a:lnTo>
                  <a:lnTo>
                    <a:pt x="75" y="3"/>
                  </a:lnTo>
                  <a:lnTo>
                    <a:pt x="64" y="1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51" y="1"/>
                  </a:lnTo>
                  <a:lnTo>
                    <a:pt x="46" y="2"/>
                  </a:lnTo>
                  <a:lnTo>
                    <a:pt x="44" y="4"/>
                  </a:lnTo>
                  <a:lnTo>
                    <a:pt x="42" y="6"/>
                  </a:lnTo>
                  <a:lnTo>
                    <a:pt x="41" y="10"/>
                  </a:lnTo>
                  <a:lnTo>
                    <a:pt x="40" y="15"/>
                  </a:lnTo>
                  <a:lnTo>
                    <a:pt x="34" y="27"/>
                  </a:lnTo>
                  <a:lnTo>
                    <a:pt x="20" y="47"/>
                  </a:lnTo>
                  <a:lnTo>
                    <a:pt x="7" y="66"/>
                  </a:lnTo>
                  <a:lnTo>
                    <a:pt x="0" y="77"/>
                  </a:lnTo>
                  <a:lnTo>
                    <a:pt x="8" y="77"/>
                  </a:lnTo>
                  <a:lnTo>
                    <a:pt x="16" y="78"/>
                  </a:lnTo>
                  <a:lnTo>
                    <a:pt x="21" y="79"/>
                  </a:lnTo>
                  <a:lnTo>
                    <a:pt x="25" y="81"/>
                  </a:lnTo>
                  <a:lnTo>
                    <a:pt x="33" y="85"/>
                  </a:lnTo>
                  <a:lnTo>
                    <a:pt x="40" y="89"/>
                  </a:lnTo>
                  <a:lnTo>
                    <a:pt x="45" y="94"/>
                  </a:lnTo>
                  <a:lnTo>
                    <a:pt x="52" y="98"/>
                  </a:lnTo>
                  <a:lnTo>
                    <a:pt x="56" y="100"/>
                  </a:lnTo>
                  <a:lnTo>
                    <a:pt x="61" y="101"/>
                  </a:lnTo>
                  <a:lnTo>
                    <a:pt x="66" y="102"/>
                  </a:lnTo>
                  <a:lnTo>
                    <a:pt x="74" y="102"/>
                  </a:lnTo>
                  <a:lnTo>
                    <a:pt x="107" y="103"/>
                  </a:lnTo>
                  <a:lnTo>
                    <a:pt x="131" y="104"/>
                  </a:lnTo>
                  <a:lnTo>
                    <a:pt x="135" y="103"/>
                  </a:lnTo>
                  <a:lnTo>
                    <a:pt x="139" y="102"/>
                  </a:lnTo>
                  <a:lnTo>
                    <a:pt x="142" y="100"/>
                  </a:lnTo>
                  <a:lnTo>
                    <a:pt x="145" y="97"/>
                  </a:lnTo>
                  <a:lnTo>
                    <a:pt x="147" y="94"/>
                  </a:lnTo>
                  <a:lnTo>
                    <a:pt x="150" y="88"/>
                  </a:lnTo>
                  <a:lnTo>
                    <a:pt x="152" y="83"/>
                  </a:lnTo>
                  <a:lnTo>
                    <a:pt x="153" y="77"/>
                  </a:lnTo>
                  <a:lnTo>
                    <a:pt x="186" y="27"/>
                  </a:lnTo>
                  <a:lnTo>
                    <a:pt x="153" y="2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887" name="Freeform 446"/>
            <p:cNvSpPr>
              <a:spLocks/>
            </p:cNvSpPr>
            <p:nvPr>
              <p:custDataLst>
                <p:tags r:id="rId279"/>
              </p:custDataLst>
            </p:nvPr>
          </p:nvSpPr>
          <p:spPr bwMode="auto">
            <a:xfrm>
              <a:off x="6208608" y="2424064"/>
              <a:ext cx="158978" cy="116290"/>
            </a:xfrm>
            <a:custGeom>
              <a:avLst/>
              <a:gdLst>
                <a:gd name="T0" fmla="*/ 33873 w 311"/>
                <a:gd name="T1" fmla="*/ 20558 h 179"/>
                <a:gd name="T2" fmla="*/ 49309 w 311"/>
                <a:gd name="T3" fmla="*/ 14066 h 179"/>
                <a:gd name="T4" fmla="*/ 63459 w 311"/>
                <a:gd name="T5" fmla="*/ 7574 h 179"/>
                <a:gd name="T6" fmla="*/ 76323 w 311"/>
                <a:gd name="T7" fmla="*/ 2164 h 179"/>
                <a:gd name="T8" fmla="*/ 90472 w 311"/>
                <a:gd name="T9" fmla="*/ 0 h 179"/>
                <a:gd name="T10" fmla="*/ 101192 w 311"/>
                <a:gd name="T11" fmla="*/ 1082 h 179"/>
                <a:gd name="T12" fmla="*/ 109767 w 311"/>
                <a:gd name="T13" fmla="*/ 3246 h 179"/>
                <a:gd name="T14" fmla="*/ 125203 w 311"/>
                <a:gd name="T15" fmla="*/ 6492 h 179"/>
                <a:gd name="T16" fmla="*/ 123059 w 311"/>
                <a:gd name="T17" fmla="*/ 15148 h 179"/>
                <a:gd name="T18" fmla="*/ 119200 w 311"/>
                <a:gd name="T19" fmla="*/ 22722 h 179"/>
                <a:gd name="T20" fmla="*/ 115341 w 311"/>
                <a:gd name="T21" fmla="*/ 28673 h 179"/>
                <a:gd name="T22" fmla="*/ 113626 w 311"/>
                <a:gd name="T23" fmla="*/ 33542 h 179"/>
                <a:gd name="T24" fmla="*/ 114055 w 311"/>
                <a:gd name="T25" fmla="*/ 35706 h 179"/>
                <a:gd name="T26" fmla="*/ 116199 w 311"/>
                <a:gd name="T27" fmla="*/ 38411 h 179"/>
                <a:gd name="T28" fmla="*/ 122202 w 311"/>
                <a:gd name="T29" fmla="*/ 42739 h 179"/>
                <a:gd name="T30" fmla="*/ 133350 w 311"/>
                <a:gd name="T31" fmla="*/ 50312 h 179"/>
                <a:gd name="T32" fmla="*/ 123059 w 311"/>
                <a:gd name="T33" fmla="*/ 57886 h 179"/>
                <a:gd name="T34" fmla="*/ 120487 w 311"/>
                <a:gd name="T35" fmla="*/ 62214 h 179"/>
                <a:gd name="T36" fmla="*/ 119200 w 311"/>
                <a:gd name="T37" fmla="*/ 69788 h 179"/>
                <a:gd name="T38" fmla="*/ 108052 w 311"/>
                <a:gd name="T39" fmla="*/ 73575 h 179"/>
                <a:gd name="T40" fmla="*/ 90472 w 311"/>
                <a:gd name="T41" fmla="*/ 80067 h 179"/>
                <a:gd name="T42" fmla="*/ 81897 w 311"/>
                <a:gd name="T43" fmla="*/ 90887 h 179"/>
                <a:gd name="T44" fmla="*/ 76323 w 311"/>
                <a:gd name="T45" fmla="*/ 95215 h 179"/>
                <a:gd name="T46" fmla="*/ 70748 w 311"/>
                <a:gd name="T47" fmla="*/ 96838 h 179"/>
                <a:gd name="T48" fmla="*/ 64745 w 311"/>
                <a:gd name="T49" fmla="*/ 94674 h 179"/>
                <a:gd name="T50" fmla="*/ 58743 w 311"/>
                <a:gd name="T51" fmla="*/ 90346 h 179"/>
                <a:gd name="T52" fmla="*/ 51453 w 311"/>
                <a:gd name="T53" fmla="*/ 85477 h 179"/>
                <a:gd name="T54" fmla="*/ 42020 w 311"/>
                <a:gd name="T55" fmla="*/ 83854 h 179"/>
                <a:gd name="T56" fmla="*/ 28299 w 311"/>
                <a:gd name="T57" fmla="*/ 83854 h 179"/>
                <a:gd name="T58" fmla="*/ 21868 w 311"/>
                <a:gd name="T59" fmla="*/ 84936 h 179"/>
                <a:gd name="T60" fmla="*/ 16722 w 311"/>
                <a:gd name="T61" fmla="*/ 87100 h 179"/>
                <a:gd name="T62" fmla="*/ 15436 w 311"/>
                <a:gd name="T63" fmla="*/ 76821 h 179"/>
                <a:gd name="T64" fmla="*/ 13721 w 311"/>
                <a:gd name="T65" fmla="*/ 66542 h 179"/>
                <a:gd name="T66" fmla="*/ 9004 w 311"/>
                <a:gd name="T67" fmla="*/ 69247 h 179"/>
                <a:gd name="T68" fmla="*/ 5574 w 311"/>
                <a:gd name="T69" fmla="*/ 69788 h 179"/>
                <a:gd name="T70" fmla="*/ 3001 w 311"/>
                <a:gd name="T71" fmla="*/ 68165 h 179"/>
                <a:gd name="T72" fmla="*/ 1286 w 311"/>
                <a:gd name="T73" fmla="*/ 65460 h 179"/>
                <a:gd name="T74" fmla="*/ 0 w 311"/>
                <a:gd name="T75" fmla="*/ 56804 h 179"/>
                <a:gd name="T76" fmla="*/ 0 w 311"/>
                <a:gd name="T77" fmla="*/ 47067 h 179"/>
                <a:gd name="T78" fmla="*/ 1286 w 311"/>
                <a:gd name="T79" fmla="*/ 44362 h 179"/>
                <a:gd name="T80" fmla="*/ 5574 w 311"/>
                <a:gd name="T81" fmla="*/ 42198 h 179"/>
                <a:gd name="T82" fmla="*/ 9004 w 311"/>
                <a:gd name="T83" fmla="*/ 38952 h 179"/>
                <a:gd name="T84" fmla="*/ 10719 w 311"/>
                <a:gd name="T85" fmla="*/ 36788 h 179"/>
                <a:gd name="T86" fmla="*/ 11148 w 311"/>
                <a:gd name="T87" fmla="*/ 33542 h 179"/>
                <a:gd name="T88" fmla="*/ 10291 w 311"/>
                <a:gd name="T89" fmla="*/ 27591 h 179"/>
                <a:gd name="T90" fmla="*/ 8147 w 311"/>
                <a:gd name="T91" fmla="*/ 23263 h 179"/>
                <a:gd name="T92" fmla="*/ 3430 w 311"/>
                <a:gd name="T93" fmla="*/ 15689 h 179"/>
                <a:gd name="T94" fmla="*/ 429 w 311"/>
                <a:gd name="T95" fmla="*/ 9738 h 179"/>
                <a:gd name="T96" fmla="*/ 429 w 311"/>
                <a:gd name="T97" fmla="*/ 7033 h 179"/>
                <a:gd name="T98" fmla="*/ 2573 w 311"/>
                <a:gd name="T99" fmla="*/ 3246 h 179"/>
                <a:gd name="T100" fmla="*/ 0 w 311"/>
                <a:gd name="T101" fmla="*/ 3246 h 17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311" h="179">
                  <a:moveTo>
                    <a:pt x="0" y="6"/>
                  </a:moveTo>
                  <a:lnTo>
                    <a:pt x="79" y="38"/>
                  </a:lnTo>
                  <a:lnTo>
                    <a:pt x="97" y="33"/>
                  </a:lnTo>
                  <a:lnTo>
                    <a:pt x="115" y="26"/>
                  </a:lnTo>
                  <a:lnTo>
                    <a:pt x="132" y="20"/>
                  </a:lnTo>
                  <a:lnTo>
                    <a:pt x="148" y="14"/>
                  </a:lnTo>
                  <a:lnTo>
                    <a:pt x="163" y="9"/>
                  </a:lnTo>
                  <a:lnTo>
                    <a:pt x="178" y="4"/>
                  </a:lnTo>
                  <a:lnTo>
                    <a:pt x="195" y="1"/>
                  </a:lnTo>
                  <a:lnTo>
                    <a:pt x="211" y="0"/>
                  </a:lnTo>
                  <a:lnTo>
                    <a:pt x="224" y="1"/>
                  </a:lnTo>
                  <a:lnTo>
                    <a:pt x="236" y="2"/>
                  </a:lnTo>
                  <a:lnTo>
                    <a:pt x="247" y="4"/>
                  </a:lnTo>
                  <a:lnTo>
                    <a:pt x="256" y="6"/>
                  </a:lnTo>
                  <a:lnTo>
                    <a:pt x="275" y="10"/>
                  </a:lnTo>
                  <a:lnTo>
                    <a:pt x="292" y="12"/>
                  </a:lnTo>
                  <a:lnTo>
                    <a:pt x="290" y="21"/>
                  </a:lnTo>
                  <a:lnTo>
                    <a:pt x="287" y="28"/>
                  </a:lnTo>
                  <a:lnTo>
                    <a:pt x="283" y="36"/>
                  </a:lnTo>
                  <a:lnTo>
                    <a:pt x="278" y="42"/>
                  </a:lnTo>
                  <a:lnTo>
                    <a:pt x="273" y="48"/>
                  </a:lnTo>
                  <a:lnTo>
                    <a:pt x="269" y="53"/>
                  </a:lnTo>
                  <a:lnTo>
                    <a:pt x="266" y="57"/>
                  </a:lnTo>
                  <a:lnTo>
                    <a:pt x="265" y="62"/>
                  </a:lnTo>
                  <a:lnTo>
                    <a:pt x="265" y="64"/>
                  </a:lnTo>
                  <a:lnTo>
                    <a:pt x="266" y="66"/>
                  </a:lnTo>
                  <a:lnTo>
                    <a:pt x="269" y="69"/>
                  </a:lnTo>
                  <a:lnTo>
                    <a:pt x="271" y="71"/>
                  </a:lnTo>
                  <a:lnTo>
                    <a:pt x="277" y="75"/>
                  </a:lnTo>
                  <a:lnTo>
                    <a:pt x="285" y="79"/>
                  </a:lnTo>
                  <a:lnTo>
                    <a:pt x="301" y="87"/>
                  </a:lnTo>
                  <a:lnTo>
                    <a:pt x="311" y="93"/>
                  </a:lnTo>
                  <a:lnTo>
                    <a:pt x="298" y="100"/>
                  </a:lnTo>
                  <a:lnTo>
                    <a:pt x="287" y="107"/>
                  </a:lnTo>
                  <a:lnTo>
                    <a:pt x="283" y="110"/>
                  </a:lnTo>
                  <a:lnTo>
                    <a:pt x="281" y="115"/>
                  </a:lnTo>
                  <a:lnTo>
                    <a:pt x="278" y="121"/>
                  </a:lnTo>
                  <a:lnTo>
                    <a:pt x="278" y="129"/>
                  </a:lnTo>
                  <a:lnTo>
                    <a:pt x="271" y="131"/>
                  </a:lnTo>
                  <a:lnTo>
                    <a:pt x="252" y="136"/>
                  </a:lnTo>
                  <a:lnTo>
                    <a:pt x="230" y="143"/>
                  </a:lnTo>
                  <a:lnTo>
                    <a:pt x="211" y="148"/>
                  </a:lnTo>
                  <a:lnTo>
                    <a:pt x="202" y="158"/>
                  </a:lnTo>
                  <a:lnTo>
                    <a:pt x="191" y="168"/>
                  </a:lnTo>
                  <a:lnTo>
                    <a:pt x="185" y="172"/>
                  </a:lnTo>
                  <a:lnTo>
                    <a:pt x="178" y="176"/>
                  </a:lnTo>
                  <a:lnTo>
                    <a:pt x="172" y="178"/>
                  </a:lnTo>
                  <a:lnTo>
                    <a:pt x="165" y="179"/>
                  </a:lnTo>
                  <a:lnTo>
                    <a:pt x="158" y="178"/>
                  </a:lnTo>
                  <a:lnTo>
                    <a:pt x="151" y="175"/>
                  </a:lnTo>
                  <a:lnTo>
                    <a:pt x="144" y="171"/>
                  </a:lnTo>
                  <a:lnTo>
                    <a:pt x="137" y="167"/>
                  </a:lnTo>
                  <a:lnTo>
                    <a:pt x="129" y="162"/>
                  </a:lnTo>
                  <a:lnTo>
                    <a:pt x="120" y="158"/>
                  </a:lnTo>
                  <a:lnTo>
                    <a:pt x="110" y="156"/>
                  </a:lnTo>
                  <a:lnTo>
                    <a:pt x="98" y="155"/>
                  </a:lnTo>
                  <a:lnTo>
                    <a:pt x="83" y="155"/>
                  </a:lnTo>
                  <a:lnTo>
                    <a:pt x="66" y="155"/>
                  </a:lnTo>
                  <a:lnTo>
                    <a:pt x="59" y="156"/>
                  </a:lnTo>
                  <a:lnTo>
                    <a:pt x="51" y="157"/>
                  </a:lnTo>
                  <a:lnTo>
                    <a:pt x="45" y="159"/>
                  </a:lnTo>
                  <a:lnTo>
                    <a:pt x="39" y="161"/>
                  </a:lnTo>
                  <a:lnTo>
                    <a:pt x="38" y="151"/>
                  </a:lnTo>
                  <a:lnTo>
                    <a:pt x="36" y="142"/>
                  </a:lnTo>
                  <a:lnTo>
                    <a:pt x="34" y="132"/>
                  </a:lnTo>
                  <a:lnTo>
                    <a:pt x="32" y="123"/>
                  </a:lnTo>
                  <a:lnTo>
                    <a:pt x="26" y="126"/>
                  </a:lnTo>
                  <a:lnTo>
                    <a:pt x="21" y="128"/>
                  </a:lnTo>
                  <a:lnTo>
                    <a:pt x="17" y="129"/>
                  </a:lnTo>
                  <a:lnTo>
                    <a:pt x="13" y="129"/>
                  </a:lnTo>
                  <a:lnTo>
                    <a:pt x="9" y="128"/>
                  </a:lnTo>
                  <a:lnTo>
                    <a:pt x="7" y="126"/>
                  </a:lnTo>
                  <a:lnTo>
                    <a:pt x="5" y="124"/>
                  </a:lnTo>
                  <a:lnTo>
                    <a:pt x="3" y="121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0" y="96"/>
                  </a:lnTo>
                  <a:lnTo>
                    <a:pt x="0" y="87"/>
                  </a:lnTo>
                  <a:lnTo>
                    <a:pt x="1" y="84"/>
                  </a:lnTo>
                  <a:lnTo>
                    <a:pt x="3" y="82"/>
                  </a:lnTo>
                  <a:lnTo>
                    <a:pt x="7" y="80"/>
                  </a:lnTo>
                  <a:lnTo>
                    <a:pt x="13" y="78"/>
                  </a:lnTo>
                  <a:lnTo>
                    <a:pt x="17" y="76"/>
                  </a:lnTo>
                  <a:lnTo>
                    <a:pt x="21" y="72"/>
                  </a:lnTo>
                  <a:lnTo>
                    <a:pt x="23" y="70"/>
                  </a:lnTo>
                  <a:lnTo>
                    <a:pt x="25" y="68"/>
                  </a:lnTo>
                  <a:lnTo>
                    <a:pt x="25" y="65"/>
                  </a:lnTo>
                  <a:lnTo>
                    <a:pt x="26" y="62"/>
                  </a:lnTo>
                  <a:lnTo>
                    <a:pt x="25" y="56"/>
                  </a:lnTo>
                  <a:lnTo>
                    <a:pt x="24" y="51"/>
                  </a:lnTo>
                  <a:lnTo>
                    <a:pt x="21" y="47"/>
                  </a:lnTo>
                  <a:lnTo>
                    <a:pt x="19" y="43"/>
                  </a:lnTo>
                  <a:lnTo>
                    <a:pt x="14" y="36"/>
                  </a:lnTo>
                  <a:lnTo>
                    <a:pt x="8" y="29"/>
                  </a:lnTo>
                  <a:lnTo>
                    <a:pt x="3" y="24"/>
                  </a:lnTo>
                  <a:lnTo>
                    <a:pt x="1" y="18"/>
                  </a:lnTo>
                  <a:lnTo>
                    <a:pt x="0" y="16"/>
                  </a:lnTo>
                  <a:lnTo>
                    <a:pt x="1" y="13"/>
                  </a:lnTo>
                  <a:lnTo>
                    <a:pt x="3" y="10"/>
                  </a:lnTo>
                  <a:lnTo>
                    <a:pt x="6" y="6"/>
                  </a:lnTo>
                  <a:lnTo>
                    <a:pt x="3" y="6"/>
                  </a:lnTo>
                  <a:lnTo>
                    <a:pt x="0" y="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888" name="Freeform 447"/>
            <p:cNvSpPr>
              <a:spLocks/>
            </p:cNvSpPr>
            <p:nvPr>
              <p:custDataLst>
                <p:tags r:id="rId280"/>
              </p:custDataLst>
            </p:nvPr>
          </p:nvSpPr>
          <p:spPr bwMode="auto">
            <a:xfrm>
              <a:off x="5440212" y="3537389"/>
              <a:ext cx="211971" cy="198263"/>
            </a:xfrm>
            <a:custGeom>
              <a:avLst/>
              <a:gdLst>
                <a:gd name="T0" fmla="*/ 2634 w 405"/>
                <a:gd name="T1" fmla="*/ 136707 h 314"/>
                <a:gd name="T2" fmla="*/ 5707 w 405"/>
                <a:gd name="T3" fmla="*/ 124614 h 314"/>
                <a:gd name="T4" fmla="*/ 7463 w 405"/>
                <a:gd name="T5" fmla="*/ 106211 h 314"/>
                <a:gd name="T6" fmla="*/ 10097 w 405"/>
                <a:gd name="T7" fmla="*/ 90963 h 314"/>
                <a:gd name="T8" fmla="*/ 14048 w 405"/>
                <a:gd name="T9" fmla="*/ 85179 h 314"/>
                <a:gd name="T10" fmla="*/ 21073 w 405"/>
                <a:gd name="T11" fmla="*/ 78869 h 314"/>
                <a:gd name="T12" fmla="*/ 31609 w 405"/>
                <a:gd name="T13" fmla="*/ 74137 h 314"/>
                <a:gd name="T14" fmla="*/ 40828 w 405"/>
                <a:gd name="T15" fmla="*/ 70457 h 314"/>
                <a:gd name="T16" fmla="*/ 45657 w 405"/>
                <a:gd name="T17" fmla="*/ 65725 h 314"/>
                <a:gd name="T18" fmla="*/ 49608 w 405"/>
                <a:gd name="T19" fmla="*/ 59941 h 314"/>
                <a:gd name="T20" fmla="*/ 53999 w 405"/>
                <a:gd name="T21" fmla="*/ 48899 h 314"/>
                <a:gd name="T22" fmla="*/ 59706 w 405"/>
                <a:gd name="T23" fmla="*/ 36280 h 314"/>
                <a:gd name="T24" fmla="*/ 64535 w 405"/>
                <a:gd name="T25" fmla="*/ 28919 h 314"/>
                <a:gd name="T26" fmla="*/ 68047 w 405"/>
                <a:gd name="T27" fmla="*/ 26816 h 314"/>
                <a:gd name="T28" fmla="*/ 74632 w 405"/>
                <a:gd name="T29" fmla="*/ 26816 h 314"/>
                <a:gd name="T30" fmla="*/ 82973 w 405"/>
                <a:gd name="T31" fmla="*/ 25238 h 314"/>
                <a:gd name="T32" fmla="*/ 93510 w 405"/>
                <a:gd name="T33" fmla="*/ 18403 h 314"/>
                <a:gd name="T34" fmla="*/ 104046 w 405"/>
                <a:gd name="T35" fmla="*/ 10516 h 314"/>
                <a:gd name="T36" fmla="*/ 112826 w 405"/>
                <a:gd name="T37" fmla="*/ 5784 h 314"/>
                <a:gd name="T38" fmla="*/ 123801 w 405"/>
                <a:gd name="T39" fmla="*/ 2103 h 314"/>
                <a:gd name="T40" fmla="*/ 137850 w 405"/>
                <a:gd name="T41" fmla="*/ 0 h 314"/>
                <a:gd name="T42" fmla="*/ 145752 w 405"/>
                <a:gd name="T43" fmla="*/ 7361 h 314"/>
                <a:gd name="T44" fmla="*/ 147947 w 405"/>
                <a:gd name="T45" fmla="*/ 17877 h 314"/>
                <a:gd name="T46" fmla="*/ 150581 w 405"/>
                <a:gd name="T47" fmla="*/ 26290 h 314"/>
                <a:gd name="T48" fmla="*/ 154532 w 405"/>
                <a:gd name="T49" fmla="*/ 32599 h 314"/>
                <a:gd name="T50" fmla="*/ 161557 w 405"/>
                <a:gd name="T51" fmla="*/ 38909 h 314"/>
                <a:gd name="T52" fmla="*/ 167703 w 405"/>
                <a:gd name="T53" fmla="*/ 44693 h 314"/>
                <a:gd name="T54" fmla="*/ 171215 w 405"/>
                <a:gd name="T55" fmla="*/ 48899 h 314"/>
                <a:gd name="T56" fmla="*/ 173849 w 405"/>
                <a:gd name="T57" fmla="*/ 60467 h 314"/>
                <a:gd name="T58" fmla="*/ 174727 w 405"/>
                <a:gd name="T59" fmla="*/ 75189 h 314"/>
                <a:gd name="T60" fmla="*/ 174727 w 405"/>
                <a:gd name="T61" fmla="*/ 89385 h 314"/>
                <a:gd name="T62" fmla="*/ 176483 w 405"/>
                <a:gd name="T63" fmla="*/ 103056 h 314"/>
                <a:gd name="T64" fmla="*/ 174727 w 405"/>
                <a:gd name="T65" fmla="*/ 114098 h 314"/>
                <a:gd name="T66" fmla="*/ 167703 w 405"/>
                <a:gd name="T67" fmla="*/ 118830 h 314"/>
                <a:gd name="T68" fmla="*/ 160240 w 405"/>
                <a:gd name="T69" fmla="*/ 126717 h 314"/>
                <a:gd name="T70" fmla="*/ 159361 w 405"/>
                <a:gd name="T71" fmla="*/ 124614 h 314"/>
                <a:gd name="T72" fmla="*/ 157166 w 405"/>
                <a:gd name="T73" fmla="*/ 122511 h 314"/>
                <a:gd name="T74" fmla="*/ 150142 w 405"/>
                <a:gd name="T75" fmla="*/ 119356 h 314"/>
                <a:gd name="T76" fmla="*/ 140045 w 405"/>
                <a:gd name="T77" fmla="*/ 117253 h 314"/>
                <a:gd name="T78" fmla="*/ 66730 w 405"/>
                <a:gd name="T79" fmla="*/ 126717 h 314"/>
                <a:gd name="T80" fmla="*/ 65852 w 405"/>
                <a:gd name="T81" fmla="*/ 135130 h 314"/>
                <a:gd name="T82" fmla="*/ 65852 w 405"/>
                <a:gd name="T83" fmla="*/ 144068 h 314"/>
                <a:gd name="T84" fmla="*/ 66730 w 405"/>
                <a:gd name="T85" fmla="*/ 165100 h 314"/>
                <a:gd name="T86" fmla="*/ 61023 w 405"/>
                <a:gd name="T87" fmla="*/ 164048 h 314"/>
                <a:gd name="T88" fmla="*/ 55316 w 405"/>
                <a:gd name="T89" fmla="*/ 160368 h 314"/>
                <a:gd name="T90" fmla="*/ 43901 w 405"/>
                <a:gd name="T91" fmla="*/ 152481 h 314"/>
                <a:gd name="T92" fmla="*/ 39072 w 405"/>
                <a:gd name="T93" fmla="*/ 161419 h 314"/>
                <a:gd name="T94" fmla="*/ 35999 w 405"/>
                <a:gd name="T95" fmla="*/ 164048 h 314"/>
                <a:gd name="T96" fmla="*/ 32048 w 405"/>
                <a:gd name="T97" fmla="*/ 165100 h 314"/>
                <a:gd name="T98" fmla="*/ 26341 w 405"/>
                <a:gd name="T99" fmla="*/ 163523 h 314"/>
                <a:gd name="T100" fmla="*/ 20634 w 405"/>
                <a:gd name="T101" fmla="*/ 158790 h 314"/>
                <a:gd name="T102" fmla="*/ 12292 w 405"/>
                <a:gd name="T103" fmla="*/ 153007 h 314"/>
                <a:gd name="T104" fmla="*/ 0 w 405"/>
                <a:gd name="T105" fmla="*/ 149326 h 31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405" h="314">
                  <a:moveTo>
                    <a:pt x="0" y="272"/>
                  </a:moveTo>
                  <a:lnTo>
                    <a:pt x="6" y="260"/>
                  </a:lnTo>
                  <a:lnTo>
                    <a:pt x="11" y="248"/>
                  </a:lnTo>
                  <a:lnTo>
                    <a:pt x="13" y="237"/>
                  </a:lnTo>
                  <a:lnTo>
                    <a:pt x="15" y="226"/>
                  </a:lnTo>
                  <a:lnTo>
                    <a:pt x="17" y="202"/>
                  </a:lnTo>
                  <a:lnTo>
                    <a:pt x="20" y="179"/>
                  </a:lnTo>
                  <a:lnTo>
                    <a:pt x="23" y="173"/>
                  </a:lnTo>
                  <a:lnTo>
                    <a:pt x="26" y="167"/>
                  </a:lnTo>
                  <a:lnTo>
                    <a:pt x="32" y="162"/>
                  </a:lnTo>
                  <a:lnTo>
                    <a:pt x="36" y="158"/>
                  </a:lnTo>
                  <a:lnTo>
                    <a:pt x="48" y="150"/>
                  </a:lnTo>
                  <a:lnTo>
                    <a:pt x="60" y="145"/>
                  </a:lnTo>
                  <a:lnTo>
                    <a:pt x="72" y="141"/>
                  </a:lnTo>
                  <a:lnTo>
                    <a:pt x="83" y="137"/>
                  </a:lnTo>
                  <a:lnTo>
                    <a:pt x="93" y="134"/>
                  </a:lnTo>
                  <a:lnTo>
                    <a:pt x="100" y="130"/>
                  </a:lnTo>
                  <a:lnTo>
                    <a:pt x="104" y="125"/>
                  </a:lnTo>
                  <a:lnTo>
                    <a:pt x="109" y="120"/>
                  </a:lnTo>
                  <a:lnTo>
                    <a:pt x="113" y="114"/>
                  </a:lnTo>
                  <a:lnTo>
                    <a:pt x="116" y="107"/>
                  </a:lnTo>
                  <a:lnTo>
                    <a:pt x="123" y="93"/>
                  </a:lnTo>
                  <a:lnTo>
                    <a:pt x="129" y="81"/>
                  </a:lnTo>
                  <a:lnTo>
                    <a:pt x="136" y="69"/>
                  </a:lnTo>
                  <a:lnTo>
                    <a:pt x="143" y="59"/>
                  </a:lnTo>
                  <a:lnTo>
                    <a:pt x="147" y="55"/>
                  </a:lnTo>
                  <a:lnTo>
                    <a:pt x="150" y="53"/>
                  </a:lnTo>
                  <a:lnTo>
                    <a:pt x="155" y="51"/>
                  </a:lnTo>
                  <a:lnTo>
                    <a:pt x="159" y="50"/>
                  </a:lnTo>
                  <a:lnTo>
                    <a:pt x="170" y="51"/>
                  </a:lnTo>
                  <a:lnTo>
                    <a:pt x="180" y="50"/>
                  </a:lnTo>
                  <a:lnTo>
                    <a:pt x="189" y="48"/>
                  </a:lnTo>
                  <a:lnTo>
                    <a:pt x="196" y="44"/>
                  </a:lnTo>
                  <a:lnTo>
                    <a:pt x="213" y="35"/>
                  </a:lnTo>
                  <a:lnTo>
                    <a:pt x="228" y="25"/>
                  </a:lnTo>
                  <a:lnTo>
                    <a:pt x="237" y="20"/>
                  </a:lnTo>
                  <a:lnTo>
                    <a:pt x="247" y="15"/>
                  </a:lnTo>
                  <a:lnTo>
                    <a:pt x="257" y="11"/>
                  </a:lnTo>
                  <a:lnTo>
                    <a:pt x="269" y="7"/>
                  </a:lnTo>
                  <a:lnTo>
                    <a:pt x="282" y="4"/>
                  </a:lnTo>
                  <a:lnTo>
                    <a:pt x="296" y="1"/>
                  </a:lnTo>
                  <a:lnTo>
                    <a:pt x="314" y="0"/>
                  </a:lnTo>
                  <a:lnTo>
                    <a:pt x="332" y="1"/>
                  </a:lnTo>
                  <a:lnTo>
                    <a:pt x="332" y="14"/>
                  </a:lnTo>
                  <a:lnTo>
                    <a:pt x="335" y="25"/>
                  </a:lnTo>
                  <a:lnTo>
                    <a:pt x="337" y="34"/>
                  </a:lnTo>
                  <a:lnTo>
                    <a:pt x="340" y="43"/>
                  </a:lnTo>
                  <a:lnTo>
                    <a:pt x="343" y="50"/>
                  </a:lnTo>
                  <a:lnTo>
                    <a:pt x="348" y="56"/>
                  </a:lnTo>
                  <a:lnTo>
                    <a:pt x="352" y="62"/>
                  </a:lnTo>
                  <a:lnTo>
                    <a:pt x="357" y="66"/>
                  </a:lnTo>
                  <a:lnTo>
                    <a:pt x="368" y="74"/>
                  </a:lnTo>
                  <a:lnTo>
                    <a:pt x="378" y="81"/>
                  </a:lnTo>
                  <a:lnTo>
                    <a:pt x="382" y="85"/>
                  </a:lnTo>
                  <a:lnTo>
                    <a:pt x="385" y="89"/>
                  </a:lnTo>
                  <a:lnTo>
                    <a:pt x="390" y="93"/>
                  </a:lnTo>
                  <a:lnTo>
                    <a:pt x="392" y="100"/>
                  </a:lnTo>
                  <a:lnTo>
                    <a:pt x="396" y="115"/>
                  </a:lnTo>
                  <a:lnTo>
                    <a:pt x="398" y="129"/>
                  </a:lnTo>
                  <a:lnTo>
                    <a:pt x="398" y="143"/>
                  </a:lnTo>
                  <a:lnTo>
                    <a:pt x="398" y="157"/>
                  </a:lnTo>
                  <a:lnTo>
                    <a:pt x="398" y="170"/>
                  </a:lnTo>
                  <a:lnTo>
                    <a:pt x="399" y="183"/>
                  </a:lnTo>
                  <a:lnTo>
                    <a:pt x="402" y="196"/>
                  </a:lnTo>
                  <a:lnTo>
                    <a:pt x="405" y="211"/>
                  </a:lnTo>
                  <a:lnTo>
                    <a:pt x="398" y="217"/>
                  </a:lnTo>
                  <a:lnTo>
                    <a:pt x="390" y="221"/>
                  </a:lnTo>
                  <a:lnTo>
                    <a:pt x="382" y="226"/>
                  </a:lnTo>
                  <a:lnTo>
                    <a:pt x="374" y="233"/>
                  </a:lnTo>
                  <a:lnTo>
                    <a:pt x="365" y="241"/>
                  </a:lnTo>
                  <a:lnTo>
                    <a:pt x="365" y="239"/>
                  </a:lnTo>
                  <a:lnTo>
                    <a:pt x="363" y="237"/>
                  </a:lnTo>
                  <a:lnTo>
                    <a:pt x="361" y="235"/>
                  </a:lnTo>
                  <a:lnTo>
                    <a:pt x="358" y="233"/>
                  </a:lnTo>
                  <a:lnTo>
                    <a:pt x="351" y="230"/>
                  </a:lnTo>
                  <a:lnTo>
                    <a:pt x="342" y="227"/>
                  </a:lnTo>
                  <a:lnTo>
                    <a:pt x="326" y="224"/>
                  </a:lnTo>
                  <a:lnTo>
                    <a:pt x="319" y="223"/>
                  </a:lnTo>
                  <a:lnTo>
                    <a:pt x="300" y="241"/>
                  </a:lnTo>
                  <a:lnTo>
                    <a:pt x="152" y="241"/>
                  </a:lnTo>
                  <a:lnTo>
                    <a:pt x="151" y="249"/>
                  </a:lnTo>
                  <a:lnTo>
                    <a:pt x="150" y="257"/>
                  </a:lnTo>
                  <a:lnTo>
                    <a:pt x="150" y="266"/>
                  </a:lnTo>
                  <a:lnTo>
                    <a:pt x="150" y="274"/>
                  </a:lnTo>
                  <a:lnTo>
                    <a:pt x="152" y="291"/>
                  </a:lnTo>
                  <a:lnTo>
                    <a:pt x="152" y="314"/>
                  </a:lnTo>
                  <a:lnTo>
                    <a:pt x="146" y="314"/>
                  </a:lnTo>
                  <a:lnTo>
                    <a:pt x="139" y="312"/>
                  </a:lnTo>
                  <a:lnTo>
                    <a:pt x="133" y="308"/>
                  </a:lnTo>
                  <a:lnTo>
                    <a:pt x="126" y="305"/>
                  </a:lnTo>
                  <a:lnTo>
                    <a:pt x="114" y="297"/>
                  </a:lnTo>
                  <a:lnTo>
                    <a:pt x="100" y="290"/>
                  </a:lnTo>
                  <a:lnTo>
                    <a:pt x="94" y="299"/>
                  </a:lnTo>
                  <a:lnTo>
                    <a:pt x="89" y="307"/>
                  </a:lnTo>
                  <a:lnTo>
                    <a:pt x="85" y="310"/>
                  </a:lnTo>
                  <a:lnTo>
                    <a:pt x="82" y="312"/>
                  </a:lnTo>
                  <a:lnTo>
                    <a:pt x="78" y="314"/>
                  </a:lnTo>
                  <a:lnTo>
                    <a:pt x="73" y="314"/>
                  </a:lnTo>
                  <a:lnTo>
                    <a:pt x="66" y="313"/>
                  </a:lnTo>
                  <a:lnTo>
                    <a:pt x="60" y="311"/>
                  </a:lnTo>
                  <a:lnTo>
                    <a:pt x="54" y="306"/>
                  </a:lnTo>
                  <a:lnTo>
                    <a:pt x="47" y="302"/>
                  </a:lnTo>
                  <a:lnTo>
                    <a:pt x="38" y="296"/>
                  </a:lnTo>
                  <a:lnTo>
                    <a:pt x="28" y="291"/>
                  </a:lnTo>
                  <a:lnTo>
                    <a:pt x="16" y="287"/>
                  </a:lnTo>
                  <a:lnTo>
                    <a:pt x="0" y="284"/>
                  </a:lnTo>
                  <a:lnTo>
                    <a:pt x="0" y="27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889" name="Freeform 448"/>
            <p:cNvSpPr>
              <a:spLocks/>
            </p:cNvSpPr>
            <p:nvPr>
              <p:custDataLst>
                <p:tags r:id="rId281"/>
              </p:custDataLst>
            </p:nvPr>
          </p:nvSpPr>
          <p:spPr bwMode="auto">
            <a:xfrm>
              <a:off x="5854693" y="3619364"/>
              <a:ext cx="230897" cy="419403"/>
            </a:xfrm>
            <a:custGeom>
              <a:avLst/>
              <a:gdLst>
                <a:gd name="T0" fmla="*/ 143225 w 453"/>
                <a:gd name="T1" fmla="*/ 19021 h 661"/>
                <a:gd name="T2" fmla="*/ 137240 w 453"/>
                <a:gd name="T3" fmla="*/ 51780 h 661"/>
                <a:gd name="T4" fmla="*/ 118428 w 453"/>
                <a:gd name="T5" fmla="*/ 85595 h 661"/>
                <a:gd name="T6" fmla="*/ 108167 w 453"/>
                <a:gd name="T7" fmla="*/ 115712 h 661"/>
                <a:gd name="T8" fmla="*/ 99189 w 453"/>
                <a:gd name="T9" fmla="*/ 143716 h 661"/>
                <a:gd name="T10" fmla="*/ 89356 w 453"/>
                <a:gd name="T11" fmla="*/ 173832 h 661"/>
                <a:gd name="T12" fmla="*/ 83798 w 453"/>
                <a:gd name="T13" fmla="*/ 191269 h 661"/>
                <a:gd name="T14" fmla="*/ 76957 w 453"/>
                <a:gd name="T15" fmla="*/ 200779 h 661"/>
                <a:gd name="T16" fmla="*/ 71399 w 453"/>
                <a:gd name="T17" fmla="*/ 206063 h 661"/>
                <a:gd name="T18" fmla="*/ 60283 w 453"/>
                <a:gd name="T19" fmla="*/ 201836 h 661"/>
                <a:gd name="T20" fmla="*/ 51732 w 453"/>
                <a:gd name="T21" fmla="*/ 195495 h 661"/>
                <a:gd name="T22" fmla="*/ 40189 w 453"/>
                <a:gd name="T23" fmla="*/ 193910 h 661"/>
                <a:gd name="T24" fmla="*/ 27362 w 453"/>
                <a:gd name="T25" fmla="*/ 200779 h 661"/>
                <a:gd name="T26" fmla="*/ 18812 w 453"/>
                <a:gd name="T27" fmla="*/ 212932 h 661"/>
                <a:gd name="T28" fmla="*/ 8978 w 453"/>
                <a:gd name="T29" fmla="*/ 239878 h 661"/>
                <a:gd name="T30" fmla="*/ 2993 w 453"/>
                <a:gd name="T31" fmla="*/ 254672 h 661"/>
                <a:gd name="T32" fmla="*/ 428 w 453"/>
                <a:gd name="T33" fmla="*/ 264183 h 661"/>
                <a:gd name="T34" fmla="*/ 3420 w 453"/>
                <a:gd name="T35" fmla="*/ 273165 h 661"/>
                <a:gd name="T36" fmla="*/ 8551 w 453"/>
                <a:gd name="T37" fmla="*/ 277921 h 661"/>
                <a:gd name="T38" fmla="*/ 23515 w 453"/>
                <a:gd name="T39" fmla="*/ 277921 h 661"/>
                <a:gd name="T40" fmla="*/ 30355 w 453"/>
                <a:gd name="T41" fmla="*/ 289545 h 661"/>
                <a:gd name="T42" fmla="*/ 31210 w 453"/>
                <a:gd name="T43" fmla="*/ 311736 h 661"/>
                <a:gd name="T44" fmla="*/ 28645 w 453"/>
                <a:gd name="T45" fmla="*/ 332871 h 661"/>
                <a:gd name="T46" fmla="*/ 185124 w 453"/>
                <a:gd name="T47" fmla="*/ 349250 h 661"/>
                <a:gd name="T48" fmla="*/ 188972 w 453"/>
                <a:gd name="T49" fmla="*/ 307509 h 661"/>
                <a:gd name="T50" fmla="*/ 177429 w 453"/>
                <a:gd name="T51" fmla="*/ 300112 h 661"/>
                <a:gd name="T52" fmla="*/ 159472 w 453"/>
                <a:gd name="T53" fmla="*/ 294300 h 661"/>
                <a:gd name="T54" fmla="*/ 150921 w 453"/>
                <a:gd name="T55" fmla="*/ 290073 h 661"/>
                <a:gd name="T56" fmla="*/ 145363 w 453"/>
                <a:gd name="T57" fmla="*/ 283733 h 661"/>
                <a:gd name="T58" fmla="*/ 142370 w 453"/>
                <a:gd name="T59" fmla="*/ 272109 h 661"/>
                <a:gd name="T60" fmla="*/ 142370 w 453"/>
                <a:gd name="T61" fmla="*/ 245162 h 661"/>
                <a:gd name="T62" fmla="*/ 144081 w 453"/>
                <a:gd name="T63" fmla="*/ 226141 h 661"/>
                <a:gd name="T64" fmla="*/ 150066 w 453"/>
                <a:gd name="T65" fmla="*/ 209761 h 661"/>
                <a:gd name="T66" fmla="*/ 159472 w 453"/>
                <a:gd name="T67" fmla="*/ 192325 h 661"/>
                <a:gd name="T68" fmla="*/ 167595 w 453"/>
                <a:gd name="T69" fmla="*/ 174361 h 661"/>
                <a:gd name="T70" fmla="*/ 170588 w 453"/>
                <a:gd name="T71" fmla="*/ 156925 h 661"/>
                <a:gd name="T72" fmla="*/ 166313 w 453"/>
                <a:gd name="T73" fmla="*/ 141074 h 661"/>
                <a:gd name="T74" fmla="*/ 159472 w 453"/>
                <a:gd name="T75" fmla="*/ 129978 h 661"/>
                <a:gd name="T76" fmla="*/ 146646 w 453"/>
                <a:gd name="T77" fmla="*/ 114655 h 661"/>
                <a:gd name="T78" fmla="*/ 142370 w 453"/>
                <a:gd name="T79" fmla="*/ 101446 h 661"/>
                <a:gd name="T80" fmla="*/ 143225 w 453"/>
                <a:gd name="T81" fmla="*/ 91407 h 661"/>
                <a:gd name="T82" fmla="*/ 150921 w 453"/>
                <a:gd name="T83" fmla="*/ 86652 h 661"/>
                <a:gd name="T84" fmla="*/ 173581 w 453"/>
                <a:gd name="T85" fmla="*/ 85595 h 661"/>
                <a:gd name="T86" fmla="*/ 168878 w 453"/>
                <a:gd name="T87" fmla="*/ 79783 h 661"/>
                <a:gd name="T88" fmla="*/ 162037 w 453"/>
                <a:gd name="T89" fmla="*/ 61819 h 661"/>
                <a:gd name="T90" fmla="*/ 158617 w 453"/>
                <a:gd name="T91" fmla="*/ 38571 h 661"/>
                <a:gd name="T92" fmla="*/ 159472 w 453"/>
                <a:gd name="T93" fmla="*/ 23776 h 661"/>
                <a:gd name="T94" fmla="*/ 156907 w 453"/>
                <a:gd name="T95" fmla="*/ 5812 h 661"/>
                <a:gd name="T96" fmla="*/ 148356 w 453"/>
                <a:gd name="T97" fmla="*/ 0 h 66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453" h="661">
                  <a:moveTo>
                    <a:pt x="330" y="9"/>
                  </a:moveTo>
                  <a:lnTo>
                    <a:pt x="332" y="23"/>
                  </a:lnTo>
                  <a:lnTo>
                    <a:pt x="335" y="36"/>
                  </a:lnTo>
                  <a:lnTo>
                    <a:pt x="340" y="50"/>
                  </a:lnTo>
                  <a:lnTo>
                    <a:pt x="346" y="63"/>
                  </a:lnTo>
                  <a:lnTo>
                    <a:pt x="321" y="98"/>
                  </a:lnTo>
                  <a:lnTo>
                    <a:pt x="298" y="129"/>
                  </a:lnTo>
                  <a:lnTo>
                    <a:pt x="287" y="145"/>
                  </a:lnTo>
                  <a:lnTo>
                    <a:pt x="277" y="162"/>
                  </a:lnTo>
                  <a:lnTo>
                    <a:pt x="268" y="179"/>
                  </a:lnTo>
                  <a:lnTo>
                    <a:pt x="259" y="200"/>
                  </a:lnTo>
                  <a:lnTo>
                    <a:pt x="253" y="219"/>
                  </a:lnTo>
                  <a:lnTo>
                    <a:pt x="245" y="237"/>
                  </a:lnTo>
                  <a:lnTo>
                    <a:pt x="239" y="255"/>
                  </a:lnTo>
                  <a:lnTo>
                    <a:pt x="232" y="272"/>
                  </a:lnTo>
                  <a:lnTo>
                    <a:pt x="225" y="289"/>
                  </a:lnTo>
                  <a:lnTo>
                    <a:pt x="218" y="309"/>
                  </a:lnTo>
                  <a:lnTo>
                    <a:pt x="209" y="329"/>
                  </a:lnTo>
                  <a:lnTo>
                    <a:pt x="200" y="353"/>
                  </a:lnTo>
                  <a:lnTo>
                    <a:pt x="199" y="356"/>
                  </a:lnTo>
                  <a:lnTo>
                    <a:pt x="196" y="362"/>
                  </a:lnTo>
                  <a:lnTo>
                    <a:pt x="191" y="368"/>
                  </a:lnTo>
                  <a:lnTo>
                    <a:pt x="186" y="374"/>
                  </a:lnTo>
                  <a:lnTo>
                    <a:pt x="180" y="380"/>
                  </a:lnTo>
                  <a:lnTo>
                    <a:pt x="175" y="385"/>
                  </a:lnTo>
                  <a:lnTo>
                    <a:pt x="171" y="389"/>
                  </a:lnTo>
                  <a:lnTo>
                    <a:pt x="167" y="390"/>
                  </a:lnTo>
                  <a:lnTo>
                    <a:pt x="157" y="389"/>
                  </a:lnTo>
                  <a:lnTo>
                    <a:pt x="149" y="386"/>
                  </a:lnTo>
                  <a:lnTo>
                    <a:pt x="141" y="382"/>
                  </a:lnTo>
                  <a:lnTo>
                    <a:pt x="134" y="378"/>
                  </a:lnTo>
                  <a:lnTo>
                    <a:pt x="128" y="374"/>
                  </a:lnTo>
                  <a:lnTo>
                    <a:pt x="121" y="370"/>
                  </a:lnTo>
                  <a:lnTo>
                    <a:pt x="115" y="367"/>
                  </a:lnTo>
                  <a:lnTo>
                    <a:pt x="107" y="366"/>
                  </a:lnTo>
                  <a:lnTo>
                    <a:pt x="94" y="367"/>
                  </a:lnTo>
                  <a:lnTo>
                    <a:pt x="83" y="370"/>
                  </a:lnTo>
                  <a:lnTo>
                    <a:pt x="73" y="374"/>
                  </a:lnTo>
                  <a:lnTo>
                    <a:pt x="64" y="380"/>
                  </a:lnTo>
                  <a:lnTo>
                    <a:pt x="56" y="387"/>
                  </a:lnTo>
                  <a:lnTo>
                    <a:pt x="50" y="395"/>
                  </a:lnTo>
                  <a:lnTo>
                    <a:pt x="44" y="403"/>
                  </a:lnTo>
                  <a:lnTo>
                    <a:pt x="39" y="413"/>
                  </a:lnTo>
                  <a:lnTo>
                    <a:pt x="30" y="434"/>
                  </a:lnTo>
                  <a:lnTo>
                    <a:pt x="21" y="454"/>
                  </a:lnTo>
                  <a:lnTo>
                    <a:pt x="17" y="463"/>
                  </a:lnTo>
                  <a:lnTo>
                    <a:pt x="11" y="473"/>
                  </a:lnTo>
                  <a:lnTo>
                    <a:pt x="7" y="482"/>
                  </a:lnTo>
                  <a:lnTo>
                    <a:pt x="0" y="489"/>
                  </a:lnTo>
                  <a:lnTo>
                    <a:pt x="1" y="494"/>
                  </a:lnTo>
                  <a:lnTo>
                    <a:pt x="1" y="500"/>
                  </a:lnTo>
                  <a:lnTo>
                    <a:pt x="4" y="506"/>
                  </a:lnTo>
                  <a:lnTo>
                    <a:pt x="6" y="512"/>
                  </a:lnTo>
                  <a:lnTo>
                    <a:pt x="8" y="517"/>
                  </a:lnTo>
                  <a:lnTo>
                    <a:pt x="11" y="521"/>
                  </a:lnTo>
                  <a:lnTo>
                    <a:pt x="16" y="524"/>
                  </a:lnTo>
                  <a:lnTo>
                    <a:pt x="20" y="526"/>
                  </a:lnTo>
                  <a:lnTo>
                    <a:pt x="28" y="526"/>
                  </a:lnTo>
                  <a:lnTo>
                    <a:pt x="40" y="526"/>
                  </a:lnTo>
                  <a:lnTo>
                    <a:pt x="55" y="526"/>
                  </a:lnTo>
                  <a:lnTo>
                    <a:pt x="74" y="526"/>
                  </a:lnTo>
                  <a:lnTo>
                    <a:pt x="72" y="537"/>
                  </a:lnTo>
                  <a:lnTo>
                    <a:pt x="71" y="548"/>
                  </a:lnTo>
                  <a:lnTo>
                    <a:pt x="71" y="558"/>
                  </a:lnTo>
                  <a:lnTo>
                    <a:pt x="72" y="569"/>
                  </a:lnTo>
                  <a:lnTo>
                    <a:pt x="73" y="590"/>
                  </a:lnTo>
                  <a:lnTo>
                    <a:pt x="74" y="612"/>
                  </a:lnTo>
                  <a:lnTo>
                    <a:pt x="71" y="621"/>
                  </a:lnTo>
                  <a:lnTo>
                    <a:pt x="67" y="630"/>
                  </a:lnTo>
                  <a:lnTo>
                    <a:pt x="167" y="630"/>
                  </a:lnTo>
                  <a:lnTo>
                    <a:pt x="273" y="630"/>
                  </a:lnTo>
                  <a:lnTo>
                    <a:pt x="433" y="661"/>
                  </a:lnTo>
                  <a:lnTo>
                    <a:pt x="453" y="594"/>
                  </a:lnTo>
                  <a:lnTo>
                    <a:pt x="447" y="588"/>
                  </a:lnTo>
                  <a:lnTo>
                    <a:pt x="442" y="582"/>
                  </a:lnTo>
                  <a:lnTo>
                    <a:pt x="435" y="577"/>
                  </a:lnTo>
                  <a:lnTo>
                    <a:pt x="430" y="573"/>
                  </a:lnTo>
                  <a:lnTo>
                    <a:pt x="415" y="568"/>
                  </a:lnTo>
                  <a:lnTo>
                    <a:pt x="402" y="564"/>
                  </a:lnTo>
                  <a:lnTo>
                    <a:pt x="387" y="561"/>
                  </a:lnTo>
                  <a:lnTo>
                    <a:pt x="373" y="557"/>
                  </a:lnTo>
                  <a:lnTo>
                    <a:pt x="366" y="555"/>
                  </a:lnTo>
                  <a:lnTo>
                    <a:pt x="359" y="552"/>
                  </a:lnTo>
                  <a:lnTo>
                    <a:pt x="353" y="549"/>
                  </a:lnTo>
                  <a:lnTo>
                    <a:pt x="346" y="544"/>
                  </a:lnTo>
                  <a:lnTo>
                    <a:pt x="343" y="541"/>
                  </a:lnTo>
                  <a:lnTo>
                    <a:pt x="340" y="537"/>
                  </a:lnTo>
                  <a:lnTo>
                    <a:pt x="337" y="532"/>
                  </a:lnTo>
                  <a:lnTo>
                    <a:pt x="335" y="527"/>
                  </a:lnTo>
                  <a:lnTo>
                    <a:pt x="333" y="515"/>
                  </a:lnTo>
                  <a:lnTo>
                    <a:pt x="332" y="504"/>
                  </a:lnTo>
                  <a:lnTo>
                    <a:pt x="332" y="482"/>
                  </a:lnTo>
                  <a:lnTo>
                    <a:pt x="333" y="464"/>
                  </a:lnTo>
                  <a:lnTo>
                    <a:pt x="333" y="451"/>
                  </a:lnTo>
                  <a:lnTo>
                    <a:pt x="335" y="439"/>
                  </a:lnTo>
                  <a:lnTo>
                    <a:pt x="337" y="428"/>
                  </a:lnTo>
                  <a:lnTo>
                    <a:pt x="342" y="417"/>
                  </a:lnTo>
                  <a:lnTo>
                    <a:pt x="345" y="406"/>
                  </a:lnTo>
                  <a:lnTo>
                    <a:pt x="351" y="397"/>
                  </a:lnTo>
                  <a:lnTo>
                    <a:pt x="355" y="389"/>
                  </a:lnTo>
                  <a:lnTo>
                    <a:pt x="362" y="380"/>
                  </a:lnTo>
                  <a:lnTo>
                    <a:pt x="373" y="364"/>
                  </a:lnTo>
                  <a:lnTo>
                    <a:pt x="384" y="347"/>
                  </a:lnTo>
                  <a:lnTo>
                    <a:pt x="388" y="338"/>
                  </a:lnTo>
                  <a:lnTo>
                    <a:pt x="392" y="330"/>
                  </a:lnTo>
                  <a:lnTo>
                    <a:pt x="397" y="320"/>
                  </a:lnTo>
                  <a:lnTo>
                    <a:pt x="399" y="310"/>
                  </a:lnTo>
                  <a:lnTo>
                    <a:pt x="399" y="297"/>
                  </a:lnTo>
                  <a:lnTo>
                    <a:pt x="397" y="286"/>
                  </a:lnTo>
                  <a:lnTo>
                    <a:pt x="393" y="276"/>
                  </a:lnTo>
                  <a:lnTo>
                    <a:pt x="389" y="267"/>
                  </a:lnTo>
                  <a:lnTo>
                    <a:pt x="384" y="260"/>
                  </a:lnTo>
                  <a:lnTo>
                    <a:pt x="378" y="253"/>
                  </a:lnTo>
                  <a:lnTo>
                    <a:pt x="373" y="246"/>
                  </a:lnTo>
                  <a:lnTo>
                    <a:pt x="366" y="240"/>
                  </a:lnTo>
                  <a:lnTo>
                    <a:pt x="354" y="229"/>
                  </a:lnTo>
                  <a:lnTo>
                    <a:pt x="343" y="217"/>
                  </a:lnTo>
                  <a:lnTo>
                    <a:pt x="339" y="209"/>
                  </a:lnTo>
                  <a:lnTo>
                    <a:pt x="335" y="201"/>
                  </a:lnTo>
                  <a:lnTo>
                    <a:pt x="333" y="192"/>
                  </a:lnTo>
                  <a:lnTo>
                    <a:pt x="333" y="180"/>
                  </a:lnTo>
                  <a:lnTo>
                    <a:pt x="333" y="176"/>
                  </a:lnTo>
                  <a:lnTo>
                    <a:pt x="335" y="173"/>
                  </a:lnTo>
                  <a:lnTo>
                    <a:pt x="339" y="170"/>
                  </a:lnTo>
                  <a:lnTo>
                    <a:pt x="343" y="167"/>
                  </a:lnTo>
                  <a:lnTo>
                    <a:pt x="353" y="164"/>
                  </a:lnTo>
                  <a:lnTo>
                    <a:pt x="365" y="162"/>
                  </a:lnTo>
                  <a:lnTo>
                    <a:pt x="389" y="162"/>
                  </a:lnTo>
                  <a:lnTo>
                    <a:pt x="406" y="162"/>
                  </a:lnTo>
                  <a:lnTo>
                    <a:pt x="402" y="160"/>
                  </a:lnTo>
                  <a:lnTo>
                    <a:pt x="399" y="156"/>
                  </a:lnTo>
                  <a:lnTo>
                    <a:pt x="395" y="151"/>
                  </a:lnTo>
                  <a:lnTo>
                    <a:pt x="391" y="146"/>
                  </a:lnTo>
                  <a:lnTo>
                    <a:pt x="385" y="132"/>
                  </a:lnTo>
                  <a:lnTo>
                    <a:pt x="379" y="117"/>
                  </a:lnTo>
                  <a:lnTo>
                    <a:pt x="375" y="101"/>
                  </a:lnTo>
                  <a:lnTo>
                    <a:pt x="373" y="83"/>
                  </a:lnTo>
                  <a:lnTo>
                    <a:pt x="371" y="73"/>
                  </a:lnTo>
                  <a:lnTo>
                    <a:pt x="371" y="64"/>
                  </a:lnTo>
                  <a:lnTo>
                    <a:pt x="371" y="54"/>
                  </a:lnTo>
                  <a:lnTo>
                    <a:pt x="373" y="45"/>
                  </a:lnTo>
                  <a:lnTo>
                    <a:pt x="371" y="33"/>
                  </a:lnTo>
                  <a:lnTo>
                    <a:pt x="369" y="21"/>
                  </a:lnTo>
                  <a:lnTo>
                    <a:pt x="367" y="11"/>
                  </a:lnTo>
                  <a:lnTo>
                    <a:pt x="366" y="2"/>
                  </a:lnTo>
                  <a:lnTo>
                    <a:pt x="357" y="1"/>
                  </a:lnTo>
                  <a:lnTo>
                    <a:pt x="347" y="0"/>
                  </a:lnTo>
                  <a:lnTo>
                    <a:pt x="346" y="2"/>
                  </a:lnTo>
                  <a:lnTo>
                    <a:pt x="330" y="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890" name="Freeform 449"/>
            <p:cNvSpPr>
              <a:spLocks/>
            </p:cNvSpPr>
            <p:nvPr>
              <p:custDataLst>
                <p:tags r:id="rId282"/>
              </p:custDataLst>
            </p:nvPr>
          </p:nvSpPr>
          <p:spPr bwMode="auto">
            <a:xfrm>
              <a:off x="8776868" y="3329594"/>
              <a:ext cx="66242" cy="68630"/>
            </a:xfrm>
            <a:custGeom>
              <a:avLst/>
              <a:gdLst>
                <a:gd name="T0" fmla="*/ 0 w 126"/>
                <a:gd name="T1" fmla="*/ 30480 h 105"/>
                <a:gd name="T2" fmla="*/ 1764 w 126"/>
                <a:gd name="T3" fmla="*/ 26670 h 105"/>
                <a:gd name="T4" fmla="*/ 4410 w 126"/>
                <a:gd name="T5" fmla="*/ 22316 h 105"/>
                <a:gd name="T6" fmla="*/ 7056 w 126"/>
                <a:gd name="T7" fmla="*/ 17961 h 105"/>
                <a:gd name="T8" fmla="*/ 10583 w 126"/>
                <a:gd name="T9" fmla="*/ 13607 h 105"/>
                <a:gd name="T10" fmla="*/ 16316 w 126"/>
                <a:gd name="T11" fmla="*/ 5987 h 105"/>
                <a:gd name="T12" fmla="*/ 20726 w 126"/>
                <a:gd name="T13" fmla="*/ 0 h 105"/>
                <a:gd name="T14" fmla="*/ 49830 w 126"/>
                <a:gd name="T15" fmla="*/ 0 h 105"/>
                <a:gd name="T16" fmla="*/ 50271 w 126"/>
                <a:gd name="T17" fmla="*/ 2177 h 105"/>
                <a:gd name="T18" fmla="*/ 50712 w 126"/>
                <a:gd name="T19" fmla="*/ 4354 h 105"/>
                <a:gd name="T20" fmla="*/ 51594 w 126"/>
                <a:gd name="T21" fmla="*/ 6531 h 105"/>
                <a:gd name="T22" fmla="*/ 52476 w 126"/>
                <a:gd name="T23" fmla="*/ 7620 h 105"/>
                <a:gd name="T24" fmla="*/ 54681 w 126"/>
                <a:gd name="T25" fmla="*/ 10886 h 105"/>
                <a:gd name="T26" fmla="*/ 55563 w 126"/>
                <a:gd name="T27" fmla="*/ 13063 h 105"/>
                <a:gd name="T28" fmla="*/ 55563 w 126"/>
                <a:gd name="T29" fmla="*/ 17417 h 105"/>
                <a:gd name="T30" fmla="*/ 55122 w 126"/>
                <a:gd name="T31" fmla="*/ 22316 h 105"/>
                <a:gd name="T32" fmla="*/ 54681 w 126"/>
                <a:gd name="T33" fmla="*/ 26126 h 105"/>
                <a:gd name="T34" fmla="*/ 53799 w 126"/>
                <a:gd name="T35" fmla="*/ 29936 h 105"/>
                <a:gd name="T36" fmla="*/ 52476 w 126"/>
                <a:gd name="T37" fmla="*/ 33746 h 105"/>
                <a:gd name="T38" fmla="*/ 51153 w 126"/>
                <a:gd name="T39" fmla="*/ 37556 h 105"/>
                <a:gd name="T40" fmla="*/ 49389 w 126"/>
                <a:gd name="T41" fmla="*/ 40821 h 105"/>
                <a:gd name="T42" fmla="*/ 47625 w 126"/>
                <a:gd name="T43" fmla="*/ 44087 h 105"/>
                <a:gd name="T44" fmla="*/ 45862 w 126"/>
                <a:gd name="T45" fmla="*/ 46809 h 105"/>
                <a:gd name="T46" fmla="*/ 43657 w 126"/>
                <a:gd name="T47" fmla="*/ 48986 h 105"/>
                <a:gd name="T48" fmla="*/ 41011 w 126"/>
                <a:gd name="T49" fmla="*/ 51163 h 105"/>
                <a:gd name="T50" fmla="*/ 38806 w 126"/>
                <a:gd name="T51" fmla="*/ 53884 h 105"/>
                <a:gd name="T52" fmla="*/ 35719 w 126"/>
                <a:gd name="T53" fmla="*/ 54973 h 105"/>
                <a:gd name="T54" fmla="*/ 32632 w 126"/>
                <a:gd name="T55" fmla="*/ 56061 h 105"/>
                <a:gd name="T56" fmla="*/ 29545 w 126"/>
                <a:gd name="T57" fmla="*/ 57150 h 105"/>
                <a:gd name="T58" fmla="*/ 26459 w 126"/>
                <a:gd name="T59" fmla="*/ 57150 h 105"/>
                <a:gd name="T60" fmla="*/ 21167 w 126"/>
                <a:gd name="T61" fmla="*/ 56606 h 105"/>
                <a:gd name="T62" fmla="*/ 16757 w 126"/>
                <a:gd name="T63" fmla="*/ 55517 h 105"/>
                <a:gd name="T64" fmla="*/ 13670 w 126"/>
                <a:gd name="T65" fmla="*/ 53340 h 105"/>
                <a:gd name="T66" fmla="*/ 10583 w 126"/>
                <a:gd name="T67" fmla="*/ 50074 h 105"/>
                <a:gd name="T68" fmla="*/ 8820 w 126"/>
                <a:gd name="T69" fmla="*/ 46809 h 105"/>
                <a:gd name="T70" fmla="*/ 7056 w 126"/>
                <a:gd name="T71" fmla="*/ 42454 h 105"/>
                <a:gd name="T72" fmla="*/ 6174 w 126"/>
                <a:gd name="T73" fmla="*/ 38100 h 105"/>
                <a:gd name="T74" fmla="*/ 5733 w 126"/>
                <a:gd name="T75" fmla="*/ 33746 h 105"/>
                <a:gd name="T76" fmla="*/ 0 w 126"/>
                <a:gd name="T77" fmla="*/ 30480 h 105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26" h="105">
                  <a:moveTo>
                    <a:pt x="0" y="56"/>
                  </a:moveTo>
                  <a:lnTo>
                    <a:pt x="4" y="49"/>
                  </a:lnTo>
                  <a:lnTo>
                    <a:pt x="10" y="41"/>
                  </a:lnTo>
                  <a:lnTo>
                    <a:pt x="16" y="33"/>
                  </a:lnTo>
                  <a:lnTo>
                    <a:pt x="24" y="25"/>
                  </a:lnTo>
                  <a:lnTo>
                    <a:pt x="37" y="11"/>
                  </a:lnTo>
                  <a:lnTo>
                    <a:pt x="47" y="0"/>
                  </a:lnTo>
                  <a:lnTo>
                    <a:pt x="113" y="0"/>
                  </a:lnTo>
                  <a:lnTo>
                    <a:pt x="114" y="4"/>
                  </a:lnTo>
                  <a:lnTo>
                    <a:pt x="115" y="8"/>
                  </a:lnTo>
                  <a:lnTo>
                    <a:pt x="117" y="12"/>
                  </a:lnTo>
                  <a:lnTo>
                    <a:pt x="119" y="14"/>
                  </a:lnTo>
                  <a:lnTo>
                    <a:pt x="124" y="20"/>
                  </a:lnTo>
                  <a:lnTo>
                    <a:pt x="126" y="24"/>
                  </a:lnTo>
                  <a:lnTo>
                    <a:pt x="126" y="32"/>
                  </a:lnTo>
                  <a:lnTo>
                    <a:pt x="125" y="41"/>
                  </a:lnTo>
                  <a:lnTo>
                    <a:pt x="124" y="48"/>
                  </a:lnTo>
                  <a:lnTo>
                    <a:pt x="122" y="55"/>
                  </a:lnTo>
                  <a:lnTo>
                    <a:pt x="119" y="62"/>
                  </a:lnTo>
                  <a:lnTo>
                    <a:pt x="116" y="69"/>
                  </a:lnTo>
                  <a:lnTo>
                    <a:pt x="112" y="75"/>
                  </a:lnTo>
                  <a:lnTo>
                    <a:pt x="108" y="81"/>
                  </a:lnTo>
                  <a:lnTo>
                    <a:pt x="104" y="86"/>
                  </a:lnTo>
                  <a:lnTo>
                    <a:pt x="99" y="90"/>
                  </a:lnTo>
                  <a:lnTo>
                    <a:pt x="93" y="94"/>
                  </a:lnTo>
                  <a:lnTo>
                    <a:pt x="88" y="99"/>
                  </a:lnTo>
                  <a:lnTo>
                    <a:pt x="81" y="101"/>
                  </a:lnTo>
                  <a:lnTo>
                    <a:pt x="74" y="103"/>
                  </a:lnTo>
                  <a:lnTo>
                    <a:pt x="67" y="105"/>
                  </a:lnTo>
                  <a:lnTo>
                    <a:pt x="60" y="105"/>
                  </a:lnTo>
                  <a:lnTo>
                    <a:pt x="48" y="104"/>
                  </a:lnTo>
                  <a:lnTo>
                    <a:pt x="38" y="102"/>
                  </a:lnTo>
                  <a:lnTo>
                    <a:pt x="31" y="98"/>
                  </a:lnTo>
                  <a:lnTo>
                    <a:pt x="24" y="92"/>
                  </a:lnTo>
                  <a:lnTo>
                    <a:pt x="20" y="86"/>
                  </a:lnTo>
                  <a:lnTo>
                    <a:pt x="16" y="78"/>
                  </a:lnTo>
                  <a:lnTo>
                    <a:pt x="14" y="70"/>
                  </a:lnTo>
                  <a:lnTo>
                    <a:pt x="13" y="62"/>
                  </a:lnTo>
                  <a:lnTo>
                    <a:pt x="0" y="5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891" name="Freeform 450"/>
            <p:cNvSpPr>
              <a:spLocks/>
            </p:cNvSpPr>
            <p:nvPr>
              <p:custDataLst>
                <p:tags r:id="rId283"/>
              </p:custDataLst>
            </p:nvPr>
          </p:nvSpPr>
          <p:spPr bwMode="auto">
            <a:xfrm>
              <a:off x="3239117" y="3646054"/>
              <a:ext cx="355809" cy="629105"/>
            </a:xfrm>
            <a:custGeom>
              <a:avLst/>
              <a:gdLst>
                <a:gd name="T0" fmla="*/ 292778 w 684"/>
                <a:gd name="T1" fmla="*/ 300782 h 998"/>
                <a:gd name="T2" fmla="*/ 296705 w 684"/>
                <a:gd name="T3" fmla="*/ 288709 h 998"/>
                <a:gd name="T4" fmla="*/ 292778 w 684"/>
                <a:gd name="T5" fmla="*/ 257738 h 998"/>
                <a:gd name="T6" fmla="*/ 287542 w 684"/>
                <a:gd name="T7" fmla="*/ 222043 h 998"/>
                <a:gd name="T8" fmla="*/ 295832 w 684"/>
                <a:gd name="T9" fmla="*/ 204196 h 998"/>
                <a:gd name="T10" fmla="*/ 243036 w 684"/>
                <a:gd name="T11" fmla="*/ 189498 h 998"/>
                <a:gd name="T12" fmla="*/ 232564 w 684"/>
                <a:gd name="T13" fmla="*/ 171126 h 998"/>
                <a:gd name="T14" fmla="*/ 201585 w 684"/>
                <a:gd name="T15" fmla="*/ 162727 h 998"/>
                <a:gd name="T16" fmla="*/ 175405 w 684"/>
                <a:gd name="T17" fmla="*/ 141730 h 998"/>
                <a:gd name="T18" fmla="*/ 163624 w 684"/>
                <a:gd name="T19" fmla="*/ 105510 h 998"/>
                <a:gd name="T20" fmla="*/ 163624 w 684"/>
                <a:gd name="T21" fmla="*/ 69815 h 998"/>
                <a:gd name="T22" fmla="*/ 172351 w 684"/>
                <a:gd name="T23" fmla="*/ 44094 h 998"/>
                <a:gd name="T24" fmla="*/ 189804 w 684"/>
                <a:gd name="T25" fmla="*/ 25196 h 998"/>
                <a:gd name="T26" fmla="*/ 202021 w 684"/>
                <a:gd name="T27" fmla="*/ 5774 h 998"/>
                <a:gd name="T28" fmla="*/ 169733 w 684"/>
                <a:gd name="T29" fmla="*/ 20472 h 998"/>
                <a:gd name="T30" fmla="*/ 146171 w 684"/>
                <a:gd name="T31" fmla="*/ 35695 h 998"/>
                <a:gd name="T32" fmla="*/ 132644 w 684"/>
                <a:gd name="T33" fmla="*/ 40944 h 998"/>
                <a:gd name="T34" fmla="*/ 121300 w 684"/>
                <a:gd name="T35" fmla="*/ 44094 h 998"/>
                <a:gd name="T36" fmla="*/ 105156 w 684"/>
                <a:gd name="T37" fmla="*/ 42519 h 998"/>
                <a:gd name="T38" fmla="*/ 94684 w 684"/>
                <a:gd name="T39" fmla="*/ 56692 h 998"/>
                <a:gd name="T40" fmla="*/ 85521 w 684"/>
                <a:gd name="T41" fmla="*/ 91862 h 998"/>
                <a:gd name="T42" fmla="*/ 68504 w 684"/>
                <a:gd name="T43" fmla="*/ 119158 h 998"/>
                <a:gd name="T44" fmla="*/ 46687 w 684"/>
                <a:gd name="T45" fmla="*/ 149079 h 998"/>
                <a:gd name="T46" fmla="*/ 39270 w 684"/>
                <a:gd name="T47" fmla="*/ 166401 h 998"/>
                <a:gd name="T48" fmla="*/ 37524 w 684"/>
                <a:gd name="T49" fmla="*/ 186873 h 998"/>
                <a:gd name="T50" fmla="*/ 42324 w 684"/>
                <a:gd name="T51" fmla="*/ 200521 h 998"/>
                <a:gd name="T52" fmla="*/ 42324 w 684"/>
                <a:gd name="T53" fmla="*/ 236741 h 998"/>
                <a:gd name="T54" fmla="*/ 41451 w 684"/>
                <a:gd name="T55" fmla="*/ 275586 h 998"/>
                <a:gd name="T56" fmla="*/ 31416 w 684"/>
                <a:gd name="T57" fmla="*/ 295533 h 998"/>
                <a:gd name="T58" fmla="*/ 16144 w 684"/>
                <a:gd name="T59" fmla="*/ 310756 h 998"/>
                <a:gd name="T60" fmla="*/ 4800 w 684"/>
                <a:gd name="T61" fmla="*/ 321254 h 998"/>
                <a:gd name="T62" fmla="*/ 13090 w 684"/>
                <a:gd name="T63" fmla="*/ 350650 h 998"/>
                <a:gd name="T64" fmla="*/ 53669 w 684"/>
                <a:gd name="T65" fmla="*/ 380571 h 998"/>
                <a:gd name="T66" fmla="*/ 76358 w 684"/>
                <a:gd name="T67" fmla="*/ 382145 h 998"/>
                <a:gd name="T68" fmla="*/ 102101 w 684"/>
                <a:gd name="T69" fmla="*/ 391594 h 998"/>
                <a:gd name="T70" fmla="*/ 130463 w 684"/>
                <a:gd name="T71" fmla="*/ 417315 h 998"/>
                <a:gd name="T72" fmla="*/ 147043 w 684"/>
                <a:gd name="T73" fmla="*/ 446186 h 998"/>
                <a:gd name="T74" fmla="*/ 160133 w 684"/>
                <a:gd name="T75" fmla="*/ 462459 h 998"/>
                <a:gd name="T76" fmla="*/ 179768 w 684"/>
                <a:gd name="T77" fmla="*/ 465083 h 998"/>
                <a:gd name="T78" fmla="*/ 201585 w 684"/>
                <a:gd name="T79" fmla="*/ 459834 h 998"/>
                <a:gd name="T80" fmla="*/ 214675 w 684"/>
                <a:gd name="T81" fmla="*/ 460884 h 998"/>
                <a:gd name="T82" fmla="*/ 224710 w 684"/>
                <a:gd name="T83" fmla="*/ 474532 h 998"/>
                <a:gd name="T84" fmla="*/ 223838 w 684"/>
                <a:gd name="T85" fmla="*/ 483981 h 998"/>
                <a:gd name="T86" fmla="*/ 212929 w 684"/>
                <a:gd name="T87" fmla="*/ 491855 h 998"/>
                <a:gd name="T88" fmla="*/ 212929 w 684"/>
                <a:gd name="T89" fmla="*/ 505503 h 998"/>
                <a:gd name="T90" fmla="*/ 222965 w 684"/>
                <a:gd name="T91" fmla="*/ 521775 h 998"/>
                <a:gd name="T92" fmla="*/ 236491 w 684"/>
                <a:gd name="T93" fmla="*/ 504978 h 998"/>
                <a:gd name="T94" fmla="*/ 246963 w 684"/>
                <a:gd name="T95" fmla="*/ 451960 h 998"/>
                <a:gd name="T96" fmla="*/ 249145 w 684"/>
                <a:gd name="T97" fmla="*/ 421515 h 998"/>
                <a:gd name="T98" fmla="*/ 242163 w 684"/>
                <a:gd name="T99" fmla="*/ 404717 h 998"/>
                <a:gd name="T100" fmla="*/ 228201 w 684"/>
                <a:gd name="T101" fmla="*/ 393169 h 998"/>
                <a:gd name="T102" fmla="*/ 227328 w 684"/>
                <a:gd name="T103" fmla="*/ 379521 h 998"/>
                <a:gd name="T104" fmla="*/ 246963 w 684"/>
                <a:gd name="T105" fmla="*/ 367447 h 998"/>
                <a:gd name="T106" fmla="*/ 242600 w 684"/>
                <a:gd name="T107" fmla="*/ 349075 h 998"/>
                <a:gd name="T108" fmla="*/ 242600 w 684"/>
                <a:gd name="T109" fmla="*/ 340676 h 998"/>
                <a:gd name="T110" fmla="*/ 285796 w 684"/>
                <a:gd name="T111" fmla="*/ 329653 h 99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684" h="998">
                  <a:moveTo>
                    <a:pt x="684" y="622"/>
                  </a:moveTo>
                  <a:lnTo>
                    <a:pt x="680" y="609"/>
                  </a:lnTo>
                  <a:lnTo>
                    <a:pt x="676" y="596"/>
                  </a:lnTo>
                  <a:lnTo>
                    <a:pt x="672" y="583"/>
                  </a:lnTo>
                  <a:lnTo>
                    <a:pt x="671" y="573"/>
                  </a:lnTo>
                  <a:lnTo>
                    <a:pt x="671" y="568"/>
                  </a:lnTo>
                  <a:lnTo>
                    <a:pt x="673" y="564"/>
                  </a:lnTo>
                  <a:lnTo>
                    <a:pt x="676" y="559"/>
                  </a:lnTo>
                  <a:lnTo>
                    <a:pt x="678" y="555"/>
                  </a:lnTo>
                  <a:lnTo>
                    <a:pt x="680" y="550"/>
                  </a:lnTo>
                  <a:lnTo>
                    <a:pt x="682" y="546"/>
                  </a:lnTo>
                  <a:lnTo>
                    <a:pt x="683" y="541"/>
                  </a:lnTo>
                  <a:lnTo>
                    <a:pt x="684" y="537"/>
                  </a:lnTo>
                  <a:lnTo>
                    <a:pt x="680" y="519"/>
                  </a:lnTo>
                  <a:lnTo>
                    <a:pt x="671" y="491"/>
                  </a:lnTo>
                  <a:lnTo>
                    <a:pt x="666" y="475"/>
                  </a:lnTo>
                  <a:lnTo>
                    <a:pt x="662" y="459"/>
                  </a:lnTo>
                  <a:lnTo>
                    <a:pt x="659" y="444"/>
                  </a:lnTo>
                  <a:lnTo>
                    <a:pt x="658" y="432"/>
                  </a:lnTo>
                  <a:lnTo>
                    <a:pt x="659" y="423"/>
                  </a:lnTo>
                  <a:lnTo>
                    <a:pt x="661" y="415"/>
                  </a:lnTo>
                  <a:lnTo>
                    <a:pt x="665" y="409"/>
                  </a:lnTo>
                  <a:lnTo>
                    <a:pt x="669" y="403"/>
                  </a:lnTo>
                  <a:lnTo>
                    <a:pt x="673" y="396"/>
                  </a:lnTo>
                  <a:lnTo>
                    <a:pt x="678" y="389"/>
                  </a:lnTo>
                  <a:lnTo>
                    <a:pt x="681" y="381"/>
                  </a:lnTo>
                  <a:lnTo>
                    <a:pt x="684" y="370"/>
                  </a:lnTo>
                  <a:lnTo>
                    <a:pt x="571" y="370"/>
                  </a:lnTo>
                  <a:lnTo>
                    <a:pt x="564" y="366"/>
                  </a:lnTo>
                  <a:lnTo>
                    <a:pt x="557" y="361"/>
                  </a:lnTo>
                  <a:lnTo>
                    <a:pt x="550" y="355"/>
                  </a:lnTo>
                  <a:lnTo>
                    <a:pt x="544" y="347"/>
                  </a:lnTo>
                  <a:lnTo>
                    <a:pt x="539" y="340"/>
                  </a:lnTo>
                  <a:lnTo>
                    <a:pt x="535" y="333"/>
                  </a:lnTo>
                  <a:lnTo>
                    <a:pt x="533" y="326"/>
                  </a:lnTo>
                  <a:lnTo>
                    <a:pt x="532" y="321"/>
                  </a:lnTo>
                  <a:lnTo>
                    <a:pt x="512" y="320"/>
                  </a:lnTo>
                  <a:lnTo>
                    <a:pt x="494" y="318"/>
                  </a:lnTo>
                  <a:lnTo>
                    <a:pt x="477" y="315"/>
                  </a:lnTo>
                  <a:lnTo>
                    <a:pt x="462" y="310"/>
                  </a:lnTo>
                  <a:lnTo>
                    <a:pt x="447" y="304"/>
                  </a:lnTo>
                  <a:lnTo>
                    <a:pt x="434" y="298"/>
                  </a:lnTo>
                  <a:lnTo>
                    <a:pt x="423" y="290"/>
                  </a:lnTo>
                  <a:lnTo>
                    <a:pt x="412" y="281"/>
                  </a:lnTo>
                  <a:lnTo>
                    <a:pt x="402" y="270"/>
                  </a:lnTo>
                  <a:lnTo>
                    <a:pt x="395" y="259"/>
                  </a:lnTo>
                  <a:lnTo>
                    <a:pt x="388" y="246"/>
                  </a:lnTo>
                  <a:lnTo>
                    <a:pt x="382" y="232"/>
                  </a:lnTo>
                  <a:lnTo>
                    <a:pt x="378" y="218"/>
                  </a:lnTo>
                  <a:lnTo>
                    <a:pt x="375" y="201"/>
                  </a:lnTo>
                  <a:lnTo>
                    <a:pt x="373" y="184"/>
                  </a:lnTo>
                  <a:lnTo>
                    <a:pt x="373" y="167"/>
                  </a:lnTo>
                  <a:lnTo>
                    <a:pt x="373" y="155"/>
                  </a:lnTo>
                  <a:lnTo>
                    <a:pt x="374" y="144"/>
                  </a:lnTo>
                  <a:lnTo>
                    <a:pt x="375" y="133"/>
                  </a:lnTo>
                  <a:lnTo>
                    <a:pt x="377" y="123"/>
                  </a:lnTo>
                  <a:lnTo>
                    <a:pt x="380" y="113"/>
                  </a:lnTo>
                  <a:lnTo>
                    <a:pt x="385" y="103"/>
                  </a:lnTo>
                  <a:lnTo>
                    <a:pt x="389" y="94"/>
                  </a:lnTo>
                  <a:lnTo>
                    <a:pt x="395" y="84"/>
                  </a:lnTo>
                  <a:lnTo>
                    <a:pt x="401" y="76"/>
                  </a:lnTo>
                  <a:lnTo>
                    <a:pt x="408" y="68"/>
                  </a:lnTo>
                  <a:lnTo>
                    <a:pt x="416" y="61"/>
                  </a:lnTo>
                  <a:lnTo>
                    <a:pt x="425" y="54"/>
                  </a:lnTo>
                  <a:lnTo>
                    <a:pt x="435" y="48"/>
                  </a:lnTo>
                  <a:lnTo>
                    <a:pt x="446" y="42"/>
                  </a:lnTo>
                  <a:lnTo>
                    <a:pt x="458" y="36"/>
                  </a:lnTo>
                  <a:lnTo>
                    <a:pt x="471" y="31"/>
                  </a:lnTo>
                  <a:lnTo>
                    <a:pt x="471" y="18"/>
                  </a:lnTo>
                  <a:lnTo>
                    <a:pt x="463" y="11"/>
                  </a:lnTo>
                  <a:lnTo>
                    <a:pt x="455" y="7"/>
                  </a:lnTo>
                  <a:lnTo>
                    <a:pt x="447" y="4"/>
                  </a:lnTo>
                  <a:lnTo>
                    <a:pt x="438" y="0"/>
                  </a:lnTo>
                  <a:lnTo>
                    <a:pt x="414" y="19"/>
                  </a:lnTo>
                  <a:lnTo>
                    <a:pt x="389" y="39"/>
                  </a:lnTo>
                  <a:lnTo>
                    <a:pt x="378" y="48"/>
                  </a:lnTo>
                  <a:lnTo>
                    <a:pt x="367" y="56"/>
                  </a:lnTo>
                  <a:lnTo>
                    <a:pt x="356" y="63"/>
                  </a:lnTo>
                  <a:lnTo>
                    <a:pt x="345" y="68"/>
                  </a:lnTo>
                  <a:lnTo>
                    <a:pt x="335" y="68"/>
                  </a:lnTo>
                  <a:lnTo>
                    <a:pt x="326" y="68"/>
                  </a:lnTo>
                  <a:lnTo>
                    <a:pt x="319" y="68"/>
                  </a:lnTo>
                  <a:lnTo>
                    <a:pt x="312" y="68"/>
                  </a:lnTo>
                  <a:lnTo>
                    <a:pt x="309" y="74"/>
                  </a:lnTo>
                  <a:lnTo>
                    <a:pt x="304" y="78"/>
                  </a:lnTo>
                  <a:lnTo>
                    <a:pt x="299" y="81"/>
                  </a:lnTo>
                  <a:lnTo>
                    <a:pt x="295" y="83"/>
                  </a:lnTo>
                  <a:lnTo>
                    <a:pt x="289" y="85"/>
                  </a:lnTo>
                  <a:lnTo>
                    <a:pt x="284" y="85"/>
                  </a:lnTo>
                  <a:lnTo>
                    <a:pt x="278" y="84"/>
                  </a:lnTo>
                  <a:lnTo>
                    <a:pt x="273" y="84"/>
                  </a:lnTo>
                  <a:lnTo>
                    <a:pt x="262" y="82"/>
                  </a:lnTo>
                  <a:lnTo>
                    <a:pt x="251" y="81"/>
                  </a:lnTo>
                  <a:lnTo>
                    <a:pt x="245" y="81"/>
                  </a:lnTo>
                  <a:lnTo>
                    <a:pt x="241" y="81"/>
                  </a:lnTo>
                  <a:lnTo>
                    <a:pt x="236" y="83"/>
                  </a:lnTo>
                  <a:lnTo>
                    <a:pt x="233" y="86"/>
                  </a:lnTo>
                  <a:lnTo>
                    <a:pt x="225" y="94"/>
                  </a:lnTo>
                  <a:lnTo>
                    <a:pt x="221" y="101"/>
                  </a:lnTo>
                  <a:lnTo>
                    <a:pt x="217" y="108"/>
                  </a:lnTo>
                  <a:lnTo>
                    <a:pt x="213" y="114"/>
                  </a:lnTo>
                  <a:lnTo>
                    <a:pt x="209" y="128"/>
                  </a:lnTo>
                  <a:lnTo>
                    <a:pt x="206" y="143"/>
                  </a:lnTo>
                  <a:lnTo>
                    <a:pt x="201" y="159"/>
                  </a:lnTo>
                  <a:lnTo>
                    <a:pt x="196" y="175"/>
                  </a:lnTo>
                  <a:lnTo>
                    <a:pt x="192" y="183"/>
                  </a:lnTo>
                  <a:lnTo>
                    <a:pt x="187" y="191"/>
                  </a:lnTo>
                  <a:lnTo>
                    <a:pt x="180" y="200"/>
                  </a:lnTo>
                  <a:lnTo>
                    <a:pt x="173" y="210"/>
                  </a:lnTo>
                  <a:lnTo>
                    <a:pt x="157" y="227"/>
                  </a:lnTo>
                  <a:lnTo>
                    <a:pt x="140" y="244"/>
                  </a:lnTo>
                  <a:lnTo>
                    <a:pt x="131" y="253"/>
                  </a:lnTo>
                  <a:lnTo>
                    <a:pt x="122" y="263"/>
                  </a:lnTo>
                  <a:lnTo>
                    <a:pt x="115" y="273"/>
                  </a:lnTo>
                  <a:lnTo>
                    <a:pt x="107" y="284"/>
                  </a:lnTo>
                  <a:lnTo>
                    <a:pt x="102" y="288"/>
                  </a:lnTo>
                  <a:lnTo>
                    <a:pt x="98" y="294"/>
                  </a:lnTo>
                  <a:lnTo>
                    <a:pt x="96" y="299"/>
                  </a:lnTo>
                  <a:lnTo>
                    <a:pt x="94" y="305"/>
                  </a:lnTo>
                  <a:lnTo>
                    <a:pt x="90" y="317"/>
                  </a:lnTo>
                  <a:lnTo>
                    <a:pt x="86" y="327"/>
                  </a:lnTo>
                  <a:lnTo>
                    <a:pt x="85" y="331"/>
                  </a:lnTo>
                  <a:lnTo>
                    <a:pt x="84" y="338"/>
                  </a:lnTo>
                  <a:lnTo>
                    <a:pt x="84" y="347"/>
                  </a:lnTo>
                  <a:lnTo>
                    <a:pt x="86" y="356"/>
                  </a:lnTo>
                  <a:lnTo>
                    <a:pt x="88" y="366"/>
                  </a:lnTo>
                  <a:lnTo>
                    <a:pt x="91" y="375"/>
                  </a:lnTo>
                  <a:lnTo>
                    <a:pt x="93" y="378"/>
                  </a:lnTo>
                  <a:lnTo>
                    <a:pt x="95" y="380"/>
                  </a:lnTo>
                  <a:lnTo>
                    <a:pt x="97" y="382"/>
                  </a:lnTo>
                  <a:lnTo>
                    <a:pt x="100" y="382"/>
                  </a:lnTo>
                  <a:lnTo>
                    <a:pt x="98" y="397"/>
                  </a:lnTo>
                  <a:lnTo>
                    <a:pt x="97" y="414"/>
                  </a:lnTo>
                  <a:lnTo>
                    <a:pt x="97" y="433"/>
                  </a:lnTo>
                  <a:lnTo>
                    <a:pt x="97" y="451"/>
                  </a:lnTo>
                  <a:lnTo>
                    <a:pt x="99" y="484"/>
                  </a:lnTo>
                  <a:lnTo>
                    <a:pt x="100" y="505"/>
                  </a:lnTo>
                  <a:lnTo>
                    <a:pt x="99" y="511"/>
                  </a:lnTo>
                  <a:lnTo>
                    <a:pt x="98" y="518"/>
                  </a:lnTo>
                  <a:lnTo>
                    <a:pt x="95" y="525"/>
                  </a:lnTo>
                  <a:lnTo>
                    <a:pt x="91" y="532"/>
                  </a:lnTo>
                  <a:lnTo>
                    <a:pt x="88" y="541"/>
                  </a:lnTo>
                  <a:lnTo>
                    <a:pt x="83" y="548"/>
                  </a:lnTo>
                  <a:lnTo>
                    <a:pt x="77" y="556"/>
                  </a:lnTo>
                  <a:lnTo>
                    <a:pt x="72" y="563"/>
                  </a:lnTo>
                  <a:lnTo>
                    <a:pt x="65" y="570"/>
                  </a:lnTo>
                  <a:lnTo>
                    <a:pt x="59" y="576"/>
                  </a:lnTo>
                  <a:lnTo>
                    <a:pt x="51" y="582"/>
                  </a:lnTo>
                  <a:lnTo>
                    <a:pt x="43" y="587"/>
                  </a:lnTo>
                  <a:lnTo>
                    <a:pt x="37" y="592"/>
                  </a:lnTo>
                  <a:lnTo>
                    <a:pt x="29" y="596"/>
                  </a:lnTo>
                  <a:lnTo>
                    <a:pt x="21" y="598"/>
                  </a:lnTo>
                  <a:lnTo>
                    <a:pt x="14" y="598"/>
                  </a:lnTo>
                  <a:lnTo>
                    <a:pt x="12" y="605"/>
                  </a:lnTo>
                  <a:lnTo>
                    <a:pt x="11" y="612"/>
                  </a:lnTo>
                  <a:lnTo>
                    <a:pt x="9" y="618"/>
                  </a:lnTo>
                  <a:lnTo>
                    <a:pt x="7" y="625"/>
                  </a:lnTo>
                  <a:lnTo>
                    <a:pt x="3" y="637"/>
                  </a:lnTo>
                  <a:lnTo>
                    <a:pt x="0" y="648"/>
                  </a:lnTo>
                  <a:lnTo>
                    <a:pt x="30" y="668"/>
                  </a:lnTo>
                  <a:lnTo>
                    <a:pt x="67" y="694"/>
                  </a:lnTo>
                  <a:lnTo>
                    <a:pt x="87" y="707"/>
                  </a:lnTo>
                  <a:lnTo>
                    <a:pt x="106" y="718"/>
                  </a:lnTo>
                  <a:lnTo>
                    <a:pt x="115" y="722"/>
                  </a:lnTo>
                  <a:lnTo>
                    <a:pt x="123" y="725"/>
                  </a:lnTo>
                  <a:lnTo>
                    <a:pt x="132" y="727"/>
                  </a:lnTo>
                  <a:lnTo>
                    <a:pt x="140" y="727"/>
                  </a:lnTo>
                  <a:lnTo>
                    <a:pt x="153" y="727"/>
                  </a:lnTo>
                  <a:lnTo>
                    <a:pt x="166" y="727"/>
                  </a:lnTo>
                  <a:lnTo>
                    <a:pt x="175" y="728"/>
                  </a:lnTo>
                  <a:lnTo>
                    <a:pt x="184" y="729"/>
                  </a:lnTo>
                  <a:lnTo>
                    <a:pt x="192" y="730"/>
                  </a:lnTo>
                  <a:lnTo>
                    <a:pt x="201" y="732"/>
                  </a:lnTo>
                  <a:lnTo>
                    <a:pt x="218" y="738"/>
                  </a:lnTo>
                  <a:lnTo>
                    <a:pt x="234" y="746"/>
                  </a:lnTo>
                  <a:lnTo>
                    <a:pt x="250" y="755"/>
                  </a:lnTo>
                  <a:lnTo>
                    <a:pt x="265" y="767"/>
                  </a:lnTo>
                  <a:lnTo>
                    <a:pt x="279" y="778"/>
                  </a:lnTo>
                  <a:lnTo>
                    <a:pt x="292" y="789"/>
                  </a:lnTo>
                  <a:lnTo>
                    <a:pt x="299" y="795"/>
                  </a:lnTo>
                  <a:lnTo>
                    <a:pt x="306" y="802"/>
                  </a:lnTo>
                  <a:lnTo>
                    <a:pt x="312" y="809"/>
                  </a:lnTo>
                  <a:lnTo>
                    <a:pt x="318" y="818"/>
                  </a:lnTo>
                  <a:lnTo>
                    <a:pt x="328" y="834"/>
                  </a:lnTo>
                  <a:lnTo>
                    <a:pt x="337" y="850"/>
                  </a:lnTo>
                  <a:lnTo>
                    <a:pt x="342" y="857"/>
                  </a:lnTo>
                  <a:lnTo>
                    <a:pt x="347" y="864"/>
                  </a:lnTo>
                  <a:lnTo>
                    <a:pt x="354" y="871"/>
                  </a:lnTo>
                  <a:lnTo>
                    <a:pt x="359" y="877"/>
                  </a:lnTo>
                  <a:lnTo>
                    <a:pt x="367" y="881"/>
                  </a:lnTo>
                  <a:lnTo>
                    <a:pt x="374" y="885"/>
                  </a:lnTo>
                  <a:lnTo>
                    <a:pt x="382" y="887"/>
                  </a:lnTo>
                  <a:lnTo>
                    <a:pt x="392" y="888"/>
                  </a:lnTo>
                  <a:lnTo>
                    <a:pt x="402" y="887"/>
                  </a:lnTo>
                  <a:lnTo>
                    <a:pt x="412" y="886"/>
                  </a:lnTo>
                  <a:lnTo>
                    <a:pt x="422" y="884"/>
                  </a:lnTo>
                  <a:lnTo>
                    <a:pt x="432" y="882"/>
                  </a:lnTo>
                  <a:lnTo>
                    <a:pt x="442" y="879"/>
                  </a:lnTo>
                  <a:lnTo>
                    <a:pt x="452" y="877"/>
                  </a:lnTo>
                  <a:lnTo>
                    <a:pt x="462" y="876"/>
                  </a:lnTo>
                  <a:lnTo>
                    <a:pt x="471" y="875"/>
                  </a:lnTo>
                  <a:lnTo>
                    <a:pt x="478" y="876"/>
                  </a:lnTo>
                  <a:lnTo>
                    <a:pt x="485" y="878"/>
                  </a:lnTo>
                  <a:lnTo>
                    <a:pt x="489" y="878"/>
                  </a:lnTo>
                  <a:lnTo>
                    <a:pt x="492" y="878"/>
                  </a:lnTo>
                  <a:lnTo>
                    <a:pt x="496" y="877"/>
                  </a:lnTo>
                  <a:lnTo>
                    <a:pt x="499" y="875"/>
                  </a:lnTo>
                  <a:lnTo>
                    <a:pt x="501" y="883"/>
                  </a:lnTo>
                  <a:lnTo>
                    <a:pt x="509" y="894"/>
                  </a:lnTo>
                  <a:lnTo>
                    <a:pt x="515" y="904"/>
                  </a:lnTo>
                  <a:lnTo>
                    <a:pt x="519" y="912"/>
                  </a:lnTo>
                  <a:lnTo>
                    <a:pt x="518" y="915"/>
                  </a:lnTo>
                  <a:lnTo>
                    <a:pt x="516" y="918"/>
                  </a:lnTo>
                  <a:lnTo>
                    <a:pt x="515" y="920"/>
                  </a:lnTo>
                  <a:lnTo>
                    <a:pt x="513" y="922"/>
                  </a:lnTo>
                  <a:lnTo>
                    <a:pt x="508" y="927"/>
                  </a:lnTo>
                  <a:lnTo>
                    <a:pt x="502" y="930"/>
                  </a:lnTo>
                  <a:lnTo>
                    <a:pt x="496" y="933"/>
                  </a:lnTo>
                  <a:lnTo>
                    <a:pt x="490" y="936"/>
                  </a:lnTo>
                  <a:lnTo>
                    <a:pt x="488" y="937"/>
                  </a:lnTo>
                  <a:lnTo>
                    <a:pt x="487" y="939"/>
                  </a:lnTo>
                  <a:lnTo>
                    <a:pt x="486" y="941"/>
                  </a:lnTo>
                  <a:lnTo>
                    <a:pt x="485" y="943"/>
                  </a:lnTo>
                  <a:lnTo>
                    <a:pt x="486" y="954"/>
                  </a:lnTo>
                  <a:lnTo>
                    <a:pt x="488" y="963"/>
                  </a:lnTo>
                  <a:lnTo>
                    <a:pt x="490" y="970"/>
                  </a:lnTo>
                  <a:lnTo>
                    <a:pt x="494" y="977"/>
                  </a:lnTo>
                  <a:lnTo>
                    <a:pt x="499" y="984"/>
                  </a:lnTo>
                  <a:lnTo>
                    <a:pt x="504" y="989"/>
                  </a:lnTo>
                  <a:lnTo>
                    <a:pt x="511" y="994"/>
                  </a:lnTo>
                  <a:lnTo>
                    <a:pt x="519" y="998"/>
                  </a:lnTo>
                  <a:lnTo>
                    <a:pt x="538" y="998"/>
                  </a:lnTo>
                  <a:lnTo>
                    <a:pt x="538" y="986"/>
                  </a:lnTo>
                  <a:lnTo>
                    <a:pt x="539" y="973"/>
                  </a:lnTo>
                  <a:lnTo>
                    <a:pt x="542" y="962"/>
                  </a:lnTo>
                  <a:lnTo>
                    <a:pt x="544" y="950"/>
                  </a:lnTo>
                  <a:lnTo>
                    <a:pt x="548" y="928"/>
                  </a:lnTo>
                  <a:lnTo>
                    <a:pt x="555" y="906"/>
                  </a:lnTo>
                  <a:lnTo>
                    <a:pt x="561" y="884"/>
                  </a:lnTo>
                  <a:lnTo>
                    <a:pt x="566" y="861"/>
                  </a:lnTo>
                  <a:lnTo>
                    <a:pt x="568" y="850"/>
                  </a:lnTo>
                  <a:lnTo>
                    <a:pt x="570" y="838"/>
                  </a:lnTo>
                  <a:lnTo>
                    <a:pt x="571" y="826"/>
                  </a:lnTo>
                  <a:lnTo>
                    <a:pt x="571" y="813"/>
                  </a:lnTo>
                  <a:lnTo>
                    <a:pt x="571" y="803"/>
                  </a:lnTo>
                  <a:lnTo>
                    <a:pt x="569" y="794"/>
                  </a:lnTo>
                  <a:lnTo>
                    <a:pt x="567" y="786"/>
                  </a:lnTo>
                  <a:lnTo>
                    <a:pt x="564" y="780"/>
                  </a:lnTo>
                  <a:lnTo>
                    <a:pt x="559" y="775"/>
                  </a:lnTo>
                  <a:lnTo>
                    <a:pt x="555" y="771"/>
                  </a:lnTo>
                  <a:lnTo>
                    <a:pt x="549" y="768"/>
                  </a:lnTo>
                  <a:lnTo>
                    <a:pt x="545" y="765"/>
                  </a:lnTo>
                  <a:lnTo>
                    <a:pt x="535" y="759"/>
                  </a:lnTo>
                  <a:lnTo>
                    <a:pt x="526" y="752"/>
                  </a:lnTo>
                  <a:lnTo>
                    <a:pt x="523" y="749"/>
                  </a:lnTo>
                  <a:lnTo>
                    <a:pt x="521" y="745"/>
                  </a:lnTo>
                  <a:lnTo>
                    <a:pt x="519" y="740"/>
                  </a:lnTo>
                  <a:lnTo>
                    <a:pt x="519" y="733"/>
                  </a:lnTo>
                  <a:lnTo>
                    <a:pt x="519" y="728"/>
                  </a:lnTo>
                  <a:lnTo>
                    <a:pt x="521" y="723"/>
                  </a:lnTo>
                  <a:lnTo>
                    <a:pt x="523" y="719"/>
                  </a:lnTo>
                  <a:lnTo>
                    <a:pt x="526" y="716"/>
                  </a:lnTo>
                  <a:lnTo>
                    <a:pt x="535" y="710"/>
                  </a:lnTo>
                  <a:lnTo>
                    <a:pt x="546" y="706"/>
                  </a:lnTo>
                  <a:lnTo>
                    <a:pt x="566" y="700"/>
                  </a:lnTo>
                  <a:lnTo>
                    <a:pt x="578" y="696"/>
                  </a:lnTo>
                  <a:lnTo>
                    <a:pt x="578" y="678"/>
                  </a:lnTo>
                  <a:lnTo>
                    <a:pt x="568" y="673"/>
                  </a:lnTo>
                  <a:lnTo>
                    <a:pt x="560" y="668"/>
                  </a:lnTo>
                  <a:lnTo>
                    <a:pt x="556" y="665"/>
                  </a:lnTo>
                  <a:lnTo>
                    <a:pt x="554" y="662"/>
                  </a:lnTo>
                  <a:lnTo>
                    <a:pt x="552" y="658"/>
                  </a:lnTo>
                  <a:lnTo>
                    <a:pt x="552" y="654"/>
                  </a:lnTo>
                  <a:lnTo>
                    <a:pt x="553" y="651"/>
                  </a:lnTo>
                  <a:lnTo>
                    <a:pt x="556" y="649"/>
                  </a:lnTo>
                  <a:lnTo>
                    <a:pt x="563" y="646"/>
                  </a:lnTo>
                  <a:lnTo>
                    <a:pt x="569" y="644"/>
                  </a:lnTo>
                  <a:lnTo>
                    <a:pt x="588" y="639"/>
                  </a:lnTo>
                  <a:lnTo>
                    <a:pt x="611" y="635"/>
                  </a:lnTo>
                  <a:lnTo>
                    <a:pt x="655" y="628"/>
                  </a:lnTo>
                  <a:lnTo>
                    <a:pt x="684" y="622"/>
                  </a:lnTo>
                </a:path>
              </a:pathLst>
            </a:custGeom>
            <a:solidFill>
              <a:schemeClr val="accent2">
                <a:lumMod val="5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892" name="Freeform 451"/>
            <p:cNvSpPr>
              <a:spLocks/>
            </p:cNvSpPr>
            <p:nvPr>
              <p:custDataLst>
                <p:tags r:id="rId284"/>
              </p:custDataLst>
            </p:nvPr>
          </p:nvSpPr>
          <p:spPr bwMode="auto">
            <a:xfrm>
              <a:off x="5924719" y="3968230"/>
              <a:ext cx="223327" cy="329804"/>
            </a:xfrm>
            <a:custGeom>
              <a:avLst/>
              <a:gdLst>
                <a:gd name="T0" fmla="*/ 187325 w 429"/>
                <a:gd name="T1" fmla="*/ 11531 h 524"/>
                <a:gd name="T2" fmla="*/ 186888 w 429"/>
                <a:gd name="T3" fmla="*/ 22537 h 524"/>
                <a:gd name="T4" fmla="*/ 185142 w 429"/>
                <a:gd name="T5" fmla="*/ 28302 h 524"/>
                <a:gd name="T6" fmla="*/ 181212 w 429"/>
                <a:gd name="T7" fmla="*/ 35116 h 524"/>
                <a:gd name="T8" fmla="*/ 180339 w 429"/>
                <a:gd name="T9" fmla="*/ 42454 h 524"/>
                <a:gd name="T10" fmla="*/ 180775 w 429"/>
                <a:gd name="T11" fmla="*/ 83859 h 524"/>
                <a:gd name="T12" fmla="*/ 178155 w 429"/>
                <a:gd name="T13" fmla="*/ 108492 h 524"/>
                <a:gd name="T14" fmla="*/ 172915 w 429"/>
                <a:gd name="T15" fmla="*/ 126313 h 524"/>
                <a:gd name="T16" fmla="*/ 162436 w 429"/>
                <a:gd name="T17" fmla="*/ 145705 h 524"/>
                <a:gd name="T18" fmla="*/ 147589 w 429"/>
                <a:gd name="T19" fmla="*/ 161953 h 524"/>
                <a:gd name="T20" fmla="*/ 139293 w 429"/>
                <a:gd name="T21" fmla="*/ 174531 h 524"/>
                <a:gd name="T22" fmla="*/ 136236 w 429"/>
                <a:gd name="T23" fmla="*/ 215937 h 524"/>
                <a:gd name="T24" fmla="*/ 132743 w 429"/>
                <a:gd name="T25" fmla="*/ 230088 h 524"/>
                <a:gd name="T26" fmla="*/ 126630 w 429"/>
                <a:gd name="T27" fmla="*/ 234805 h 524"/>
                <a:gd name="T28" fmla="*/ 117460 w 429"/>
                <a:gd name="T29" fmla="*/ 238474 h 524"/>
                <a:gd name="T30" fmla="*/ 110474 w 429"/>
                <a:gd name="T31" fmla="*/ 247384 h 524"/>
                <a:gd name="T32" fmla="*/ 102177 w 429"/>
                <a:gd name="T33" fmla="*/ 262059 h 524"/>
                <a:gd name="T34" fmla="*/ 97374 w 429"/>
                <a:gd name="T35" fmla="*/ 264680 h 524"/>
                <a:gd name="T36" fmla="*/ 87768 w 429"/>
                <a:gd name="T37" fmla="*/ 264156 h 524"/>
                <a:gd name="T38" fmla="*/ 82528 w 429"/>
                <a:gd name="T39" fmla="*/ 261011 h 524"/>
                <a:gd name="T40" fmla="*/ 63315 w 429"/>
                <a:gd name="T41" fmla="*/ 262059 h 524"/>
                <a:gd name="T42" fmla="*/ 53709 w 429"/>
                <a:gd name="T43" fmla="*/ 262059 h 524"/>
                <a:gd name="T44" fmla="*/ 49342 w 429"/>
                <a:gd name="T45" fmla="*/ 258914 h 524"/>
                <a:gd name="T46" fmla="*/ 41482 w 429"/>
                <a:gd name="T47" fmla="*/ 258390 h 524"/>
                <a:gd name="T48" fmla="*/ 34059 w 429"/>
                <a:gd name="T49" fmla="*/ 263107 h 524"/>
                <a:gd name="T50" fmla="*/ 27073 w 429"/>
                <a:gd name="T51" fmla="*/ 272017 h 524"/>
                <a:gd name="T52" fmla="*/ 11790 w 429"/>
                <a:gd name="T53" fmla="*/ 257342 h 524"/>
                <a:gd name="T54" fmla="*/ 2620 w 429"/>
                <a:gd name="T55" fmla="*/ 234281 h 524"/>
                <a:gd name="T56" fmla="*/ 10916 w 429"/>
                <a:gd name="T57" fmla="*/ 225371 h 524"/>
                <a:gd name="T58" fmla="*/ 18340 w 429"/>
                <a:gd name="T59" fmla="*/ 222226 h 524"/>
                <a:gd name="T60" fmla="*/ 26636 w 429"/>
                <a:gd name="T61" fmla="*/ 224323 h 524"/>
                <a:gd name="T62" fmla="*/ 25326 w 429"/>
                <a:gd name="T63" fmla="*/ 219081 h 524"/>
                <a:gd name="T64" fmla="*/ 19649 w 429"/>
                <a:gd name="T65" fmla="*/ 202310 h 524"/>
                <a:gd name="T66" fmla="*/ 20523 w 429"/>
                <a:gd name="T67" fmla="*/ 191827 h 524"/>
                <a:gd name="T68" fmla="*/ 24889 w 429"/>
                <a:gd name="T69" fmla="*/ 186586 h 524"/>
                <a:gd name="T70" fmla="*/ 31003 w 429"/>
                <a:gd name="T71" fmla="*/ 184490 h 524"/>
                <a:gd name="T72" fmla="*/ 38862 w 429"/>
                <a:gd name="T73" fmla="*/ 176628 h 524"/>
                <a:gd name="T74" fmla="*/ 45412 w 429"/>
                <a:gd name="T75" fmla="*/ 174531 h 524"/>
                <a:gd name="T76" fmla="*/ 50215 w 429"/>
                <a:gd name="T77" fmla="*/ 179248 h 524"/>
                <a:gd name="T78" fmla="*/ 58948 w 429"/>
                <a:gd name="T79" fmla="*/ 188158 h 524"/>
                <a:gd name="T80" fmla="*/ 67245 w 429"/>
                <a:gd name="T81" fmla="*/ 183966 h 524"/>
                <a:gd name="T82" fmla="*/ 79035 w 429"/>
                <a:gd name="T83" fmla="*/ 185014 h 524"/>
                <a:gd name="T84" fmla="*/ 86894 w 429"/>
                <a:gd name="T85" fmla="*/ 178200 h 524"/>
                <a:gd name="T86" fmla="*/ 91698 w 429"/>
                <a:gd name="T87" fmla="*/ 165097 h 524"/>
                <a:gd name="T88" fmla="*/ 93008 w 429"/>
                <a:gd name="T89" fmla="*/ 151994 h 524"/>
                <a:gd name="T90" fmla="*/ 93881 w 429"/>
                <a:gd name="T91" fmla="*/ 140988 h 524"/>
                <a:gd name="T92" fmla="*/ 87768 w 429"/>
                <a:gd name="T93" fmla="*/ 123692 h 524"/>
                <a:gd name="T94" fmla="*/ 82091 w 429"/>
                <a:gd name="T95" fmla="*/ 106396 h 524"/>
                <a:gd name="T96" fmla="*/ 90388 w 429"/>
                <a:gd name="T97" fmla="*/ 92769 h 524"/>
                <a:gd name="T98" fmla="*/ 91698 w 429"/>
                <a:gd name="T99" fmla="*/ 85955 h 524"/>
                <a:gd name="T100" fmla="*/ 87331 w 429"/>
                <a:gd name="T101" fmla="*/ 81238 h 524"/>
                <a:gd name="T102" fmla="*/ 86021 w 429"/>
                <a:gd name="T103" fmla="*/ 71804 h 524"/>
                <a:gd name="T104" fmla="*/ 82091 w 429"/>
                <a:gd name="T105" fmla="*/ 67611 h 524"/>
                <a:gd name="T106" fmla="*/ 70301 w 429"/>
                <a:gd name="T107" fmla="*/ 69184 h 524"/>
                <a:gd name="T108" fmla="*/ 59822 w 429"/>
                <a:gd name="T109" fmla="*/ 68660 h 524"/>
                <a:gd name="T110" fmla="*/ 54582 w 429"/>
                <a:gd name="T111" fmla="*/ 62370 h 524"/>
                <a:gd name="T112" fmla="*/ 53709 w 429"/>
                <a:gd name="T113" fmla="*/ 53984 h 524"/>
                <a:gd name="T114" fmla="*/ 57638 w 429"/>
                <a:gd name="T115" fmla="*/ 39833 h 524"/>
                <a:gd name="T116" fmla="*/ 133616 w 429"/>
                <a:gd name="T117" fmla="*/ 19916 h 524"/>
                <a:gd name="T118" fmla="*/ 141040 w 429"/>
                <a:gd name="T119" fmla="*/ 8910 h 524"/>
                <a:gd name="T120" fmla="*/ 149773 w 429"/>
                <a:gd name="T121" fmla="*/ 3669 h 524"/>
                <a:gd name="T122" fmla="*/ 163309 w 429"/>
                <a:gd name="T123" fmla="*/ 2621 h 524"/>
                <a:gd name="T124" fmla="*/ 178155 w 429"/>
                <a:gd name="T125" fmla="*/ 2096 h 52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29" h="524">
                  <a:moveTo>
                    <a:pt x="426" y="0"/>
                  </a:moveTo>
                  <a:lnTo>
                    <a:pt x="427" y="12"/>
                  </a:lnTo>
                  <a:lnTo>
                    <a:pt x="429" y="22"/>
                  </a:lnTo>
                  <a:lnTo>
                    <a:pt x="429" y="31"/>
                  </a:lnTo>
                  <a:lnTo>
                    <a:pt x="429" y="38"/>
                  </a:lnTo>
                  <a:lnTo>
                    <a:pt x="428" y="43"/>
                  </a:lnTo>
                  <a:lnTo>
                    <a:pt x="427" y="48"/>
                  </a:lnTo>
                  <a:lnTo>
                    <a:pt x="426" y="51"/>
                  </a:lnTo>
                  <a:lnTo>
                    <a:pt x="424" y="54"/>
                  </a:lnTo>
                  <a:lnTo>
                    <a:pt x="419" y="60"/>
                  </a:lnTo>
                  <a:lnTo>
                    <a:pt x="416" y="64"/>
                  </a:lnTo>
                  <a:lnTo>
                    <a:pt x="415" y="67"/>
                  </a:lnTo>
                  <a:lnTo>
                    <a:pt x="413" y="71"/>
                  </a:lnTo>
                  <a:lnTo>
                    <a:pt x="413" y="75"/>
                  </a:lnTo>
                  <a:lnTo>
                    <a:pt x="413" y="81"/>
                  </a:lnTo>
                  <a:lnTo>
                    <a:pt x="413" y="109"/>
                  </a:lnTo>
                  <a:lnTo>
                    <a:pt x="414" y="135"/>
                  </a:lnTo>
                  <a:lnTo>
                    <a:pt x="414" y="160"/>
                  </a:lnTo>
                  <a:lnTo>
                    <a:pt x="413" y="183"/>
                  </a:lnTo>
                  <a:lnTo>
                    <a:pt x="410" y="196"/>
                  </a:lnTo>
                  <a:lnTo>
                    <a:pt x="408" y="207"/>
                  </a:lnTo>
                  <a:lnTo>
                    <a:pt x="405" y="218"/>
                  </a:lnTo>
                  <a:lnTo>
                    <a:pt x="401" y="229"/>
                  </a:lnTo>
                  <a:lnTo>
                    <a:pt x="396" y="241"/>
                  </a:lnTo>
                  <a:lnTo>
                    <a:pt x="390" y="254"/>
                  </a:lnTo>
                  <a:lnTo>
                    <a:pt x="382" y="266"/>
                  </a:lnTo>
                  <a:lnTo>
                    <a:pt x="372" y="278"/>
                  </a:lnTo>
                  <a:lnTo>
                    <a:pt x="360" y="288"/>
                  </a:lnTo>
                  <a:lnTo>
                    <a:pt x="346" y="300"/>
                  </a:lnTo>
                  <a:lnTo>
                    <a:pt x="338" y="309"/>
                  </a:lnTo>
                  <a:lnTo>
                    <a:pt x="331" y="316"/>
                  </a:lnTo>
                  <a:lnTo>
                    <a:pt x="325" y="324"/>
                  </a:lnTo>
                  <a:lnTo>
                    <a:pt x="319" y="333"/>
                  </a:lnTo>
                  <a:lnTo>
                    <a:pt x="318" y="361"/>
                  </a:lnTo>
                  <a:lnTo>
                    <a:pt x="314" y="395"/>
                  </a:lnTo>
                  <a:lnTo>
                    <a:pt x="312" y="412"/>
                  </a:lnTo>
                  <a:lnTo>
                    <a:pt x="308" y="428"/>
                  </a:lnTo>
                  <a:lnTo>
                    <a:pt x="306" y="434"/>
                  </a:lnTo>
                  <a:lnTo>
                    <a:pt x="304" y="439"/>
                  </a:lnTo>
                  <a:lnTo>
                    <a:pt x="302" y="442"/>
                  </a:lnTo>
                  <a:lnTo>
                    <a:pt x="300" y="444"/>
                  </a:lnTo>
                  <a:lnTo>
                    <a:pt x="290" y="448"/>
                  </a:lnTo>
                  <a:lnTo>
                    <a:pt x="280" y="451"/>
                  </a:lnTo>
                  <a:lnTo>
                    <a:pt x="274" y="453"/>
                  </a:lnTo>
                  <a:lnTo>
                    <a:pt x="269" y="455"/>
                  </a:lnTo>
                  <a:lnTo>
                    <a:pt x="264" y="458"/>
                  </a:lnTo>
                  <a:lnTo>
                    <a:pt x="259" y="462"/>
                  </a:lnTo>
                  <a:lnTo>
                    <a:pt x="253" y="472"/>
                  </a:lnTo>
                  <a:lnTo>
                    <a:pt x="245" y="487"/>
                  </a:lnTo>
                  <a:lnTo>
                    <a:pt x="239" y="494"/>
                  </a:lnTo>
                  <a:lnTo>
                    <a:pt x="234" y="500"/>
                  </a:lnTo>
                  <a:lnTo>
                    <a:pt x="230" y="502"/>
                  </a:lnTo>
                  <a:lnTo>
                    <a:pt x="227" y="504"/>
                  </a:lnTo>
                  <a:lnTo>
                    <a:pt x="223" y="505"/>
                  </a:lnTo>
                  <a:lnTo>
                    <a:pt x="219" y="506"/>
                  </a:lnTo>
                  <a:lnTo>
                    <a:pt x="210" y="505"/>
                  </a:lnTo>
                  <a:lnTo>
                    <a:pt x="201" y="504"/>
                  </a:lnTo>
                  <a:lnTo>
                    <a:pt x="196" y="503"/>
                  </a:lnTo>
                  <a:lnTo>
                    <a:pt x="192" y="501"/>
                  </a:lnTo>
                  <a:lnTo>
                    <a:pt x="189" y="498"/>
                  </a:lnTo>
                  <a:lnTo>
                    <a:pt x="186" y="494"/>
                  </a:lnTo>
                  <a:lnTo>
                    <a:pt x="166" y="496"/>
                  </a:lnTo>
                  <a:lnTo>
                    <a:pt x="145" y="500"/>
                  </a:lnTo>
                  <a:lnTo>
                    <a:pt x="135" y="502"/>
                  </a:lnTo>
                  <a:lnTo>
                    <a:pt x="126" y="501"/>
                  </a:lnTo>
                  <a:lnTo>
                    <a:pt x="123" y="500"/>
                  </a:lnTo>
                  <a:lnTo>
                    <a:pt x="119" y="499"/>
                  </a:lnTo>
                  <a:lnTo>
                    <a:pt x="116" y="497"/>
                  </a:lnTo>
                  <a:lnTo>
                    <a:pt x="113" y="494"/>
                  </a:lnTo>
                  <a:lnTo>
                    <a:pt x="106" y="493"/>
                  </a:lnTo>
                  <a:lnTo>
                    <a:pt x="100" y="493"/>
                  </a:lnTo>
                  <a:lnTo>
                    <a:pt x="95" y="493"/>
                  </a:lnTo>
                  <a:lnTo>
                    <a:pt x="91" y="494"/>
                  </a:lnTo>
                  <a:lnTo>
                    <a:pt x="83" y="497"/>
                  </a:lnTo>
                  <a:lnTo>
                    <a:pt x="78" y="502"/>
                  </a:lnTo>
                  <a:lnTo>
                    <a:pt x="73" y="507"/>
                  </a:lnTo>
                  <a:lnTo>
                    <a:pt x="68" y="513"/>
                  </a:lnTo>
                  <a:lnTo>
                    <a:pt x="62" y="519"/>
                  </a:lnTo>
                  <a:lnTo>
                    <a:pt x="54" y="524"/>
                  </a:lnTo>
                  <a:lnTo>
                    <a:pt x="39" y="507"/>
                  </a:lnTo>
                  <a:lnTo>
                    <a:pt x="27" y="491"/>
                  </a:lnTo>
                  <a:lnTo>
                    <a:pt x="14" y="474"/>
                  </a:lnTo>
                  <a:lnTo>
                    <a:pt x="0" y="456"/>
                  </a:lnTo>
                  <a:lnTo>
                    <a:pt x="6" y="447"/>
                  </a:lnTo>
                  <a:lnTo>
                    <a:pt x="13" y="440"/>
                  </a:lnTo>
                  <a:lnTo>
                    <a:pt x="18" y="434"/>
                  </a:lnTo>
                  <a:lnTo>
                    <a:pt x="25" y="430"/>
                  </a:lnTo>
                  <a:lnTo>
                    <a:pt x="31" y="427"/>
                  </a:lnTo>
                  <a:lnTo>
                    <a:pt x="36" y="425"/>
                  </a:lnTo>
                  <a:lnTo>
                    <a:pt x="42" y="424"/>
                  </a:lnTo>
                  <a:lnTo>
                    <a:pt x="46" y="424"/>
                  </a:lnTo>
                  <a:lnTo>
                    <a:pt x="55" y="425"/>
                  </a:lnTo>
                  <a:lnTo>
                    <a:pt x="61" y="428"/>
                  </a:lnTo>
                  <a:lnTo>
                    <a:pt x="65" y="431"/>
                  </a:lnTo>
                  <a:lnTo>
                    <a:pt x="67" y="432"/>
                  </a:lnTo>
                  <a:lnTo>
                    <a:pt x="58" y="418"/>
                  </a:lnTo>
                  <a:lnTo>
                    <a:pt x="51" y="405"/>
                  </a:lnTo>
                  <a:lnTo>
                    <a:pt x="47" y="395"/>
                  </a:lnTo>
                  <a:lnTo>
                    <a:pt x="45" y="386"/>
                  </a:lnTo>
                  <a:lnTo>
                    <a:pt x="45" y="378"/>
                  </a:lnTo>
                  <a:lnTo>
                    <a:pt x="45" y="372"/>
                  </a:lnTo>
                  <a:lnTo>
                    <a:pt x="47" y="366"/>
                  </a:lnTo>
                  <a:lnTo>
                    <a:pt x="50" y="362"/>
                  </a:lnTo>
                  <a:lnTo>
                    <a:pt x="54" y="359"/>
                  </a:lnTo>
                  <a:lnTo>
                    <a:pt x="57" y="356"/>
                  </a:lnTo>
                  <a:lnTo>
                    <a:pt x="61" y="354"/>
                  </a:lnTo>
                  <a:lnTo>
                    <a:pt x="65" y="353"/>
                  </a:lnTo>
                  <a:lnTo>
                    <a:pt x="71" y="352"/>
                  </a:lnTo>
                  <a:lnTo>
                    <a:pt x="73" y="351"/>
                  </a:lnTo>
                  <a:lnTo>
                    <a:pt x="81" y="343"/>
                  </a:lnTo>
                  <a:lnTo>
                    <a:pt x="89" y="337"/>
                  </a:lnTo>
                  <a:lnTo>
                    <a:pt x="94" y="334"/>
                  </a:lnTo>
                  <a:lnTo>
                    <a:pt x="100" y="333"/>
                  </a:lnTo>
                  <a:lnTo>
                    <a:pt x="104" y="333"/>
                  </a:lnTo>
                  <a:lnTo>
                    <a:pt x="109" y="335"/>
                  </a:lnTo>
                  <a:lnTo>
                    <a:pt x="112" y="339"/>
                  </a:lnTo>
                  <a:lnTo>
                    <a:pt x="115" y="342"/>
                  </a:lnTo>
                  <a:lnTo>
                    <a:pt x="123" y="350"/>
                  </a:lnTo>
                  <a:lnTo>
                    <a:pt x="130" y="356"/>
                  </a:lnTo>
                  <a:lnTo>
                    <a:pt x="135" y="359"/>
                  </a:lnTo>
                  <a:lnTo>
                    <a:pt x="140" y="359"/>
                  </a:lnTo>
                  <a:lnTo>
                    <a:pt x="146" y="356"/>
                  </a:lnTo>
                  <a:lnTo>
                    <a:pt x="154" y="351"/>
                  </a:lnTo>
                  <a:lnTo>
                    <a:pt x="163" y="354"/>
                  </a:lnTo>
                  <a:lnTo>
                    <a:pt x="172" y="354"/>
                  </a:lnTo>
                  <a:lnTo>
                    <a:pt x="181" y="353"/>
                  </a:lnTo>
                  <a:lnTo>
                    <a:pt x="188" y="350"/>
                  </a:lnTo>
                  <a:lnTo>
                    <a:pt x="193" y="345"/>
                  </a:lnTo>
                  <a:lnTo>
                    <a:pt x="199" y="340"/>
                  </a:lnTo>
                  <a:lnTo>
                    <a:pt x="202" y="334"/>
                  </a:lnTo>
                  <a:lnTo>
                    <a:pt x="205" y="328"/>
                  </a:lnTo>
                  <a:lnTo>
                    <a:pt x="210" y="315"/>
                  </a:lnTo>
                  <a:lnTo>
                    <a:pt x="212" y="302"/>
                  </a:lnTo>
                  <a:lnTo>
                    <a:pt x="213" y="293"/>
                  </a:lnTo>
                  <a:lnTo>
                    <a:pt x="213" y="290"/>
                  </a:lnTo>
                  <a:lnTo>
                    <a:pt x="215" y="283"/>
                  </a:lnTo>
                  <a:lnTo>
                    <a:pt x="215" y="276"/>
                  </a:lnTo>
                  <a:lnTo>
                    <a:pt x="215" y="269"/>
                  </a:lnTo>
                  <a:lnTo>
                    <a:pt x="213" y="262"/>
                  </a:lnTo>
                  <a:lnTo>
                    <a:pt x="208" y="249"/>
                  </a:lnTo>
                  <a:lnTo>
                    <a:pt x="201" y="236"/>
                  </a:lnTo>
                  <a:lnTo>
                    <a:pt x="186" y="217"/>
                  </a:lnTo>
                  <a:lnTo>
                    <a:pt x="180" y="210"/>
                  </a:lnTo>
                  <a:lnTo>
                    <a:pt x="188" y="203"/>
                  </a:lnTo>
                  <a:lnTo>
                    <a:pt x="202" y="187"/>
                  </a:lnTo>
                  <a:lnTo>
                    <a:pt x="205" y="182"/>
                  </a:lnTo>
                  <a:lnTo>
                    <a:pt x="207" y="177"/>
                  </a:lnTo>
                  <a:lnTo>
                    <a:pt x="210" y="173"/>
                  </a:lnTo>
                  <a:lnTo>
                    <a:pt x="211" y="168"/>
                  </a:lnTo>
                  <a:lnTo>
                    <a:pt x="210" y="164"/>
                  </a:lnTo>
                  <a:lnTo>
                    <a:pt x="208" y="161"/>
                  </a:lnTo>
                  <a:lnTo>
                    <a:pt x="205" y="157"/>
                  </a:lnTo>
                  <a:lnTo>
                    <a:pt x="200" y="155"/>
                  </a:lnTo>
                  <a:lnTo>
                    <a:pt x="200" y="148"/>
                  </a:lnTo>
                  <a:lnTo>
                    <a:pt x="200" y="142"/>
                  </a:lnTo>
                  <a:lnTo>
                    <a:pt x="197" y="137"/>
                  </a:lnTo>
                  <a:lnTo>
                    <a:pt x="195" y="133"/>
                  </a:lnTo>
                  <a:lnTo>
                    <a:pt x="192" y="131"/>
                  </a:lnTo>
                  <a:lnTo>
                    <a:pt x="188" y="129"/>
                  </a:lnTo>
                  <a:lnTo>
                    <a:pt x="183" y="129"/>
                  </a:lnTo>
                  <a:lnTo>
                    <a:pt x="179" y="129"/>
                  </a:lnTo>
                  <a:lnTo>
                    <a:pt x="161" y="132"/>
                  </a:lnTo>
                  <a:lnTo>
                    <a:pt x="154" y="137"/>
                  </a:lnTo>
                  <a:lnTo>
                    <a:pt x="144" y="134"/>
                  </a:lnTo>
                  <a:lnTo>
                    <a:pt x="137" y="131"/>
                  </a:lnTo>
                  <a:lnTo>
                    <a:pt x="132" y="128"/>
                  </a:lnTo>
                  <a:lnTo>
                    <a:pt x="127" y="124"/>
                  </a:lnTo>
                  <a:lnTo>
                    <a:pt x="125" y="119"/>
                  </a:lnTo>
                  <a:lnTo>
                    <a:pt x="123" y="114"/>
                  </a:lnTo>
                  <a:lnTo>
                    <a:pt x="123" y="109"/>
                  </a:lnTo>
                  <a:lnTo>
                    <a:pt x="123" y="103"/>
                  </a:lnTo>
                  <a:lnTo>
                    <a:pt x="125" y="93"/>
                  </a:lnTo>
                  <a:lnTo>
                    <a:pt x="128" y="84"/>
                  </a:lnTo>
                  <a:lnTo>
                    <a:pt x="132" y="76"/>
                  </a:lnTo>
                  <a:lnTo>
                    <a:pt x="133" y="74"/>
                  </a:lnTo>
                  <a:lnTo>
                    <a:pt x="293" y="105"/>
                  </a:lnTo>
                  <a:lnTo>
                    <a:pt x="306" y="38"/>
                  </a:lnTo>
                  <a:lnTo>
                    <a:pt x="311" y="30"/>
                  </a:lnTo>
                  <a:lnTo>
                    <a:pt x="317" y="22"/>
                  </a:lnTo>
                  <a:lnTo>
                    <a:pt x="323" y="17"/>
                  </a:lnTo>
                  <a:lnTo>
                    <a:pt x="329" y="12"/>
                  </a:lnTo>
                  <a:lnTo>
                    <a:pt x="336" y="9"/>
                  </a:lnTo>
                  <a:lnTo>
                    <a:pt x="343" y="7"/>
                  </a:lnTo>
                  <a:lnTo>
                    <a:pt x="350" y="6"/>
                  </a:lnTo>
                  <a:lnTo>
                    <a:pt x="358" y="5"/>
                  </a:lnTo>
                  <a:lnTo>
                    <a:pt x="374" y="5"/>
                  </a:lnTo>
                  <a:lnTo>
                    <a:pt x="391" y="4"/>
                  </a:lnTo>
                  <a:lnTo>
                    <a:pt x="399" y="4"/>
                  </a:lnTo>
                  <a:lnTo>
                    <a:pt x="408" y="4"/>
                  </a:lnTo>
                  <a:lnTo>
                    <a:pt x="417" y="2"/>
                  </a:lnTo>
                  <a:lnTo>
                    <a:pt x="426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893" name="Freeform 452"/>
            <p:cNvSpPr>
              <a:spLocks/>
            </p:cNvSpPr>
            <p:nvPr>
              <p:custDataLst>
                <p:tags r:id="rId285"/>
              </p:custDataLst>
            </p:nvPr>
          </p:nvSpPr>
          <p:spPr bwMode="auto">
            <a:xfrm>
              <a:off x="5962570" y="2338277"/>
              <a:ext cx="151408" cy="137259"/>
            </a:xfrm>
            <a:custGeom>
              <a:avLst/>
              <a:gdLst>
                <a:gd name="T0" fmla="*/ 112647 w 292"/>
                <a:gd name="T1" fmla="*/ 47668 h 223"/>
                <a:gd name="T2" fmla="*/ 72199 w 292"/>
                <a:gd name="T3" fmla="*/ 39467 h 223"/>
                <a:gd name="T4" fmla="*/ 66110 w 292"/>
                <a:gd name="T5" fmla="*/ 40492 h 223"/>
                <a:gd name="T6" fmla="*/ 60455 w 292"/>
                <a:gd name="T7" fmla="*/ 40492 h 223"/>
                <a:gd name="T8" fmla="*/ 54801 w 292"/>
                <a:gd name="T9" fmla="*/ 39467 h 223"/>
                <a:gd name="T10" fmla="*/ 51757 w 292"/>
                <a:gd name="T11" fmla="*/ 47668 h 223"/>
                <a:gd name="T12" fmla="*/ 62630 w 292"/>
                <a:gd name="T13" fmla="*/ 67145 h 223"/>
                <a:gd name="T14" fmla="*/ 73068 w 292"/>
                <a:gd name="T15" fmla="*/ 80471 h 223"/>
                <a:gd name="T16" fmla="*/ 82202 w 292"/>
                <a:gd name="T17" fmla="*/ 94823 h 223"/>
                <a:gd name="T18" fmla="*/ 85682 w 292"/>
                <a:gd name="T19" fmla="*/ 103536 h 223"/>
                <a:gd name="T20" fmla="*/ 89161 w 292"/>
                <a:gd name="T21" fmla="*/ 113787 h 223"/>
                <a:gd name="T22" fmla="*/ 76113 w 292"/>
                <a:gd name="T23" fmla="*/ 114300 h 223"/>
                <a:gd name="T24" fmla="*/ 70024 w 292"/>
                <a:gd name="T25" fmla="*/ 113787 h 223"/>
                <a:gd name="T26" fmla="*/ 63500 w 292"/>
                <a:gd name="T27" fmla="*/ 110712 h 223"/>
                <a:gd name="T28" fmla="*/ 58281 w 292"/>
                <a:gd name="T29" fmla="*/ 107124 h 223"/>
                <a:gd name="T30" fmla="*/ 55236 w 292"/>
                <a:gd name="T31" fmla="*/ 101486 h 223"/>
                <a:gd name="T32" fmla="*/ 52627 w 292"/>
                <a:gd name="T33" fmla="*/ 95848 h 223"/>
                <a:gd name="T34" fmla="*/ 49147 w 292"/>
                <a:gd name="T35" fmla="*/ 92260 h 223"/>
                <a:gd name="T36" fmla="*/ 39579 w 292"/>
                <a:gd name="T37" fmla="*/ 74321 h 223"/>
                <a:gd name="T38" fmla="*/ 29575 w 292"/>
                <a:gd name="T39" fmla="*/ 57919 h 223"/>
                <a:gd name="T40" fmla="*/ 23921 w 292"/>
                <a:gd name="T41" fmla="*/ 50743 h 223"/>
                <a:gd name="T42" fmla="*/ 18267 w 292"/>
                <a:gd name="T43" fmla="*/ 44592 h 223"/>
                <a:gd name="T44" fmla="*/ 11743 w 292"/>
                <a:gd name="T45" fmla="*/ 40492 h 223"/>
                <a:gd name="T46" fmla="*/ 5654 w 292"/>
                <a:gd name="T47" fmla="*/ 38442 h 223"/>
                <a:gd name="T48" fmla="*/ 1740 w 292"/>
                <a:gd name="T49" fmla="*/ 33316 h 223"/>
                <a:gd name="T50" fmla="*/ 435 w 292"/>
                <a:gd name="T51" fmla="*/ 29728 h 223"/>
                <a:gd name="T52" fmla="*/ 0 w 292"/>
                <a:gd name="T53" fmla="*/ 25115 h 223"/>
                <a:gd name="T54" fmla="*/ 17397 w 292"/>
                <a:gd name="T55" fmla="*/ 28191 h 223"/>
                <a:gd name="T56" fmla="*/ 30445 w 292"/>
                <a:gd name="T57" fmla="*/ 28191 h 223"/>
                <a:gd name="T58" fmla="*/ 39579 w 292"/>
                <a:gd name="T59" fmla="*/ 25628 h 223"/>
                <a:gd name="T60" fmla="*/ 46103 w 292"/>
                <a:gd name="T61" fmla="*/ 21015 h 223"/>
                <a:gd name="T62" fmla="*/ 55236 w 292"/>
                <a:gd name="T63" fmla="*/ 10251 h 223"/>
                <a:gd name="T64" fmla="*/ 60021 w 292"/>
                <a:gd name="T65" fmla="*/ 4613 h 223"/>
                <a:gd name="T66" fmla="*/ 66110 w 292"/>
                <a:gd name="T67" fmla="*/ 0 h 223"/>
                <a:gd name="T68" fmla="*/ 74808 w 292"/>
                <a:gd name="T69" fmla="*/ 7176 h 223"/>
                <a:gd name="T70" fmla="*/ 84377 w 292"/>
                <a:gd name="T71" fmla="*/ 13326 h 223"/>
                <a:gd name="T72" fmla="*/ 94815 w 292"/>
                <a:gd name="T73" fmla="*/ 17427 h 223"/>
                <a:gd name="T74" fmla="*/ 106993 w 292"/>
                <a:gd name="T75" fmla="*/ 18965 h 223"/>
                <a:gd name="T76" fmla="*/ 113952 w 292"/>
                <a:gd name="T77" fmla="*/ 17427 h 223"/>
                <a:gd name="T78" fmla="*/ 121346 w 292"/>
                <a:gd name="T79" fmla="*/ 15889 h 223"/>
                <a:gd name="T80" fmla="*/ 123955 w 292"/>
                <a:gd name="T81" fmla="*/ 24090 h 223"/>
                <a:gd name="T82" fmla="*/ 124825 w 292"/>
                <a:gd name="T83" fmla="*/ 25115 h 223"/>
                <a:gd name="T84" fmla="*/ 127000 w 292"/>
                <a:gd name="T85" fmla="*/ 35366 h 22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292" h="223">
                  <a:moveTo>
                    <a:pt x="292" y="69"/>
                  </a:moveTo>
                  <a:lnTo>
                    <a:pt x="259" y="93"/>
                  </a:lnTo>
                  <a:lnTo>
                    <a:pt x="172" y="75"/>
                  </a:lnTo>
                  <a:lnTo>
                    <a:pt x="166" y="77"/>
                  </a:lnTo>
                  <a:lnTo>
                    <a:pt x="159" y="78"/>
                  </a:lnTo>
                  <a:lnTo>
                    <a:pt x="152" y="79"/>
                  </a:lnTo>
                  <a:lnTo>
                    <a:pt x="146" y="79"/>
                  </a:lnTo>
                  <a:lnTo>
                    <a:pt x="139" y="79"/>
                  </a:lnTo>
                  <a:lnTo>
                    <a:pt x="133" y="78"/>
                  </a:lnTo>
                  <a:lnTo>
                    <a:pt x="126" y="77"/>
                  </a:lnTo>
                  <a:lnTo>
                    <a:pt x="119" y="75"/>
                  </a:lnTo>
                  <a:lnTo>
                    <a:pt x="119" y="93"/>
                  </a:lnTo>
                  <a:lnTo>
                    <a:pt x="132" y="113"/>
                  </a:lnTo>
                  <a:lnTo>
                    <a:pt x="144" y="131"/>
                  </a:lnTo>
                  <a:lnTo>
                    <a:pt x="156" y="145"/>
                  </a:lnTo>
                  <a:lnTo>
                    <a:pt x="168" y="157"/>
                  </a:lnTo>
                  <a:lnTo>
                    <a:pt x="179" y="170"/>
                  </a:lnTo>
                  <a:lnTo>
                    <a:pt x="189" y="185"/>
                  </a:lnTo>
                  <a:lnTo>
                    <a:pt x="193" y="193"/>
                  </a:lnTo>
                  <a:lnTo>
                    <a:pt x="197" y="202"/>
                  </a:lnTo>
                  <a:lnTo>
                    <a:pt x="202" y="211"/>
                  </a:lnTo>
                  <a:lnTo>
                    <a:pt x="205" y="222"/>
                  </a:lnTo>
                  <a:lnTo>
                    <a:pt x="191" y="223"/>
                  </a:lnTo>
                  <a:lnTo>
                    <a:pt x="175" y="223"/>
                  </a:lnTo>
                  <a:lnTo>
                    <a:pt x="168" y="223"/>
                  </a:lnTo>
                  <a:lnTo>
                    <a:pt x="161" y="222"/>
                  </a:lnTo>
                  <a:lnTo>
                    <a:pt x="154" y="220"/>
                  </a:lnTo>
                  <a:lnTo>
                    <a:pt x="146" y="216"/>
                  </a:lnTo>
                  <a:lnTo>
                    <a:pt x="139" y="213"/>
                  </a:lnTo>
                  <a:lnTo>
                    <a:pt x="134" y="209"/>
                  </a:lnTo>
                  <a:lnTo>
                    <a:pt x="130" y="203"/>
                  </a:lnTo>
                  <a:lnTo>
                    <a:pt x="127" y="198"/>
                  </a:lnTo>
                  <a:lnTo>
                    <a:pt x="124" y="192"/>
                  </a:lnTo>
                  <a:lnTo>
                    <a:pt x="121" y="187"/>
                  </a:lnTo>
                  <a:lnTo>
                    <a:pt x="117" y="183"/>
                  </a:lnTo>
                  <a:lnTo>
                    <a:pt x="113" y="180"/>
                  </a:lnTo>
                  <a:lnTo>
                    <a:pt x="102" y="162"/>
                  </a:lnTo>
                  <a:lnTo>
                    <a:pt x="91" y="145"/>
                  </a:lnTo>
                  <a:lnTo>
                    <a:pt x="80" y="129"/>
                  </a:lnTo>
                  <a:lnTo>
                    <a:pt x="68" y="113"/>
                  </a:lnTo>
                  <a:lnTo>
                    <a:pt x="61" y="105"/>
                  </a:lnTo>
                  <a:lnTo>
                    <a:pt x="55" y="99"/>
                  </a:lnTo>
                  <a:lnTo>
                    <a:pt x="48" y="93"/>
                  </a:lnTo>
                  <a:lnTo>
                    <a:pt x="42" y="87"/>
                  </a:lnTo>
                  <a:lnTo>
                    <a:pt x="35" y="83"/>
                  </a:lnTo>
                  <a:lnTo>
                    <a:pt x="27" y="79"/>
                  </a:lnTo>
                  <a:lnTo>
                    <a:pt x="21" y="76"/>
                  </a:lnTo>
                  <a:lnTo>
                    <a:pt x="13" y="75"/>
                  </a:lnTo>
                  <a:lnTo>
                    <a:pt x="9" y="70"/>
                  </a:lnTo>
                  <a:lnTo>
                    <a:pt x="4" y="65"/>
                  </a:lnTo>
                  <a:lnTo>
                    <a:pt x="2" y="62"/>
                  </a:lnTo>
                  <a:lnTo>
                    <a:pt x="1" y="58"/>
                  </a:lnTo>
                  <a:lnTo>
                    <a:pt x="0" y="54"/>
                  </a:lnTo>
                  <a:lnTo>
                    <a:pt x="0" y="49"/>
                  </a:lnTo>
                  <a:lnTo>
                    <a:pt x="22" y="53"/>
                  </a:lnTo>
                  <a:lnTo>
                    <a:pt x="40" y="55"/>
                  </a:lnTo>
                  <a:lnTo>
                    <a:pt x="57" y="56"/>
                  </a:lnTo>
                  <a:lnTo>
                    <a:pt x="70" y="55"/>
                  </a:lnTo>
                  <a:lnTo>
                    <a:pt x="82" y="53"/>
                  </a:lnTo>
                  <a:lnTo>
                    <a:pt x="91" y="50"/>
                  </a:lnTo>
                  <a:lnTo>
                    <a:pt x="99" y="46"/>
                  </a:lnTo>
                  <a:lnTo>
                    <a:pt x="106" y="41"/>
                  </a:lnTo>
                  <a:lnTo>
                    <a:pt x="117" y="31"/>
                  </a:lnTo>
                  <a:lnTo>
                    <a:pt x="127" y="20"/>
                  </a:lnTo>
                  <a:lnTo>
                    <a:pt x="132" y="14"/>
                  </a:lnTo>
                  <a:lnTo>
                    <a:pt x="138" y="9"/>
                  </a:lnTo>
                  <a:lnTo>
                    <a:pt x="145" y="4"/>
                  </a:lnTo>
                  <a:lnTo>
                    <a:pt x="152" y="0"/>
                  </a:lnTo>
                  <a:lnTo>
                    <a:pt x="162" y="8"/>
                  </a:lnTo>
                  <a:lnTo>
                    <a:pt x="172" y="14"/>
                  </a:lnTo>
                  <a:lnTo>
                    <a:pt x="183" y="21"/>
                  </a:lnTo>
                  <a:lnTo>
                    <a:pt x="194" y="26"/>
                  </a:lnTo>
                  <a:lnTo>
                    <a:pt x="205" y="31"/>
                  </a:lnTo>
                  <a:lnTo>
                    <a:pt x="218" y="34"/>
                  </a:lnTo>
                  <a:lnTo>
                    <a:pt x="231" y="37"/>
                  </a:lnTo>
                  <a:lnTo>
                    <a:pt x="246" y="37"/>
                  </a:lnTo>
                  <a:lnTo>
                    <a:pt x="255" y="36"/>
                  </a:lnTo>
                  <a:lnTo>
                    <a:pt x="262" y="34"/>
                  </a:lnTo>
                  <a:lnTo>
                    <a:pt x="270" y="32"/>
                  </a:lnTo>
                  <a:lnTo>
                    <a:pt x="279" y="31"/>
                  </a:lnTo>
                  <a:lnTo>
                    <a:pt x="283" y="42"/>
                  </a:lnTo>
                  <a:lnTo>
                    <a:pt x="285" y="47"/>
                  </a:lnTo>
                  <a:lnTo>
                    <a:pt x="287" y="49"/>
                  </a:lnTo>
                  <a:lnTo>
                    <a:pt x="289" y="52"/>
                  </a:lnTo>
                  <a:lnTo>
                    <a:pt x="292" y="6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894" name="Freeform 453"/>
            <p:cNvSpPr>
              <a:spLocks/>
            </p:cNvSpPr>
            <p:nvPr>
              <p:custDataLst>
                <p:tags r:id="rId286"/>
              </p:custDataLst>
            </p:nvPr>
          </p:nvSpPr>
          <p:spPr bwMode="auto">
            <a:xfrm>
              <a:off x="5903900" y="2168609"/>
              <a:ext cx="200616" cy="93413"/>
            </a:xfrm>
            <a:custGeom>
              <a:avLst/>
              <a:gdLst>
                <a:gd name="T0" fmla="*/ 166499 w 379"/>
                <a:gd name="T1" fmla="*/ 49742 h 147"/>
                <a:gd name="T2" fmla="*/ 159839 w 379"/>
                <a:gd name="T3" fmla="*/ 53446 h 147"/>
                <a:gd name="T4" fmla="*/ 157175 w 379"/>
                <a:gd name="T5" fmla="*/ 57150 h 147"/>
                <a:gd name="T6" fmla="*/ 154067 w 379"/>
                <a:gd name="T7" fmla="*/ 61913 h 147"/>
                <a:gd name="T8" fmla="*/ 147851 w 379"/>
                <a:gd name="T9" fmla="*/ 67205 h 147"/>
                <a:gd name="T10" fmla="*/ 142079 w 379"/>
                <a:gd name="T11" fmla="*/ 69321 h 147"/>
                <a:gd name="T12" fmla="*/ 138083 w 379"/>
                <a:gd name="T13" fmla="*/ 69850 h 147"/>
                <a:gd name="T14" fmla="*/ 133643 w 379"/>
                <a:gd name="T15" fmla="*/ 68792 h 147"/>
                <a:gd name="T16" fmla="*/ 129203 w 379"/>
                <a:gd name="T17" fmla="*/ 66675 h 147"/>
                <a:gd name="T18" fmla="*/ 124763 w 379"/>
                <a:gd name="T19" fmla="*/ 62971 h 147"/>
                <a:gd name="T20" fmla="*/ 122099 w 379"/>
                <a:gd name="T21" fmla="*/ 61384 h 147"/>
                <a:gd name="T22" fmla="*/ 119435 w 379"/>
                <a:gd name="T23" fmla="*/ 62442 h 147"/>
                <a:gd name="T24" fmla="*/ 118547 w 379"/>
                <a:gd name="T25" fmla="*/ 65088 h 147"/>
                <a:gd name="T26" fmla="*/ 118103 w 379"/>
                <a:gd name="T27" fmla="*/ 74084 h 147"/>
                <a:gd name="T28" fmla="*/ 114107 w 379"/>
                <a:gd name="T29" fmla="*/ 76730 h 147"/>
                <a:gd name="T30" fmla="*/ 108335 w 379"/>
                <a:gd name="T31" fmla="*/ 74084 h 147"/>
                <a:gd name="T32" fmla="*/ 101675 w 379"/>
                <a:gd name="T33" fmla="*/ 69321 h 147"/>
                <a:gd name="T34" fmla="*/ 50172 w 379"/>
                <a:gd name="T35" fmla="*/ 74613 h 147"/>
                <a:gd name="T36" fmla="*/ 35520 w 379"/>
                <a:gd name="T37" fmla="*/ 65617 h 147"/>
                <a:gd name="T38" fmla="*/ 25752 w 379"/>
                <a:gd name="T39" fmla="*/ 57680 h 147"/>
                <a:gd name="T40" fmla="*/ 19980 w 379"/>
                <a:gd name="T41" fmla="*/ 49742 h 147"/>
                <a:gd name="T42" fmla="*/ 16428 w 379"/>
                <a:gd name="T43" fmla="*/ 43392 h 147"/>
                <a:gd name="T44" fmla="*/ 11544 w 379"/>
                <a:gd name="T45" fmla="*/ 31221 h 147"/>
                <a:gd name="T46" fmla="*/ 7104 w 379"/>
                <a:gd name="T47" fmla="*/ 25400 h 147"/>
                <a:gd name="T48" fmla="*/ 0 w 379"/>
                <a:gd name="T49" fmla="*/ 19050 h 147"/>
                <a:gd name="T50" fmla="*/ 12876 w 379"/>
                <a:gd name="T51" fmla="*/ 21167 h 147"/>
                <a:gd name="T52" fmla="*/ 23088 w 379"/>
                <a:gd name="T53" fmla="*/ 20108 h 147"/>
                <a:gd name="T54" fmla="*/ 31968 w 379"/>
                <a:gd name="T55" fmla="*/ 17463 h 147"/>
                <a:gd name="T56" fmla="*/ 38628 w 379"/>
                <a:gd name="T57" fmla="*/ 13229 h 147"/>
                <a:gd name="T58" fmla="*/ 52836 w 379"/>
                <a:gd name="T59" fmla="*/ 4233 h 147"/>
                <a:gd name="T60" fmla="*/ 61272 w 379"/>
                <a:gd name="T61" fmla="*/ 1058 h 147"/>
                <a:gd name="T62" fmla="*/ 70596 w 379"/>
                <a:gd name="T63" fmla="*/ 0 h 147"/>
                <a:gd name="T64" fmla="*/ 88799 w 379"/>
                <a:gd name="T65" fmla="*/ 12171 h 147"/>
                <a:gd name="T66" fmla="*/ 108335 w 379"/>
                <a:gd name="T67" fmla="*/ 23813 h 147"/>
                <a:gd name="T68" fmla="*/ 129647 w 379"/>
                <a:gd name="T69" fmla="*/ 35454 h 147"/>
                <a:gd name="T70" fmla="*/ 147851 w 379"/>
                <a:gd name="T71" fmla="*/ 42334 h 147"/>
                <a:gd name="T72" fmla="*/ 157175 w 379"/>
                <a:gd name="T73" fmla="*/ 45509 h 147"/>
                <a:gd name="T74" fmla="*/ 168275 w 379"/>
                <a:gd name="T75" fmla="*/ 48684 h 14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379" h="147">
                  <a:moveTo>
                    <a:pt x="379" y="92"/>
                  </a:moveTo>
                  <a:lnTo>
                    <a:pt x="375" y="94"/>
                  </a:lnTo>
                  <a:lnTo>
                    <a:pt x="366" y="98"/>
                  </a:lnTo>
                  <a:lnTo>
                    <a:pt x="360" y="101"/>
                  </a:lnTo>
                  <a:lnTo>
                    <a:pt x="357" y="105"/>
                  </a:lnTo>
                  <a:lnTo>
                    <a:pt x="354" y="108"/>
                  </a:lnTo>
                  <a:lnTo>
                    <a:pt x="353" y="111"/>
                  </a:lnTo>
                  <a:lnTo>
                    <a:pt x="347" y="117"/>
                  </a:lnTo>
                  <a:lnTo>
                    <a:pt x="341" y="123"/>
                  </a:lnTo>
                  <a:lnTo>
                    <a:pt x="333" y="127"/>
                  </a:lnTo>
                  <a:lnTo>
                    <a:pt x="324" y="130"/>
                  </a:lnTo>
                  <a:lnTo>
                    <a:pt x="320" y="131"/>
                  </a:lnTo>
                  <a:lnTo>
                    <a:pt x="315" y="132"/>
                  </a:lnTo>
                  <a:lnTo>
                    <a:pt x="311" y="132"/>
                  </a:lnTo>
                  <a:lnTo>
                    <a:pt x="306" y="131"/>
                  </a:lnTo>
                  <a:lnTo>
                    <a:pt x="301" y="130"/>
                  </a:lnTo>
                  <a:lnTo>
                    <a:pt x="296" y="128"/>
                  </a:lnTo>
                  <a:lnTo>
                    <a:pt x="291" y="126"/>
                  </a:lnTo>
                  <a:lnTo>
                    <a:pt x="286" y="123"/>
                  </a:lnTo>
                  <a:lnTo>
                    <a:pt x="281" y="119"/>
                  </a:lnTo>
                  <a:lnTo>
                    <a:pt x="277" y="117"/>
                  </a:lnTo>
                  <a:lnTo>
                    <a:pt x="275" y="116"/>
                  </a:lnTo>
                  <a:lnTo>
                    <a:pt x="271" y="116"/>
                  </a:lnTo>
                  <a:lnTo>
                    <a:pt x="269" y="118"/>
                  </a:lnTo>
                  <a:lnTo>
                    <a:pt x="268" y="120"/>
                  </a:lnTo>
                  <a:lnTo>
                    <a:pt x="267" y="123"/>
                  </a:lnTo>
                  <a:lnTo>
                    <a:pt x="266" y="126"/>
                  </a:lnTo>
                  <a:lnTo>
                    <a:pt x="266" y="140"/>
                  </a:lnTo>
                  <a:lnTo>
                    <a:pt x="266" y="147"/>
                  </a:lnTo>
                  <a:lnTo>
                    <a:pt x="257" y="145"/>
                  </a:lnTo>
                  <a:lnTo>
                    <a:pt x="251" y="143"/>
                  </a:lnTo>
                  <a:lnTo>
                    <a:pt x="244" y="140"/>
                  </a:lnTo>
                  <a:lnTo>
                    <a:pt x="240" y="137"/>
                  </a:lnTo>
                  <a:lnTo>
                    <a:pt x="229" y="131"/>
                  </a:lnTo>
                  <a:lnTo>
                    <a:pt x="213" y="123"/>
                  </a:lnTo>
                  <a:lnTo>
                    <a:pt x="113" y="141"/>
                  </a:lnTo>
                  <a:lnTo>
                    <a:pt x="95" y="132"/>
                  </a:lnTo>
                  <a:lnTo>
                    <a:pt x="80" y="124"/>
                  </a:lnTo>
                  <a:lnTo>
                    <a:pt x="68" y="116"/>
                  </a:lnTo>
                  <a:lnTo>
                    <a:pt x="58" y="109"/>
                  </a:lnTo>
                  <a:lnTo>
                    <a:pt x="51" y="101"/>
                  </a:lnTo>
                  <a:lnTo>
                    <a:pt x="45" y="94"/>
                  </a:lnTo>
                  <a:lnTo>
                    <a:pt x="40" y="88"/>
                  </a:lnTo>
                  <a:lnTo>
                    <a:pt x="37" y="82"/>
                  </a:lnTo>
                  <a:lnTo>
                    <a:pt x="31" y="70"/>
                  </a:lnTo>
                  <a:lnTo>
                    <a:pt x="26" y="59"/>
                  </a:lnTo>
                  <a:lnTo>
                    <a:pt x="21" y="54"/>
                  </a:lnTo>
                  <a:lnTo>
                    <a:pt x="16" y="48"/>
                  </a:lnTo>
                  <a:lnTo>
                    <a:pt x="9" y="42"/>
                  </a:lnTo>
                  <a:lnTo>
                    <a:pt x="0" y="36"/>
                  </a:lnTo>
                  <a:lnTo>
                    <a:pt x="16" y="39"/>
                  </a:lnTo>
                  <a:lnTo>
                    <a:pt x="29" y="40"/>
                  </a:lnTo>
                  <a:lnTo>
                    <a:pt x="41" y="40"/>
                  </a:lnTo>
                  <a:lnTo>
                    <a:pt x="52" y="38"/>
                  </a:lnTo>
                  <a:lnTo>
                    <a:pt x="62" y="36"/>
                  </a:lnTo>
                  <a:lnTo>
                    <a:pt x="72" y="33"/>
                  </a:lnTo>
                  <a:lnTo>
                    <a:pt x="79" y="29"/>
                  </a:lnTo>
                  <a:lnTo>
                    <a:pt x="87" y="25"/>
                  </a:lnTo>
                  <a:lnTo>
                    <a:pt x="102" y="16"/>
                  </a:lnTo>
                  <a:lnTo>
                    <a:pt x="119" y="8"/>
                  </a:lnTo>
                  <a:lnTo>
                    <a:pt x="128" y="5"/>
                  </a:lnTo>
                  <a:lnTo>
                    <a:pt x="138" y="2"/>
                  </a:lnTo>
                  <a:lnTo>
                    <a:pt x="149" y="1"/>
                  </a:lnTo>
                  <a:lnTo>
                    <a:pt x="159" y="0"/>
                  </a:lnTo>
                  <a:lnTo>
                    <a:pt x="179" y="11"/>
                  </a:lnTo>
                  <a:lnTo>
                    <a:pt x="200" y="23"/>
                  </a:lnTo>
                  <a:lnTo>
                    <a:pt x="222" y="34"/>
                  </a:lnTo>
                  <a:lnTo>
                    <a:pt x="244" y="45"/>
                  </a:lnTo>
                  <a:lnTo>
                    <a:pt x="278" y="61"/>
                  </a:lnTo>
                  <a:lnTo>
                    <a:pt x="292" y="67"/>
                  </a:lnTo>
                  <a:lnTo>
                    <a:pt x="314" y="73"/>
                  </a:lnTo>
                  <a:lnTo>
                    <a:pt x="333" y="80"/>
                  </a:lnTo>
                  <a:lnTo>
                    <a:pt x="343" y="83"/>
                  </a:lnTo>
                  <a:lnTo>
                    <a:pt x="354" y="86"/>
                  </a:lnTo>
                  <a:lnTo>
                    <a:pt x="365" y="89"/>
                  </a:lnTo>
                  <a:lnTo>
                    <a:pt x="379" y="9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895" name="Freeform 454"/>
            <p:cNvSpPr>
              <a:spLocks/>
            </p:cNvSpPr>
            <p:nvPr>
              <p:custDataLst>
                <p:tags r:id="rId287"/>
              </p:custDataLst>
            </p:nvPr>
          </p:nvSpPr>
          <p:spPr bwMode="auto">
            <a:xfrm>
              <a:off x="5860370" y="1995131"/>
              <a:ext cx="35959" cy="72442"/>
            </a:xfrm>
            <a:custGeom>
              <a:avLst/>
              <a:gdLst>
                <a:gd name="T0" fmla="*/ 0 w 61"/>
                <a:gd name="T1" fmla="*/ 0 h 67"/>
                <a:gd name="T2" fmla="*/ 0 w 61"/>
                <a:gd name="T3" fmla="*/ 8103 h 67"/>
                <a:gd name="T4" fmla="*/ 0 w 61"/>
                <a:gd name="T5" fmla="*/ 16207 h 67"/>
                <a:gd name="T6" fmla="*/ 494 w 61"/>
                <a:gd name="T7" fmla="*/ 21609 h 67"/>
                <a:gd name="T8" fmla="*/ 989 w 61"/>
                <a:gd name="T9" fmla="*/ 27011 h 67"/>
                <a:gd name="T10" fmla="*/ 1483 w 61"/>
                <a:gd name="T11" fmla="*/ 32413 h 67"/>
                <a:gd name="T12" fmla="*/ 2967 w 61"/>
                <a:gd name="T13" fmla="*/ 37816 h 67"/>
                <a:gd name="T14" fmla="*/ 5934 w 61"/>
                <a:gd name="T15" fmla="*/ 49521 h 67"/>
                <a:gd name="T16" fmla="*/ 10384 w 61"/>
                <a:gd name="T17" fmla="*/ 60325 h 67"/>
                <a:gd name="T18" fmla="*/ 13845 w 61"/>
                <a:gd name="T19" fmla="*/ 58524 h 67"/>
                <a:gd name="T20" fmla="*/ 17306 w 61"/>
                <a:gd name="T21" fmla="*/ 54923 h 67"/>
                <a:gd name="T22" fmla="*/ 20767 w 61"/>
                <a:gd name="T23" fmla="*/ 52222 h 67"/>
                <a:gd name="T24" fmla="*/ 23734 w 61"/>
                <a:gd name="T25" fmla="*/ 47720 h 67"/>
                <a:gd name="T26" fmla="*/ 26206 w 61"/>
                <a:gd name="T27" fmla="*/ 42318 h 67"/>
                <a:gd name="T28" fmla="*/ 28184 w 61"/>
                <a:gd name="T29" fmla="*/ 36015 h 67"/>
                <a:gd name="T30" fmla="*/ 29173 w 61"/>
                <a:gd name="T31" fmla="*/ 28812 h 67"/>
                <a:gd name="T32" fmla="*/ 30162 w 61"/>
                <a:gd name="T33" fmla="*/ 21609 h 67"/>
                <a:gd name="T34" fmla="*/ 26206 w 61"/>
                <a:gd name="T35" fmla="*/ 12605 h 67"/>
                <a:gd name="T36" fmla="*/ 20273 w 61"/>
                <a:gd name="T37" fmla="*/ 0 h 67"/>
                <a:gd name="T38" fmla="*/ 13845 w 61"/>
                <a:gd name="T39" fmla="*/ 2701 h 67"/>
                <a:gd name="T40" fmla="*/ 8900 w 61"/>
                <a:gd name="T41" fmla="*/ 3601 h 67"/>
                <a:gd name="T42" fmla="*/ 6428 w 61"/>
                <a:gd name="T43" fmla="*/ 3601 h 67"/>
                <a:gd name="T44" fmla="*/ 4945 w 61"/>
                <a:gd name="T45" fmla="*/ 2701 h 67"/>
                <a:gd name="T46" fmla="*/ 2967 w 61"/>
                <a:gd name="T47" fmla="*/ 1801 h 67"/>
                <a:gd name="T48" fmla="*/ 0 w 61"/>
                <a:gd name="T49" fmla="*/ 0 h 6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1" h="67">
                  <a:moveTo>
                    <a:pt x="0" y="0"/>
                  </a:moveTo>
                  <a:lnTo>
                    <a:pt x="0" y="9"/>
                  </a:lnTo>
                  <a:lnTo>
                    <a:pt x="0" y="18"/>
                  </a:lnTo>
                  <a:lnTo>
                    <a:pt x="1" y="24"/>
                  </a:lnTo>
                  <a:lnTo>
                    <a:pt x="2" y="30"/>
                  </a:lnTo>
                  <a:lnTo>
                    <a:pt x="3" y="36"/>
                  </a:lnTo>
                  <a:lnTo>
                    <a:pt x="6" y="42"/>
                  </a:lnTo>
                  <a:lnTo>
                    <a:pt x="12" y="55"/>
                  </a:lnTo>
                  <a:lnTo>
                    <a:pt x="21" y="67"/>
                  </a:lnTo>
                  <a:lnTo>
                    <a:pt x="28" y="65"/>
                  </a:lnTo>
                  <a:lnTo>
                    <a:pt x="35" y="61"/>
                  </a:lnTo>
                  <a:lnTo>
                    <a:pt x="42" y="58"/>
                  </a:lnTo>
                  <a:lnTo>
                    <a:pt x="48" y="53"/>
                  </a:lnTo>
                  <a:lnTo>
                    <a:pt x="53" y="47"/>
                  </a:lnTo>
                  <a:lnTo>
                    <a:pt x="57" y="40"/>
                  </a:lnTo>
                  <a:lnTo>
                    <a:pt x="59" y="32"/>
                  </a:lnTo>
                  <a:lnTo>
                    <a:pt x="61" y="24"/>
                  </a:lnTo>
                  <a:lnTo>
                    <a:pt x="53" y="14"/>
                  </a:lnTo>
                  <a:lnTo>
                    <a:pt x="41" y="0"/>
                  </a:lnTo>
                  <a:lnTo>
                    <a:pt x="28" y="3"/>
                  </a:lnTo>
                  <a:lnTo>
                    <a:pt x="18" y="4"/>
                  </a:lnTo>
                  <a:lnTo>
                    <a:pt x="13" y="4"/>
                  </a:lnTo>
                  <a:lnTo>
                    <a:pt x="10" y="3"/>
                  </a:lnTo>
                  <a:lnTo>
                    <a:pt x="6" y="2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896" name="Freeform 455"/>
            <p:cNvSpPr>
              <a:spLocks/>
            </p:cNvSpPr>
            <p:nvPr>
              <p:custDataLst>
                <p:tags r:id="rId288"/>
              </p:custDataLst>
            </p:nvPr>
          </p:nvSpPr>
          <p:spPr bwMode="auto">
            <a:xfrm>
              <a:off x="5826303" y="2000848"/>
              <a:ext cx="30282" cy="70537"/>
            </a:xfrm>
            <a:custGeom>
              <a:avLst/>
              <a:gdLst>
                <a:gd name="T0" fmla="*/ 0 w 60"/>
                <a:gd name="T1" fmla="*/ 6408 h 55"/>
                <a:gd name="T2" fmla="*/ 0 w 60"/>
                <a:gd name="T3" fmla="*/ 25631 h 55"/>
                <a:gd name="T4" fmla="*/ 2117 w 60"/>
                <a:gd name="T5" fmla="*/ 34175 h 55"/>
                <a:gd name="T6" fmla="*/ 4233 w 60"/>
                <a:gd name="T7" fmla="*/ 42719 h 55"/>
                <a:gd name="T8" fmla="*/ 6773 w 60"/>
                <a:gd name="T9" fmla="*/ 48058 h 55"/>
                <a:gd name="T10" fmla="*/ 8890 w 60"/>
                <a:gd name="T11" fmla="*/ 52330 h 55"/>
                <a:gd name="T12" fmla="*/ 11430 w 60"/>
                <a:gd name="T13" fmla="*/ 55534 h 55"/>
                <a:gd name="T14" fmla="*/ 13970 w 60"/>
                <a:gd name="T15" fmla="*/ 57670 h 55"/>
                <a:gd name="T16" fmla="*/ 16933 w 60"/>
                <a:gd name="T17" fmla="*/ 58738 h 55"/>
                <a:gd name="T18" fmla="*/ 19473 w 60"/>
                <a:gd name="T19" fmla="*/ 58738 h 55"/>
                <a:gd name="T20" fmla="*/ 22437 w 60"/>
                <a:gd name="T21" fmla="*/ 55534 h 55"/>
                <a:gd name="T22" fmla="*/ 25400 w 60"/>
                <a:gd name="T23" fmla="*/ 52330 h 55"/>
                <a:gd name="T24" fmla="*/ 21167 w 60"/>
                <a:gd name="T25" fmla="*/ 36311 h 55"/>
                <a:gd name="T26" fmla="*/ 17780 w 60"/>
                <a:gd name="T27" fmla="*/ 23495 h 55"/>
                <a:gd name="T28" fmla="*/ 16510 w 60"/>
                <a:gd name="T29" fmla="*/ 18155 h 55"/>
                <a:gd name="T30" fmla="*/ 14817 w 60"/>
                <a:gd name="T31" fmla="*/ 12816 h 55"/>
                <a:gd name="T32" fmla="*/ 14393 w 60"/>
                <a:gd name="T33" fmla="*/ 6408 h 55"/>
                <a:gd name="T34" fmla="*/ 13970 w 60"/>
                <a:gd name="T35" fmla="*/ 0 h 55"/>
                <a:gd name="T36" fmla="*/ 9737 w 60"/>
                <a:gd name="T37" fmla="*/ 1068 h 55"/>
                <a:gd name="T38" fmla="*/ 6350 w 60"/>
                <a:gd name="T39" fmla="*/ 3204 h 55"/>
                <a:gd name="T40" fmla="*/ 2963 w 60"/>
                <a:gd name="T41" fmla="*/ 5340 h 55"/>
                <a:gd name="T42" fmla="*/ 0 w 60"/>
                <a:gd name="T43" fmla="*/ 6408 h 55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60" h="55">
                  <a:moveTo>
                    <a:pt x="0" y="6"/>
                  </a:moveTo>
                  <a:lnTo>
                    <a:pt x="0" y="24"/>
                  </a:lnTo>
                  <a:lnTo>
                    <a:pt x="5" y="32"/>
                  </a:lnTo>
                  <a:lnTo>
                    <a:pt x="10" y="40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7" y="52"/>
                  </a:lnTo>
                  <a:lnTo>
                    <a:pt x="33" y="54"/>
                  </a:lnTo>
                  <a:lnTo>
                    <a:pt x="40" y="55"/>
                  </a:lnTo>
                  <a:lnTo>
                    <a:pt x="46" y="55"/>
                  </a:lnTo>
                  <a:lnTo>
                    <a:pt x="53" y="52"/>
                  </a:lnTo>
                  <a:lnTo>
                    <a:pt x="60" y="49"/>
                  </a:lnTo>
                  <a:lnTo>
                    <a:pt x="50" y="34"/>
                  </a:lnTo>
                  <a:lnTo>
                    <a:pt x="42" y="22"/>
                  </a:lnTo>
                  <a:lnTo>
                    <a:pt x="39" y="17"/>
                  </a:lnTo>
                  <a:lnTo>
                    <a:pt x="35" y="12"/>
                  </a:lnTo>
                  <a:lnTo>
                    <a:pt x="34" y="6"/>
                  </a:lnTo>
                  <a:lnTo>
                    <a:pt x="33" y="0"/>
                  </a:lnTo>
                  <a:lnTo>
                    <a:pt x="23" y="1"/>
                  </a:lnTo>
                  <a:lnTo>
                    <a:pt x="15" y="3"/>
                  </a:lnTo>
                  <a:lnTo>
                    <a:pt x="7" y="5"/>
                  </a:lnTo>
                  <a:lnTo>
                    <a:pt x="0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897" name="Freeform 456"/>
            <p:cNvSpPr>
              <a:spLocks/>
            </p:cNvSpPr>
            <p:nvPr>
              <p:custDataLst>
                <p:tags r:id="rId289"/>
              </p:custDataLst>
            </p:nvPr>
          </p:nvSpPr>
          <p:spPr bwMode="auto">
            <a:xfrm>
              <a:off x="5790343" y="1936031"/>
              <a:ext cx="62456" cy="93413"/>
            </a:xfrm>
            <a:custGeom>
              <a:avLst/>
              <a:gdLst>
                <a:gd name="T0" fmla="*/ 32306 w 120"/>
                <a:gd name="T1" fmla="*/ 67802 h 148"/>
                <a:gd name="T2" fmla="*/ 30560 w 120"/>
                <a:gd name="T3" fmla="*/ 68853 h 148"/>
                <a:gd name="T4" fmla="*/ 29250 w 120"/>
                <a:gd name="T5" fmla="*/ 69378 h 148"/>
                <a:gd name="T6" fmla="*/ 27940 w 120"/>
                <a:gd name="T7" fmla="*/ 69904 h 148"/>
                <a:gd name="T8" fmla="*/ 26194 w 120"/>
                <a:gd name="T9" fmla="*/ 69904 h 148"/>
                <a:gd name="T10" fmla="*/ 24448 w 120"/>
                <a:gd name="T11" fmla="*/ 69904 h 148"/>
                <a:gd name="T12" fmla="*/ 23138 w 120"/>
                <a:gd name="T13" fmla="*/ 69378 h 148"/>
                <a:gd name="T14" fmla="*/ 21828 w 120"/>
                <a:gd name="T15" fmla="*/ 68853 h 148"/>
                <a:gd name="T16" fmla="*/ 20519 w 120"/>
                <a:gd name="T17" fmla="*/ 67802 h 148"/>
                <a:gd name="T18" fmla="*/ 17899 w 120"/>
                <a:gd name="T19" fmla="*/ 67276 h 148"/>
                <a:gd name="T20" fmla="*/ 14843 w 120"/>
                <a:gd name="T21" fmla="*/ 65699 h 148"/>
                <a:gd name="T22" fmla="*/ 11351 w 120"/>
                <a:gd name="T23" fmla="*/ 63071 h 148"/>
                <a:gd name="T24" fmla="*/ 8295 w 120"/>
                <a:gd name="T25" fmla="*/ 60443 h 148"/>
                <a:gd name="T26" fmla="*/ 4802 w 120"/>
                <a:gd name="T27" fmla="*/ 56764 h 148"/>
                <a:gd name="T28" fmla="*/ 2619 w 120"/>
                <a:gd name="T29" fmla="*/ 53085 h 148"/>
                <a:gd name="T30" fmla="*/ 1310 w 120"/>
                <a:gd name="T31" fmla="*/ 50983 h 148"/>
                <a:gd name="T32" fmla="*/ 873 w 120"/>
                <a:gd name="T33" fmla="*/ 49406 h 148"/>
                <a:gd name="T34" fmla="*/ 437 w 120"/>
                <a:gd name="T35" fmla="*/ 47304 h 148"/>
                <a:gd name="T36" fmla="*/ 0 w 120"/>
                <a:gd name="T37" fmla="*/ 45727 h 148"/>
                <a:gd name="T38" fmla="*/ 873 w 120"/>
                <a:gd name="T39" fmla="*/ 38368 h 148"/>
                <a:gd name="T40" fmla="*/ 3493 w 120"/>
                <a:gd name="T41" fmla="*/ 28908 h 148"/>
                <a:gd name="T42" fmla="*/ 6112 w 120"/>
                <a:gd name="T43" fmla="*/ 18396 h 148"/>
                <a:gd name="T44" fmla="*/ 8731 w 120"/>
                <a:gd name="T45" fmla="*/ 9461 h 148"/>
                <a:gd name="T46" fmla="*/ 13970 w 120"/>
                <a:gd name="T47" fmla="*/ 8935 h 148"/>
                <a:gd name="T48" fmla="*/ 18336 w 120"/>
                <a:gd name="T49" fmla="*/ 8410 h 148"/>
                <a:gd name="T50" fmla="*/ 22265 w 120"/>
                <a:gd name="T51" fmla="*/ 7358 h 148"/>
                <a:gd name="T52" fmla="*/ 25321 w 120"/>
                <a:gd name="T53" fmla="*/ 5782 h 148"/>
                <a:gd name="T54" fmla="*/ 30560 w 120"/>
                <a:gd name="T55" fmla="*/ 2628 h 148"/>
                <a:gd name="T56" fmla="*/ 34925 w 120"/>
                <a:gd name="T57" fmla="*/ 0 h 148"/>
                <a:gd name="T58" fmla="*/ 37108 w 120"/>
                <a:gd name="T59" fmla="*/ 1051 h 148"/>
                <a:gd name="T60" fmla="*/ 40601 w 120"/>
                <a:gd name="T61" fmla="*/ 3679 h 148"/>
                <a:gd name="T62" fmla="*/ 42784 w 120"/>
                <a:gd name="T63" fmla="*/ 5256 h 148"/>
                <a:gd name="T64" fmla="*/ 44530 w 120"/>
                <a:gd name="T65" fmla="*/ 6833 h 148"/>
                <a:gd name="T66" fmla="*/ 46276 w 120"/>
                <a:gd name="T67" fmla="*/ 8410 h 148"/>
                <a:gd name="T68" fmla="*/ 46713 w 120"/>
                <a:gd name="T69" fmla="*/ 9461 h 148"/>
                <a:gd name="T70" fmla="*/ 43657 w 120"/>
                <a:gd name="T71" fmla="*/ 14717 h 148"/>
                <a:gd name="T72" fmla="*/ 40601 w 120"/>
                <a:gd name="T73" fmla="*/ 19447 h 148"/>
                <a:gd name="T74" fmla="*/ 41474 w 120"/>
                <a:gd name="T75" fmla="*/ 22075 h 148"/>
                <a:gd name="T76" fmla="*/ 42784 w 120"/>
                <a:gd name="T77" fmla="*/ 25754 h 148"/>
                <a:gd name="T78" fmla="*/ 44530 w 120"/>
                <a:gd name="T79" fmla="*/ 29433 h 148"/>
                <a:gd name="T80" fmla="*/ 46713 w 120"/>
                <a:gd name="T81" fmla="*/ 33112 h 148"/>
                <a:gd name="T82" fmla="*/ 50205 w 120"/>
                <a:gd name="T83" fmla="*/ 39420 h 148"/>
                <a:gd name="T84" fmla="*/ 52388 w 120"/>
                <a:gd name="T85" fmla="*/ 41522 h 148"/>
                <a:gd name="T86" fmla="*/ 49332 w 120"/>
                <a:gd name="T87" fmla="*/ 42573 h 148"/>
                <a:gd name="T88" fmla="*/ 46713 w 120"/>
                <a:gd name="T89" fmla="*/ 44150 h 148"/>
                <a:gd name="T90" fmla="*/ 43657 w 120"/>
                <a:gd name="T91" fmla="*/ 45727 h 148"/>
                <a:gd name="T92" fmla="*/ 41910 w 120"/>
                <a:gd name="T93" fmla="*/ 47829 h 148"/>
                <a:gd name="T94" fmla="*/ 39291 w 120"/>
                <a:gd name="T95" fmla="*/ 49931 h 148"/>
                <a:gd name="T96" fmla="*/ 37981 w 120"/>
                <a:gd name="T97" fmla="*/ 52034 h 148"/>
                <a:gd name="T98" fmla="*/ 35798 w 120"/>
                <a:gd name="T99" fmla="*/ 54662 h 148"/>
                <a:gd name="T100" fmla="*/ 34925 w 120"/>
                <a:gd name="T101" fmla="*/ 57290 h 148"/>
                <a:gd name="T102" fmla="*/ 34052 w 120"/>
                <a:gd name="T103" fmla="*/ 59918 h 148"/>
                <a:gd name="T104" fmla="*/ 33616 w 120"/>
                <a:gd name="T105" fmla="*/ 63071 h 148"/>
                <a:gd name="T106" fmla="*/ 33179 w 120"/>
                <a:gd name="T107" fmla="*/ 65699 h 148"/>
                <a:gd name="T108" fmla="*/ 32743 w 120"/>
                <a:gd name="T109" fmla="*/ 68327 h 148"/>
                <a:gd name="T110" fmla="*/ 33179 w 120"/>
                <a:gd name="T111" fmla="*/ 70955 h 148"/>
                <a:gd name="T112" fmla="*/ 33616 w 120"/>
                <a:gd name="T113" fmla="*/ 73583 h 148"/>
                <a:gd name="T114" fmla="*/ 34052 w 120"/>
                <a:gd name="T115" fmla="*/ 75686 h 148"/>
                <a:gd name="T116" fmla="*/ 34925 w 120"/>
                <a:gd name="T117" fmla="*/ 77788 h 148"/>
                <a:gd name="T118" fmla="*/ 32306 w 120"/>
                <a:gd name="T119" fmla="*/ 67802 h 14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20" h="148">
                  <a:moveTo>
                    <a:pt x="74" y="129"/>
                  </a:moveTo>
                  <a:lnTo>
                    <a:pt x="70" y="131"/>
                  </a:lnTo>
                  <a:lnTo>
                    <a:pt x="67" y="132"/>
                  </a:lnTo>
                  <a:lnTo>
                    <a:pt x="64" y="133"/>
                  </a:lnTo>
                  <a:lnTo>
                    <a:pt x="60" y="133"/>
                  </a:lnTo>
                  <a:lnTo>
                    <a:pt x="56" y="133"/>
                  </a:lnTo>
                  <a:lnTo>
                    <a:pt x="53" y="132"/>
                  </a:lnTo>
                  <a:lnTo>
                    <a:pt x="50" y="131"/>
                  </a:lnTo>
                  <a:lnTo>
                    <a:pt x="47" y="129"/>
                  </a:lnTo>
                  <a:lnTo>
                    <a:pt x="41" y="128"/>
                  </a:lnTo>
                  <a:lnTo>
                    <a:pt x="34" y="125"/>
                  </a:lnTo>
                  <a:lnTo>
                    <a:pt x="26" y="120"/>
                  </a:lnTo>
                  <a:lnTo>
                    <a:pt x="19" y="115"/>
                  </a:lnTo>
                  <a:lnTo>
                    <a:pt x="11" y="108"/>
                  </a:lnTo>
                  <a:lnTo>
                    <a:pt x="6" y="101"/>
                  </a:lnTo>
                  <a:lnTo>
                    <a:pt x="3" y="97"/>
                  </a:lnTo>
                  <a:lnTo>
                    <a:pt x="2" y="94"/>
                  </a:lnTo>
                  <a:lnTo>
                    <a:pt x="1" y="90"/>
                  </a:lnTo>
                  <a:lnTo>
                    <a:pt x="0" y="87"/>
                  </a:lnTo>
                  <a:lnTo>
                    <a:pt x="2" y="73"/>
                  </a:lnTo>
                  <a:lnTo>
                    <a:pt x="8" y="55"/>
                  </a:lnTo>
                  <a:lnTo>
                    <a:pt x="14" y="35"/>
                  </a:lnTo>
                  <a:lnTo>
                    <a:pt x="20" y="18"/>
                  </a:lnTo>
                  <a:lnTo>
                    <a:pt x="32" y="17"/>
                  </a:lnTo>
                  <a:lnTo>
                    <a:pt x="42" y="16"/>
                  </a:lnTo>
                  <a:lnTo>
                    <a:pt x="51" y="14"/>
                  </a:lnTo>
                  <a:lnTo>
                    <a:pt x="58" y="11"/>
                  </a:lnTo>
                  <a:lnTo>
                    <a:pt x="70" y="5"/>
                  </a:lnTo>
                  <a:lnTo>
                    <a:pt x="80" y="0"/>
                  </a:lnTo>
                  <a:lnTo>
                    <a:pt x="85" y="2"/>
                  </a:lnTo>
                  <a:lnTo>
                    <a:pt x="93" y="7"/>
                  </a:lnTo>
                  <a:lnTo>
                    <a:pt x="98" y="10"/>
                  </a:lnTo>
                  <a:lnTo>
                    <a:pt x="102" y="13"/>
                  </a:lnTo>
                  <a:lnTo>
                    <a:pt x="106" y="16"/>
                  </a:lnTo>
                  <a:lnTo>
                    <a:pt x="107" y="18"/>
                  </a:lnTo>
                  <a:lnTo>
                    <a:pt x="100" y="28"/>
                  </a:lnTo>
                  <a:lnTo>
                    <a:pt x="93" y="37"/>
                  </a:lnTo>
                  <a:lnTo>
                    <a:pt x="95" y="42"/>
                  </a:lnTo>
                  <a:lnTo>
                    <a:pt x="98" y="49"/>
                  </a:lnTo>
                  <a:lnTo>
                    <a:pt x="102" y="56"/>
                  </a:lnTo>
                  <a:lnTo>
                    <a:pt x="107" y="63"/>
                  </a:lnTo>
                  <a:lnTo>
                    <a:pt x="115" y="75"/>
                  </a:lnTo>
                  <a:lnTo>
                    <a:pt x="120" y="79"/>
                  </a:lnTo>
                  <a:lnTo>
                    <a:pt x="113" y="81"/>
                  </a:lnTo>
                  <a:lnTo>
                    <a:pt x="107" y="84"/>
                  </a:lnTo>
                  <a:lnTo>
                    <a:pt x="100" y="87"/>
                  </a:lnTo>
                  <a:lnTo>
                    <a:pt x="96" y="91"/>
                  </a:lnTo>
                  <a:lnTo>
                    <a:pt x="90" y="95"/>
                  </a:lnTo>
                  <a:lnTo>
                    <a:pt x="87" y="99"/>
                  </a:lnTo>
                  <a:lnTo>
                    <a:pt x="82" y="104"/>
                  </a:lnTo>
                  <a:lnTo>
                    <a:pt x="80" y="109"/>
                  </a:lnTo>
                  <a:lnTo>
                    <a:pt x="78" y="114"/>
                  </a:lnTo>
                  <a:lnTo>
                    <a:pt x="77" y="120"/>
                  </a:lnTo>
                  <a:lnTo>
                    <a:pt x="76" y="125"/>
                  </a:lnTo>
                  <a:lnTo>
                    <a:pt x="75" y="130"/>
                  </a:lnTo>
                  <a:lnTo>
                    <a:pt x="76" y="135"/>
                  </a:lnTo>
                  <a:lnTo>
                    <a:pt x="77" y="140"/>
                  </a:lnTo>
                  <a:lnTo>
                    <a:pt x="78" y="144"/>
                  </a:lnTo>
                  <a:lnTo>
                    <a:pt x="80" y="148"/>
                  </a:lnTo>
                  <a:lnTo>
                    <a:pt x="74" y="12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898" name="Freeform 457"/>
            <p:cNvSpPr>
              <a:spLocks/>
            </p:cNvSpPr>
            <p:nvPr>
              <p:custDataLst>
                <p:tags r:id="rId290"/>
              </p:custDataLst>
            </p:nvPr>
          </p:nvSpPr>
          <p:spPr bwMode="auto">
            <a:xfrm>
              <a:off x="6305130" y="2902567"/>
              <a:ext cx="325527" cy="369837"/>
            </a:xfrm>
            <a:custGeom>
              <a:avLst/>
              <a:gdLst>
                <a:gd name="T0" fmla="*/ 9087 w 631"/>
                <a:gd name="T1" fmla="*/ 1040 h 592"/>
                <a:gd name="T2" fmla="*/ 13847 w 631"/>
                <a:gd name="T3" fmla="*/ 2081 h 592"/>
                <a:gd name="T4" fmla="*/ 23367 w 631"/>
                <a:gd name="T5" fmla="*/ 4162 h 592"/>
                <a:gd name="T6" fmla="*/ 33753 w 631"/>
                <a:gd name="T7" fmla="*/ 5723 h 592"/>
                <a:gd name="T8" fmla="*/ 45003 w 631"/>
                <a:gd name="T9" fmla="*/ 9884 h 592"/>
                <a:gd name="T10" fmla="*/ 56254 w 631"/>
                <a:gd name="T11" fmla="*/ 16647 h 592"/>
                <a:gd name="T12" fmla="*/ 63178 w 631"/>
                <a:gd name="T13" fmla="*/ 20809 h 592"/>
                <a:gd name="T14" fmla="*/ 68803 w 631"/>
                <a:gd name="T15" fmla="*/ 22370 h 592"/>
                <a:gd name="T16" fmla="*/ 81785 w 631"/>
                <a:gd name="T17" fmla="*/ 22370 h 592"/>
                <a:gd name="T18" fmla="*/ 98229 w 631"/>
                <a:gd name="T19" fmla="*/ 19248 h 592"/>
                <a:gd name="T20" fmla="*/ 119865 w 631"/>
                <a:gd name="T21" fmla="*/ 11965 h 592"/>
                <a:gd name="T22" fmla="*/ 172658 w 631"/>
                <a:gd name="T23" fmla="*/ 19769 h 592"/>
                <a:gd name="T24" fmla="*/ 174389 w 631"/>
                <a:gd name="T25" fmla="*/ 35896 h 592"/>
                <a:gd name="T26" fmla="*/ 177418 w 631"/>
                <a:gd name="T27" fmla="*/ 49422 h 592"/>
                <a:gd name="T28" fmla="*/ 180447 w 631"/>
                <a:gd name="T29" fmla="*/ 61907 h 592"/>
                <a:gd name="T30" fmla="*/ 184774 w 631"/>
                <a:gd name="T31" fmla="*/ 72832 h 592"/>
                <a:gd name="T32" fmla="*/ 194727 w 631"/>
                <a:gd name="T33" fmla="*/ 91040 h 592"/>
                <a:gd name="T34" fmla="*/ 204247 w 631"/>
                <a:gd name="T35" fmla="*/ 106127 h 592"/>
                <a:gd name="T36" fmla="*/ 208574 w 631"/>
                <a:gd name="T37" fmla="*/ 115491 h 592"/>
                <a:gd name="T38" fmla="*/ 209872 w 631"/>
                <a:gd name="T39" fmla="*/ 124855 h 592"/>
                <a:gd name="T40" fmla="*/ 212468 w 631"/>
                <a:gd name="T41" fmla="*/ 132658 h 592"/>
                <a:gd name="T42" fmla="*/ 214632 w 631"/>
                <a:gd name="T43" fmla="*/ 135780 h 592"/>
                <a:gd name="T44" fmla="*/ 218527 w 631"/>
                <a:gd name="T45" fmla="*/ 138381 h 592"/>
                <a:gd name="T46" fmla="*/ 221988 w 631"/>
                <a:gd name="T47" fmla="*/ 140462 h 592"/>
                <a:gd name="T48" fmla="*/ 224585 w 631"/>
                <a:gd name="T49" fmla="*/ 144623 h 592"/>
                <a:gd name="T50" fmla="*/ 230643 w 631"/>
                <a:gd name="T51" fmla="*/ 157629 h 592"/>
                <a:gd name="T52" fmla="*/ 234105 w 631"/>
                <a:gd name="T53" fmla="*/ 172195 h 592"/>
                <a:gd name="T54" fmla="*/ 235836 w 631"/>
                <a:gd name="T55" fmla="*/ 186242 h 592"/>
                <a:gd name="T56" fmla="*/ 237134 w 631"/>
                <a:gd name="T57" fmla="*/ 191444 h 592"/>
                <a:gd name="T58" fmla="*/ 241028 w 631"/>
                <a:gd name="T59" fmla="*/ 198207 h 592"/>
                <a:gd name="T60" fmla="*/ 252279 w 631"/>
                <a:gd name="T61" fmla="*/ 215895 h 592"/>
                <a:gd name="T62" fmla="*/ 264828 w 631"/>
                <a:gd name="T63" fmla="*/ 232542 h 592"/>
                <a:gd name="T64" fmla="*/ 273050 w 631"/>
                <a:gd name="T65" fmla="*/ 240866 h 592"/>
                <a:gd name="T66" fmla="*/ 264828 w 631"/>
                <a:gd name="T67" fmla="*/ 250230 h 592"/>
                <a:gd name="T68" fmla="*/ 270021 w 631"/>
                <a:gd name="T69" fmla="*/ 258033 h 592"/>
                <a:gd name="T70" fmla="*/ 270886 w 631"/>
                <a:gd name="T71" fmla="*/ 263756 h 592"/>
                <a:gd name="T72" fmla="*/ 270886 w 631"/>
                <a:gd name="T73" fmla="*/ 268438 h 592"/>
                <a:gd name="T74" fmla="*/ 273050 w 631"/>
                <a:gd name="T75" fmla="*/ 276241 h 592"/>
                <a:gd name="T76" fmla="*/ 270886 w 631"/>
                <a:gd name="T77" fmla="*/ 280403 h 592"/>
                <a:gd name="T78" fmla="*/ 266992 w 631"/>
                <a:gd name="T79" fmla="*/ 285085 h 592"/>
                <a:gd name="T80" fmla="*/ 256174 w 631"/>
                <a:gd name="T81" fmla="*/ 296010 h 592"/>
                <a:gd name="T82" fmla="*/ 241461 w 631"/>
                <a:gd name="T83" fmla="*/ 307975 h 592"/>
                <a:gd name="T84" fmla="*/ 19905 w 631"/>
                <a:gd name="T85" fmla="*/ 90520 h 592"/>
                <a:gd name="T86" fmla="*/ 10818 w 631"/>
                <a:gd name="T87" fmla="*/ 81676 h 592"/>
                <a:gd name="T88" fmla="*/ 4760 w 631"/>
                <a:gd name="T89" fmla="*/ 71791 h 592"/>
                <a:gd name="T90" fmla="*/ 865 w 631"/>
                <a:gd name="T91" fmla="*/ 60867 h 592"/>
                <a:gd name="T92" fmla="*/ 0 w 631"/>
                <a:gd name="T93" fmla="*/ 48381 h 592"/>
                <a:gd name="T94" fmla="*/ 1298 w 631"/>
                <a:gd name="T95" fmla="*/ 46300 h 592"/>
                <a:gd name="T96" fmla="*/ 4327 w 631"/>
                <a:gd name="T97" fmla="*/ 43179 h 592"/>
                <a:gd name="T98" fmla="*/ 7356 w 631"/>
                <a:gd name="T99" fmla="*/ 40058 h 592"/>
                <a:gd name="T100" fmla="*/ 8655 w 631"/>
                <a:gd name="T101" fmla="*/ 35896 h 592"/>
                <a:gd name="T102" fmla="*/ 7789 w 631"/>
                <a:gd name="T103" fmla="*/ 27572 h 592"/>
                <a:gd name="T104" fmla="*/ 5625 w 631"/>
                <a:gd name="T105" fmla="*/ 21850 h 592"/>
                <a:gd name="T106" fmla="*/ 3895 w 631"/>
                <a:gd name="T107" fmla="*/ 17688 h 592"/>
                <a:gd name="T108" fmla="*/ 3029 w 631"/>
                <a:gd name="T109" fmla="*/ 13526 h 592"/>
                <a:gd name="T110" fmla="*/ 5625 w 631"/>
                <a:gd name="T111" fmla="*/ 0 h 59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631" h="592">
                  <a:moveTo>
                    <a:pt x="13" y="0"/>
                  </a:moveTo>
                  <a:lnTo>
                    <a:pt x="21" y="2"/>
                  </a:lnTo>
                  <a:lnTo>
                    <a:pt x="26" y="2"/>
                  </a:lnTo>
                  <a:lnTo>
                    <a:pt x="32" y="4"/>
                  </a:lnTo>
                  <a:lnTo>
                    <a:pt x="40" y="7"/>
                  </a:lnTo>
                  <a:lnTo>
                    <a:pt x="54" y="8"/>
                  </a:lnTo>
                  <a:lnTo>
                    <a:pt x="67" y="9"/>
                  </a:lnTo>
                  <a:lnTo>
                    <a:pt x="78" y="11"/>
                  </a:lnTo>
                  <a:lnTo>
                    <a:pt x="88" y="13"/>
                  </a:lnTo>
                  <a:lnTo>
                    <a:pt x="104" y="19"/>
                  </a:lnTo>
                  <a:lnTo>
                    <a:pt x="118" y="26"/>
                  </a:lnTo>
                  <a:lnTo>
                    <a:pt x="130" y="32"/>
                  </a:lnTo>
                  <a:lnTo>
                    <a:pt x="141" y="38"/>
                  </a:lnTo>
                  <a:lnTo>
                    <a:pt x="146" y="40"/>
                  </a:lnTo>
                  <a:lnTo>
                    <a:pt x="153" y="42"/>
                  </a:lnTo>
                  <a:lnTo>
                    <a:pt x="159" y="43"/>
                  </a:lnTo>
                  <a:lnTo>
                    <a:pt x="166" y="44"/>
                  </a:lnTo>
                  <a:lnTo>
                    <a:pt x="189" y="43"/>
                  </a:lnTo>
                  <a:lnTo>
                    <a:pt x="210" y="41"/>
                  </a:lnTo>
                  <a:lnTo>
                    <a:pt x="227" y="37"/>
                  </a:lnTo>
                  <a:lnTo>
                    <a:pt x="244" y="33"/>
                  </a:lnTo>
                  <a:lnTo>
                    <a:pt x="277" y="23"/>
                  </a:lnTo>
                  <a:lnTo>
                    <a:pt x="312" y="14"/>
                  </a:lnTo>
                  <a:lnTo>
                    <a:pt x="399" y="38"/>
                  </a:lnTo>
                  <a:lnTo>
                    <a:pt x="400" y="53"/>
                  </a:lnTo>
                  <a:lnTo>
                    <a:pt x="403" y="69"/>
                  </a:lnTo>
                  <a:lnTo>
                    <a:pt x="405" y="82"/>
                  </a:lnTo>
                  <a:lnTo>
                    <a:pt x="410" y="95"/>
                  </a:lnTo>
                  <a:lnTo>
                    <a:pt x="413" y="107"/>
                  </a:lnTo>
                  <a:lnTo>
                    <a:pt x="417" y="119"/>
                  </a:lnTo>
                  <a:lnTo>
                    <a:pt x="423" y="130"/>
                  </a:lnTo>
                  <a:lnTo>
                    <a:pt x="427" y="140"/>
                  </a:lnTo>
                  <a:lnTo>
                    <a:pt x="438" y="158"/>
                  </a:lnTo>
                  <a:lnTo>
                    <a:pt x="450" y="175"/>
                  </a:lnTo>
                  <a:lnTo>
                    <a:pt x="461" y="190"/>
                  </a:lnTo>
                  <a:lnTo>
                    <a:pt x="472" y="204"/>
                  </a:lnTo>
                  <a:lnTo>
                    <a:pt x="478" y="213"/>
                  </a:lnTo>
                  <a:lnTo>
                    <a:pt x="482" y="222"/>
                  </a:lnTo>
                  <a:lnTo>
                    <a:pt x="484" y="232"/>
                  </a:lnTo>
                  <a:lnTo>
                    <a:pt x="485" y="240"/>
                  </a:lnTo>
                  <a:lnTo>
                    <a:pt x="488" y="248"/>
                  </a:lnTo>
                  <a:lnTo>
                    <a:pt x="491" y="255"/>
                  </a:lnTo>
                  <a:lnTo>
                    <a:pt x="494" y="258"/>
                  </a:lnTo>
                  <a:lnTo>
                    <a:pt x="496" y="261"/>
                  </a:lnTo>
                  <a:lnTo>
                    <a:pt x="501" y="263"/>
                  </a:lnTo>
                  <a:lnTo>
                    <a:pt x="505" y="266"/>
                  </a:lnTo>
                  <a:lnTo>
                    <a:pt x="508" y="267"/>
                  </a:lnTo>
                  <a:lnTo>
                    <a:pt x="513" y="270"/>
                  </a:lnTo>
                  <a:lnTo>
                    <a:pt x="516" y="274"/>
                  </a:lnTo>
                  <a:lnTo>
                    <a:pt x="519" y="278"/>
                  </a:lnTo>
                  <a:lnTo>
                    <a:pt x="526" y="290"/>
                  </a:lnTo>
                  <a:lnTo>
                    <a:pt x="533" y="303"/>
                  </a:lnTo>
                  <a:lnTo>
                    <a:pt x="537" y="317"/>
                  </a:lnTo>
                  <a:lnTo>
                    <a:pt x="541" y="331"/>
                  </a:lnTo>
                  <a:lnTo>
                    <a:pt x="544" y="346"/>
                  </a:lnTo>
                  <a:lnTo>
                    <a:pt x="545" y="358"/>
                  </a:lnTo>
                  <a:lnTo>
                    <a:pt x="546" y="363"/>
                  </a:lnTo>
                  <a:lnTo>
                    <a:pt x="548" y="368"/>
                  </a:lnTo>
                  <a:lnTo>
                    <a:pt x="551" y="374"/>
                  </a:lnTo>
                  <a:lnTo>
                    <a:pt x="557" y="381"/>
                  </a:lnTo>
                  <a:lnTo>
                    <a:pt x="569" y="398"/>
                  </a:lnTo>
                  <a:lnTo>
                    <a:pt x="583" y="415"/>
                  </a:lnTo>
                  <a:lnTo>
                    <a:pt x="598" y="432"/>
                  </a:lnTo>
                  <a:lnTo>
                    <a:pt x="612" y="447"/>
                  </a:lnTo>
                  <a:lnTo>
                    <a:pt x="624" y="458"/>
                  </a:lnTo>
                  <a:lnTo>
                    <a:pt x="631" y="463"/>
                  </a:lnTo>
                  <a:lnTo>
                    <a:pt x="622" y="472"/>
                  </a:lnTo>
                  <a:lnTo>
                    <a:pt x="612" y="481"/>
                  </a:lnTo>
                  <a:lnTo>
                    <a:pt x="619" y="489"/>
                  </a:lnTo>
                  <a:lnTo>
                    <a:pt x="624" y="496"/>
                  </a:lnTo>
                  <a:lnTo>
                    <a:pt x="626" y="501"/>
                  </a:lnTo>
                  <a:lnTo>
                    <a:pt x="626" y="507"/>
                  </a:lnTo>
                  <a:lnTo>
                    <a:pt x="626" y="511"/>
                  </a:lnTo>
                  <a:lnTo>
                    <a:pt x="626" y="516"/>
                  </a:lnTo>
                  <a:lnTo>
                    <a:pt x="627" y="523"/>
                  </a:lnTo>
                  <a:lnTo>
                    <a:pt x="631" y="531"/>
                  </a:lnTo>
                  <a:lnTo>
                    <a:pt x="629" y="535"/>
                  </a:lnTo>
                  <a:lnTo>
                    <a:pt x="626" y="539"/>
                  </a:lnTo>
                  <a:lnTo>
                    <a:pt x="622" y="543"/>
                  </a:lnTo>
                  <a:lnTo>
                    <a:pt x="617" y="548"/>
                  </a:lnTo>
                  <a:lnTo>
                    <a:pt x="605" y="559"/>
                  </a:lnTo>
                  <a:lnTo>
                    <a:pt x="592" y="569"/>
                  </a:lnTo>
                  <a:lnTo>
                    <a:pt x="569" y="585"/>
                  </a:lnTo>
                  <a:lnTo>
                    <a:pt x="558" y="592"/>
                  </a:lnTo>
                  <a:lnTo>
                    <a:pt x="53" y="592"/>
                  </a:lnTo>
                  <a:lnTo>
                    <a:pt x="46" y="174"/>
                  </a:lnTo>
                  <a:lnTo>
                    <a:pt x="35" y="166"/>
                  </a:lnTo>
                  <a:lnTo>
                    <a:pt x="25" y="157"/>
                  </a:lnTo>
                  <a:lnTo>
                    <a:pt x="18" y="148"/>
                  </a:lnTo>
                  <a:lnTo>
                    <a:pt x="11" y="138"/>
                  </a:lnTo>
                  <a:lnTo>
                    <a:pt x="6" y="128"/>
                  </a:lnTo>
                  <a:lnTo>
                    <a:pt x="2" y="117"/>
                  </a:lnTo>
                  <a:lnTo>
                    <a:pt x="1" y="105"/>
                  </a:lnTo>
                  <a:lnTo>
                    <a:pt x="0" y="93"/>
                  </a:lnTo>
                  <a:lnTo>
                    <a:pt x="1" y="91"/>
                  </a:lnTo>
                  <a:lnTo>
                    <a:pt x="3" y="89"/>
                  </a:lnTo>
                  <a:lnTo>
                    <a:pt x="7" y="86"/>
                  </a:lnTo>
                  <a:lnTo>
                    <a:pt x="10" y="83"/>
                  </a:lnTo>
                  <a:lnTo>
                    <a:pt x="13" y="80"/>
                  </a:lnTo>
                  <a:lnTo>
                    <a:pt x="17" y="77"/>
                  </a:lnTo>
                  <a:lnTo>
                    <a:pt x="19" y="73"/>
                  </a:lnTo>
                  <a:lnTo>
                    <a:pt x="20" y="69"/>
                  </a:lnTo>
                  <a:lnTo>
                    <a:pt x="20" y="61"/>
                  </a:lnTo>
                  <a:lnTo>
                    <a:pt x="18" y="53"/>
                  </a:lnTo>
                  <a:lnTo>
                    <a:pt x="15" y="47"/>
                  </a:lnTo>
                  <a:lnTo>
                    <a:pt x="13" y="42"/>
                  </a:lnTo>
                  <a:lnTo>
                    <a:pt x="11" y="38"/>
                  </a:lnTo>
                  <a:lnTo>
                    <a:pt x="9" y="34"/>
                  </a:lnTo>
                  <a:lnTo>
                    <a:pt x="7" y="30"/>
                  </a:lnTo>
                  <a:lnTo>
                    <a:pt x="7" y="26"/>
                  </a:lnTo>
                  <a:lnTo>
                    <a:pt x="10" y="11"/>
                  </a:lnTo>
                  <a:lnTo>
                    <a:pt x="1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899" name="Freeform 458"/>
            <p:cNvSpPr>
              <a:spLocks/>
            </p:cNvSpPr>
            <p:nvPr>
              <p:custDataLst>
                <p:tags r:id="rId291"/>
              </p:custDataLst>
            </p:nvPr>
          </p:nvSpPr>
          <p:spPr bwMode="auto">
            <a:xfrm>
              <a:off x="5822518" y="2464098"/>
              <a:ext cx="20818" cy="68630"/>
            </a:xfrm>
            <a:custGeom>
              <a:avLst/>
              <a:gdLst>
                <a:gd name="T0" fmla="*/ 3056 w 40"/>
                <a:gd name="T1" fmla="*/ 19050 h 93"/>
                <a:gd name="T2" fmla="*/ 4366 w 40"/>
                <a:gd name="T3" fmla="*/ 18435 h 93"/>
                <a:gd name="T4" fmla="*/ 6112 w 40"/>
                <a:gd name="T5" fmla="*/ 15977 h 93"/>
                <a:gd name="T6" fmla="*/ 8731 w 40"/>
                <a:gd name="T7" fmla="*/ 12290 h 93"/>
                <a:gd name="T8" fmla="*/ 10914 w 40"/>
                <a:gd name="T9" fmla="*/ 9218 h 93"/>
                <a:gd name="T10" fmla="*/ 15279 w 40"/>
                <a:gd name="T11" fmla="*/ 2458 h 93"/>
                <a:gd name="T12" fmla="*/ 17462 w 40"/>
                <a:gd name="T13" fmla="*/ 0 h 93"/>
                <a:gd name="T14" fmla="*/ 16152 w 40"/>
                <a:gd name="T15" fmla="*/ 15977 h 93"/>
                <a:gd name="T16" fmla="*/ 15279 w 40"/>
                <a:gd name="T17" fmla="*/ 32569 h 93"/>
                <a:gd name="T18" fmla="*/ 14843 w 40"/>
                <a:gd name="T19" fmla="*/ 39944 h 93"/>
                <a:gd name="T20" fmla="*/ 14843 w 40"/>
                <a:gd name="T21" fmla="*/ 47318 h 93"/>
                <a:gd name="T22" fmla="*/ 15279 w 40"/>
                <a:gd name="T23" fmla="*/ 50390 h 93"/>
                <a:gd name="T24" fmla="*/ 15716 w 40"/>
                <a:gd name="T25" fmla="*/ 52848 h 93"/>
                <a:gd name="T26" fmla="*/ 16152 w 40"/>
                <a:gd name="T27" fmla="*/ 55306 h 93"/>
                <a:gd name="T28" fmla="*/ 17462 w 40"/>
                <a:gd name="T29" fmla="*/ 57150 h 93"/>
                <a:gd name="T30" fmla="*/ 11350 w 40"/>
                <a:gd name="T31" fmla="*/ 57150 h 93"/>
                <a:gd name="T32" fmla="*/ 5675 w 40"/>
                <a:gd name="T33" fmla="*/ 57150 h 93"/>
                <a:gd name="T34" fmla="*/ 4802 w 40"/>
                <a:gd name="T35" fmla="*/ 56535 h 93"/>
                <a:gd name="T36" fmla="*/ 3492 w 40"/>
                <a:gd name="T37" fmla="*/ 55921 h 93"/>
                <a:gd name="T38" fmla="*/ 2619 w 40"/>
                <a:gd name="T39" fmla="*/ 54077 h 93"/>
                <a:gd name="T40" fmla="*/ 1746 w 40"/>
                <a:gd name="T41" fmla="*/ 52848 h 93"/>
                <a:gd name="T42" fmla="*/ 437 w 40"/>
                <a:gd name="T43" fmla="*/ 49161 h 93"/>
                <a:gd name="T44" fmla="*/ 0 w 40"/>
                <a:gd name="T45" fmla="*/ 44860 h 93"/>
                <a:gd name="T46" fmla="*/ 437 w 40"/>
                <a:gd name="T47" fmla="*/ 39329 h 93"/>
                <a:gd name="T48" fmla="*/ 1310 w 40"/>
                <a:gd name="T49" fmla="*/ 30726 h 93"/>
                <a:gd name="T50" fmla="*/ 2619 w 40"/>
                <a:gd name="T51" fmla="*/ 22737 h 93"/>
                <a:gd name="T52" fmla="*/ 3056 w 40"/>
                <a:gd name="T53" fmla="*/ 19050 h 93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40" h="93">
                  <a:moveTo>
                    <a:pt x="7" y="31"/>
                  </a:moveTo>
                  <a:lnTo>
                    <a:pt x="10" y="30"/>
                  </a:lnTo>
                  <a:lnTo>
                    <a:pt x="14" y="26"/>
                  </a:lnTo>
                  <a:lnTo>
                    <a:pt x="20" y="20"/>
                  </a:lnTo>
                  <a:lnTo>
                    <a:pt x="25" y="15"/>
                  </a:lnTo>
                  <a:lnTo>
                    <a:pt x="35" y="4"/>
                  </a:lnTo>
                  <a:lnTo>
                    <a:pt x="40" y="0"/>
                  </a:lnTo>
                  <a:lnTo>
                    <a:pt x="37" y="26"/>
                  </a:lnTo>
                  <a:lnTo>
                    <a:pt x="35" y="53"/>
                  </a:lnTo>
                  <a:lnTo>
                    <a:pt x="34" y="65"/>
                  </a:lnTo>
                  <a:lnTo>
                    <a:pt x="34" y="77"/>
                  </a:lnTo>
                  <a:lnTo>
                    <a:pt x="35" y="82"/>
                  </a:lnTo>
                  <a:lnTo>
                    <a:pt x="36" y="86"/>
                  </a:lnTo>
                  <a:lnTo>
                    <a:pt x="37" y="90"/>
                  </a:lnTo>
                  <a:lnTo>
                    <a:pt x="40" y="93"/>
                  </a:lnTo>
                  <a:lnTo>
                    <a:pt x="26" y="93"/>
                  </a:lnTo>
                  <a:lnTo>
                    <a:pt x="13" y="93"/>
                  </a:lnTo>
                  <a:lnTo>
                    <a:pt x="11" y="92"/>
                  </a:lnTo>
                  <a:lnTo>
                    <a:pt x="8" y="91"/>
                  </a:lnTo>
                  <a:lnTo>
                    <a:pt x="6" y="88"/>
                  </a:lnTo>
                  <a:lnTo>
                    <a:pt x="4" y="86"/>
                  </a:lnTo>
                  <a:lnTo>
                    <a:pt x="1" y="80"/>
                  </a:lnTo>
                  <a:lnTo>
                    <a:pt x="0" y="73"/>
                  </a:lnTo>
                  <a:lnTo>
                    <a:pt x="1" y="64"/>
                  </a:lnTo>
                  <a:lnTo>
                    <a:pt x="3" y="50"/>
                  </a:lnTo>
                  <a:lnTo>
                    <a:pt x="6" y="37"/>
                  </a:lnTo>
                  <a:lnTo>
                    <a:pt x="7" y="3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900" name="Freeform 459"/>
            <p:cNvSpPr>
              <a:spLocks/>
            </p:cNvSpPr>
            <p:nvPr>
              <p:custDataLst>
                <p:tags r:id="rId292"/>
              </p:custDataLst>
            </p:nvPr>
          </p:nvSpPr>
          <p:spPr bwMode="auto">
            <a:xfrm>
              <a:off x="5442106" y="2160799"/>
              <a:ext cx="352024" cy="327897"/>
            </a:xfrm>
            <a:custGeom>
              <a:avLst/>
              <a:gdLst>
                <a:gd name="T0" fmla="*/ 66259 w 664"/>
                <a:gd name="T1" fmla="*/ 234570 h 518"/>
                <a:gd name="T2" fmla="*/ 67148 w 664"/>
                <a:gd name="T3" fmla="*/ 227190 h 518"/>
                <a:gd name="T4" fmla="*/ 64925 w 664"/>
                <a:gd name="T5" fmla="*/ 210849 h 518"/>
                <a:gd name="T6" fmla="*/ 67148 w 664"/>
                <a:gd name="T7" fmla="*/ 186075 h 518"/>
                <a:gd name="T8" fmla="*/ 64925 w 664"/>
                <a:gd name="T9" fmla="*/ 157083 h 518"/>
                <a:gd name="T10" fmla="*/ 59589 w 664"/>
                <a:gd name="T11" fmla="*/ 132308 h 518"/>
                <a:gd name="T12" fmla="*/ 48471 w 664"/>
                <a:gd name="T13" fmla="*/ 127037 h 518"/>
                <a:gd name="T14" fmla="*/ 8894 w 664"/>
                <a:gd name="T15" fmla="*/ 101208 h 518"/>
                <a:gd name="T16" fmla="*/ 10673 w 664"/>
                <a:gd name="T17" fmla="*/ 90138 h 518"/>
                <a:gd name="T18" fmla="*/ 16009 w 664"/>
                <a:gd name="T19" fmla="*/ 83813 h 518"/>
                <a:gd name="T20" fmla="*/ 21345 w 664"/>
                <a:gd name="T21" fmla="*/ 78014 h 518"/>
                <a:gd name="T22" fmla="*/ 44469 w 664"/>
                <a:gd name="T23" fmla="*/ 81704 h 518"/>
                <a:gd name="T24" fmla="*/ 55586 w 664"/>
                <a:gd name="T25" fmla="*/ 80123 h 518"/>
                <a:gd name="T26" fmla="*/ 65370 w 664"/>
                <a:gd name="T27" fmla="*/ 82758 h 518"/>
                <a:gd name="T28" fmla="*/ 73374 w 664"/>
                <a:gd name="T29" fmla="*/ 49550 h 518"/>
                <a:gd name="T30" fmla="*/ 82268 w 664"/>
                <a:gd name="T31" fmla="*/ 57456 h 518"/>
                <a:gd name="T32" fmla="*/ 92051 w 664"/>
                <a:gd name="T33" fmla="*/ 57984 h 518"/>
                <a:gd name="T34" fmla="*/ 104947 w 664"/>
                <a:gd name="T35" fmla="*/ 52185 h 518"/>
                <a:gd name="T36" fmla="*/ 117398 w 664"/>
                <a:gd name="T37" fmla="*/ 42170 h 518"/>
                <a:gd name="T38" fmla="*/ 128516 w 664"/>
                <a:gd name="T39" fmla="*/ 30046 h 518"/>
                <a:gd name="T40" fmla="*/ 136965 w 664"/>
                <a:gd name="T41" fmla="*/ 16868 h 518"/>
                <a:gd name="T42" fmla="*/ 141412 w 664"/>
                <a:gd name="T43" fmla="*/ 6325 h 518"/>
                <a:gd name="T44" fmla="*/ 164536 w 664"/>
                <a:gd name="T45" fmla="*/ 2108 h 518"/>
                <a:gd name="T46" fmla="*/ 179655 w 664"/>
                <a:gd name="T47" fmla="*/ 16868 h 518"/>
                <a:gd name="T48" fmla="*/ 203224 w 664"/>
                <a:gd name="T49" fmla="*/ 32155 h 518"/>
                <a:gd name="T50" fmla="*/ 227237 w 664"/>
                <a:gd name="T51" fmla="*/ 47441 h 518"/>
                <a:gd name="T52" fmla="*/ 245470 w 664"/>
                <a:gd name="T53" fmla="*/ 56402 h 518"/>
                <a:gd name="T54" fmla="*/ 257032 w 664"/>
                <a:gd name="T55" fmla="*/ 61146 h 518"/>
                <a:gd name="T56" fmla="*/ 277043 w 664"/>
                <a:gd name="T57" fmla="*/ 63782 h 518"/>
                <a:gd name="T58" fmla="*/ 292607 w 664"/>
                <a:gd name="T59" fmla="*/ 71689 h 518"/>
                <a:gd name="T60" fmla="*/ 286826 w 664"/>
                <a:gd name="T61" fmla="*/ 87503 h 518"/>
                <a:gd name="T62" fmla="*/ 275709 w 664"/>
                <a:gd name="T63" fmla="*/ 124401 h 518"/>
                <a:gd name="T64" fmla="*/ 265925 w 664"/>
                <a:gd name="T65" fmla="*/ 143378 h 518"/>
                <a:gd name="T66" fmla="*/ 260144 w 664"/>
                <a:gd name="T67" fmla="*/ 150757 h 518"/>
                <a:gd name="T68" fmla="*/ 266370 w 664"/>
                <a:gd name="T69" fmla="*/ 157083 h 518"/>
                <a:gd name="T70" fmla="*/ 274819 w 664"/>
                <a:gd name="T71" fmla="*/ 161827 h 518"/>
                <a:gd name="T72" fmla="*/ 277043 w 664"/>
                <a:gd name="T73" fmla="*/ 176059 h 518"/>
                <a:gd name="T74" fmla="*/ 275709 w 664"/>
                <a:gd name="T75" fmla="*/ 182912 h 518"/>
                <a:gd name="T76" fmla="*/ 274819 w 664"/>
                <a:gd name="T77" fmla="*/ 196090 h 518"/>
                <a:gd name="T78" fmla="*/ 276598 w 664"/>
                <a:gd name="T79" fmla="*/ 210322 h 518"/>
                <a:gd name="T80" fmla="*/ 281045 w 664"/>
                <a:gd name="T81" fmla="*/ 222973 h 518"/>
                <a:gd name="T82" fmla="*/ 270372 w 664"/>
                <a:gd name="T83" fmla="*/ 240895 h 518"/>
                <a:gd name="T84" fmla="*/ 253029 w 664"/>
                <a:gd name="T85" fmla="*/ 255128 h 518"/>
                <a:gd name="T86" fmla="*/ 241023 w 664"/>
                <a:gd name="T87" fmla="*/ 257763 h 518"/>
                <a:gd name="T88" fmla="*/ 226348 w 664"/>
                <a:gd name="T89" fmla="*/ 253546 h 518"/>
                <a:gd name="T90" fmla="*/ 212118 w 664"/>
                <a:gd name="T91" fmla="*/ 242477 h 518"/>
                <a:gd name="T92" fmla="*/ 205892 w 664"/>
                <a:gd name="T93" fmla="*/ 240368 h 518"/>
                <a:gd name="T94" fmla="*/ 196998 w 664"/>
                <a:gd name="T95" fmla="*/ 240895 h 518"/>
                <a:gd name="T96" fmla="*/ 188104 w 664"/>
                <a:gd name="T97" fmla="*/ 245112 h 518"/>
                <a:gd name="T98" fmla="*/ 180545 w 664"/>
                <a:gd name="T99" fmla="*/ 251438 h 518"/>
                <a:gd name="T100" fmla="*/ 172540 w 664"/>
                <a:gd name="T101" fmla="*/ 265143 h 518"/>
                <a:gd name="T102" fmla="*/ 171206 w 664"/>
                <a:gd name="T103" fmla="*/ 272523 h 518"/>
                <a:gd name="T104" fmla="*/ 148082 w 664"/>
                <a:gd name="T105" fmla="*/ 271469 h 518"/>
                <a:gd name="T106" fmla="*/ 140967 w 664"/>
                <a:gd name="T107" fmla="*/ 267252 h 518"/>
                <a:gd name="T108" fmla="*/ 136520 w 664"/>
                <a:gd name="T109" fmla="*/ 263562 h 518"/>
                <a:gd name="T110" fmla="*/ 131629 w 664"/>
                <a:gd name="T111" fmla="*/ 267779 h 518"/>
                <a:gd name="T112" fmla="*/ 127626 w 664"/>
                <a:gd name="T113" fmla="*/ 271996 h 518"/>
                <a:gd name="T114" fmla="*/ 119177 w 664"/>
                <a:gd name="T115" fmla="*/ 271996 h 518"/>
                <a:gd name="T116" fmla="*/ 100945 w 664"/>
                <a:gd name="T117" fmla="*/ 266725 h 518"/>
                <a:gd name="T118" fmla="*/ 82268 w 664"/>
                <a:gd name="T119" fmla="*/ 256709 h 518"/>
                <a:gd name="T120" fmla="*/ 71151 w 664"/>
                <a:gd name="T121" fmla="*/ 247221 h 518"/>
                <a:gd name="T122" fmla="*/ 64925 w 664"/>
                <a:gd name="T123" fmla="*/ 237206 h 51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664" h="518">
                  <a:moveTo>
                    <a:pt x="146" y="450"/>
                  </a:moveTo>
                  <a:lnTo>
                    <a:pt x="148" y="447"/>
                  </a:lnTo>
                  <a:lnTo>
                    <a:pt x="149" y="445"/>
                  </a:lnTo>
                  <a:lnTo>
                    <a:pt x="150" y="441"/>
                  </a:lnTo>
                  <a:lnTo>
                    <a:pt x="151" y="438"/>
                  </a:lnTo>
                  <a:lnTo>
                    <a:pt x="151" y="431"/>
                  </a:lnTo>
                  <a:lnTo>
                    <a:pt x="150" y="424"/>
                  </a:lnTo>
                  <a:lnTo>
                    <a:pt x="147" y="411"/>
                  </a:lnTo>
                  <a:lnTo>
                    <a:pt x="146" y="400"/>
                  </a:lnTo>
                  <a:lnTo>
                    <a:pt x="147" y="378"/>
                  </a:lnTo>
                  <a:lnTo>
                    <a:pt x="149" y="364"/>
                  </a:lnTo>
                  <a:lnTo>
                    <a:pt x="151" y="353"/>
                  </a:lnTo>
                  <a:lnTo>
                    <a:pt x="152" y="339"/>
                  </a:lnTo>
                  <a:lnTo>
                    <a:pt x="150" y="320"/>
                  </a:lnTo>
                  <a:lnTo>
                    <a:pt x="146" y="298"/>
                  </a:lnTo>
                  <a:lnTo>
                    <a:pt x="141" y="273"/>
                  </a:lnTo>
                  <a:lnTo>
                    <a:pt x="139" y="252"/>
                  </a:lnTo>
                  <a:lnTo>
                    <a:pt x="134" y="251"/>
                  </a:lnTo>
                  <a:lnTo>
                    <a:pt x="127" y="249"/>
                  </a:lnTo>
                  <a:lnTo>
                    <a:pt x="119" y="246"/>
                  </a:lnTo>
                  <a:lnTo>
                    <a:pt x="109" y="241"/>
                  </a:lnTo>
                  <a:lnTo>
                    <a:pt x="87" y="231"/>
                  </a:lnTo>
                  <a:lnTo>
                    <a:pt x="64" y="217"/>
                  </a:lnTo>
                  <a:lnTo>
                    <a:pt x="20" y="192"/>
                  </a:lnTo>
                  <a:lnTo>
                    <a:pt x="0" y="178"/>
                  </a:lnTo>
                  <a:lnTo>
                    <a:pt x="19" y="172"/>
                  </a:lnTo>
                  <a:lnTo>
                    <a:pt x="24" y="171"/>
                  </a:lnTo>
                  <a:lnTo>
                    <a:pt x="28" y="168"/>
                  </a:lnTo>
                  <a:lnTo>
                    <a:pt x="31" y="165"/>
                  </a:lnTo>
                  <a:lnTo>
                    <a:pt x="36" y="159"/>
                  </a:lnTo>
                  <a:lnTo>
                    <a:pt x="39" y="155"/>
                  </a:lnTo>
                  <a:lnTo>
                    <a:pt x="44" y="151"/>
                  </a:lnTo>
                  <a:lnTo>
                    <a:pt x="48" y="148"/>
                  </a:lnTo>
                  <a:lnTo>
                    <a:pt x="52" y="147"/>
                  </a:lnTo>
                  <a:lnTo>
                    <a:pt x="92" y="159"/>
                  </a:lnTo>
                  <a:lnTo>
                    <a:pt x="100" y="155"/>
                  </a:lnTo>
                  <a:lnTo>
                    <a:pt x="108" y="153"/>
                  </a:lnTo>
                  <a:lnTo>
                    <a:pt x="116" y="152"/>
                  </a:lnTo>
                  <a:lnTo>
                    <a:pt x="125" y="152"/>
                  </a:lnTo>
                  <a:lnTo>
                    <a:pt x="132" y="153"/>
                  </a:lnTo>
                  <a:lnTo>
                    <a:pt x="140" y="155"/>
                  </a:lnTo>
                  <a:lnTo>
                    <a:pt x="147" y="157"/>
                  </a:lnTo>
                  <a:lnTo>
                    <a:pt x="152" y="159"/>
                  </a:lnTo>
                  <a:lnTo>
                    <a:pt x="152" y="86"/>
                  </a:lnTo>
                  <a:lnTo>
                    <a:pt x="165" y="94"/>
                  </a:lnTo>
                  <a:lnTo>
                    <a:pt x="175" y="102"/>
                  </a:lnTo>
                  <a:lnTo>
                    <a:pt x="181" y="105"/>
                  </a:lnTo>
                  <a:lnTo>
                    <a:pt x="185" y="109"/>
                  </a:lnTo>
                  <a:lnTo>
                    <a:pt x="192" y="110"/>
                  </a:lnTo>
                  <a:lnTo>
                    <a:pt x="198" y="111"/>
                  </a:lnTo>
                  <a:lnTo>
                    <a:pt x="207" y="110"/>
                  </a:lnTo>
                  <a:lnTo>
                    <a:pt x="217" y="107"/>
                  </a:lnTo>
                  <a:lnTo>
                    <a:pt x="226" y="103"/>
                  </a:lnTo>
                  <a:lnTo>
                    <a:pt x="236" y="99"/>
                  </a:lnTo>
                  <a:lnTo>
                    <a:pt x="246" y="93"/>
                  </a:lnTo>
                  <a:lnTo>
                    <a:pt x="255" y="87"/>
                  </a:lnTo>
                  <a:lnTo>
                    <a:pt x="264" y="80"/>
                  </a:lnTo>
                  <a:lnTo>
                    <a:pt x="273" y="73"/>
                  </a:lnTo>
                  <a:lnTo>
                    <a:pt x="282" y="65"/>
                  </a:lnTo>
                  <a:lnTo>
                    <a:pt x="289" y="57"/>
                  </a:lnTo>
                  <a:lnTo>
                    <a:pt x="297" y="48"/>
                  </a:lnTo>
                  <a:lnTo>
                    <a:pt x="303" y="40"/>
                  </a:lnTo>
                  <a:lnTo>
                    <a:pt x="308" y="32"/>
                  </a:lnTo>
                  <a:lnTo>
                    <a:pt x="313" y="25"/>
                  </a:lnTo>
                  <a:lnTo>
                    <a:pt x="316" y="18"/>
                  </a:lnTo>
                  <a:lnTo>
                    <a:pt x="318" y="12"/>
                  </a:lnTo>
                  <a:lnTo>
                    <a:pt x="337" y="11"/>
                  </a:lnTo>
                  <a:lnTo>
                    <a:pt x="354" y="8"/>
                  </a:lnTo>
                  <a:lnTo>
                    <a:pt x="370" y="4"/>
                  </a:lnTo>
                  <a:lnTo>
                    <a:pt x="385" y="0"/>
                  </a:lnTo>
                  <a:lnTo>
                    <a:pt x="385" y="24"/>
                  </a:lnTo>
                  <a:lnTo>
                    <a:pt x="404" y="32"/>
                  </a:lnTo>
                  <a:lnTo>
                    <a:pt x="422" y="40"/>
                  </a:lnTo>
                  <a:lnTo>
                    <a:pt x="440" y="50"/>
                  </a:lnTo>
                  <a:lnTo>
                    <a:pt x="457" y="61"/>
                  </a:lnTo>
                  <a:lnTo>
                    <a:pt x="475" y="72"/>
                  </a:lnTo>
                  <a:lnTo>
                    <a:pt x="493" y="81"/>
                  </a:lnTo>
                  <a:lnTo>
                    <a:pt x="511" y="90"/>
                  </a:lnTo>
                  <a:lnTo>
                    <a:pt x="531" y="98"/>
                  </a:lnTo>
                  <a:lnTo>
                    <a:pt x="538" y="101"/>
                  </a:lnTo>
                  <a:lnTo>
                    <a:pt x="552" y="107"/>
                  </a:lnTo>
                  <a:lnTo>
                    <a:pt x="561" y="111"/>
                  </a:lnTo>
                  <a:lnTo>
                    <a:pt x="569" y="114"/>
                  </a:lnTo>
                  <a:lnTo>
                    <a:pt x="578" y="116"/>
                  </a:lnTo>
                  <a:lnTo>
                    <a:pt x="584" y="117"/>
                  </a:lnTo>
                  <a:lnTo>
                    <a:pt x="604" y="118"/>
                  </a:lnTo>
                  <a:lnTo>
                    <a:pt x="623" y="121"/>
                  </a:lnTo>
                  <a:lnTo>
                    <a:pt x="644" y="124"/>
                  </a:lnTo>
                  <a:lnTo>
                    <a:pt x="664" y="129"/>
                  </a:lnTo>
                  <a:lnTo>
                    <a:pt x="658" y="136"/>
                  </a:lnTo>
                  <a:lnTo>
                    <a:pt x="654" y="145"/>
                  </a:lnTo>
                  <a:lnTo>
                    <a:pt x="650" y="155"/>
                  </a:lnTo>
                  <a:lnTo>
                    <a:pt x="645" y="166"/>
                  </a:lnTo>
                  <a:lnTo>
                    <a:pt x="638" y="189"/>
                  </a:lnTo>
                  <a:lnTo>
                    <a:pt x="629" y="212"/>
                  </a:lnTo>
                  <a:lnTo>
                    <a:pt x="620" y="236"/>
                  </a:lnTo>
                  <a:lnTo>
                    <a:pt x="609" y="256"/>
                  </a:lnTo>
                  <a:lnTo>
                    <a:pt x="604" y="265"/>
                  </a:lnTo>
                  <a:lnTo>
                    <a:pt x="598" y="272"/>
                  </a:lnTo>
                  <a:lnTo>
                    <a:pt x="591" y="279"/>
                  </a:lnTo>
                  <a:lnTo>
                    <a:pt x="584" y="283"/>
                  </a:lnTo>
                  <a:lnTo>
                    <a:pt x="585" y="286"/>
                  </a:lnTo>
                  <a:lnTo>
                    <a:pt x="588" y="290"/>
                  </a:lnTo>
                  <a:lnTo>
                    <a:pt x="593" y="294"/>
                  </a:lnTo>
                  <a:lnTo>
                    <a:pt x="599" y="298"/>
                  </a:lnTo>
                  <a:lnTo>
                    <a:pt x="606" y="301"/>
                  </a:lnTo>
                  <a:lnTo>
                    <a:pt x="612" y="304"/>
                  </a:lnTo>
                  <a:lnTo>
                    <a:pt x="618" y="307"/>
                  </a:lnTo>
                  <a:lnTo>
                    <a:pt x="623" y="307"/>
                  </a:lnTo>
                  <a:lnTo>
                    <a:pt x="623" y="326"/>
                  </a:lnTo>
                  <a:lnTo>
                    <a:pt x="623" y="334"/>
                  </a:lnTo>
                  <a:lnTo>
                    <a:pt x="622" y="340"/>
                  </a:lnTo>
                  <a:lnTo>
                    <a:pt x="622" y="344"/>
                  </a:lnTo>
                  <a:lnTo>
                    <a:pt x="620" y="347"/>
                  </a:lnTo>
                  <a:lnTo>
                    <a:pt x="618" y="353"/>
                  </a:lnTo>
                  <a:lnTo>
                    <a:pt x="617" y="363"/>
                  </a:lnTo>
                  <a:lnTo>
                    <a:pt x="618" y="372"/>
                  </a:lnTo>
                  <a:lnTo>
                    <a:pt x="618" y="381"/>
                  </a:lnTo>
                  <a:lnTo>
                    <a:pt x="620" y="391"/>
                  </a:lnTo>
                  <a:lnTo>
                    <a:pt x="622" y="399"/>
                  </a:lnTo>
                  <a:lnTo>
                    <a:pt x="624" y="408"/>
                  </a:lnTo>
                  <a:lnTo>
                    <a:pt x="629" y="416"/>
                  </a:lnTo>
                  <a:lnTo>
                    <a:pt x="632" y="423"/>
                  </a:lnTo>
                  <a:lnTo>
                    <a:pt x="638" y="430"/>
                  </a:lnTo>
                  <a:lnTo>
                    <a:pt x="622" y="444"/>
                  </a:lnTo>
                  <a:lnTo>
                    <a:pt x="608" y="457"/>
                  </a:lnTo>
                  <a:lnTo>
                    <a:pt x="593" y="469"/>
                  </a:lnTo>
                  <a:lnTo>
                    <a:pt x="577" y="480"/>
                  </a:lnTo>
                  <a:lnTo>
                    <a:pt x="569" y="484"/>
                  </a:lnTo>
                  <a:lnTo>
                    <a:pt x="561" y="487"/>
                  </a:lnTo>
                  <a:lnTo>
                    <a:pt x="551" y="489"/>
                  </a:lnTo>
                  <a:lnTo>
                    <a:pt x="542" y="489"/>
                  </a:lnTo>
                  <a:lnTo>
                    <a:pt x="532" y="488"/>
                  </a:lnTo>
                  <a:lnTo>
                    <a:pt x="521" y="485"/>
                  </a:lnTo>
                  <a:lnTo>
                    <a:pt x="509" y="481"/>
                  </a:lnTo>
                  <a:lnTo>
                    <a:pt x="497" y="474"/>
                  </a:lnTo>
                  <a:lnTo>
                    <a:pt x="487" y="466"/>
                  </a:lnTo>
                  <a:lnTo>
                    <a:pt x="477" y="460"/>
                  </a:lnTo>
                  <a:lnTo>
                    <a:pt x="473" y="458"/>
                  </a:lnTo>
                  <a:lnTo>
                    <a:pt x="467" y="457"/>
                  </a:lnTo>
                  <a:lnTo>
                    <a:pt x="463" y="456"/>
                  </a:lnTo>
                  <a:lnTo>
                    <a:pt x="457" y="456"/>
                  </a:lnTo>
                  <a:lnTo>
                    <a:pt x="450" y="456"/>
                  </a:lnTo>
                  <a:lnTo>
                    <a:pt x="443" y="457"/>
                  </a:lnTo>
                  <a:lnTo>
                    <a:pt x="436" y="459"/>
                  </a:lnTo>
                  <a:lnTo>
                    <a:pt x="429" y="462"/>
                  </a:lnTo>
                  <a:lnTo>
                    <a:pt x="423" y="465"/>
                  </a:lnTo>
                  <a:lnTo>
                    <a:pt x="417" y="468"/>
                  </a:lnTo>
                  <a:lnTo>
                    <a:pt x="411" y="472"/>
                  </a:lnTo>
                  <a:lnTo>
                    <a:pt x="406" y="477"/>
                  </a:lnTo>
                  <a:lnTo>
                    <a:pt x="397" y="486"/>
                  </a:lnTo>
                  <a:lnTo>
                    <a:pt x="390" y="496"/>
                  </a:lnTo>
                  <a:lnTo>
                    <a:pt x="388" y="503"/>
                  </a:lnTo>
                  <a:lnTo>
                    <a:pt x="386" y="508"/>
                  </a:lnTo>
                  <a:lnTo>
                    <a:pt x="385" y="512"/>
                  </a:lnTo>
                  <a:lnTo>
                    <a:pt x="385" y="517"/>
                  </a:lnTo>
                  <a:lnTo>
                    <a:pt x="364" y="518"/>
                  </a:lnTo>
                  <a:lnTo>
                    <a:pt x="343" y="517"/>
                  </a:lnTo>
                  <a:lnTo>
                    <a:pt x="333" y="515"/>
                  </a:lnTo>
                  <a:lnTo>
                    <a:pt x="325" y="512"/>
                  </a:lnTo>
                  <a:lnTo>
                    <a:pt x="321" y="510"/>
                  </a:lnTo>
                  <a:lnTo>
                    <a:pt x="317" y="507"/>
                  </a:lnTo>
                  <a:lnTo>
                    <a:pt x="314" y="503"/>
                  </a:lnTo>
                  <a:lnTo>
                    <a:pt x="311" y="499"/>
                  </a:lnTo>
                  <a:lnTo>
                    <a:pt x="307" y="500"/>
                  </a:lnTo>
                  <a:lnTo>
                    <a:pt x="303" y="502"/>
                  </a:lnTo>
                  <a:lnTo>
                    <a:pt x="299" y="505"/>
                  </a:lnTo>
                  <a:lnTo>
                    <a:pt x="296" y="508"/>
                  </a:lnTo>
                  <a:lnTo>
                    <a:pt x="293" y="511"/>
                  </a:lnTo>
                  <a:lnTo>
                    <a:pt x="289" y="514"/>
                  </a:lnTo>
                  <a:lnTo>
                    <a:pt x="287" y="516"/>
                  </a:lnTo>
                  <a:lnTo>
                    <a:pt x="285" y="517"/>
                  </a:lnTo>
                  <a:lnTo>
                    <a:pt x="277" y="517"/>
                  </a:lnTo>
                  <a:lnTo>
                    <a:pt x="268" y="516"/>
                  </a:lnTo>
                  <a:lnTo>
                    <a:pt x="259" y="514"/>
                  </a:lnTo>
                  <a:lnTo>
                    <a:pt x="248" y="512"/>
                  </a:lnTo>
                  <a:lnTo>
                    <a:pt x="227" y="506"/>
                  </a:lnTo>
                  <a:lnTo>
                    <a:pt x="205" y="496"/>
                  </a:lnTo>
                  <a:lnTo>
                    <a:pt x="195" y="492"/>
                  </a:lnTo>
                  <a:lnTo>
                    <a:pt x="185" y="487"/>
                  </a:lnTo>
                  <a:lnTo>
                    <a:pt x="175" y="481"/>
                  </a:lnTo>
                  <a:lnTo>
                    <a:pt x="168" y="475"/>
                  </a:lnTo>
                  <a:lnTo>
                    <a:pt x="160" y="469"/>
                  </a:lnTo>
                  <a:lnTo>
                    <a:pt x="153" y="463"/>
                  </a:lnTo>
                  <a:lnTo>
                    <a:pt x="149" y="456"/>
                  </a:lnTo>
                  <a:lnTo>
                    <a:pt x="146" y="45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901" name="Freeform 460"/>
            <p:cNvSpPr>
              <a:spLocks/>
            </p:cNvSpPr>
            <p:nvPr>
              <p:custDataLst>
                <p:tags r:id="rId293"/>
              </p:custDataLst>
            </p:nvPr>
          </p:nvSpPr>
          <p:spPr bwMode="auto">
            <a:xfrm>
              <a:off x="6681759" y="2446940"/>
              <a:ext cx="179796" cy="99132"/>
            </a:xfrm>
            <a:custGeom>
              <a:avLst/>
              <a:gdLst>
                <a:gd name="T0" fmla="*/ 142243 w 352"/>
                <a:gd name="T1" fmla="*/ 49098 h 153"/>
                <a:gd name="T2" fmla="*/ 150812 w 352"/>
                <a:gd name="T3" fmla="*/ 82550 h 153"/>
                <a:gd name="T4" fmla="*/ 139672 w 352"/>
                <a:gd name="T5" fmla="*/ 76075 h 153"/>
                <a:gd name="T6" fmla="*/ 128105 w 352"/>
                <a:gd name="T7" fmla="*/ 69601 h 153"/>
                <a:gd name="T8" fmla="*/ 113966 w 352"/>
                <a:gd name="T9" fmla="*/ 76075 h 153"/>
                <a:gd name="T10" fmla="*/ 99399 w 352"/>
                <a:gd name="T11" fmla="*/ 76075 h 153"/>
                <a:gd name="T12" fmla="*/ 97257 w 352"/>
                <a:gd name="T13" fmla="*/ 72838 h 153"/>
                <a:gd name="T14" fmla="*/ 96828 w 352"/>
                <a:gd name="T15" fmla="*/ 72838 h 153"/>
                <a:gd name="T16" fmla="*/ 93829 w 352"/>
                <a:gd name="T17" fmla="*/ 69601 h 153"/>
                <a:gd name="T18" fmla="*/ 91258 w 352"/>
                <a:gd name="T19" fmla="*/ 67443 h 153"/>
                <a:gd name="T20" fmla="*/ 87831 w 352"/>
                <a:gd name="T21" fmla="*/ 65285 h 153"/>
                <a:gd name="T22" fmla="*/ 84403 w 352"/>
                <a:gd name="T23" fmla="*/ 63666 h 153"/>
                <a:gd name="T24" fmla="*/ 77548 w 352"/>
                <a:gd name="T25" fmla="*/ 60968 h 153"/>
                <a:gd name="T26" fmla="*/ 69836 w 352"/>
                <a:gd name="T27" fmla="*/ 59350 h 153"/>
                <a:gd name="T28" fmla="*/ 53984 w 352"/>
                <a:gd name="T29" fmla="*/ 57731 h 153"/>
                <a:gd name="T30" fmla="*/ 36846 w 352"/>
                <a:gd name="T31" fmla="*/ 56112 h 153"/>
                <a:gd name="T32" fmla="*/ 36418 w 352"/>
                <a:gd name="T33" fmla="*/ 50717 h 153"/>
                <a:gd name="T34" fmla="*/ 35132 w 352"/>
                <a:gd name="T35" fmla="*/ 45322 h 153"/>
                <a:gd name="T36" fmla="*/ 34275 w 352"/>
                <a:gd name="T37" fmla="*/ 40466 h 153"/>
                <a:gd name="T38" fmla="*/ 32133 w 352"/>
                <a:gd name="T39" fmla="*/ 36149 h 153"/>
                <a:gd name="T40" fmla="*/ 30419 w 352"/>
                <a:gd name="T41" fmla="*/ 31833 h 153"/>
                <a:gd name="T42" fmla="*/ 28706 w 352"/>
                <a:gd name="T43" fmla="*/ 28056 h 153"/>
                <a:gd name="T44" fmla="*/ 26135 w 352"/>
                <a:gd name="T45" fmla="*/ 23740 h 153"/>
                <a:gd name="T46" fmla="*/ 23993 w 352"/>
                <a:gd name="T47" fmla="*/ 19963 h 153"/>
                <a:gd name="T48" fmla="*/ 18852 w 352"/>
                <a:gd name="T49" fmla="*/ 14028 h 153"/>
                <a:gd name="T50" fmla="*/ 12425 w 352"/>
                <a:gd name="T51" fmla="*/ 8633 h 153"/>
                <a:gd name="T52" fmla="*/ 6427 w 352"/>
                <a:gd name="T53" fmla="*/ 3777 h 153"/>
                <a:gd name="T54" fmla="*/ 0 w 352"/>
                <a:gd name="T55" fmla="*/ 0 h 153"/>
                <a:gd name="T56" fmla="*/ 2999 w 352"/>
                <a:gd name="T57" fmla="*/ 0 h 153"/>
                <a:gd name="T58" fmla="*/ 25707 w 352"/>
                <a:gd name="T59" fmla="*/ 9712 h 153"/>
                <a:gd name="T60" fmla="*/ 45415 w 352"/>
                <a:gd name="T61" fmla="*/ 16186 h 153"/>
                <a:gd name="T62" fmla="*/ 57411 w 352"/>
                <a:gd name="T63" fmla="*/ 9712 h 153"/>
                <a:gd name="T64" fmla="*/ 77120 w 352"/>
                <a:gd name="T65" fmla="*/ 19424 h 153"/>
                <a:gd name="T66" fmla="*/ 88259 w 352"/>
                <a:gd name="T67" fmla="*/ 29675 h 153"/>
                <a:gd name="T68" fmla="*/ 105397 w 352"/>
                <a:gd name="T69" fmla="*/ 26438 h 153"/>
                <a:gd name="T70" fmla="*/ 122535 w 352"/>
                <a:gd name="T71" fmla="*/ 32912 h 153"/>
                <a:gd name="T72" fmla="*/ 134103 w 352"/>
                <a:gd name="T73" fmla="*/ 42624 h 153"/>
                <a:gd name="T74" fmla="*/ 142243 w 352"/>
                <a:gd name="T75" fmla="*/ 49098 h 15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352" h="153">
                  <a:moveTo>
                    <a:pt x="332" y="91"/>
                  </a:moveTo>
                  <a:lnTo>
                    <a:pt x="352" y="153"/>
                  </a:lnTo>
                  <a:lnTo>
                    <a:pt x="326" y="141"/>
                  </a:lnTo>
                  <a:lnTo>
                    <a:pt x="299" y="129"/>
                  </a:lnTo>
                  <a:lnTo>
                    <a:pt x="266" y="141"/>
                  </a:lnTo>
                  <a:lnTo>
                    <a:pt x="232" y="141"/>
                  </a:lnTo>
                  <a:lnTo>
                    <a:pt x="227" y="135"/>
                  </a:lnTo>
                  <a:lnTo>
                    <a:pt x="226" y="135"/>
                  </a:lnTo>
                  <a:lnTo>
                    <a:pt x="219" y="129"/>
                  </a:lnTo>
                  <a:lnTo>
                    <a:pt x="213" y="125"/>
                  </a:lnTo>
                  <a:lnTo>
                    <a:pt x="205" y="121"/>
                  </a:lnTo>
                  <a:lnTo>
                    <a:pt x="197" y="118"/>
                  </a:lnTo>
                  <a:lnTo>
                    <a:pt x="181" y="113"/>
                  </a:lnTo>
                  <a:lnTo>
                    <a:pt x="163" y="110"/>
                  </a:lnTo>
                  <a:lnTo>
                    <a:pt x="126" y="107"/>
                  </a:lnTo>
                  <a:lnTo>
                    <a:pt x="86" y="104"/>
                  </a:lnTo>
                  <a:lnTo>
                    <a:pt x="85" y="94"/>
                  </a:lnTo>
                  <a:lnTo>
                    <a:pt x="82" y="84"/>
                  </a:lnTo>
                  <a:lnTo>
                    <a:pt x="80" y="75"/>
                  </a:lnTo>
                  <a:lnTo>
                    <a:pt x="75" y="67"/>
                  </a:lnTo>
                  <a:lnTo>
                    <a:pt x="71" y="59"/>
                  </a:lnTo>
                  <a:lnTo>
                    <a:pt x="67" y="52"/>
                  </a:lnTo>
                  <a:lnTo>
                    <a:pt x="61" y="44"/>
                  </a:lnTo>
                  <a:lnTo>
                    <a:pt x="56" y="37"/>
                  </a:lnTo>
                  <a:lnTo>
                    <a:pt x="44" y="26"/>
                  </a:lnTo>
                  <a:lnTo>
                    <a:pt x="29" y="16"/>
                  </a:lnTo>
                  <a:lnTo>
                    <a:pt x="15" y="7"/>
                  </a:lnTo>
                  <a:lnTo>
                    <a:pt x="0" y="0"/>
                  </a:lnTo>
                  <a:lnTo>
                    <a:pt x="7" y="0"/>
                  </a:lnTo>
                  <a:lnTo>
                    <a:pt x="60" y="18"/>
                  </a:lnTo>
                  <a:lnTo>
                    <a:pt x="106" y="30"/>
                  </a:lnTo>
                  <a:lnTo>
                    <a:pt x="134" y="18"/>
                  </a:lnTo>
                  <a:lnTo>
                    <a:pt x="180" y="36"/>
                  </a:lnTo>
                  <a:lnTo>
                    <a:pt x="206" y="55"/>
                  </a:lnTo>
                  <a:lnTo>
                    <a:pt x="246" y="49"/>
                  </a:lnTo>
                  <a:lnTo>
                    <a:pt x="286" y="61"/>
                  </a:lnTo>
                  <a:lnTo>
                    <a:pt x="313" y="79"/>
                  </a:lnTo>
                  <a:lnTo>
                    <a:pt x="332" y="9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902" name="Freeform 461"/>
            <p:cNvSpPr>
              <a:spLocks/>
            </p:cNvSpPr>
            <p:nvPr>
              <p:custDataLst>
                <p:tags r:id="rId294"/>
              </p:custDataLst>
            </p:nvPr>
          </p:nvSpPr>
          <p:spPr bwMode="auto">
            <a:xfrm>
              <a:off x="6144261" y="2519383"/>
              <a:ext cx="176011" cy="207796"/>
            </a:xfrm>
            <a:custGeom>
              <a:avLst/>
              <a:gdLst>
                <a:gd name="T0" fmla="*/ 102588 w 331"/>
                <a:gd name="T1" fmla="*/ 21167 h 327"/>
                <a:gd name="T2" fmla="*/ 86084 w 331"/>
                <a:gd name="T3" fmla="*/ 29633 h 327"/>
                <a:gd name="T4" fmla="*/ 81178 w 331"/>
                <a:gd name="T5" fmla="*/ 35454 h 327"/>
                <a:gd name="T6" fmla="*/ 80732 w 331"/>
                <a:gd name="T7" fmla="*/ 42863 h 327"/>
                <a:gd name="T8" fmla="*/ 82070 w 331"/>
                <a:gd name="T9" fmla="*/ 49742 h 327"/>
                <a:gd name="T10" fmla="*/ 78948 w 331"/>
                <a:gd name="T11" fmla="*/ 53975 h 327"/>
                <a:gd name="T12" fmla="*/ 74934 w 331"/>
                <a:gd name="T13" fmla="*/ 55563 h 327"/>
                <a:gd name="T14" fmla="*/ 71365 w 331"/>
                <a:gd name="T15" fmla="*/ 51858 h 327"/>
                <a:gd name="T16" fmla="*/ 66459 w 331"/>
                <a:gd name="T17" fmla="*/ 44979 h 327"/>
                <a:gd name="T18" fmla="*/ 56200 w 331"/>
                <a:gd name="T19" fmla="*/ 39158 h 327"/>
                <a:gd name="T20" fmla="*/ 56646 w 331"/>
                <a:gd name="T21" fmla="*/ 50800 h 327"/>
                <a:gd name="T22" fmla="*/ 61999 w 331"/>
                <a:gd name="T23" fmla="*/ 61384 h 327"/>
                <a:gd name="T24" fmla="*/ 68689 w 331"/>
                <a:gd name="T25" fmla="*/ 68263 h 327"/>
                <a:gd name="T26" fmla="*/ 70919 w 331"/>
                <a:gd name="T27" fmla="*/ 68792 h 327"/>
                <a:gd name="T28" fmla="*/ 70919 w 331"/>
                <a:gd name="T29" fmla="*/ 93663 h 327"/>
                <a:gd name="T30" fmla="*/ 70919 w 331"/>
                <a:gd name="T31" fmla="*/ 125413 h 327"/>
                <a:gd name="T32" fmla="*/ 69581 w 331"/>
                <a:gd name="T33" fmla="*/ 132821 h 327"/>
                <a:gd name="T34" fmla="*/ 65567 w 331"/>
                <a:gd name="T35" fmla="*/ 137055 h 327"/>
                <a:gd name="T36" fmla="*/ 64675 w 331"/>
                <a:gd name="T37" fmla="*/ 139700 h 327"/>
                <a:gd name="T38" fmla="*/ 72257 w 331"/>
                <a:gd name="T39" fmla="*/ 146050 h 327"/>
                <a:gd name="T40" fmla="*/ 74488 w 331"/>
                <a:gd name="T41" fmla="*/ 151342 h 327"/>
                <a:gd name="T42" fmla="*/ 69135 w 331"/>
                <a:gd name="T43" fmla="*/ 156105 h 327"/>
                <a:gd name="T44" fmla="*/ 62445 w 331"/>
                <a:gd name="T45" fmla="*/ 157163 h 327"/>
                <a:gd name="T46" fmla="*/ 57984 w 331"/>
                <a:gd name="T47" fmla="*/ 162455 h 327"/>
                <a:gd name="T48" fmla="*/ 56200 w 331"/>
                <a:gd name="T49" fmla="*/ 169863 h 327"/>
                <a:gd name="T50" fmla="*/ 53970 w 331"/>
                <a:gd name="T51" fmla="*/ 158750 h 327"/>
                <a:gd name="T52" fmla="*/ 55308 w 331"/>
                <a:gd name="T53" fmla="*/ 152400 h 327"/>
                <a:gd name="T54" fmla="*/ 48618 w 331"/>
                <a:gd name="T55" fmla="*/ 151342 h 327"/>
                <a:gd name="T56" fmla="*/ 41481 w 331"/>
                <a:gd name="T57" fmla="*/ 154517 h 327"/>
                <a:gd name="T58" fmla="*/ 35237 w 331"/>
                <a:gd name="T59" fmla="*/ 156634 h 327"/>
                <a:gd name="T60" fmla="*/ 32560 w 331"/>
                <a:gd name="T61" fmla="*/ 128059 h 327"/>
                <a:gd name="T62" fmla="*/ 35237 w 331"/>
                <a:gd name="T63" fmla="*/ 114300 h 327"/>
                <a:gd name="T64" fmla="*/ 21410 w 331"/>
                <a:gd name="T65" fmla="*/ 111654 h 327"/>
                <a:gd name="T66" fmla="*/ 12489 w 331"/>
                <a:gd name="T67" fmla="*/ 104775 h 327"/>
                <a:gd name="T68" fmla="*/ 5798 w 331"/>
                <a:gd name="T69" fmla="*/ 91546 h 327"/>
                <a:gd name="T70" fmla="*/ 0 w 331"/>
                <a:gd name="T71" fmla="*/ 68792 h 327"/>
                <a:gd name="T72" fmla="*/ 12489 w 331"/>
                <a:gd name="T73" fmla="*/ 58738 h 327"/>
                <a:gd name="T74" fmla="*/ 22302 w 331"/>
                <a:gd name="T75" fmla="*/ 42863 h 327"/>
                <a:gd name="T76" fmla="*/ 32560 w 331"/>
                <a:gd name="T77" fmla="*/ 29104 h 327"/>
                <a:gd name="T78" fmla="*/ 51294 w 331"/>
                <a:gd name="T79" fmla="*/ 21696 h 327"/>
                <a:gd name="T80" fmla="*/ 80286 w 331"/>
                <a:gd name="T81" fmla="*/ 7408 h 327"/>
                <a:gd name="T82" fmla="*/ 97235 w 331"/>
                <a:gd name="T83" fmla="*/ 3704 h 327"/>
                <a:gd name="T84" fmla="*/ 111062 w 331"/>
                <a:gd name="T85" fmla="*/ 7408 h 327"/>
                <a:gd name="T86" fmla="*/ 120875 w 331"/>
                <a:gd name="T87" fmla="*/ 14288 h 327"/>
                <a:gd name="T88" fmla="*/ 130242 w 331"/>
                <a:gd name="T89" fmla="*/ 15875 h 327"/>
                <a:gd name="T90" fmla="*/ 136932 w 331"/>
                <a:gd name="T91" fmla="*/ 10583 h 327"/>
                <a:gd name="T92" fmla="*/ 145853 w 331"/>
                <a:gd name="T93" fmla="*/ 3175 h 327"/>
                <a:gd name="T94" fmla="*/ 147191 w 331"/>
                <a:gd name="T95" fmla="*/ 16933 h 32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31" h="327">
                  <a:moveTo>
                    <a:pt x="331" y="56"/>
                  </a:moveTo>
                  <a:lnTo>
                    <a:pt x="245" y="37"/>
                  </a:lnTo>
                  <a:lnTo>
                    <a:pt x="230" y="40"/>
                  </a:lnTo>
                  <a:lnTo>
                    <a:pt x="216" y="44"/>
                  </a:lnTo>
                  <a:lnTo>
                    <a:pt x="204" y="50"/>
                  </a:lnTo>
                  <a:lnTo>
                    <a:pt x="193" y="56"/>
                  </a:lnTo>
                  <a:lnTo>
                    <a:pt x="189" y="59"/>
                  </a:lnTo>
                  <a:lnTo>
                    <a:pt x="185" y="63"/>
                  </a:lnTo>
                  <a:lnTo>
                    <a:pt x="182" y="67"/>
                  </a:lnTo>
                  <a:lnTo>
                    <a:pt x="181" y="72"/>
                  </a:lnTo>
                  <a:lnTo>
                    <a:pt x="180" y="77"/>
                  </a:lnTo>
                  <a:lnTo>
                    <a:pt x="181" y="81"/>
                  </a:lnTo>
                  <a:lnTo>
                    <a:pt x="182" y="87"/>
                  </a:lnTo>
                  <a:lnTo>
                    <a:pt x="185" y="92"/>
                  </a:lnTo>
                  <a:lnTo>
                    <a:pt x="184" y="94"/>
                  </a:lnTo>
                  <a:lnTo>
                    <a:pt x="181" y="98"/>
                  </a:lnTo>
                  <a:lnTo>
                    <a:pt x="179" y="101"/>
                  </a:lnTo>
                  <a:lnTo>
                    <a:pt x="177" y="102"/>
                  </a:lnTo>
                  <a:lnTo>
                    <a:pt x="174" y="105"/>
                  </a:lnTo>
                  <a:lnTo>
                    <a:pt x="172" y="105"/>
                  </a:lnTo>
                  <a:lnTo>
                    <a:pt x="168" y="105"/>
                  </a:lnTo>
                  <a:lnTo>
                    <a:pt x="165" y="102"/>
                  </a:lnTo>
                  <a:lnTo>
                    <a:pt x="162" y="100"/>
                  </a:lnTo>
                  <a:lnTo>
                    <a:pt x="160" y="98"/>
                  </a:lnTo>
                  <a:lnTo>
                    <a:pt x="159" y="92"/>
                  </a:lnTo>
                  <a:lnTo>
                    <a:pt x="159" y="86"/>
                  </a:lnTo>
                  <a:lnTo>
                    <a:pt x="149" y="85"/>
                  </a:lnTo>
                  <a:lnTo>
                    <a:pt x="139" y="82"/>
                  </a:lnTo>
                  <a:lnTo>
                    <a:pt x="132" y="79"/>
                  </a:lnTo>
                  <a:lnTo>
                    <a:pt x="126" y="74"/>
                  </a:lnTo>
                  <a:lnTo>
                    <a:pt x="126" y="83"/>
                  </a:lnTo>
                  <a:lnTo>
                    <a:pt x="126" y="92"/>
                  </a:lnTo>
                  <a:lnTo>
                    <a:pt x="127" y="96"/>
                  </a:lnTo>
                  <a:lnTo>
                    <a:pt x="129" y="101"/>
                  </a:lnTo>
                  <a:lnTo>
                    <a:pt x="135" y="109"/>
                  </a:lnTo>
                  <a:lnTo>
                    <a:pt x="139" y="116"/>
                  </a:lnTo>
                  <a:lnTo>
                    <a:pt x="146" y="122"/>
                  </a:lnTo>
                  <a:lnTo>
                    <a:pt x="151" y="127"/>
                  </a:lnTo>
                  <a:lnTo>
                    <a:pt x="154" y="129"/>
                  </a:lnTo>
                  <a:lnTo>
                    <a:pt x="156" y="130"/>
                  </a:lnTo>
                  <a:lnTo>
                    <a:pt x="157" y="130"/>
                  </a:lnTo>
                  <a:lnTo>
                    <a:pt x="159" y="130"/>
                  </a:lnTo>
                  <a:lnTo>
                    <a:pt x="159" y="147"/>
                  </a:lnTo>
                  <a:lnTo>
                    <a:pt x="159" y="163"/>
                  </a:lnTo>
                  <a:lnTo>
                    <a:pt x="159" y="177"/>
                  </a:lnTo>
                  <a:lnTo>
                    <a:pt x="159" y="191"/>
                  </a:lnTo>
                  <a:lnTo>
                    <a:pt x="159" y="213"/>
                  </a:lnTo>
                  <a:lnTo>
                    <a:pt x="159" y="237"/>
                  </a:lnTo>
                  <a:lnTo>
                    <a:pt x="158" y="242"/>
                  </a:lnTo>
                  <a:lnTo>
                    <a:pt x="157" y="247"/>
                  </a:lnTo>
                  <a:lnTo>
                    <a:pt x="156" y="251"/>
                  </a:lnTo>
                  <a:lnTo>
                    <a:pt x="154" y="254"/>
                  </a:lnTo>
                  <a:lnTo>
                    <a:pt x="150" y="257"/>
                  </a:lnTo>
                  <a:lnTo>
                    <a:pt x="147" y="259"/>
                  </a:lnTo>
                  <a:lnTo>
                    <a:pt x="144" y="259"/>
                  </a:lnTo>
                  <a:lnTo>
                    <a:pt x="139" y="259"/>
                  </a:lnTo>
                  <a:lnTo>
                    <a:pt x="145" y="264"/>
                  </a:lnTo>
                  <a:lnTo>
                    <a:pt x="154" y="270"/>
                  </a:lnTo>
                  <a:lnTo>
                    <a:pt x="158" y="274"/>
                  </a:lnTo>
                  <a:lnTo>
                    <a:pt x="162" y="276"/>
                  </a:lnTo>
                  <a:lnTo>
                    <a:pt x="167" y="277"/>
                  </a:lnTo>
                  <a:lnTo>
                    <a:pt x="172" y="278"/>
                  </a:lnTo>
                  <a:lnTo>
                    <a:pt x="167" y="286"/>
                  </a:lnTo>
                  <a:lnTo>
                    <a:pt x="161" y="291"/>
                  </a:lnTo>
                  <a:lnTo>
                    <a:pt x="158" y="293"/>
                  </a:lnTo>
                  <a:lnTo>
                    <a:pt x="155" y="295"/>
                  </a:lnTo>
                  <a:lnTo>
                    <a:pt x="150" y="296"/>
                  </a:lnTo>
                  <a:lnTo>
                    <a:pt x="146" y="296"/>
                  </a:lnTo>
                  <a:lnTo>
                    <a:pt x="140" y="297"/>
                  </a:lnTo>
                  <a:lnTo>
                    <a:pt x="137" y="299"/>
                  </a:lnTo>
                  <a:lnTo>
                    <a:pt x="134" y="302"/>
                  </a:lnTo>
                  <a:lnTo>
                    <a:pt x="130" y="307"/>
                  </a:lnTo>
                  <a:lnTo>
                    <a:pt x="128" y="311"/>
                  </a:lnTo>
                  <a:lnTo>
                    <a:pt x="127" y="316"/>
                  </a:lnTo>
                  <a:lnTo>
                    <a:pt x="126" y="321"/>
                  </a:lnTo>
                  <a:lnTo>
                    <a:pt x="126" y="327"/>
                  </a:lnTo>
                  <a:lnTo>
                    <a:pt x="122" y="311"/>
                  </a:lnTo>
                  <a:lnTo>
                    <a:pt x="121" y="300"/>
                  </a:lnTo>
                  <a:lnTo>
                    <a:pt x="121" y="296"/>
                  </a:lnTo>
                  <a:lnTo>
                    <a:pt x="122" y="292"/>
                  </a:lnTo>
                  <a:lnTo>
                    <a:pt x="124" y="288"/>
                  </a:lnTo>
                  <a:lnTo>
                    <a:pt x="126" y="284"/>
                  </a:lnTo>
                  <a:lnTo>
                    <a:pt x="116" y="284"/>
                  </a:lnTo>
                  <a:lnTo>
                    <a:pt x="109" y="286"/>
                  </a:lnTo>
                  <a:lnTo>
                    <a:pt x="103" y="288"/>
                  </a:lnTo>
                  <a:lnTo>
                    <a:pt x="98" y="290"/>
                  </a:lnTo>
                  <a:lnTo>
                    <a:pt x="93" y="292"/>
                  </a:lnTo>
                  <a:lnTo>
                    <a:pt x="89" y="294"/>
                  </a:lnTo>
                  <a:lnTo>
                    <a:pt x="83" y="295"/>
                  </a:lnTo>
                  <a:lnTo>
                    <a:pt x="79" y="296"/>
                  </a:lnTo>
                  <a:lnTo>
                    <a:pt x="78" y="272"/>
                  </a:lnTo>
                  <a:lnTo>
                    <a:pt x="74" y="251"/>
                  </a:lnTo>
                  <a:lnTo>
                    <a:pt x="73" y="242"/>
                  </a:lnTo>
                  <a:lnTo>
                    <a:pt x="73" y="234"/>
                  </a:lnTo>
                  <a:lnTo>
                    <a:pt x="76" y="225"/>
                  </a:lnTo>
                  <a:lnTo>
                    <a:pt x="79" y="216"/>
                  </a:lnTo>
                  <a:lnTo>
                    <a:pt x="68" y="216"/>
                  </a:lnTo>
                  <a:lnTo>
                    <a:pt x="57" y="213"/>
                  </a:lnTo>
                  <a:lnTo>
                    <a:pt x="48" y="211"/>
                  </a:lnTo>
                  <a:lnTo>
                    <a:pt x="40" y="207"/>
                  </a:lnTo>
                  <a:lnTo>
                    <a:pt x="34" y="203"/>
                  </a:lnTo>
                  <a:lnTo>
                    <a:pt x="28" y="198"/>
                  </a:lnTo>
                  <a:lnTo>
                    <a:pt x="23" y="193"/>
                  </a:lnTo>
                  <a:lnTo>
                    <a:pt x="20" y="187"/>
                  </a:lnTo>
                  <a:lnTo>
                    <a:pt x="13" y="173"/>
                  </a:lnTo>
                  <a:lnTo>
                    <a:pt x="9" y="158"/>
                  </a:lnTo>
                  <a:lnTo>
                    <a:pt x="4" y="144"/>
                  </a:lnTo>
                  <a:lnTo>
                    <a:pt x="0" y="130"/>
                  </a:lnTo>
                  <a:lnTo>
                    <a:pt x="10" y="124"/>
                  </a:lnTo>
                  <a:lnTo>
                    <a:pt x="19" y="118"/>
                  </a:lnTo>
                  <a:lnTo>
                    <a:pt x="28" y="111"/>
                  </a:lnTo>
                  <a:lnTo>
                    <a:pt x="37" y="101"/>
                  </a:lnTo>
                  <a:lnTo>
                    <a:pt x="45" y="92"/>
                  </a:lnTo>
                  <a:lnTo>
                    <a:pt x="50" y="81"/>
                  </a:lnTo>
                  <a:lnTo>
                    <a:pt x="56" y="69"/>
                  </a:lnTo>
                  <a:lnTo>
                    <a:pt x="59" y="56"/>
                  </a:lnTo>
                  <a:lnTo>
                    <a:pt x="73" y="55"/>
                  </a:lnTo>
                  <a:lnTo>
                    <a:pt x="88" y="52"/>
                  </a:lnTo>
                  <a:lnTo>
                    <a:pt x="102" y="47"/>
                  </a:lnTo>
                  <a:lnTo>
                    <a:pt x="115" y="41"/>
                  </a:lnTo>
                  <a:lnTo>
                    <a:pt x="140" y="29"/>
                  </a:lnTo>
                  <a:lnTo>
                    <a:pt x="166" y="19"/>
                  </a:lnTo>
                  <a:lnTo>
                    <a:pt x="180" y="14"/>
                  </a:lnTo>
                  <a:lnTo>
                    <a:pt x="192" y="10"/>
                  </a:lnTo>
                  <a:lnTo>
                    <a:pt x="205" y="8"/>
                  </a:lnTo>
                  <a:lnTo>
                    <a:pt x="218" y="7"/>
                  </a:lnTo>
                  <a:lnTo>
                    <a:pt x="230" y="8"/>
                  </a:lnTo>
                  <a:lnTo>
                    <a:pt x="240" y="10"/>
                  </a:lnTo>
                  <a:lnTo>
                    <a:pt x="249" y="14"/>
                  </a:lnTo>
                  <a:lnTo>
                    <a:pt x="257" y="19"/>
                  </a:lnTo>
                  <a:lnTo>
                    <a:pt x="264" y="23"/>
                  </a:lnTo>
                  <a:lnTo>
                    <a:pt x="271" y="27"/>
                  </a:lnTo>
                  <a:lnTo>
                    <a:pt x="278" y="30"/>
                  </a:lnTo>
                  <a:lnTo>
                    <a:pt x="285" y="31"/>
                  </a:lnTo>
                  <a:lnTo>
                    <a:pt x="292" y="30"/>
                  </a:lnTo>
                  <a:lnTo>
                    <a:pt x="297" y="28"/>
                  </a:lnTo>
                  <a:lnTo>
                    <a:pt x="303" y="24"/>
                  </a:lnTo>
                  <a:lnTo>
                    <a:pt x="307" y="20"/>
                  </a:lnTo>
                  <a:lnTo>
                    <a:pt x="316" y="10"/>
                  </a:lnTo>
                  <a:lnTo>
                    <a:pt x="325" y="0"/>
                  </a:lnTo>
                  <a:lnTo>
                    <a:pt x="327" y="6"/>
                  </a:lnTo>
                  <a:lnTo>
                    <a:pt x="329" y="14"/>
                  </a:lnTo>
                  <a:lnTo>
                    <a:pt x="330" y="23"/>
                  </a:lnTo>
                  <a:lnTo>
                    <a:pt x="330" y="32"/>
                  </a:lnTo>
                  <a:lnTo>
                    <a:pt x="331" y="49"/>
                  </a:lnTo>
                  <a:lnTo>
                    <a:pt x="331" y="5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903" name="Freeform 462"/>
            <p:cNvSpPr>
              <a:spLocks/>
            </p:cNvSpPr>
            <p:nvPr>
              <p:custDataLst>
                <p:tags r:id="rId295"/>
              </p:custDataLst>
            </p:nvPr>
          </p:nvSpPr>
          <p:spPr bwMode="auto">
            <a:xfrm>
              <a:off x="6244567" y="2750055"/>
              <a:ext cx="83274" cy="68630"/>
            </a:xfrm>
            <a:custGeom>
              <a:avLst/>
              <a:gdLst>
                <a:gd name="T0" fmla="*/ 0 w 153"/>
                <a:gd name="T1" fmla="*/ 0 h 49"/>
                <a:gd name="T2" fmla="*/ 20088 w 153"/>
                <a:gd name="T3" fmla="*/ 2333 h 49"/>
                <a:gd name="T4" fmla="*/ 37892 w 153"/>
                <a:gd name="T5" fmla="*/ 6998 h 49"/>
                <a:gd name="T6" fmla="*/ 47023 w 153"/>
                <a:gd name="T7" fmla="*/ 9331 h 49"/>
                <a:gd name="T8" fmla="*/ 55241 w 153"/>
                <a:gd name="T9" fmla="*/ 8164 h 49"/>
                <a:gd name="T10" fmla="*/ 59350 w 153"/>
                <a:gd name="T11" fmla="*/ 6998 h 49"/>
                <a:gd name="T12" fmla="*/ 62545 w 153"/>
                <a:gd name="T13" fmla="*/ 5832 h 49"/>
                <a:gd name="T14" fmla="*/ 66198 w 153"/>
                <a:gd name="T15" fmla="*/ 3499 h 49"/>
                <a:gd name="T16" fmla="*/ 69850 w 153"/>
                <a:gd name="T17" fmla="*/ 0 h 49"/>
                <a:gd name="T18" fmla="*/ 69850 w 153"/>
                <a:gd name="T19" fmla="*/ 10497 h 49"/>
                <a:gd name="T20" fmla="*/ 69850 w 153"/>
                <a:gd name="T21" fmla="*/ 29158 h 49"/>
                <a:gd name="T22" fmla="*/ 65285 w 153"/>
                <a:gd name="T23" fmla="*/ 36156 h 49"/>
                <a:gd name="T24" fmla="*/ 60719 w 153"/>
                <a:gd name="T25" fmla="*/ 41988 h 49"/>
                <a:gd name="T26" fmla="*/ 56610 w 153"/>
                <a:gd name="T27" fmla="*/ 46653 h 49"/>
                <a:gd name="T28" fmla="*/ 52045 w 153"/>
                <a:gd name="T29" fmla="*/ 51318 h 49"/>
                <a:gd name="T30" fmla="*/ 48393 w 153"/>
                <a:gd name="T31" fmla="*/ 53651 h 49"/>
                <a:gd name="T32" fmla="*/ 45197 w 153"/>
                <a:gd name="T33" fmla="*/ 55984 h 49"/>
                <a:gd name="T34" fmla="*/ 42001 w 153"/>
                <a:gd name="T35" fmla="*/ 57150 h 49"/>
                <a:gd name="T36" fmla="*/ 39719 w 153"/>
                <a:gd name="T37" fmla="*/ 57150 h 49"/>
                <a:gd name="T38" fmla="*/ 32871 w 153"/>
                <a:gd name="T39" fmla="*/ 55984 h 49"/>
                <a:gd name="T40" fmla="*/ 27392 w 153"/>
                <a:gd name="T41" fmla="*/ 53651 h 49"/>
                <a:gd name="T42" fmla="*/ 22827 w 153"/>
                <a:gd name="T43" fmla="*/ 50152 h 49"/>
                <a:gd name="T44" fmla="*/ 18718 w 153"/>
                <a:gd name="T45" fmla="*/ 44320 h 49"/>
                <a:gd name="T46" fmla="*/ 10044 w 153"/>
                <a:gd name="T47" fmla="*/ 33823 h 49"/>
                <a:gd name="T48" fmla="*/ 0 w 153"/>
                <a:gd name="T49" fmla="*/ 22160 h 49"/>
                <a:gd name="T50" fmla="*/ 0 w 153"/>
                <a:gd name="T51" fmla="*/ 0 h 4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53" h="49">
                  <a:moveTo>
                    <a:pt x="0" y="0"/>
                  </a:moveTo>
                  <a:lnTo>
                    <a:pt x="44" y="2"/>
                  </a:lnTo>
                  <a:lnTo>
                    <a:pt x="83" y="6"/>
                  </a:lnTo>
                  <a:lnTo>
                    <a:pt x="103" y="8"/>
                  </a:lnTo>
                  <a:lnTo>
                    <a:pt x="121" y="7"/>
                  </a:lnTo>
                  <a:lnTo>
                    <a:pt x="130" y="6"/>
                  </a:lnTo>
                  <a:lnTo>
                    <a:pt x="137" y="5"/>
                  </a:lnTo>
                  <a:lnTo>
                    <a:pt x="145" y="3"/>
                  </a:lnTo>
                  <a:lnTo>
                    <a:pt x="153" y="0"/>
                  </a:lnTo>
                  <a:lnTo>
                    <a:pt x="153" y="9"/>
                  </a:lnTo>
                  <a:lnTo>
                    <a:pt x="153" y="25"/>
                  </a:lnTo>
                  <a:lnTo>
                    <a:pt x="143" y="31"/>
                  </a:lnTo>
                  <a:lnTo>
                    <a:pt x="133" y="36"/>
                  </a:lnTo>
                  <a:lnTo>
                    <a:pt x="124" y="40"/>
                  </a:lnTo>
                  <a:lnTo>
                    <a:pt x="114" y="44"/>
                  </a:lnTo>
                  <a:lnTo>
                    <a:pt x="106" y="46"/>
                  </a:lnTo>
                  <a:lnTo>
                    <a:pt x="99" y="48"/>
                  </a:lnTo>
                  <a:lnTo>
                    <a:pt x="92" y="49"/>
                  </a:lnTo>
                  <a:lnTo>
                    <a:pt x="87" y="49"/>
                  </a:lnTo>
                  <a:lnTo>
                    <a:pt x="72" y="48"/>
                  </a:lnTo>
                  <a:lnTo>
                    <a:pt x="60" y="46"/>
                  </a:lnTo>
                  <a:lnTo>
                    <a:pt x="50" y="43"/>
                  </a:lnTo>
                  <a:lnTo>
                    <a:pt x="41" y="38"/>
                  </a:lnTo>
                  <a:lnTo>
                    <a:pt x="22" y="2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904" name="Freeform 463"/>
            <p:cNvSpPr>
              <a:spLocks/>
            </p:cNvSpPr>
            <p:nvPr>
              <p:custDataLst>
                <p:tags r:id="rId296"/>
              </p:custDataLst>
            </p:nvPr>
          </p:nvSpPr>
          <p:spPr bwMode="auto">
            <a:xfrm>
              <a:off x="5146860" y="3628895"/>
              <a:ext cx="223327" cy="190638"/>
            </a:xfrm>
            <a:custGeom>
              <a:avLst/>
              <a:gdLst>
                <a:gd name="T0" fmla="*/ 85308 w 426"/>
                <a:gd name="T1" fmla="*/ 8495 h 299"/>
                <a:gd name="T2" fmla="*/ 94982 w 426"/>
                <a:gd name="T3" fmla="*/ 11681 h 299"/>
                <a:gd name="T4" fmla="*/ 101138 w 426"/>
                <a:gd name="T5" fmla="*/ 15397 h 299"/>
                <a:gd name="T6" fmla="*/ 111252 w 426"/>
                <a:gd name="T7" fmla="*/ 18583 h 299"/>
                <a:gd name="T8" fmla="*/ 122685 w 426"/>
                <a:gd name="T9" fmla="*/ 19645 h 299"/>
                <a:gd name="T10" fmla="*/ 131919 w 426"/>
                <a:gd name="T11" fmla="*/ 19645 h 299"/>
                <a:gd name="T12" fmla="*/ 140274 w 426"/>
                <a:gd name="T13" fmla="*/ 18052 h 299"/>
                <a:gd name="T14" fmla="*/ 144671 w 426"/>
                <a:gd name="T15" fmla="*/ 15397 h 299"/>
                <a:gd name="T16" fmla="*/ 160501 w 426"/>
                <a:gd name="T17" fmla="*/ 13273 h 299"/>
                <a:gd name="T18" fmla="*/ 163580 w 426"/>
                <a:gd name="T19" fmla="*/ 26016 h 299"/>
                <a:gd name="T20" fmla="*/ 168417 w 426"/>
                <a:gd name="T21" fmla="*/ 39289 h 299"/>
                <a:gd name="T22" fmla="*/ 171934 w 426"/>
                <a:gd name="T23" fmla="*/ 44599 h 299"/>
                <a:gd name="T24" fmla="*/ 175892 w 426"/>
                <a:gd name="T25" fmla="*/ 48846 h 299"/>
                <a:gd name="T26" fmla="*/ 181169 w 426"/>
                <a:gd name="T27" fmla="*/ 51501 h 299"/>
                <a:gd name="T28" fmla="*/ 186885 w 426"/>
                <a:gd name="T29" fmla="*/ 52563 h 299"/>
                <a:gd name="T30" fmla="*/ 186885 w 426"/>
                <a:gd name="T31" fmla="*/ 63712 h 299"/>
                <a:gd name="T32" fmla="*/ 186885 w 426"/>
                <a:gd name="T33" fmla="*/ 75393 h 299"/>
                <a:gd name="T34" fmla="*/ 182928 w 426"/>
                <a:gd name="T35" fmla="*/ 83888 h 299"/>
                <a:gd name="T36" fmla="*/ 181169 w 426"/>
                <a:gd name="T37" fmla="*/ 90259 h 299"/>
                <a:gd name="T38" fmla="*/ 181169 w 426"/>
                <a:gd name="T39" fmla="*/ 96099 h 299"/>
                <a:gd name="T40" fmla="*/ 182488 w 426"/>
                <a:gd name="T41" fmla="*/ 100878 h 299"/>
                <a:gd name="T42" fmla="*/ 186006 w 426"/>
                <a:gd name="T43" fmla="*/ 112028 h 299"/>
                <a:gd name="T44" fmla="*/ 187325 w 426"/>
                <a:gd name="T45" fmla="*/ 119992 h 299"/>
                <a:gd name="T46" fmla="*/ 186885 w 426"/>
                <a:gd name="T47" fmla="*/ 131141 h 299"/>
                <a:gd name="T48" fmla="*/ 187325 w 426"/>
                <a:gd name="T49" fmla="*/ 145477 h 299"/>
                <a:gd name="T50" fmla="*/ 186006 w 426"/>
                <a:gd name="T51" fmla="*/ 151317 h 299"/>
                <a:gd name="T52" fmla="*/ 181169 w 426"/>
                <a:gd name="T53" fmla="*/ 157157 h 299"/>
                <a:gd name="T54" fmla="*/ 167097 w 426"/>
                <a:gd name="T55" fmla="*/ 158219 h 299"/>
                <a:gd name="T56" fmla="*/ 162700 w 426"/>
                <a:gd name="T57" fmla="*/ 158750 h 299"/>
                <a:gd name="T58" fmla="*/ 158303 w 426"/>
                <a:gd name="T59" fmla="*/ 157157 h 299"/>
                <a:gd name="T60" fmla="*/ 154345 w 426"/>
                <a:gd name="T61" fmla="*/ 153972 h 299"/>
                <a:gd name="T62" fmla="*/ 148629 w 426"/>
                <a:gd name="T63" fmla="*/ 147600 h 299"/>
                <a:gd name="T64" fmla="*/ 142473 w 426"/>
                <a:gd name="T65" fmla="*/ 138574 h 299"/>
                <a:gd name="T66" fmla="*/ 136756 w 426"/>
                <a:gd name="T67" fmla="*/ 134327 h 299"/>
                <a:gd name="T68" fmla="*/ 129281 w 426"/>
                <a:gd name="T69" fmla="*/ 133265 h 299"/>
                <a:gd name="T70" fmla="*/ 122245 w 426"/>
                <a:gd name="T71" fmla="*/ 123177 h 299"/>
                <a:gd name="T72" fmla="*/ 120486 w 426"/>
                <a:gd name="T73" fmla="*/ 111497 h 299"/>
                <a:gd name="T74" fmla="*/ 118287 w 426"/>
                <a:gd name="T75" fmla="*/ 104594 h 299"/>
                <a:gd name="T76" fmla="*/ 114770 w 426"/>
                <a:gd name="T77" fmla="*/ 97692 h 299"/>
                <a:gd name="T78" fmla="*/ 110372 w 426"/>
                <a:gd name="T79" fmla="*/ 91852 h 299"/>
                <a:gd name="T80" fmla="*/ 104656 w 426"/>
                <a:gd name="T81" fmla="*/ 87605 h 299"/>
                <a:gd name="T82" fmla="*/ 97620 w 426"/>
                <a:gd name="T83" fmla="*/ 85481 h 299"/>
                <a:gd name="T84" fmla="*/ 89705 w 426"/>
                <a:gd name="T85" fmla="*/ 85481 h 299"/>
                <a:gd name="T86" fmla="*/ 82669 w 426"/>
                <a:gd name="T87" fmla="*/ 86543 h 299"/>
                <a:gd name="T88" fmla="*/ 76073 w 426"/>
                <a:gd name="T89" fmla="*/ 89197 h 299"/>
                <a:gd name="T90" fmla="*/ 70357 w 426"/>
                <a:gd name="T91" fmla="*/ 93445 h 299"/>
                <a:gd name="T92" fmla="*/ 62002 w 426"/>
                <a:gd name="T93" fmla="*/ 101409 h 299"/>
                <a:gd name="T94" fmla="*/ 51888 w 426"/>
                <a:gd name="T95" fmla="*/ 114151 h 299"/>
                <a:gd name="T96" fmla="*/ 46172 w 426"/>
                <a:gd name="T97" fmla="*/ 115744 h 299"/>
                <a:gd name="T98" fmla="*/ 43973 w 426"/>
                <a:gd name="T99" fmla="*/ 106718 h 299"/>
                <a:gd name="T100" fmla="*/ 39576 w 426"/>
                <a:gd name="T101" fmla="*/ 98754 h 299"/>
                <a:gd name="T102" fmla="*/ 33419 w 426"/>
                <a:gd name="T103" fmla="*/ 90790 h 299"/>
                <a:gd name="T104" fmla="*/ 21987 w 426"/>
                <a:gd name="T105" fmla="*/ 81233 h 299"/>
                <a:gd name="T106" fmla="*/ 10554 w 426"/>
                <a:gd name="T107" fmla="*/ 71145 h 299"/>
                <a:gd name="T108" fmla="*/ 3518 w 426"/>
                <a:gd name="T109" fmla="*/ 63181 h 299"/>
                <a:gd name="T110" fmla="*/ 6596 w 426"/>
                <a:gd name="T111" fmla="*/ 53625 h 299"/>
                <a:gd name="T112" fmla="*/ 20228 w 426"/>
                <a:gd name="T113" fmla="*/ 40882 h 299"/>
                <a:gd name="T114" fmla="*/ 32980 w 426"/>
                <a:gd name="T115" fmla="*/ 25485 h 299"/>
                <a:gd name="T116" fmla="*/ 43094 w 426"/>
                <a:gd name="T117" fmla="*/ 9026 h 299"/>
                <a:gd name="T118" fmla="*/ 78712 w 426"/>
                <a:gd name="T119" fmla="*/ 6902 h 29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426" h="299">
                  <a:moveTo>
                    <a:pt x="179" y="13"/>
                  </a:moveTo>
                  <a:lnTo>
                    <a:pt x="194" y="16"/>
                  </a:lnTo>
                  <a:lnTo>
                    <a:pt x="207" y="19"/>
                  </a:lnTo>
                  <a:lnTo>
                    <a:pt x="216" y="22"/>
                  </a:lnTo>
                  <a:lnTo>
                    <a:pt x="223" y="24"/>
                  </a:lnTo>
                  <a:lnTo>
                    <a:pt x="230" y="29"/>
                  </a:lnTo>
                  <a:lnTo>
                    <a:pt x="233" y="31"/>
                  </a:lnTo>
                  <a:lnTo>
                    <a:pt x="253" y="35"/>
                  </a:lnTo>
                  <a:lnTo>
                    <a:pt x="269" y="37"/>
                  </a:lnTo>
                  <a:lnTo>
                    <a:pt x="279" y="37"/>
                  </a:lnTo>
                  <a:lnTo>
                    <a:pt x="285" y="37"/>
                  </a:lnTo>
                  <a:lnTo>
                    <a:pt x="300" y="37"/>
                  </a:lnTo>
                  <a:lnTo>
                    <a:pt x="314" y="36"/>
                  </a:lnTo>
                  <a:lnTo>
                    <a:pt x="319" y="34"/>
                  </a:lnTo>
                  <a:lnTo>
                    <a:pt x="325" y="32"/>
                  </a:lnTo>
                  <a:lnTo>
                    <a:pt x="329" y="29"/>
                  </a:lnTo>
                  <a:lnTo>
                    <a:pt x="331" y="25"/>
                  </a:lnTo>
                  <a:lnTo>
                    <a:pt x="365" y="25"/>
                  </a:lnTo>
                  <a:lnTo>
                    <a:pt x="368" y="37"/>
                  </a:lnTo>
                  <a:lnTo>
                    <a:pt x="372" y="49"/>
                  </a:lnTo>
                  <a:lnTo>
                    <a:pt x="376" y="62"/>
                  </a:lnTo>
                  <a:lnTo>
                    <a:pt x="383" y="74"/>
                  </a:lnTo>
                  <a:lnTo>
                    <a:pt x="386" y="79"/>
                  </a:lnTo>
                  <a:lnTo>
                    <a:pt x="391" y="84"/>
                  </a:lnTo>
                  <a:lnTo>
                    <a:pt x="395" y="88"/>
                  </a:lnTo>
                  <a:lnTo>
                    <a:pt x="400" y="92"/>
                  </a:lnTo>
                  <a:lnTo>
                    <a:pt x="405" y="95"/>
                  </a:lnTo>
                  <a:lnTo>
                    <a:pt x="412" y="97"/>
                  </a:lnTo>
                  <a:lnTo>
                    <a:pt x="418" y="98"/>
                  </a:lnTo>
                  <a:lnTo>
                    <a:pt x="425" y="99"/>
                  </a:lnTo>
                  <a:lnTo>
                    <a:pt x="425" y="111"/>
                  </a:lnTo>
                  <a:lnTo>
                    <a:pt x="425" y="120"/>
                  </a:lnTo>
                  <a:lnTo>
                    <a:pt x="425" y="130"/>
                  </a:lnTo>
                  <a:lnTo>
                    <a:pt x="425" y="142"/>
                  </a:lnTo>
                  <a:lnTo>
                    <a:pt x="419" y="151"/>
                  </a:lnTo>
                  <a:lnTo>
                    <a:pt x="416" y="158"/>
                  </a:lnTo>
                  <a:lnTo>
                    <a:pt x="413" y="164"/>
                  </a:lnTo>
                  <a:lnTo>
                    <a:pt x="412" y="170"/>
                  </a:lnTo>
                  <a:lnTo>
                    <a:pt x="412" y="175"/>
                  </a:lnTo>
                  <a:lnTo>
                    <a:pt x="412" y="181"/>
                  </a:lnTo>
                  <a:lnTo>
                    <a:pt x="414" y="186"/>
                  </a:lnTo>
                  <a:lnTo>
                    <a:pt x="415" y="190"/>
                  </a:lnTo>
                  <a:lnTo>
                    <a:pt x="419" y="200"/>
                  </a:lnTo>
                  <a:lnTo>
                    <a:pt x="423" y="211"/>
                  </a:lnTo>
                  <a:lnTo>
                    <a:pt x="425" y="218"/>
                  </a:lnTo>
                  <a:lnTo>
                    <a:pt x="426" y="226"/>
                  </a:lnTo>
                  <a:lnTo>
                    <a:pt x="426" y="236"/>
                  </a:lnTo>
                  <a:lnTo>
                    <a:pt x="425" y="247"/>
                  </a:lnTo>
                  <a:lnTo>
                    <a:pt x="426" y="261"/>
                  </a:lnTo>
                  <a:lnTo>
                    <a:pt x="426" y="274"/>
                  </a:lnTo>
                  <a:lnTo>
                    <a:pt x="425" y="280"/>
                  </a:lnTo>
                  <a:lnTo>
                    <a:pt x="423" y="285"/>
                  </a:lnTo>
                  <a:lnTo>
                    <a:pt x="418" y="292"/>
                  </a:lnTo>
                  <a:lnTo>
                    <a:pt x="412" y="296"/>
                  </a:lnTo>
                  <a:lnTo>
                    <a:pt x="385" y="296"/>
                  </a:lnTo>
                  <a:lnTo>
                    <a:pt x="380" y="298"/>
                  </a:lnTo>
                  <a:lnTo>
                    <a:pt x="375" y="299"/>
                  </a:lnTo>
                  <a:lnTo>
                    <a:pt x="370" y="299"/>
                  </a:lnTo>
                  <a:lnTo>
                    <a:pt x="365" y="297"/>
                  </a:lnTo>
                  <a:lnTo>
                    <a:pt x="360" y="296"/>
                  </a:lnTo>
                  <a:lnTo>
                    <a:pt x="356" y="293"/>
                  </a:lnTo>
                  <a:lnTo>
                    <a:pt x="351" y="290"/>
                  </a:lnTo>
                  <a:lnTo>
                    <a:pt x="347" y="286"/>
                  </a:lnTo>
                  <a:lnTo>
                    <a:pt x="338" y="278"/>
                  </a:lnTo>
                  <a:lnTo>
                    <a:pt x="330" y="269"/>
                  </a:lnTo>
                  <a:lnTo>
                    <a:pt x="324" y="261"/>
                  </a:lnTo>
                  <a:lnTo>
                    <a:pt x="318" y="253"/>
                  </a:lnTo>
                  <a:lnTo>
                    <a:pt x="311" y="253"/>
                  </a:lnTo>
                  <a:lnTo>
                    <a:pt x="304" y="252"/>
                  </a:lnTo>
                  <a:lnTo>
                    <a:pt x="294" y="251"/>
                  </a:lnTo>
                  <a:lnTo>
                    <a:pt x="279" y="247"/>
                  </a:lnTo>
                  <a:lnTo>
                    <a:pt x="278" y="232"/>
                  </a:lnTo>
                  <a:lnTo>
                    <a:pt x="275" y="217"/>
                  </a:lnTo>
                  <a:lnTo>
                    <a:pt x="274" y="210"/>
                  </a:lnTo>
                  <a:lnTo>
                    <a:pt x="272" y="203"/>
                  </a:lnTo>
                  <a:lnTo>
                    <a:pt x="269" y="197"/>
                  </a:lnTo>
                  <a:lnTo>
                    <a:pt x="266" y="190"/>
                  </a:lnTo>
                  <a:lnTo>
                    <a:pt x="261" y="184"/>
                  </a:lnTo>
                  <a:lnTo>
                    <a:pt x="257" y="179"/>
                  </a:lnTo>
                  <a:lnTo>
                    <a:pt x="251" y="173"/>
                  </a:lnTo>
                  <a:lnTo>
                    <a:pt x="245" y="168"/>
                  </a:lnTo>
                  <a:lnTo>
                    <a:pt x="238" y="165"/>
                  </a:lnTo>
                  <a:lnTo>
                    <a:pt x="230" y="162"/>
                  </a:lnTo>
                  <a:lnTo>
                    <a:pt x="222" y="161"/>
                  </a:lnTo>
                  <a:lnTo>
                    <a:pt x="213" y="160"/>
                  </a:lnTo>
                  <a:lnTo>
                    <a:pt x="204" y="161"/>
                  </a:lnTo>
                  <a:lnTo>
                    <a:pt x="195" y="162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3" y="168"/>
                  </a:lnTo>
                  <a:lnTo>
                    <a:pt x="167" y="172"/>
                  </a:lnTo>
                  <a:lnTo>
                    <a:pt x="160" y="176"/>
                  </a:lnTo>
                  <a:lnTo>
                    <a:pt x="155" y="181"/>
                  </a:lnTo>
                  <a:lnTo>
                    <a:pt x="141" y="191"/>
                  </a:lnTo>
                  <a:lnTo>
                    <a:pt x="131" y="202"/>
                  </a:lnTo>
                  <a:lnTo>
                    <a:pt x="118" y="215"/>
                  </a:lnTo>
                  <a:lnTo>
                    <a:pt x="106" y="228"/>
                  </a:lnTo>
                  <a:lnTo>
                    <a:pt x="105" y="218"/>
                  </a:lnTo>
                  <a:lnTo>
                    <a:pt x="103" y="209"/>
                  </a:lnTo>
                  <a:lnTo>
                    <a:pt x="100" y="201"/>
                  </a:lnTo>
                  <a:lnTo>
                    <a:pt x="95" y="193"/>
                  </a:lnTo>
                  <a:lnTo>
                    <a:pt x="90" y="186"/>
                  </a:lnTo>
                  <a:lnTo>
                    <a:pt x="83" y="179"/>
                  </a:lnTo>
                  <a:lnTo>
                    <a:pt x="76" y="171"/>
                  </a:lnTo>
                  <a:lnTo>
                    <a:pt x="68" y="165"/>
                  </a:lnTo>
                  <a:lnTo>
                    <a:pt x="50" y="153"/>
                  </a:lnTo>
                  <a:lnTo>
                    <a:pt x="33" y="140"/>
                  </a:lnTo>
                  <a:lnTo>
                    <a:pt x="24" y="134"/>
                  </a:lnTo>
                  <a:lnTo>
                    <a:pt x="15" y="127"/>
                  </a:lnTo>
                  <a:lnTo>
                    <a:pt x="8" y="119"/>
                  </a:lnTo>
                  <a:lnTo>
                    <a:pt x="0" y="111"/>
                  </a:lnTo>
                  <a:lnTo>
                    <a:pt x="15" y="101"/>
                  </a:lnTo>
                  <a:lnTo>
                    <a:pt x="31" y="90"/>
                  </a:lnTo>
                  <a:lnTo>
                    <a:pt x="46" y="77"/>
                  </a:lnTo>
                  <a:lnTo>
                    <a:pt x="60" y="62"/>
                  </a:lnTo>
                  <a:lnTo>
                    <a:pt x="75" y="48"/>
                  </a:lnTo>
                  <a:lnTo>
                    <a:pt x="87" y="33"/>
                  </a:lnTo>
                  <a:lnTo>
                    <a:pt x="98" y="17"/>
                  </a:lnTo>
                  <a:lnTo>
                    <a:pt x="106" y="0"/>
                  </a:lnTo>
                  <a:lnTo>
                    <a:pt x="179" y="1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905" name="Freeform 464"/>
            <p:cNvSpPr>
              <a:spLocks/>
            </p:cNvSpPr>
            <p:nvPr>
              <p:custDataLst>
                <p:tags r:id="rId297"/>
              </p:custDataLst>
            </p:nvPr>
          </p:nvSpPr>
          <p:spPr bwMode="auto">
            <a:xfrm>
              <a:off x="7584529" y="2744337"/>
              <a:ext cx="825174" cy="1050415"/>
            </a:xfrm>
            <a:custGeom>
              <a:avLst/>
              <a:gdLst>
                <a:gd name="T0" fmla="*/ 207124 w 1594"/>
                <a:gd name="T1" fmla="*/ 56044 h 1670"/>
                <a:gd name="T2" fmla="*/ 210598 w 1594"/>
                <a:gd name="T3" fmla="*/ 96899 h 1670"/>
                <a:gd name="T4" fmla="*/ 250980 w 1594"/>
                <a:gd name="T5" fmla="*/ 150325 h 1670"/>
                <a:gd name="T6" fmla="*/ 304390 w 1594"/>
                <a:gd name="T7" fmla="*/ 240415 h 1670"/>
                <a:gd name="T8" fmla="*/ 345207 w 1594"/>
                <a:gd name="T9" fmla="*/ 261366 h 1670"/>
                <a:gd name="T10" fmla="*/ 380813 w 1594"/>
                <a:gd name="T11" fmla="*/ 258224 h 1670"/>
                <a:gd name="T12" fmla="*/ 403827 w 1594"/>
                <a:gd name="T13" fmla="*/ 281270 h 1670"/>
                <a:gd name="T14" fmla="*/ 478513 w 1594"/>
                <a:gd name="T15" fmla="*/ 296983 h 1670"/>
                <a:gd name="T16" fmla="*/ 486763 w 1594"/>
                <a:gd name="T17" fmla="*/ 241463 h 1670"/>
                <a:gd name="T18" fmla="*/ 511948 w 1594"/>
                <a:gd name="T19" fmla="*/ 282318 h 1670"/>
                <a:gd name="T20" fmla="*/ 539738 w 1594"/>
                <a:gd name="T21" fmla="*/ 293841 h 1670"/>
                <a:gd name="T22" fmla="*/ 564054 w 1594"/>
                <a:gd name="T23" fmla="*/ 260843 h 1670"/>
                <a:gd name="T24" fmla="*/ 609648 w 1594"/>
                <a:gd name="T25" fmla="*/ 214226 h 1670"/>
                <a:gd name="T26" fmla="*/ 672610 w 1594"/>
                <a:gd name="T27" fmla="*/ 224178 h 1670"/>
                <a:gd name="T28" fmla="*/ 685637 w 1594"/>
                <a:gd name="T29" fmla="*/ 260843 h 1670"/>
                <a:gd name="T30" fmla="*/ 653070 w 1594"/>
                <a:gd name="T31" fmla="*/ 283889 h 1670"/>
                <a:gd name="T32" fmla="*/ 644820 w 1594"/>
                <a:gd name="T33" fmla="*/ 355647 h 1670"/>
                <a:gd name="T34" fmla="*/ 620503 w 1594"/>
                <a:gd name="T35" fmla="*/ 368741 h 1670"/>
                <a:gd name="T36" fmla="*/ 611385 w 1594"/>
                <a:gd name="T37" fmla="*/ 426357 h 1670"/>
                <a:gd name="T38" fmla="*/ 573607 w 1594"/>
                <a:gd name="T39" fmla="*/ 394930 h 1670"/>
                <a:gd name="T40" fmla="*/ 574476 w 1594"/>
                <a:gd name="T41" fmla="*/ 365599 h 1670"/>
                <a:gd name="T42" fmla="*/ 531922 w 1594"/>
                <a:gd name="T43" fmla="*/ 334172 h 1670"/>
                <a:gd name="T44" fmla="*/ 515422 w 1594"/>
                <a:gd name="T45" fmla="*/ 307983 h 1670"/>
                <a:gd name="T46" fmla="*/ 491105 w 1594"/>
                <a:gd name="T47" fmla="*/ 301174 h 1670"/>
                <a:gd name="T48" fmla="*/ 489368 w 1594"/>
                <a:gd name="T49" fmla="*/ 327363 h 1670"/>
                <a:gd name="T50" fmla="*/ 485026 w 1594"/>
                <a:gd name="T51" fmla="*/ 357742 h 1670"/>
                <a:gd name="T52" fmla="*/ 503698 w 1594"/>
                <a:gd name="T53" fmla="*/ 384978 h 1670"/>
                <a:gd name="T54" fmla="*/ 498921 w 1594"/>
                <a:gd name="T55" fmla="*/ 441547 h 1670"/>
                <a:gd name="T56" fmla="*/ 466789 w 1594"/>
                <a:gd name="T57" fmla="*/ 452546 h 1670"/>
                <a:gd name="T58" fmla="*/ 455499 w 1594"/>
                <a:gd name="T59" fmla="*/ 490782 h 1670"/>
                <a:gd name="T60" fmla="*/ 414248 w 1594"/>
                <a:gd name="T61" fmla="*/ 524304 h 1670"/>
                <a:gd name="T62" fmla="*/ 396011 w 1594"/>
                <a:gd name="T63" fmla="*/ 549969 h 1670"/>
                <a:gd name="T64" fmla="*/ 338693 w 1594"/>
                <a:gd name="T65" fmla="*/ 622251 h 1670"/>
                <a:gd name="T66" fmla="*/ 313943 w 1594"/>
                <a:gd name="T67" fmla="*/ 645821 h 1670"/>
                <a:gd name="T68" fmla="*/ 323061 w 1594"/>
                <a:gd name="T69" fmla="*/ 703961 h 1670"/>
                <a:gd name="T70" fmla="*/ 309166 w 1594"/>
                <a:gd name="T71" fmla="*/ 756862 h 1670"/>
                <a:gd name="T72" fmla="*/ 313508 w 1594"/>
                <a:gd name="T73" fmla="*/ 798241 h 1670"/>
                <a:gd name="T74" fmla="*/ 300916 w 1594"/>
                <a:gd name="T75" fmla="*/ 825478 h 1670"/>
                <a:gd name="T76" fmla="*/ 258362 w 1594"/>
                <a:gd name="T77" fmla="*/ 871047 h 1670"/>
                <a:gd name="T78" fmla="*/ 224059 w 1594"/>
                <a:gd name="T79" fmla="*/ 800860 h 1670"/>
                <a:gd name="T80" fmla="*/ 181939 w 1594"/>
                <a:gd name="T81" fmla="*/ 698723 h 1670"/>
                <a:gd name="T82" fmla="*/ 130701 w 1594"/>
                <a:gd name="T83" fmla="*/ 583491 h 1670"/>
                <a:gd name="T84" fmla="*/ 112464 w 1594"/>
                <a:gd name="T85" fmla="*/ 450975 h 1670"/>
                <a:gd name="T86" fmla="*/ 99871 w 1594"/>
                <a:gd name="T87" fmla="*/ 426357 h 1670"/>
                <a:gd name="T88" fmla="*/ 71212 w 1594"/>
                <a:gd name="T89" fmla="*/ 471402 h 1670"/>
                <a:gd name="T90" fmla="*/ 39080 w 1594"/>
                <a:gd name="T91" fmla="*/ 458831 h 1670"/>
                <a:gd name="T92" fmla="*/ 22145 w 1594"/>
                <a:gd name="T93" fmla="*/ 417977 h 1670"/>
                <a:gd name="T94" fmla="*/ 13027 w 1594"/>
                <a:gd name="T95" fmla="*/ 403835 h 1670"/>
                <a:gd name="T96" fmla="*/ 13895 w 1594"/>
                <a:gd name="T97" fmla="*/ 370836 h 1670"/>
                <a:gd name="T98" fmla="*/ 69041 w 1594"/>
                <a:gd name="T99" fmla="*/ 345171 h 1670"/>
                <a:gd name="T100" fmla="*/ 39948 w 1594"/>
                <a:gd name="T101" fmla="*/ 298031 h 1670"/>
                <a:gd name="T102" fmla="*/ 25619 w 1594"/>
                <a:gd name="T103" fmla="*/ 261890 h 1670"/>
                <a:gd name="T104" fmla="*/ 70344 w 1594"/>
                <a:gd name="T105" fmla="*/ 240415 h 1670"/>
                <a:gd name="T106" fmla="*/ 117240 w 1594"/>
                <a:gd name="T107" fmla="*/ 153991 h 1670"/>
                <a:gd name="T108" fmla="*/ 118977 w 1594"/>
                <a:gd name="T109" fmla="*/ 120469 h 1670"/>
                <a:gd name="T110" fmla="*/ 98568 w 1594"/>
                <a:gd name="T111" fmla="*/ 74377 h 1670"/>
                <a:gd name="T112" fmla="*/ 139820 w 1594"/>
                <a:gd name="T113" fmla="*/ 28284 h 167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594" h="1670">
                  <a:moveTo>
                    <a:pt x="385" y="0"/>
                  </a:moveTo>
                  <a:lnTo>
                    <a:pt x="400" y="16"/>
                  </a:lnTo>
                  <a:lnTo>
                    <a:pt x="415" y="33"/>
                  </a:lnTo>
                  <a:lnTo>
                    <a:pt x="427" y="48"/>
                  </a:lnTo>
                  <a:lnTo>
                    <a:pt x="437" y="63"/>
                  </a:lnTo>
                  <a:lnTo>
                    <a:pt x="448" y="76"/>
                  </a:lnTo>
                  <a:lnTo>
                    <a:pt x="459" y="90"/>
                  </a:lnTo>
                  <a:lnTo>
                    <a:pt x="464" y="96"/>
                  </a:lnTo>
                  <a:lnTo>
                    <a:pt x="471" y="101"/>
                  </a:lnTo>
                  <a:lnTo>
                    <a:pt x="477" y="107"/>
                  </a:lnTo>
                  <a:lnTo>
                    <a:pt x="485" y="111"/>
                  </a:lnTo>
                  <a:lnTo>
                    <a:pt x="492" y="118"/>
                  </a:lnTo>
                  <a:lnTo>
                    <a:pt x="499" y="126"/>
                  </a:lnTo>
                  <a:lnTo>
                    <a:pt x="506" y="134"/>
                  </a:lnTo>
                  <a:lnTo>
                    <a:pt x="512" y="144"/>
                  </a:lnTo>
                  <a:lnTo>
                    <a:pt x="519" y="153"/>
                  </a:lnTo>
                  <a:lnTo>
                    <a:pt x="523" y="163"/>
                  </a:lnTo>
                  <a:lnTo>
                    <a:pt x="528" y="174"/>
                  </a:lnTo>
                  <a:lnTo>
                    <a:pt x="531" y="185"/>
                  </a:lnTo>
                  <a:lnTo>
                    <a:pt x="485" y="185"/>
                  </a:lnTo>
                  <a:lnTo>
                    <a:pt x="485" y="216"/>
                  </a:lnTo>
                  <a:lnTo>
                    <a:pt x="490" y="229"/>
                  </a:lnTo>
                  <a:lnTo>
                    <a:pt x="497" y="240"/>
                  </a:lnTo>
                  <a:lnTo>
                    <a:pt x="505" y="250"/>
                  </a:lnTo>
                  <a:lnTo>
                    <a:pt x="514" y="257"/>
                  </a:lnTo>
                  <a:lnTo>
                    <a:pt x="523" y="264"/>
                  </a:lnTo>
                  <a:lnTo>
                    <a:pt x="534" y="269"/>
                  </a:lnTo>
                  <a:lnTo>
                    <a:pt x="544" y="274"/>
                  </a:lnTo>
                  <a:lnTo>
                    <a:pt x="556" y="278"/>
                  </a:lnTo>
                  <a:lnTo>
                    <a:pt x="578" y="287"/>
                  </a:lnTo>
                  <a:lnTo>
                    <a:pt x="600" y="296"/>
                  </a:lnTo>
                  <a:lnTo>
                    <a:pt x="610" y="302"/>
                  </a:lnTo>
                  <a:lnTo>
                    <a:pt x="620" y="310"/>
                  </a:lnTo>
                  <a:lnTo>
                    <a:pt x="629" y="318"/>
                  </a:lnTo>
                  <a:lnTo>
                    <a:pt x="638" y="327"/>
                  </a:lnTo>
                  <a:lnTo>
                    <a:pt x="631" y="420"/>
                  </a:lnTo>
                  <a:lnTo>
                    <a:pt x="643" y="429"/>
                  </a:lnTo>
                  <a:lnTo>
                    <a:pt x="660" y="440"/>
                  </a:lnTo>
                  <a:lnTo>
                    <a:pt x="679" y="450"/>
                  </a:lnTo>
                  <a:lnTo>
                    <a:pt x="701" y="459"/>
                  </a:lnTo>
                  <a:lnTo>
                    <a:pt x="723" y="468"/>
                  </a:lnTo>
                  <a:lnTo>
                    <a:pt x="744" y="475"/>
                  </a:lnTo>
                  <a:lnTo>
                    <a:pt x="753" y="478"/>
                  </a:lnTo>
                  <a:lnTo>
                    <a:pt x="762" y="480"/>
                  </a:lnTo>
                  <a:lnTo>
                    <a:pt x="770" y="481"/>
                  </a:lnTo>
                  <a:lnTo>
                    <a:pt x="777" y="481"/>
                  </a:lnTo>
                  <a:lnTo>
                    <a:pt x="779" y="488"/>
                  </a:lnTo>
                  <a:lnTo>
                    <a:pt x="784" y="494"/>
                  </a:lnTo>
                  <a:lnTo>
                    <a:pt x="789" y="497"/>
                  </a:lnTo>
                  <a:lnTo>
                    <a:pt x="795" y="499"/>
                  </a:lnTo>
                  <a:lnTo>
                    <a:pt x="800" y="501"/>
                  </a:lnTo>
                  <a:lnTo>
                    <a:pt x="807" y="501"/>
                  </a:lnTo>
                  <a:lnTo>
                    <a:pt x="814" y="500"/>
                  </a:lnTo>
                  <a:lnTo>
                    <a:pt x="822" y="499"/>
                  </a:lnTo>
                  <a:lnTo>
                    <a:pt x="836" y="496"/>
                  </a:lnTo>
                  <a:lnTo>
                    <a:pt x="852" y="492"/>
                  </a:lnTo>
                  <a:lnTo>
                    <a:pt x="858" y="492"/>
                  </a:lnTo>
                  <a:lnTo>
                    <a:pt x="865" y="491"/>
                  </a:lnTo>
                  <a:lnTo>
                    <a:pt x="871" y="492"/>
                  </a:lnTo>
                  <a:lnTo>
                    <a:pt x="877" y="493"/>
                  </a:lnTo>
                  <a:lnTo>
                    <a:pt x="886" y="499"/>
                  </a:lnTo>
                  <a:lnTo>
                    <a:pt x="892" y="504"/>
                  </a:lnTo>
                  <a:lnTo>
                    <a:pt x="898" y="511"/>
                  </a:lnTo>
                  <a:lnTo>
                    <a:pt x="903" y="517"/>
                  </a:lnTo>
                  <a:lnTo>
                    <a:pt x="908" y="523"/>
                  </a:lnTo>
                  <a:lnTo>
                    <a:pt x="914" y="529"/>
                  </a:lnTo>
                  <a:lnTo>
                    <a:pt x="918" y="532"/>
                  </a:lnTo>
                  <a:lnTo>
                    <a:pt x="921" y="534"/>
                  </a:lnTo>
                  <a:lnTo>
                    <a:pt x="925" y="536"/>
                  </a:lnTo>
                  <a:lnTo>
                    <a:pt x="930" y="537"/>
                  </a:lnTo>
                  <a:lnTo>
                    <a:pt x="946" y="540"/>
                  </a:lnTo>
                  <a:lnTo>
                    <a:pt x="968" y="546"/>
                  </a:lnTo>
                  <a:lnTo>
                    <a:pt x="993" y="552"/>
                  </a:lnTo>
                  <a:lnTo>
                    <a:pt x="1021" y="559"/>
                  </a:lnTo>
                  <a:lnTo>
                    <a:pt x="1047" y="564"/>
                  </a:lnTo>
                  <a:lnTo>
                    <a:pt x="1071" y="568"/>
                  </a:lnTo>
                  <a:lnTo>
                    <a:pt x="1082" y="569"/>
                  </a:lnTo>
                  <a:lnTo>
                    <a:pt x="1090" y="570"/>
                  </a:lnTo>
                  <a:lnTo>
                    <a:pt x="1098" y="569"/>
                  </a:lnTo>
                  <a:lnTo>
                    <a:pt x="1102" y="567"/>
                  </a:lnTo>
                  <a:lnTo>
                    <a:pt x="1098" y="560"/>
                  </a:lnTo>
                  <a:lnTo>
                    <a:pt x="1093" y="552"/>
                  </a:lnTo>
                  <a:lnTo>
                    <a:pt x="1090" y="544"/>
                  </a:lnTo>
                  <a:lnTo>
                    <a:pt x="1088" y="535"/>
                  </a:lnTo>
                  <a:lnTo>
                    <a:pt x="1083" y="520"/>
                  </a:lnTo>
                  <a:lnTo>
                    <a:pt x="1082" y="512"/>
                  </a:lnTo>
                  <a:lnTo>
                    <a:pt x="1082" y="481"/>
                  </a:lnTo>
                  <a:lnTo>
                    <a:pt x="1082" y="450"/>
                  </a:lnTo>
                  <a:lnTo>
                    <a:pt x="1115" y="450"/>
                  </a:lnTo>
                  <a:lnTo>
                    <a:pt x="1121" y="461"/>
                  </a:lnTo>
                  <a:lnTo>
                    <a:pt x="1125" y="468"/>
                  </a:lnTo>
                  <a:lnTo>
                    <a:pt x="1131" y="474"/>
                  </a:lnTo>
                  <a:lnTo>
                    <a:pt x="1136" y="481"/>
                  </a:lnTo>
                  <a:lnTo>
                    <a:pt x="1135" y="497"/>
                  </a:lnTo>
                  <a:lnTo>
                    <a:pt x="1132" y="507"/>
                  </a:lnTo>
                  <a:lnTo>
                    <a:pt x="1130" y="515"/>
                  </a:lnTo>
                  <a:lnTo>
                    <a:pt x="1128" y="524"/>
                  </a:lnTo>
                  <a:lnTo>
                    <a:pt x="1149" y="530"/>
                  </a:lnTo>
                  <a:lnTo>
                    <a:pt x="1169" y="536"/>
                  </a:lnTo>
                  <a:lnTo>
                    <a:pt x="1179" y="539"/>
                  </a:lnTo>
                  <a:lnTo>
                    <a:pt x="1189" y="541"/>
                  </a:lnTo>
                  <a:lnTo>
                    <a:pt x="1199" y="542"/>
                  </a:lnTo>
                  <a:lnTo>
                    <a:pt x="1209" y="543"/>
                  </a:lnTo>
                  <a:lnTo>
                    <a:pt x="1210" y="547"/>
                  </a:lnTo>
                  <a:lnTo>
                    <a:pt x="1212" y="551"/>
                  </a:lnTo>
                  <a:lnTo>
                    <a:pt x="1215" y="554"/>
                  </a:lnTo>
                  <a:lnTo>
                    <a:pt x="1220" y="557"/>
                  </a:lnTo>
                  <a:lnTo>
                    <a:pt x="1228" y="560"/>
                  </a:lnTo>
                  <a:lnTo>
                    <a:pt x="1235" y="561"/>
                  </a:lnTo>
                  <a:lnTo>
                    <a:pt x="1243" y="561"/>
                  </a:lnTo>
                  <a:lnTo>
                    <a:pt x="1249" y="559"/>
                  </a:lnTo>
                  <a:lnTo>
                    <a:pt x="1256" y="556"/>
                  </a:lnTo>
                  <a:lnTo>
                    <a:pt x="1261" y="553"/>
                  </a:lnTo>
                  <a:lnTo>
                    <a:pt x="1267" y="549"/>
                  </a:lnTo>
                  <a:lnTo>
                    <a:pt x="1272" y="544"/>
                  </a:lnTo>
                  <a:lnTo>
                    <a:pt x="1277" y="539"/>
                  </a:lnTo>
                  <a:lnTo>
                    <a:pt x="1281" y="534"/>
                  </a:lnTo>
                  <a:lnTo>
                    <a:pt x="1289" y="521"/>
                  </a:lnTo>
                  <a:lnTo>
                    <a:pt x="1294" y="509"/>
                  </a:lnTo>
                  <a:lnTo>
                    <a:pt x="1299" y="498"/>
                  </a:lnTo>
                  <a:lnTo>
                    <a:pt x="1302" y="487"/>
                  </a:lnTo>
                  <a:lnTo>
                    <a:pt x="1312" y="476"/>
                  </a:lnTo>
                  <a:lnTo>
                    <a:pt x="1322" y="465"/>
                  </a:lnTo>
                  <a:lnTo>
                    <a:pt x="1333" y="456"/>
                  </a:lnTo>
                  <a:lnTo>
                    <a:pt x="1344" y="446"/>
                  </a:lnTo>
                  <a:lnTo>
                    <a:pt x="1356" y="438"/>
                  </a:lnTo>
                  <a:lnTo>
                    <a:pt x="1367" y="430"/>
                  </a:lnTo>
                  <a:lnTo>
                    <a:pt x="1379" y="423"/>
                  </a:lnTo>
                  <a:lnTo>
                    <a:pt x="1391" y="416"/>
                  </a:lnTo>
                  <a:lnTo>
                    <a:pt x="1404" y="409"/>
                  </a:lnTo>
                  <a:lnTo>
                    <a:pt x="1417" y="403"/>
                  </a:lnTo>
                  <a:lnTo>
                    <a:pt x="1430" y="398"/>
                  </a:lnTo>
                  <a:lnTo>
                    <a:pt x="1444" y="393"/>
                  </a:lnTo>
                  <a:lnTo>
                    <a:pt x="1472" y="384"/>
                  </a:lnTo>
                  <a:lnTo>
                    <a:pt x="1501" y="377"/>
                  </a:lnTo>
                  <a:lnTo>
                    <a:pt x="1507" y="385"/>
                  </a:lnTo>
                  <a:lnTo>
                    <a:pt x="1515" y="395"/>
                  </a:lnTo>
                  <a:lnTo>
                    <a:pt x="1526" y="406"/>
                  </a:lnTo>
                  <a:lnTo>
                    <a:pt x="1537" y="418"/>
                  </a:lnTo>
                  <a:lnTo>
                    <a:pt x="1549" y="428"/>
                  </a:lnTo>
                  <a:lnTo>
                    <a:pt x="1562" y="436"/>
                  </a:lnTo>
                  <a:lnTo>
                    <a:pt x="1568" y="440"/>
                  </a:lnTo>
                  <a:lnTo>
                    <a:pt x="1574" y="442"/>
                  </a:lnTo>
                  <a:lnTo>
                    <a:pt x="1581" y="444"/>
                  </a:lnTo>
                  <a:lnTo>
                    <a:pt x="1587" y="444"/>
                  </a:lnTo>
                  <a:lnTo>
                    <a:pt x="1594" y="432"/>
                  </a:lnTo>
                  <a:lnTo>
                    <a:pt x="1590" y="453"/>
                  </a:lnTo>
                  <a:lnTo>
                    <a:pt x="1585" y="477"/>
                  </a:lnTo>
                  <a:lnTo>
                    <a:pt x="1583" y="488"/>
                  </a:lnTo>
                  <a:lnTo>
                    <a:pt x="1579" y="498"/>
                  </a:lnTo>
                  <a:lnTo>
                    <a:pt x="1576" y="502"/>
                  </a:lnTo>
                  <a:lnTo>
                    <a:pt x="1574" y="506"/>
                  </a:lnTo>
                  <a:lnTo>
                    <a:pt x="1571" y="509"/>
                  </a:lnTo>
                  <a:lnTo>
                    <a:pt x="1568" y="512"/>
                  </a:lnTo>
                  <a:lnTo>
                    <a:pt x="1554" y="515"/>
                  </a:lnTo>
                  <a:lnTo>
                    <a:pt x="1531" y="523"/>
                  </a:lnTo>
                  <a:lnTo>
                    <a:pt x="1520" y="530"/>
                  </a:lnTo>
                  <a:lnTo>
                    <a:pt x="1511" y="536"/>
                  </a:lnTo>
                  <a:lnTo>
                    <a:pt x="1506" y="539"/>
                  </a:lnTo>
                  <a:lnTo>
                    <a:pt x="1504" y="542"/>
                  </a:lnTo>
                  <a:lnTo>
                    <a:pt x="1502" y="546"/>
                  </a:lnTo>
                  <a:lnTo>
                    <a:pt x="1501" y="549"/>
                  </a:lnTo>
                  <a:lnTo>
                    <a:pt x="1502" y="584"/>
                  </a:lnTo>
                  <a:lnTo>
                    <a:pt x="1501" y="624"/>
                  </a:lnTo>
                  <a:lnTo>
                    <a:pt x="1498" y="634"/>
                  </a:lnTo>
                  <a:lnTo>
                    <a:pt x="1497" y="645"/>
                  </a:lnTo>
                  <a:lnTo>
                    <a:pt x="1495" y="654"/>
                  </a:lnTo>
                  <a:lnTo>
                    <a:pt x="1493" y="663"/>
                  </a:lnTo>
                  <a:lnTo>
                    <a:pt x="1490" y="671"/>
                  </a:lnTo>
                  <a:lnTo>
                    <a:pt x="1485" y="679"/>
                  </a:lnTo>
                  <a:lnTo>
                    <a:pt x="1480" y="685"/>
                  </a:lnTo>
                  <a:lnTo>
                    <a:pt x="1474" y="690"/>
                  </a:lnTo>
                  <a:lnTo>
                    <a:pt x="1471" y="693"/>
                  </a:lnTo>
                  <a:lnTo>
                    <a:pt x="1464" y="694"/>
                  </a:lnTo>
                  <a:lnTo>
                    <a:pt x="1457" y="695"/>
                  </a:lnTo>
                  <a:lnTo>
                    <a:pt x="1449" y="696"/>
                  </a:lnTo>
                  <a:lnTo>
                    <a:pt x="1441" y="697"/>
                  </a:lnTo>
                  <a:lnTo>
                    <a:pt x="1434" y="700"/>
                  </a:lnTo>
                  <a:lnTo>
                    <a:pt x="1431" y="701"/>
                  </a:lnTo>
                  <a:lnTo>
                    <a:pt x="1429" y="704"/>
                  </a:lnTo>
                  <a:lnTo>
                    <a:pt x="1428" y="706"/>
                  </a:lnTo>
                  <a:lnTo>
                    <a:pt x="1428" y="709"/>
                  </a:lnTo>
                  <a:lnTo>
                    <a:pt x="1427" y="721"/>
                  </a:lnTo>
                  <a:lnTo>
                    <a:pt x="1427" y="735"/>
                  </a:lnTo>
                  <a:lnTo>
                    <a:pt x="1425" y="750"/>
                  </a:lnTo>
                  <a:lnTo>
                    <a:pt x="1423" y="764"/>
                  </a:lnTo>
                  <a:lnTo>
                    <a:pt x="1420" y="778"/>
                  </a:lnTo>
                  <a:lnTo>
                    <a:pt x="1417" y="791"/>
                  </a:lnTo>
                  <a:lnTo>
                    <a:pt x="1413" y="803"/>
                  </a:lnTo>
                  <a:lnTo>
                    <a:pt x="1408" y="814"/>
                  </a:lnTo>
                  <a:lnTo>
                    <a:pt x="1361" y="733"/>
                  </a:lnTo>
                  <a:lnTo>
                    <a:pt x="1359" y="737"/>
                  </a:lnTo>
                  <a:lnTo>
                    <a:pt x="1354" y="746"/>
                  </a:lnTo>
                  <a:lnTo>
                    <a:pt x="1349" y="751"/>
                  </a:lnTo>
                  <a:lnTo>
                    <a:pt x="1345" y="755"/>
                  </a:lnTo>
                  <a:lnTo>
                    <a:pt x="1340" y="758"/>
                  </a:lnTo>
                  <a:lnTo>
                    <a:pt x="1335" y="759"/>
                  </a:lnTo>
                  <a:lnTo>
                    <a:pt x="1329" y="758"/>
                  </a:lnTo>
                  <a:lnTo>
                    <a:pt x="1325" y="757"/>
                  </a:lnTo>
                  <a:lnTo>
                    <a:pt x="1321" y="754"/>
                  </a:lnTo>
                  <a:lnTo>
                    <a:pt x="1316" y="751"/>
                  </a:lnTo>
                  <a:lnTo>
                    <a:pt x="1313" y="746"/>
                  </a:lnTo>
                  <a:lnTo>
                    <a:pt x="1311" y="742"/>
                  </a:lnTo>
                  <a:lnTo>
                    <a:pt x="1308" y="738"/>
                  </a:lnTo>
                  <a:lnTo>
                    <a:pt x="1308" y="733"/>
                  </a:lnTo>
                  <a:lnTo>
                    <a:pt x="1308" y="727"/>
                  </a:lnTo>
                  <a:lnTo>
                    <a:pt x="1311" y="721"/>
                  </a:lnTo>
                  <a:lnTo>
                    <a:pt x="1313" y="715"/>
                  </a:lnTo>
                  <a:lnTo>
                    <a:pt x="1315" y="709"/>
                  </a:lnTo>
                  <a:lnTo>
                    <a:pt x="1323" y="698"/>
                  </a:lnTo>
                  <a:lnTo>
                    <a:pt x="1332" y="687"/>
                  </a:lnTo>
                  <a:lnTo>
                    <a:pt x="1340" y="677"/>
                  </a:lnTo>
                  <a:lnTo>
                    <a:pt x="1348" y="666"/>
                  </a:lnTo>
                  <a:lnTo>
                    <a:pt x="1350" y="660"/>
                  </a:lnTo>
                  <a:lnTo>
                    <a:pt x="1352" y="655"/>
                  </a:lnTo>
                  <a:lnTo>
                    <a:pt x="1355" y="648"/>
                  </a:lnTo>
                  <a:lnTo>
                    <a:pt x="1355" y="642"/>
                  </a:lnTo>
                  <a:lnTo>
                    <a:pt x="1235" y="642"/>
                  </a:lnTo>
                  <a:lnTo>
                    <a:pt x="1231" y="641"/>
                  </a:lnTo>
                  <a:lnTo>
                    <a:pt x="1225" y="638"/>
                  </a:lnTo>
                  <a:lnTo>
                    <a:pt x="1221" y="632"/>
                  </a:lnTo>
                  <a:lnTo>
                    <a:pt x="1217" y="626"/>
                  </a:lnTo>
                  <a:lnTo>
                    <a:pt x="1214" y="618"/>
                  </a:lnTo>
                  <a:lnTo>
                    <a:pt x="1211" y="610"/>
                  </a:lnTo>
                  <a:lnTo>
                    <a:pt x="1210" y="601"/>
                  </a:lnTo>
                  <a:lnTo>
                    <a:pt x="1209" y="592"/>
                  </a:lnTo>
                  <a:lnTo>
                    <a:pt x="1203" y="592"/>
                  </a:lnTo>
                  <a:lnTo>
                    <a:pt x="1198" y="591"/>
                  </a:lnTo>
                  <a:lnTo>
                    <a:pt x="1192" y="590"/>
                  </a:lnTo>
                  <a:lnTo>
                    <a:pt x="1187" y="588"/>
                  </a:lnTo>
                  <a:lnTo>
                    <a:pt x="1182" y="585"/>
                  </a:lnTo>
                  <a:lnTo>
                    <a:pt x="1179" y="582"/>
                  </a:lnTo>
                  <a:lnTo>
                    <a:pt x="1177" y="577"/>
                  </a:lnTo>
                  <a:lnTo>
                    <a:pt x="1176" y="573"/>
                  </a:lnTo>
                  <a:lnTo>
                    <a:pt x="1167" y="573"/>
                  </a:lnTo>
                  <a:lnTo>
                    <a:pt x="1159" y="573"/>
                  </a:lnTo>
                  <a:lnTo>
                    <a:pt x="1151" y="573"/>
                  </a:lnTo>
                  <a:lnTo>
                    <a:pt x="1143" y="573"/>
                  </a:lnTo>
                  <a:lnTo>
                    <a:pt x="1136" y="574"/>
                  </a:lnTo>
                  <a:lnTo>
                    <a:pt x="1131" y="575"/>
                  </a:lnTo>
                  <a:lnTo>
                    <a:pt x="1124" y="578"/>
                  </a:lnTo>
                  <a:lnTo>
                    <a:pt x="1117" y="582"/>
                  </a:lnTo>
                  <a:lnTo>
                    <a:pt x="1112" y="587"/>
                  </a:lnTo>
                  <a:lnTo>
                    <a:pt x="1106" y="592"/>
                  </a:lnTo>
                  <a:lnTo>
                    <a:pt x="1103" y="598"/>
                  </a:lnTo>
                  <a:lnTo>
                    <a:pt x="1102" y="604"/>
                  </a:lnTo>
                  <a:lnTo>
                    <a:pt x="1104" y="608"/>
                  </a:lnTo>
                  <a:lnTo>
                    <a:pt x="1110" y="613"/>
                  </a:lnTo>
                  <a:lnTo>
                    <a:pt x="1117" y="619"/>
                  </a:lnTo>
                  <a:lnTo>
                    <a:pt x="1127" y="625"/>
                  </a:lnTo>
                  <a:lnTo>
                    <a:pt x="1137" y="631"/>
                  </a:lnTo>
                  <a:lnTo>
                    <a:pt x="1147" y="636"/>
                  </a:lnTo>
                  <a:lnTo>
                    <a:pt x="1156" y="640"/>
                  </a:lnTo>
                  <a:lnTo>
                    <a:pt x="1162" y="642"/>
                  </a:lnTo>
                  <a:lnTo>
                    <a:pt x="1149" y="652"/>
                  </a:lnTo>
                  <a:lnTo>
                    <a:pt x="1134" y="664"/>
                  </a:lnTo>
                  <a:lnTo>
                    <a:pt x="1127" y="670"/>
                  </a:lnTo>
                  <a:lnTo>
                    <a:pt x="1121" y="677"/>
                  </a:lnTo>
                  <a:lnTo>
                    <a:pt x="1119" y="680"/>
                  </a:lnTo>
                  <a:lnTo>
                    <a:pt x="1117" y="683"/>
                  </a:lnTo>
                  <a:lnTo>
                    <a:pt x="1116" y="687"/>
                  </a:lnTo>
                  <a:lnTo>
                    <a:pt x="1115" y="690"/>
                  </a:lnTo>
                  <a:lnTo>
                    <a:pt x="1116" y="695"/>
                  </a:lnTo>
                  <a:lnTo>
                    <a:pt x="1117" y="698"/>
                  </a:lnTo>
                  <a:lnTo>
                    <a:pt x="1120" y="702"/>
                  </a:lnTo>
                  <a:lnTo>
                    <a:pt x="1122" y="706"/>
                  </a:lnTo>
                  <a:lnTo>
                    <a:pt x="1130" y="714"/>
                  </a:lnTo>
                  <a:lnTo>
                    <a:pt x="1139" y="722"/>
                  </a:lnTo>
                  <a:lnTo>
                    <a:pt x="1149" y="729"/>
                  </a:lnTo>
                  <a:lnTo>
                    <a:pt x="1160" y="735"/>
                  </a:lnTo>
                  <a:lnTo>
                    <a:pt x="1166" y="737"/>
                  </a:lnTo>
                  <a:lnTo>
                    <a:pt x="1171" y="738"/>
                  </a:lnTo>
                  <a:lnTo>
                    <a:pt x="1177" y="739"/>
                  </a:lnTo>
                  <a:lnTo>
                    <a:pt x="1182" y="740"/>
                  </a:lnTo>
                  <a:lnTo>
                    <a:pt x="1209" y="844"/>
                  </a:lnTo>
                  <a:lnTo>
                    <a:pt x="1194" y="844"/>
                  </a:lnTo>
                  <a:lnTo>
                    <a:pt x="1180" y="844"/>
                  </a:lnTo>
                  <a:lnTo>
                    <a:pt x="1167" y="844"/>
                  </a:lnTo>
                  <a:lnTo>
                    <a:pt x="1156" y="844"/>
                  </a:lnTo>
                  <a:lnTo>
                    <a:pt x="1149" y="843"/>
                  </a:lnTo>
                  <a:lnTo>
                    <a:pt x="1142" y="838"/>
                  </a:lnTo>
                  <a:lnTo>
                    <a:pt x="1137" y="836"/>
                  </a:lnTo>
                  <a:lnTo>
                    <a:pt x="1132" y="834"/>
                  </a:lnTo>
                  <a:lnTo>
                    <a:pt x="1127" y="833"/>
                  </a:lnTo>
                  <a:lnTo>
                    <a:pt x="1122" y="832"/>
                  </a:lnTo>
                  <a:lnTo>
                    <a:pt x="1117" y="834"/>
                  </a:lnTo>
                  <a:lnTo>
                    <a:pt x="1109" y="839"/>
                  </a:lnTo>
                  <a:lnTo>
                    <a:pt x="1099" y="846"/>
                  </a:lnTo>
                  <a:lnTo>
                    <a:pt x="1087" y="854"/>
                  </a:lnTo>
                  <a:lnTo>
                    <a:pt x="1075" y="864"/>
                  </a:lnTo>
                  <a:lnTo>
                    <a:pt x="1065" y="872"/>
                  </a:lnTo>
                  <a:lnTo>
                    <a:pt x="1058" y="878"/>
                  </a:lnTo>
                  <a:lnTo>
                    <a:pt x="1056" y="882"/>
                  </a:lnTo>
                  <a:lnTo>
                    <a:pt x="1076" y="894"/>
                  </a:lnTo>
                  <a:lnTo>
                    <a:pt x="1075" y="900"/>
                  </a:lnTo>
                  <a:lnTo>
                    <a:pt x="1072" y="907"/>
                  </a:lnTo>
                  <a:lnTo>
                    <a:pt x="1069" y="912"/>
                  </a:lnTo>
                  <a:lnTo>
                    <a:pt x="1066" y="919"/>
                  </a:lnTo>
                  <a:lnTo>
                    <a:pt x="1058" y="928"/>
                  </a:lnTo>
                  <a:lnTo>
                    <a:pt x="1049" y="937"/>
                  </a:lnTo>
                  <a:lnTo>
                    <a:pt x="1039" y="945"/>
                  </a:lnTo>
                  <a:lnTo>
                    <a:pt x="1027" y="952"/>
                  </a:lnTo>
                  <a:lnTo>
                    <a:pt x="1016" y="958"/>
                  </a:lnTo>
                  <a:lnTo>
                    <a:pt x="1004" y="964"/>
                  </a:lnTo>
                  <a:lnTo>
                    <a:pt x="992" y="972"/>
                  </a:lnTo>
                  <a:lnTo>
                    <a:pt x="981" y="978"/>
                  </a:lnTo>
                  <a:lnTo>
                    <a:pt x="971" y="985"/>
                  </a:lnTo>
                  <a:lnTo>
                    <a:pt x="962" y="993"/>
                  </a:lnTo>
                  <a:lnTo>
                    <a:pt x="957" y="997"/>
                  </a:lnTo>
                  <a:lnTo>
                    <a:pt x="954" y="1001"/>
                  </a:lnTo>
                  <a:lnTo>
                    <a:pt x="951" y="1006"/>
                  </a:lnTo>
                  <a:lnTo>
                    <a:pt x="948" y="1011"/>
                  </a:lnTo>
                  <a:lnTo>
                    <a:pt x="946" y="1017"/>
                  </a:lnTo>
                  <a:lnTo>
                    <a:pt x="944" y="1022"/>
                  </a:lnTo>
                  <a:lnTo>
                    <a:pt x="943" y="1029"/>
                  </a:lnTo>
                  <a:lnTo>
                    <a:pt x="943" y="1036"/>
                  </a:lnTo>
                  <a:lnTo>
                    <a:pt x="934" y="1039"/>
                  </a:lnTo>
                  <a:lnTo>
                    <a:pt x="926" y="1042"/>
                  </a:lnTo>
                  <a:lnTo>
                    <a:pt x="919" y="1046"/>
                  </a:lnTo>
                  <a:lnTo>
                    <a:pt x="912" y="1050"/>
                  </a:lnTo>
                  <a:lnTo>
                    <a:pt x="898" y="1060"/>
                  </a:lnTo>
                  <a:lnTo>
                    <a:pt x="886" y="1072"/>
                  </a:lnTo>
                  <a:lnTo>
                    <a:pt x="864" y="1099"/>
                  </a:lnTo>
                  <a:lnTo>
                    <a:pt x="843" y="1128"/>
                  </a:lnTo>
                  <a:lnTo>
                    <a:pt x="832" y="1143"/>
                  </a:lnTo>
                  <a:lnTo>
                    <a:pt x="821" y="1156"/>
                  </a:lnTo>
                  <a:lnTo>
                    <a:pt x="809" y="1168"/>
                  </a:lnTo>
                  <a:lnTo>
                    <a:pt x="796" y="1179"/>
                  </a:lnTo>
                  <a:lnTo>
                    <a:pt x="788" y="1184"/>
                  </a:lnTo>
                  <a:lnTo>
                    <a:pt x="780" y="1188"/>
                  </a:lnTo>
                  <a:lnTo>
                    <a:pt x="773" y="1192"/>
                  </a:lnTo>
                  <a:lnTo>
                    <a:pt x="764" y="1196"/>
                  </a:lnTo>
                  <a:lnTo>
                    <a:pt x="754" y="1199"/>
                  </a:lnTo>
                  <a:lnTo>
                    <a:pt x="745" y="1201"/>
                  </a:lnTo>
                  <a:lnTo>
                    <a:pt x="734" y="1202"/>
                  </a:lnTo>
                  <a:lnTo>
                    <a:pt x="723" y="1202"/>
                  </a:lnTo>
                  <a:lnTo>
                    <a:pt x="723" y="1211"/>
                  </a:lnTo>
                  <a:lnTo>
                    <a:pt x="723" y="1220"/>
                  </a:lnTo>
                  <a:lnTo>
                    <a:pt x="723" y="1227"/>
                  </a:lnTo>
                  <a:lnTo>
                    <a:pt x="723" y="1233"/>
                  </a:lnTo>
                  <a:lnTo>
                    <a:pt x="723" y="1244"/>
                  </a:lnTo>
                  <a:lnTo>
                    <a:pt x="723" y="1261"/>
                  </a:lnTo>
                  <a:lnTo>
                    <a:pt x="723" y="1279"/>
                  </a:lnTo>
                  <a:lnTo>
                    <a:pt x="725" y="1298"/>
                  </a:lnTo>
                  <a:lnTo>
                    <a:pt x="727" y="1308"/>
                  </a:lnTo>
                  <a:lnTo>
                    <a:pt x="729" y="1317"/>
                  </a:lnTo>
                  <a:lnTo>
                    <a:pt x="731" y="1325"/>
                  </a:lnTo>
                  <a:lnTo>
                    <a:pt x="735" y="1332"/>
                  </a:lnTo>
                  <a:lnTo>
                    <a:pt x="739" y="1339"/>
                  </a:lnTo>
                  <a:lnTo>
                    <a:pt x="744" y="1344"/>
                  </a:lnTo>
                  <a:lnTo>
                    <a:pt x="750" y="1348"/>
                  </a:lnTo>
                  <a:lnTo>
                    <a:pt x="757" y="1350"/>
                  </a:lnTo>
                  <a:lnTo>
                    <a:pt x="751" y="1366"/>
                  </a:lnTo>
                  <a:lnTo>
                    <a:pt x="744" y="1380"/>
                  </a:lnTo>
                  <a:lnTo>
                    <a:pt x="736" y="1393"/>
                  </a:lnTo>
                  <a:lnTo>
                    <a:pt x="729" y="1405"/>
                  </a:lnTo>
                  <a:lnTo>
                    <a:pt x="721" y="1419"/>
                  </a:lnTo>
                  <a:lnTo>
                    <a:pt x="716" y="1432"/>
                  </a:lnTo>
                  <a:lnTo>
                    <a:pt x="713" y="1438"/>
                  </a:lnTo>
                  <a:lnTo>
                    <a:pt x="712" y="1445"/>
                  </a:lnTo>
                  <a:lnTo>
                    <a:pt x="711" y="1453"/>
                  </a:lnTo>
                  <a:lnTo>
                    <a:pt x="710" y="1460"/>
                  </a:lnTo>
                  <a:lnTo>
                    <a:pt x="711" y="1463"/>
                  </a:lnTo>
                  <a:lnTo>
                    <a:pt x="712" y="1465"/>
                  </a:lnTo>
                  <a:lnTo>
                    <a:pt x="714" y="1467"/>
                  </a:lnTo>
                  <a:lnTo>
                    <a:pt x="718" y="1469"/>
                  </a:lnTo>
                  <a:lnTo>
                    <a:pt x="724" y="1473"/>
                  </a:lnTo>
                  <a:lnTo>
                    <a:pt x="730" y="1474"/>
                  </a:lnTo>
                  <a:lnTo>
                    <a:pt x="730" y="1510"/>
                  </a:lnTo>
                  <a:lnTo>
                    <a:pt x="722" y="1524"/>
                  </a:lnTo>
                  <a:lnTo>
                    <a:pt x="716" y="1539"/>
                  </a:lnTo>
                  <a:lnTo>
                    <a:pt x="711" y="1545"/>
                  </a:lnTo>
                  <a:lnTo>
                    <a:pt x="706" y="1549"/>
                  </a:lnTo>
                  <a:lnTo>
                    <a:pt x="702" y="1551"/>
                  </a:lnTo>
                  <a:lnTo>
                    <a:pt x="699" y="1552"/>
                  </a:lnTo>
                  <a:lnTo>
                    <a:pt x="695" y="1553"/>
                  </a:lnTo>
                  <a:lnTo>
                    <a:pt x="690" y="1553"/>
                  </a:lnTo>
                  <a:lnTo>
                    <a:pt x="690" y="1561"/>
                  </a:lnTo>
                  <a:lnTo>
                    <a:pt x="691" y="1571"/>
                  </a:lnTo>
                  <a:lnTo>
                    <a:pt x="693" y="1576"/>
                  </a:lnTo>
                  <a:lnTo>
                    <a:pt x="694" y="1580"/>
                  </a:lnTo>
                  <a:lnTo>
                    <a:pt x="695" y="1583"/>
                  </a:lnTo>
                  <a:lnTo>
                    <a:pt x="697" y="1584"/>
                  </a:lnTo>
                  <a:lnTo>
                    <a:pt x="671" y="1605"/>
                  </a:lnTo>
                  <a:lnTo>
                    <a:pt x="649" y="1622"/>
                  </a:lnTo>
                  <a:lnTo>
                    <a:pt x="639" y="1632"/>
                  </a:lnTo>
                  <a:lnTo>
                    <a:pt x="630" y="1643"/>
                  </a:lnTo>
                  <a:lnTo>
                    <a:pt x="620" y="1656"/>
                  </a:lnTo>
                  <a:lnTo>
                    <a:pt x="611" y="1670"/>
                  </a:lnTo>
                  <a:lnTo>
                    <a:pt x="595" y="1663"/>
                  </a:lnTo>
                  <a:lnTo>
                    <a:pt x="584" y="1656"/>
                  </a:lnTo>
                  <a:lnTo>
                    <a:pt x="575" y="1649"/>
                  </a:lnTo>
                  <a:lnTo>
                    <a:pt x="568" y="1641"/>
                  </a:lnTo>
                  <a:lnTo>
                    <a:pt x="563" y="1631"/>
                  </a:lnTo>
                  <a:lnTo>
                    <a:pt x="560" y="1621"/>
                  </a:lnTo>
                  <a:lnTo>
                    <a:pt x="555" y="1609"/>
                  </a:lnTo>
                  <a:lnTo>
                    <a:pt x="551" y="1597"/>
                  </a:lnTo>
                  <a:lnTo>
                    <a:pt x="542" y="1574"/>
                  </a:lnTo>
                  <a:lnTo>
                    <a:pt x="530" y="1552"/>
                  </a:lnTo>
                  <a:lnTo>
                    <a:pt x="516" y="1529"/>
                  </a:lnTo>
                  <a:lnTo>
                    <a:pt x="501" y="1505"/>
                  </a:lnTo>
                  <a:lnTo>
                    <a:pt x="486" y="1483"/>
                  </a:lnTo>
                  <a:lnTo>
                    <a:pt x="473" y="1461"/>
                  </a:lnTo>
                  <a:lnTo>
                    <a:pt x="461" y="1441"/>
                  </a:lnTo>
                  <a:lnTo>
                    <a:pt x="451" y="1424"/>
                  </a:lnTo>
                  <a:lnTo>
                    <a:pt x="442" y="1405"/>
                  </a:lnTo>
                  <a:lnTo>
                    <a:pt x="436" y="1388"/>
                  </a:lnTo>
                  <a:lnTo>
                    <a:pt x="430" y="1370"/>
                  </a:lnTo>
                  <a:lnTo>
                    <a:pt x="425" y="1352"/>
                  </a:lnTo>
                  <a:lnTo>
                    <a:pt x="419" y="1334"/>
                  </a:lnTo>
                  <a:lnTo>
                    <a:pt x="414" y="1316"/>
                  </a:lnTo>
                  <a:lnTo>
                    <a:pt x="407" y="1296"/>
                  </a:lnTo>
                  <a:lnTo>
                    <a:pt x="398" y="1276"/>
                  </a:lnTo>
                  <a:lnTo>
                    <a:pt x="376" y="1244"/>
                  </a:lnTo>
                  <a:lnTo>
                    <a:pt x="352" y="1214"/>
                  </a:lnTo>
                  <a:lnTo>
                    <a:pt x="341" y="1200"/>
                  </a:lnTo>
                  <a:lnTo>
                    <a:pt x="330" y="1184"/>
                  </a:lnTo>
                  <a:lnTo>
                    <a:pt x="320" y="1169"/>
                  </a:lnTo>
                  <a:lnTo>
                    <a:pt x="312" y="1153"/>
                  </a:lnTo>
                  <a:lnTo>
                    <a:pt x="301" y="1114"/>
                  </a:lnTo>
                  <a:lnTo>
                    <a:pt x="292" y="1078"/>
                  </a:lnTo>
                  <a:lnTo>
                    <a:pt x="284" y="1043"/>
                  </a:lnTo>
                  <a:lnTo>
                    <a:pt x="280" y="1008"/>
                  </a:lnTo>
                  <a:lnTo>
                    <a:pt x="275" y="974"/>
                  </a:lnTo>
                  <a:lnTo>
                    <a:pt x="273" y="938"/>
                  </a:lnTo>
                  <a:lnTo>
                    <a:pt x="272" y="901"/>
                  </a:lnTo>
                  <a:lnTo>
                    <a:pt x="272" y="864"/>
                  </a:lnTo>
                  <a:lnTo>
                    <a:pt x="268" y="863"/>
                  </a:lnTo>
                  <a:lnTo>
                    <a:pt x="263" y="862"/>
                  </a:lnTo>
                  <a:lnTo>
                    <a:pt x="259" y="861"/>
                  </a:lnTo>
                  <a:lnTo>
                    <a:pt x="256" y="857"/>
                  </a:lnTo>
                  <a:lnTo>
                    <a:pt x="252" y="855"/>
                  </a:lnTo>
                  <a:lnTo>
                    <a:pt x="250" y="852"/>
                  </a:lnTo>
                  <a:lnTo>
                    <a:pt x="247" y="848"/>
                  </a:lnTo>
                  <a:lnTo>
                    <a:pt x="246" y="844"/>
                  </a:lnTo>
                  <a:lnTo>
                    <a:pt x="242" y="836"/>
                  </a:lnTo>
                  <a:lnTo>
                    <a:pt x="240" y="827"/>
                  </a:lnTo>
                  <a:lnTo>
                    <a:pt x="239" y="817"/>
                  </a:lnTo>
                  <a:lnTo>
                    <a:pt x="239" y="808"/>
                  </a:lnTo>
                  <a:lnTo>
                    <a:pt x="230" y="814"/>
                  </a:lnTo>
                  <a:lnTo>
                    <a:pt x="224" y="821"/>
                  </a:lnTo>
                  <a:lnTo>
                    <a:pt x="217" y="828"/>
                  </a:lnTo>
                  <a:lnTo>
                    <a:pt x="210" y="836"/>
                  </a:lnTo>
                  <a:lnTo>
                    <a:pt x="201" y="852"/>
                  </a:lnTo>
                  <a:lnTo>
                    <a:pt x="192" y="869"/>
                  </a:lnTo>
                  <a:lnTo>
                    <a:pt x="186" y="876"/>
                  </a:lnTo>
                  <a:lnTo>
                    <a:pt x="182" y="883"/>
                  </a:lnTo>
                  <a:lnTo>
                    <a:pt x="176" y="890"/>
                  </a:lnTo>
                  <a:lnTo>
                    <a:pt x="171" y="895"/>
                  </a:lnTo>
                  <a:lnTo>
                    <a:pt x="164" y="900"/>
                  </a:lnTo>
                  <a:lnTo>
                    <a:pt x="157" y="903"/>
                  </a:lnTo>
                  <a:lnTo>
                    <a:pt x="148" y="905"/>
                  </a:lnTo>
                  <a:lnTo>
                    <a:pt x="139" y="906"/>
                  </a:lnTo>
                  <a:lnTo>
                    <a:pt x="134" y="905"/>
                  </a:lnTo>
                  <a:lnTo>
                    <a:pt x="127" y="903"/>
                  </a:lnTo>
                  <a:lnTo>
                    <a:pt x="120" y="900"/>
                  </a:lnTo>
                  <a:lnTo>
                    <a:pt x="113" y="895"/>
                  </a:lnTo>
                  <a:lnTo>
                    <a:pt x="105" y="889"/>
                  </a:lnTo>
                  <a:lnTo>
                    <a:pt x="97" y="883"/>
                  </a:lnTo>
                  <a:lnTo>
                    <a:pt x="90" y="876"/>
                  </a:lnTo>
                  <a:lnTo>
                    <a:pt x="82" y="868"/>
                  </a:lnTo>
                  <a:lnTo>
                    <a:pt x="75" y="860"/>
                  </a:lnTo>
                  <a:lnTo>
                    <a:pt x="69" y="851"/>
                  </a:lnTo>
                  <a:lnTo>
                    <a:pt x="62" y="842"/>
                  </a:lnTo>
                  <a:lnTo>
                    <a:pt x="57" y="833"/>
                  </a:lnTo>
                  <a:lnTo>
                    <a:pt x="52" y="825"/>
                  </a:lnTo>
                  <a:lnTo>
                    <a:pt x="49" y="817"/>
                  </a:lnTo>
                  <a:lnTo>
                    <a:pt x="47" y="809"/>
                  </a:lnTo>
                  <a:lnTo>
                    <a:pt x="46" y="801"/>
                  </a:lnTo>
                  <a:lnTo>
                    <a:pt x="51" y="798"/>
                  </a:lnTo>
                  <a:lnTo>
                    <a:pt x="63" y="792"/>
                  </a:lnTo>
                  <a:lnTo>
                    <a:pt x="77" y="786"/>
                  </a:lnTo>
                  <a:lnTo>
                    <a:pt x="85" y="783"/>
                  </a:lnTo>
                  <a:lnTo>
                    <a:pt x="77" y="783"/>
                  </a:lnTo>
                  <a:lnTo>
                    <a:pt x="67" y="782"/>
                  </a:lnTo>
                  <a:lnTo>
                    <a:pt x="59" y="780"/>
                  </a:lnTo>
                  <a:lnTo>
                    <a:pt x="51" y="779"/>
                  </a:lnTo>
                  <a:lnTo>
                    <a:pt x="44" y="776"/>
                  </a:lnTo>
                  <a:lnTo>
                    <a:pt x="37" y="774"/>
                  </a:lnTo>
                  <a:lnTo>
                    <a:pt x="30" y="771"/>
                  </a:lnTo>
                  <a:lnTo>
                    <a:pt x="25" y="767"/>
                  </a:lnTo>
                  <a:lnTo>
                    <a:pt x="21" y="763"/>
                  </a:lnTo>
                  <a:lnTo>
                    <a:pt x="16" y="759"/>
                  </a:lnTo>
                  <a:lnTo>
                    <a:pt x="12" y="754"/>
                  </a:lnTo>
                  <a:lnTo>
                    <a:pt x="8" y="750"/>
                  </a:lnTo>
                  <a:lnTo>
                    <a:pt x="3" y="738"/>
                  </a:lnTo>
                  <a:lnTo>
                    <a:pt x="0" y="727"/>
                  </a:lnTo>
                  <a:lnTo>
                    <a:pt x="10" y="719"/>
                  </a:lnTo>
                  <a:lnTo>
                    <a:pt x="21" y="713"/>
                  </a:lnTo>
                  <a:lnTo>
                    <a:pt x="32" y="708"/>
                  </a:lnTo>
                  <a:lnTo>
                    <a:pt x="44" y="704"/>
                  </a:lnTo>
                  <a:lnTo>
                    <a:pt x="67" y="699"/>
                  </a:lnTo>
                  <a:lnTo>
                    <a:pt x="90" y="695"/>
                  </a:lnTo>
                  <a:lnTo>
                    <a:pt x="102" y="693"/>
                  </a:lnTo>
                  <a:lnTo>
                    <a:pt x="113" y="689"/>
                  </a:lnTo>
                  <a:lnTo>
                    <a:pt x="123" y="686"/>
                  </a:lnTo>
                  <a:lnTo>
                    <a:pt x="133" y="681"/>
                  </a:lnTo>
                  <a:lnTo>
                    <a:pt x="142" y="676"/>
                  </a:lnTo>
                  <a:lnTo>
                    <a:pt x="151" y="668"/>
                  </a:lnTo>
                  <a:lnTo>
                    <a:pt x="159" y="659"/>
                  </a:lnTo>
                  <a:lnTo>
                    <a:pt x="165" y="648"/>
                  </a:lnTo>
                  <a:lnTo>
                    <a:pt x="161" y="646"/>
                  </a:lnTo>
                  <a:lnTo>
                    <a:pt x="157" y="643"/>
                  </a:lnTo>
                  <a:lnTo>
                    <a:pt x="151" y="639"/>
                  </a:lnTo>
                  <a:lnTo>
                    <a:pt x="145" y="633"/>
                  </a:lnTo>
                  <a:lnTo>
                    <a:pt x="131" y="621"/>
                  </a:lnTo>
                  <a:lnTo>
                    <a:pt x="118" y="607"/>
                  </a:lnTo>
                  <a:lnTo>
                    <a:pt x="106" y="592"/>
                  </a:lnTo>
                  <a:lnTo>
                    <a:pt x="95" y="576"/>
                  </a:lnTo>
                  <a:lnTo>
                    <a:pt x="92" y="569"/>
                  </a:lnTo>
                  <a:lnTo>
                    <a:pt x="89" y="562"/>
                  </a:lnTo>
                  <a:lnTo>
                    <a:pt x="86" y="555"/>
                  </a:lnTo>
                  <a:lnTo>
                    <a:pt x="85" y="549"/>
                  </a:lnTo>
                  <a:lnTo>
                    <a:pt x="81" y="548"/>
                  </a:lnTo>
                  <a:lnTo>
                    <a:pt x="77" y="547"/>
                  </a:lnTo>
                  <a:lnTo>
                    <a:pt x="73" y="545"/>
                  </a:lnTo>
                  <a:lnTo>
                    <a:pt x="70" y="541"/>
                  </a:lnTo>
                  <a:lnTo>
                    <a:pt x="64" y="534"/>
                  </a:lnTo>
                  <a:lnTo>
                    <a:pt x="59" y="524"/>
                  </a:lnTo>
                  <a:lnTo>
                    <a:pt x="59" y="500"/>
                  </a:lnTo>
                  <a:lnTo>
                    <a:pt x="73" y="499"/>
                  </a:lnTo>
                  <a:lnTo>
                    <a:pt x="86" y="498"/>
                  </a:lnTo>
                  <a:lnTo>
                    <a:pt x="98" y="496"/>
                  </a:lnTo>
                  <a:lnTo>
                    <a:pt x="109" y="492"/>
                  </a:lnTo>
                  <a:lnTo>
                    <a:pt x="119" y="489"/>
                  </a:lnTo>
                  <a:lnTo>
                    <a:pt x="129" y="484"/>
                  </a:lnTo>
                  <a:lnTo>
                    <a:pt x="138" y="479"/>
                  </a:lnTo>
                  <a:lnTo>
                    <a:pt x="147" y="473"/>
                  </a:lnTo>
                  <a:lnTo>
                    <a:pt x="154" y="466"/>
                  </a:lnTo>
                  <a:lnTo>
                    <a:pt x="162" y="459"/>
                  </a:lnTo>
                  <a:lnTo>
                    <a:pt x="169" y="452"/>
                  </a:lnTo>
                  <a:lnTo>
                    <a:pt x="175" y="444"/>
                  </a:lnTo>
                  <a:lnTo>
                    <a:pt x="186" y="428"/>
                  </a:lnTo>
                  <a:lnTo>
                    <a:pt x="197" y="410"/>
                  </a:lnTo>
                  <a:lnTo>
                    <a:pt x="216" y="374"/>
                  </a:lnTo>
                  <a:lnTo>
                    <a:pt x="235" y="338"/>
                  </a:lnTo>
                  <a:lnTo>
                    <a:pt x="246" y="322"/>
                  </a:lnTo>
                  <a:lnTo>
                    <a:pt x="257" y="308"/>
                  </a:lnTo>
                  <a:lnTo>
                    <a:pt x="263" y="300"/>
                  </a:lnTo>
                  <a:lnTo>
                    <a:pt x="270" y="294"/>
                  </a:lnTo>
                  <a:lnTo>
                    <a:pt x="277" y="289"/>
                  </a:lnTo>
                  <a:lnTo>
                    <a:pt x="285" y="284"/>
                  </a:lnTo>
                  <a:lnTo>
                    <a:pt x="279" y="272"/>
                  </a:lnTo>
                  <a:lnTo>
                    <a:pt x="274" y="261"/>
                  </a:lnTo>
                  <a:lnTo>
                    <a:pt x="273" y="256"/>
                  </a:lnTo>
                  <a:lnTo>
                    <a:pt x="272" y="251"/>
                  </a:lnTo>
                  <a:lnTo>
                    <a:pt x="272" y="245"/>
                  </a:lnTo>
                  <a:lnTo>
                    <a:pt x="272" y="240"/>
                  </a:lnTo>
                  <a:lnTo>
                    <a:pt x="273" y="235"/>
                  </a:lnTo>
                  <a:lnTo>
                    <a:pt x="274" y="230"/>
                  </a:lnTo>
                  <a:lnTo>
                    <a:pt x="276" y="226"/>
                  </a:lnTo>
                  <a:lnTo>
                    <a:pt x="280" y="222"/>
                  </a:lnTo>
                  <a:lnTo>
                    <a:pt x="283" y="219"/>
                  </a:lnTo>
                  <a:lnTo>
                    <a:pt x="287" y="216"/>
                  </a:lnTo>
                  <a:lnTo>
                    <a:pt x="293" y="213"/>
                  </a:lnTo>
                  <a:lnTo>
                    <a:pt x="298" y="210"/>
                  </a:lnTo>
                  <a:lnTo>
                    <a:pt x="269" y="183"/>
                  </a:lnTo>
                  <a:lnTo>
                    <a:pt x="247" y="163"/>
                  </a:lnTo>
                  <a:lnTo>
                    <a:pt x="237" y="153"/>
                  </a:lnTo>
                  <a:lnTo>
                    <a:pt x="227" y="142"/>
                  </a:lnTo>
                  <a:lnTo>
                    <a:pt x="217" y="128"/>
                  </a:lnTo>
                  <a:lnTo>
                    <a:pt x="205" y="111"/>
                  </a:lnTo>
                  <a:lnTo>
                    <a:pt x="205" y="68"/>
                  </a:lnTo>
                  <a:lnTo>
                    <a:pt x="229" y="68"/>
                  </a:lnTo>
                  <a:lnTo>
                    <a:pt x="256" y="66"/>
                  </a:lnTo>
                  <a:lnTo>
                    <a:pt x="270" y="65"/>
                  </a:lnTo>
                  <a:lnTo>
                    <a:pt x="283" y="63"/>
                  </a:lnTo>
                  <a:lnTo>
                    <a:pt x="297" y="60"/>
                  </a:lnTo>
                  <a:lnTo>
                    <a:pt x="310" y="57"/>
                  </a:lnTo>
                  <a:lnTo>
                    <a:pt x="322" y="54"/>
                  </a:lnTo>
                  <a:lnTo>
                    <a:pt x="335" y="49"/>
                  </a:lnTo>
                  <a:lnTo>
                    <a:pt x="347" y="44"/>
                  </a:lnTo>
                  <a:lnTo>
                    <a:pt x="357" y="37"/>
                  </a:lnTo>
                  <a:lnTo>
                    <a:pt x="366" y="30"/>
                  </a:lnTo>
                  <a:lnTo>
                    <a:pt x="374" y="21"/>
                  </a:lnTo>
                  <a:lnTo>
                    <a:pt x="381" y="11"/>
                  </a:lnTo>
                  <a:lnTo>
                    <a:pt x="385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906" name="Freeform 465"/>
            <p:cNvSpPr>
              <a:spLocks/>
            </p:cNvSpPr>
            <p:nvPr>
              <p:custDataLst>
                <p:tags r:id="rId298"/>
              </p:custDataLst>
            </p:nvPr>
          </p:nvSpPr>
          <p:spPr bwMode="auto">
            <a:xfrm>
              <a:off x="5345582" y="3699433"/>
              <a:ext cx="189260" cy="247829"/>
            </a:xfrm>
            <a:custGeom>
              <a:avLst/>
              <a:gdLst>
                <a:gd name="T0" fmla="*/ 23437 w 359"/>
                <a:gd name="T1" fmla="*/ 200089 h 394"/>
                <a:gd name="T2" fmla="*/ 23437 w 359"/>
                <a:gd name="T3" fmla="*/ 187518 h 394"/>
                <a:gd name="T4" fmla="*/ 23437 w 359"/>
                <a:gd name="T5" fmla="*/ 174424 h 394"/>
                <a:gd name="T6" fmla="*/ 22110 w 359"/>
                <a:gd name="T7" fmla="*/ 163424 h 394"/>
                <a:gd name="T8" fmla="*/ 19015 w 359"/>
                <a:gd name="T9" fmla="*/ 153472 h 394"/>
                <a:gd name="T10" fmla="*/ 15477 w 359"/>
                <a:gd name="T11" fmla="*/ 145091 h 394"/>
                <a:gd name="T12" fmla="*/ 5749 w 359"/>
                <a:gd name="T13" fmla="*/ 128330 h 394"/>
                <a:gd name="T14" fmla="*/ 0 w 359"/>
                <a:gd name="T15" fmla="*/ 96902 h 394"/>
                <a:gd name="T16" fmla="*/ 14593 w 359"/>
                <a:gd name="T17" fmla="*/ 94807 h 394"/>
                <a:gd name="T18" fmla="*/ 17688 w 359"/>
                <a:gd name="T19" fmla="*/ 88521 h 394"/>
                <a:gd name="T20" fmla="*/ 18130 w 359"/>
                <a:gd name="T21" fmla="*/ 78569 h 394"/>
                <a:gd name="T22" fmla="*/ 16804 w 359"/>
                <a:gd name="T23" fmla="*/ 56046 h 394"/>
                <a:gd name="T24" fmla="*/ 13708 w 359"/>
                <a:gd name="T25" fmla="*/ 34047 h 394"/>
                <a:gd name="T26" fmla="*/ 14150 w 359"/>
                <a:gd name="T27" fmla="*/ 24618 h 394"/>
                <a:gd name="T28" fmla="*/ 15919 w 359"/>
                <a:gd name="T29" fmla="*/ 18857 h 394"/>
                <a:gd name="T30" fmla="*/ 53064 w 359"/>
                <a:gd name="T31" fmla="*/ 16238 h 394"/>
                <a:gd name="T32" fmla="*/ 53948 w 359"/>
                <a:gd name="T33" fmla="*/ 11523 h 394"/>
                <a:gd name="T34" fmla="*/ 56602 w 359"/>
                <a:gd name="T35" fmla="*/ 7333 h 394"/>
                <a:gd name="T36" fmla="*/ 61908 w 359"/>
                <a:gd name="T37" fmla="*/ 0 h 394"/>
                <a:gd name="T38" fmla="*/ 62792 w 359"/>
                <a:gd name="T39" fmla="*/ 9428 h 394"/>
                <a:gd name="T40" fmla="*/ 62792 w 359"/>
                <a:gd name="T41" fmla="*/ 13619 h 394"/>
                <a:gd name="T42" fmla="*/ 61908 w 359"/>
                <a:gd name="T43" fmla="*/ 16238 h 394"/>
                <a:gd name="T44" fmla="*/ 74290 w 359"/>
                <a:gd name="T45" fmla="*/ 16238 h 394"/>
                <a:gd name="T46" fmla="*/ 82249 w 359"/>
                <a:gd name="T47" fmla="*/ 16238 h 394"/>
                <a:gd name="T48" fmla="*/ 94631 w 359"/>
                <a:gd name="T49" fmla="*/ 19904 h 394"/>
                <a:gd name="T50" fmla="*/ 103033 w 359"/>
                <a:gd name="T51" fmla="*/ 25666 h 394"/>
                <a:gd name="T52" fmla="*/ 108781 w 359"/>
                <a:gd name="T53" fmla="*/ 30380 h 394"/>
                <a:gd name="T54" fmla="*/ 114530 w 359"/>
                <a:gd name="T55" fmla="*/ 31951 h 394"/>
                <a:gd name="T56" fmla="*/ 118510 w 359"/>
                <a:gd name="T57" fmla="*/ 30904 h 394"/>
                <a:gd name="T58" fmla="*/ 121605 w 359"/>
                <a:gd name="T59" fmla="*/ 28285 h 394"/>
                <a:gd name="T60" fmla="*/ 126469 w 359"/>
                <a:gd name="T61" fmla="*/ 19380 h 394"/>
                <a:gd name="T62" fmla="*/ 137967 w 359"/>
                <a:gd name="T63" fmla="*/ 27237 h 394"/>
                <a:gd name="T64" fmla="*/ 143715 w 359"/>
                <a:gd name="T65" fmla="*/ 30904 h 394"/>
                <a:gd name="T66" fmla="*/ 149464 w 359"/>
                <a:gd name="T67" fmla="*/ 31951 h 394"/>
                <a:gd name="T68" fmla="*/ 156097 w 359"/>
                <a:gd name="T69" fmla="*/ 84331 h 394"/>
                <a:gd name="T70" fmla="*/ 149464 w 359"/>
                <a:gd name="T71" fmla="*/ 96902 h 394"/>
                <a:gd name="T72" fmla="*/ 142831 w 359"/>
                <a:gd name="T73" fmla="*/ 107902 h 394"/>
                <a:gd name="T74" fmla="*/ 139293 w 359"/>
                <a:gd name="T75" fmla="*/ 117330 h 394"/>
                <a:gd name="T76" fmla="*/ 138409 w 359"/>
                <a:gd name="T77" fmla="*/ 125187 h 394"/>
                <a:gd name="T78" fmla="*/ 138409 w 359"/>
                <a:gd name="T79" fmla="*/ 133568 h 394"/>
                <a:gd name="T80" fmla="*/ 141946 w 359"/>
                <a:gd name="T81" fmla="*/ 142996 h 394"/>
                <a:gd name="T82" fmla="*/ 146368 w 359"/>
                <a:gd name="T83" fmla="*/ 153472 h 394"/>
                <a:gd name="T84" fmla="*/ 149022 w 359"/>
                <a:gd name="T85" fmla="*/ 161852 h 394"/>
                <a:gd name="T86" fmla="*/ 149022 w 359"/>
                <a:gd name="T87" fmla="*/ 168138 h 394"/>
                <a:gd name="T88" fmla="*/ 145926 w 359"/>
                <a:gd name="T89" fmla="*/ 176519 h 394"/>
                <a:gd name="T90" fmla="*/ 144157 w 359"/>
                <a:gd name="T91" fmla="*/ 183852 h 394"/>
                <a:gd name="T92" fmla="*/ 141062 w 359"/>
                <a:gd name="T93" fmla="*/ 187518 h 394"/>
                <a:gd name="T94" fmla="*/ 136198 w 359"/>
                <a:gd name="T95" fmla="*/ 186471 h 394"/>
                <a:gd name="T96" fmla="*/ 131776 w 359"/>
                <a:gd name="T97" fmla="*/ 183328 h 394"/>
                <a:gd name="T98" fmla="*/ 126912 w 359"/>
                <a:gd name="T99" fmla="*/ 178090 h 394"/>
                <a:gd name="T100" fmla="*/ 122490 w 359"/>
                <a:gd name="T101" fmla="*/ 175471 h 394"/>
                <a:gd name="T102" fmla="*/ 117625 w 359"/>
                <a:gd name="T103" fmla="*/ 174424 h 394"/>
                <a:gd name="T104" fmla="*/ 108781 w 359"/>
                <a:gd name="T105" fmla="*/ 174424 h 394"/>
                <a:gd name="T106" fmla="*/ 97726 w 359"/>
                <a:gd name="T107" fmla="*/ 175995 h 394"/>
                <a:gd name="T108" fmla="*/ 80038 w 359"/>
                <a:gd name="T109" fmla="*/ 179661 h 394"/>
                <a:gd name="T110" fmla="*/ 57928 w 359"/>
                <a:gd name="T111" fmla="*/ 188042 h 394"/>
                <a:gd name="T112" fmla="*/ 38029 w 359"/>
                <a:gd name="T113" fmla="*/ 196423 h 394"/>
                <a:gd name="T114" fmla="*/ 23437 w 359"/>
                <a:gd name="T115" fmla="*/ 206375 h 39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359" h="394">
                  <a:moveTo>
                    <a:pt x="53" y="394"/>
                  </a:moveTo>
                  <a:lnTo>
                    <a:pt x="53" y="382"/>
                  </a:lnTo>
                  <a:lnTo>
                    <a:pt x="53" y="370"/>
                  </a:lnTo>
                  <a:lnTo>
                    <a:pt x="53" y="358"/>
                  </a:lnTo>
                  <a:lnTo>
                    <a:pt x="53" y="346"/>
                  </a:lnTo>
                  <a:lnTo>
                    <a:pt x="53" y="333"/>
                  </a:lnTo>
                  <a:lnTo>
                    <a:pt x="52" y="322"/>
                  </a:lnTo>
                  <a:lnTo>
                    <a:pt x="50" y="312"/>
                  </a:lnTo>
                  <a:lnTo>
                    <a:pt x="46" y="302"/>
                  </a:lnTo>
                  <a:lnTo>
                    <a:pt x="43" y="293"/>
                  </a:lnTo>
                  <a:lnTo>
                    <a:pt x="40" y="284"/>
                  </a:lnTo>
                  <a:lnTo>
                    <a:pt x="35" y="277"/>
                  </a:lnTo>
                  <a:lnTo>
                    <a:pt x="32" y="270"/>
                  </a:lnTo>
                  <a:lnTo>
                    <a:pt x="13" y="245"/>
                  </a:lnTo>
                  <a:lnTo>
                    <a:pt x="0" y="222"/>
                  </a:lnTo>
                  <a:lnTo>
                    <a:pt x="0" y="185"/>
                  </a:lnTo>
                  <a:lnTo>
                    <a:pt x="27" y="185"/>
                  </a:lnTo>
                  <a:lnTo>
                    <a:pt x="33" y="181"/>
                  </a:lnTo>
                  <a:lnTo>
                    <a:pt x="38" y="174"/>
                  </a:lnTo>
                  <a:lnTo>
                    <a:pt x="40" y="169"/>
                  </a:lnTo>
                  <a:lnTo>
                    <a:pt x="41" y="163"/>
                  </a:lnTo>
                  <a:lnTo>
                    <a:pt x="41" y="150"/>
                  </a:lnTo>
                  <a:lnTo>
                    <a:pt x="40" y="136"/>
                  </a:lnTo>
                  <a:lnTo>
                    <a:pt x="38" y="107"/>
                  </a:lnTo>
                  <a:lnTo>
                    <a:pt x="32" y="79"/>
                  </a:lnTo>
                  <a:lnTo>
                    <a:pt x="31" y="65"/>
                  </a:lnTo>
                  <a:lnTo>
                    <a:pt x="31" y="52"/>
                  </a:lnTo>
                  <a:lnTo>
                    <a:pt x="32" y="47"/>
                  </a:lnTo>
                  <a:lnTo>
                    <a:pt x="34" y="41"/>
                  </a:lnTo>
                  <a:lnTo>
                    <a:pt x="36" y="36"/>
                  </a:lnTo>
                  <a:lnTo>
                    <a:pt x="40" y="31"/>
                  </a:lnTo>
                  <a:lnTo>
                    <a:pt x="120" y="31"/>
                  </a:lnTo>
                  <a:lnTo>
                    <a:pt x="120" y="27"/>
                  </a:lnTo>
                  <a:lnTo>
                    <a:pt x="122" y="22"/>
                  </a:lnTo>
                  <a:lnTo>
                    <a:pt x="124" y="18"/>
                  </a:lnTo>
                  <a:lnTo>
                    <a:pt x="128" y="14"/>
                  </a:lnTo>
                  <a:lnTo>
                    <a:pt x="133" y="6"/>
                  </a:lnTo>
                  <a:lnTo>
                    <a:pt x="140" y="0"/>
                  </a:lnTo>
                  <a:lnTo>
                    <a:pt x="141" y="9"/>
                  </a:lnTo>
                  <a:lnTo>
                    <a:pt x="142" y="18"/>
                  </a:lnTo>
                  <a:lnTo>
                    <a:pt x="143" y="22"/>
                  </a:lnTo>
                  <a:lnTo>
                    <a:pt x="142" y="26"/>
                  </a:lnTo>
                  <a:lnTo>
                    <a:pt x="142" y="29"/>
                  </a:lnTo>
                  <a:lnTo>
                    <a:pt x="140" y="31"/>
                  </a:lnTo>
                  <a:lnTo>
                    <a:pt x="153" y="31"/>
                  </a:lnTo>
                  <a:lnTo>
                    <a:pt x="168" y="31"/>
                  </a:lnTo>
                  <a:lnTo>
                    <a:pt x="180" y="31"/>
                  </a:lnTo>
                  <a:lnTo>
                    <a:pt x="186" y="31"/>
                  </a:lnTo>
                  <a:lnTo>
                    <a:pt x="202" y="34"/>
                  </a:lnTo>
                  <a:lnTo>
                    <a:pt x="214" y="38"/>
                  </a:lnTo>
                  <a:lnTo>
                    <a:pt x="224" y="43"/>
                  </a:lnTo>
                  <a:lnTo>
                    <a:pt x="233" y="49"/>
                  </a:lnTo>
                  <a:lnTo>
                    <a:pt x="240" y="53"/>
                  </a:lnTo>
                  <a:lnTo>
                    <a:pt x="246" y="58"/>
                  </a:lnTo>
                  <a:lnTo>
                    <a:pt x="252" y="60"/>
                  </a:lnTo>
                  <a:lnTo>
                    <a:pt x="259" y="61"/>
                  </a:lnTo>
                  <a:lnTo>
                    <a:pt x="264" y="61"/>
                  </a:lnTo>
                  <a:lnTo>
                    <a:pt x="268" y="59"/>
                  </a:lnTo>
                  <a:lnTo>
                    <a:pt x="271" y="57"/>
                  </a:lnTo>
                  <a:lnTo>
                    <a:pt x="275" y="54"/>
                  </a:lnTo>
                  <a:lnTo>
                    <a:pt x="280" y="46"/>
                  </a:lnTo>
                  <a:lnTo>
                    <a:pt x="286" y="37"/>
                  </a:lnTo>
                  <a:lnTo>
                    <a:pt x="300" y="44"/>
                  </a:lnTo>
                  <a:lnTo>
                    <a:pt x="312" y="52"/>
                  </a:lnTo>
                  <a:lnTo>
                    <a:pt x="319" y="55"/>
                  </a:lnTo>
                  <a:lnTo>
                    <a:pt x="325" y="59"/>
                  </a:lnTo>
                  <a:lnTo>
                    <a:pt x="332" y="61"/>
                  </a:lnTo>
                  <a:lnTo>
                    <a:pt x="338" y="61"/>
                  </a:lnTo>
                  <a:lnTo>
                    <a:pt x="359" y="148"/>
                  </a:lnTo>
                  <a:lnTo>
                    <a:pt x="353" y="161"/>
                  </a:lnTo>
                  <a:lnTo>
                    <a:pt x="346" y="173"/>
                  </a:lnTo>
                  <a:lnTo>
                    <a:pt x="338" y="185"/>
                  </a:lnTo>
                  <a:lnTo>
                    <a:pt x="331" y="195"/>
                  </a:lnTo>
                  <a:lnTo>
                    <a:pt x="323" y="206"/>
                  </a:lnTo>
                  <a:lnTo>
                    <a:pt x="318" y="218"/>
                  </a:lnTo>
                  <a:lnTo>
                    <a:pt x="315" y="224"/>
                  </a:lnTo>
                  <a:lnTo>
                    <a:pt x="314" y="231"/>
                  </a:lnTo>
                  <a:lnTo>
                    <a:pt x="313" y="239"/>
                  </a:lnTo>
                  <a:lnTo>
                    <a:pt x="312" y="247"/>
                  </a:lnTo>
                  <a:lnTo>
                    <a:pt x="313" y="255"/>
                  </a:lnTo>
                  <a:lnTo>
                    <a:pt x="316" y="263"/>
                  </a:lnTo>
                  <a:lnTo>
                    <a:pt x="321" y="273"/>
                  </a:lnTo>
                  <a:lnTo>
                    <a:pt x="325" y="283"/>
                  </a:lnTo>
                  <a:lnTo>
                    <a:pt x="331" y="293"/>
                  </a:lnTo>
                  <a:lnTo>
                    <a:pt x="335" y="302"/>
                  </a:lnTo>
                  <a:lnTo>
                    <a:pt x="337" y="309"/>
                  </a:lnTo>
                  <a:lnTo>
                    <a:pt x="338" y="315"/>
                  </a:lnTo>
                  <a:lnTo>
                    <a:pt x="337" y="321"/>
                  </a:lnTo>
                  <a:lnTo>
                    <a:pt x="332" y="331"/>
                  </a:lnTo>
                  <a:lnTo>
                    <a:pt x="330" y="337"/>
                  </a:lnTo>
                  <a:lnTo>
                    <a:pt x="327" y="343"/>
                  </a:lnTo>
                  <a:lnTo>
                    <a:pt x="326" y="351"/>
                  </a:lnTo>
                  <a:lnTo>
                    <a:pt x="325" y="358"/>
                  </a:lnTo>
                  <a:lnTo>
                    <a:pt x="319" y="358"/>
                  </a:lnTo>
                  <a:lnTo>
                    <a:pt x="313" y="357"/>
                  </a:lnTo>
                  <a:lnTo>
                    <a:pt x="308" y="356"/>
                  </a:lnTo>
                  <a:lnTo>
                    <a:pt x="304" y="354"/>
                  </a:lnTo>
                  <a:lnTo>
                    <a:pt x="298" y="350"/>
                  </a:lnTo>
                  <a:lnTo>
                    <a:pt x="292" y="346"/>
                  </a:lnTo>
                  <a:lnTo>
                    <a:pt x="287" y="340"/>
                  </a:lnTo>
                  <a:lnTo>
                    <a:pt x="280" y="336"/>
                  </a:lnTo>
                  <a:lnTo>
                    <a:pt x="277" y="335"/>
                  </a:lnTo>
                  <a:lnTo>
                    <a:pt x="271" y="334"/>
                  </a:lnTo>
                  <a:lnTo>
                    <a:pt x="266" y="333"/>
                  </a:lnTo>
                  <a:lnTo>
                    <a:pt x="259" y="333"/>
                  </a:lnTo>
                  <a:lnTo>
                    <a:pt x="246" y="333"/>
                  </a:lnTo>
                  <a:lnTo>
                    <a:pt x="234" y="334"/>
                  </a:lnTo>
                  <a:lnTo>
                    <a:pt x="221" y="336"/>
                  </a:lnTo>
                  <a:lnTo>
                    <a:pt x="208" y="338"/>
                  </a:lnTo>
                  <a:lnTo>
                    <a:pt x="181" y="343"/>
                  </a:lnTo>
                  <a:lnTo>
                    <a:pt x="155" y="351"/>
                  </a:lnTo>
                  <a:lnTo>
                    <a:pt x="131" y="359"/>
                  </a:lnTo>
                  <a:lnTo>
                    <a:pt x="107" y="367"/>
                  </a:lnTo>
                  <a:lnTo>
                    <a:pt x="86" y="375"/>
                  </a:lnTo>
                  <a:lnTo>
                    <a:pt x="66" y="382"/>
                  </a:lnTo>
                  <a:lnTo>
                    <a:pt x="53" y="394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907" name="Freeform 466"/>
            <p:cNvSpPr>
              <a:spLocks/>
            </p:cNvSpPr>
            <p:nvPr>
              <p:custDataLst>
                <p:tags r:id="rId299"/>
              </p:custDataLst>
            </p:nvPr>
          </p:nvSpPr>
          <p:spPr bwMode="auto">
            <a:xfrm>
              <a:off x="6619302" y="3933917"/>
              <a:ext cx="229005" cy="325991"/>
            </a:xfrm>
            <a:custGeom>
              <a:avLst/>
              <a:gdLst>
                <a:gd name="T0" fmla="*/ 175403 w 449"/>
                <a:gd name="T1" fmla="*/ 54500 h 523"/>
                <a:gd name="T2" fmla="*/ 173264 w 449"/>
                <a:gd name="T3" fmla="*/ 50867 h 523"/>
                <a:gd name="T4" fmla="*/ 174548 w 449"/>
                <a:gd name="T5" fmla="*/ 47753 h 523"/>
                <a:gd name="T6" fmla="*/ 180537 w 449"/>
                <a:gd name="T7" fmla="*/ 39967 h 523"/>
                <a:gd name="T8" fmla="*/ 188665 w 449"/>
                <a:gd name="T9" fmla="*/ 31143 h 523"/>
                <a:gd name="T10" fmla="*/ 191232 w 449"/>
                <a:gd name="T11" fmla="*/ 25952 h 523"/>
                <a:gd name="T12" fmla="*/ 192088 w 449"/>
                <a:gd name="T13" fmla="*/ 19205 h 523"/>
                <a:gd name="T14" fmla="*/ 184815 w 449"/>
                <a:gd name="T15" fmla="*/ 17648 h 523"/>
                <a:gd name="T16" fmla="*/ 180537 w 449"/>
                <a:gd name="T17" fmla="*/ 14014 h 523"/>
                <a:gd name="T18" fmla="*/ 175831 w 449"/>
                <a:gd name="T19" fmla="*/ 10900 h 523"/>
                <a:gd name="T20" fmla="*/ 166847 w 449"/>
                <a:gd name="T21" fmla="*/ 9343 h 523"/>
                <a:gd name="T22" fmla="*/ 161285 w 449"/>
                <a:gd name="T23" fmla="*/ 10381 h 523"/>
                <a:gd name="T24" fmla="*/ 157435 w 449"/>
                <a:gd name="T25" fmla="*/ 12457 h 523"/>
                <a:gd name="T26" fmla="*/ 151874 w 449"/>
                <a:gd name="T27" fmla="*/ 19205 h 523"/>
                <a:gd name="T28" fmla="*/ 145456 w 449"/>
                <a:gd name="T29" fmla="*/ 25952 h 523"/>
                <a:gd name="T30" fmla="*/ 139467 w 449"/>
                <a:gd name="T31" fmla="*/ 28029 h 523"/>
                <a:gd name="T32" fmla="*/ 132622 w 449"/>
                <a:gd name="T33" fmla="*/ 28548 h 523"/>
                <a:gd name="T34" fmla="*/ 122782 w 449"/>
                <a:gd name="T35" fmla="*/ 28029 h 523"/>
                <a:gd name="T36" fmla="*/ 114226 w 449"/>
                <a:gd name="T37" fmla="*/ 25952 h 523"/>
                <a:gd name="T38" fmla="*/ 100536 w 449"/>
                <a:gd name="T39" fmla="*/ 18686 h 523"/>
                <a:gd name="T40" fmla="*/ 88129 w 449"/>
                <a:gd name="T41" fmla="*/ 9862 h 523"/>
                <a:gd name="T42" fmla="*/ 80857 w 449"/>
                <a:gd name="T43" fmla="*/ 6229 h 523"/>
                <a:gd name="T44" fmla="*/ 72728 w 449"/>
                <a:gd name="T45" fmla="*/ 3114 h 523"/>
                <a:gd name="T46" fmla="*/ 57327 w 449"/>
                <a:gd name="T47" fmla="*/ 4152 h 523"/>
                <a:gd name="T48" fmla="*/ 50910 w 449"/>
                <a:gd name="T49" fmla="*/ 3114 h 523"/>
                <a:gd name="T50" fmla="*/ 44065 w 449"/>
                <a:gd name="T51" fmla="*/ 0 h 523"/>
                <a:gd name="T52" fmla="*/ 22246 w 449"/>
                <a:gd name="T53" fmla="*/ 0 h 523"/>
                <a:gd name="T54" fmla="*/ 2139 w 449"/>
                <a:gd name="T55" fmla="*/ 0 h 523"/>
                <a:gd name="T56" fmla="*/ 2139 w 449"/>
                <a:gd name="T57" fmla="*/ 9343 h 523"/>
                <a:gd name="T58" fmla="*/ 2139 w 449"/>
                <a:gd name="T59" fmla="*/ 19205 h 523"/>
                <a:gd name="T60" fmla="*/ 6417 w 449"/>
                <a:gd name="T61" fmla="*/ 31143 h 523"/>
                <a:gd name="T62" fmla="*/ 9840 w 449"/>
                <a:gd name="T63" fmla="*/ 47234 h 523"/>
                <a:gd name="T64" fmla="*/ 13262 w 449"/>
                <a:gd name="T65" fmla="*/ 66438 h 523"/>
                <a:gd name="T66" fmla="*/ 16257 w 449"/>
                <a:gd name="T67" fmla="*/ 89277 h 523"/>
                <a:gd name="T68" fmla="*/ 15829 w 449"/>
                <a:gd name="T69" fmla="*/ 106924 h 523"/>
                <a:gd name="T70" fmla="*/ 12407 w 449"/>
                <a:gd name="T71" fmla="*/ 119381 h 523"/>
                <a:gd name="T72" fmla="*/ 2995 w 449"/>
                <a:gd name="T73" fmla="*/ 139624 h 523"/>
                <a:gd name="T74" fmla="*/ 4278 w 449"/>
                <a:gd name="T75" fmla="*/ 166615 h 523"/>
                <a:gd name="T76" fmla="*/ 11979 w 449"/>
                <a:gd name="T77" fmla="*/ 175958 h 523"/>
                <a:gd name="T78" fmla="*/ 35936 w 449"/>
                <a:gd name="T79" fmla="*/ 190491 h 523"/>
                <a:gd name="T80" fmla="*/ 58183 w 449"/>
                <a:gd name="T81" fmla="*/ 205544 h 523"/>
                <a:gd name="T82" fmla="*/ 72728 w 449"/>
                <a:gd name="T83" fmla="*/ 218001 h 523"/>
                <a:gd name="T84" fmla="*/ 80857 w 449"/>
                <a:gd name="T85" fmla="*/ 226306 h 523"/>
                <a:gd name="T86" fmla="*/ 84707 w 449"/>
                <a:gd name="T87" fmla="*/ 234091 h 523"/>
                <a:gd name="T88" fmla="*/ 85990 w 449"/>
                <a:gd name="T89" fmla="*/ 240839 h 523"/>
                <a:gd name="T90" fmla="*/ 89413 w 449"/>
                <a:gd name="T91" fmla="*/ 248625 h 523"/>
                <a:gd name="T92" fmla="*/ 94119 w 449"/>
                <a:gd name="T93" fmla="*/ 255372 h 523"/>
                <a:gd name="T94" fmla="*/ 99680 w 449"/>
                <a:gd name="T95" fmla="*/ 261082 h 523"/>
                <a:gd name="T96" fmla="*/ 105670 w 449"/>
                <a:gd name="T97" fmla="*/ 265753 h 523"/>
                <a:gd name="T98" fmla="*/ 112943 w 449"/>
                <a:gd name="T99" fmla="*/ 269387 h 523"/>
                <a:gd name="T100" fmla="*/ 120215 w 449"/>
                <a:gd name="T101" fmla="*/ 271463 h 523"/>
                <a:gd name="T102" fmla="*/ 130055 w 449"/>
                <a:gd name="T103" fmla="*/ 260563 h 523"/>
                <a:gd name="T104" fmla="*/ 143317 w 449"/>
                <a:gd name="T105" fmla="*/ 239801 h 523"/>
                <a:gd name="T106" fmla="*/ 156152 w 449"/>
                <a:gd name="T107" fmla="*/ 221634 h 523"/>
                <a:gd name="T108" fmla="*/ 168558 w 449"/>
                <a:gd name="T109" fmla="*/ 202429 h 523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449" h="523">
                  <a:moveTo>
                    <a:pt x="410" y="370"/>
                  </a:moveTo>
                  <a:lnTo>
                    <a:pt x="410" y="105"/>
                  </a:lnTo>
                  <a:lnTo>
                    <a:pt x="407" y="102"/>
                  </a:lnTo>
                  <a:lnTo>
                    <a:pt x="405" y="98"/>
                  </a:lnTo>
                  <a:lnTo>
                    <a:pt x="405" y="95"/>
                  </a:lnTo>
                  <a:lnTo>
                    <a:pt x="408" y="92"/>
                  </a:lnTo>
                  <a:lnTo>
                    <a:pt x="413" y="84"/>
                  </a:lnTo>
                  <a:lnTo>
                    <a:pt x="422" y="77"/>
                  </a:lnTo>
                  <a:lnTo>
                    <a:pt x="432" y="70"/>
                  </a:lnTo>
                  <a:lnTo>
                    <a:pt x="441" y="60"/>
                  </a:lnTo>
                  <a:lnTo>
                    <a:pt x="444" y="55"/>
                  </a:lnTo>
                  <a:lnTo>
                    <a:pt x="447" y="50"/>
                  </a:lnTo>
                  <a:lnTo>
                    <a:pt x="448" y="44"/>
                  </a:lnTo>
                  <a:lnTo>
                    <a:pt x="449" y="37"/>
                  </a:lnTo>
                  <a:lnTo>
                    <a:pt x="438" y="37"/>
                  </a:lnTo>
                  <a:lnTo>
                    <a:pt x="432" y="34"/>
                  </a:lnTo>
                  <a:lnTo>
                    <a:pt x="426" y="32"/>
                  </a:lnTo>
                  <a:lnTo>
                    <a:pt x="422" y="27"/>
                  </a:lnTo>
                  <a:lnTo>
                    <a:pt x="418" y="24"/>
                  </a:lnTo>
                  <a:lnTo>
                    <a:pt x="411" y="21"/>
                  </a:lnTo>
                  <a:lnTo>
                    <a:pt x="402" y="19"/>
                  </a:lnTo>
                  <a:lnTo>
                    <a:pt x="390" y="18"/>
                  </a:lnTo>
                  <a:lnTo>
                    <a:pt x="382" y="19"/>
                  </a:lnTo>
                  <a:lnTo>
                    <a:pt x="377" y="20"/>
                  </a:lnTo>
                  <a:lnTo>
                    <a:pt x="371" y="22"/>
                  </a:lnTo>
                  <a:lnTo>
                    <a:pt x="368" y="24"/>
                  </a:lnTo>
                  <a:lnTo>
                    <a:pt x="360" y="31"/>
                  </a:lnTo>
                  <a:lnTo>
                    <a:pt x="355" y="37"/>
                  </a:lnTo>
                  <a:lnTo>
                    <a:pt x="348" y="44"/>
                  </a:lnTo>
                  <a:lnTo>
                    <a:pt x="340" y="50"/>
                  </a:lnTo>
                  <a:lnTo>
                    <a:pt x="333" y="52"/>
                  </a:lnTo>
                  <a:lnTo>
                    <a:pt x="326" y="54"/>
                  </a:lnTo>
                  <a:lnTo>
                    <a:pt x="319" y="55"/>
                  </a:lnTo>
                  <a:lnTo>
                    <a:pt x="310" y="55"/>
                  </a:lnTo>
                  <a:lnTo>
                    <a:pt x="298" y="55"/>
                  </a:lnTo>
                  <a:lnTo>
                    <a:pt x="287" y="54"/>
                  </a:lnTo>
                  <a:lnTo>
                    <a:pt x="277" y="52"/>
                  </a:lnTo>
                  <a:lnTo>
                    <a:pt x="267" y="50"/>
                  </a:lnTo>
                  <a:lnTo>
                    <a:pt x="251" y="43"/>
                  </a:lnTo>
                  <a:lnTo>
                    <a:pt x="235" y="36"/>
                  </a:lnTo>
                  <a:lnTo>
                    <a:pt x="220" y="27"/>
                  </a:lnTo>
                  <a:lnTo>
                    <a:pt x="206" y="19"/>
                  </a:lnTo>
                  <a:lnTo>
                    <a:pt x="197" y="15"/>
                  </a:lnTo>
                  <a:lnTo>
                    <a:pt x="189" y="12"/>
                  </a:lnTo>
                  <a:lnTo>
                    <a:pt x="180" y="9"/>
                  </a:lnTo>
                  <a:lnTo>
                    <a:pt x="170" y="6"/>
                  </a:lnTo>
                  <a:lnTo>
                    <a:pt x="152" y="7"/>
                  </a:lnTo>
                  <a:lnTo>
                    <a:pt x="134" y="8"/>
                  </a:lnTo>
                  <a:lnTo>
                    <a:pt x="127" y="7"/>
                  </a:lnTo>
                  <a:lnTo>
                    <a:pt x="119" y="6"/>
                  </a:lnTo>
                  <a:lnTo>
                    <a:pt x="111" y="4"/>
                  </a:lnTo>
                  <a:lnTo>
                    <a:pt x="103" y="0"/>
                  </a:lnTo>
                  <a:lnTo>
                    <a:pt x="80" y="0"/>
                  </a:lnTo>
                  <a:lnTo>
                    <a:pt x="52" y="0"/>
                  </a:lnTo>
                  <a:lnTo>
                    <a:pt x="24" y="0"/>
                  </a:lnTo>
                  <a:lnTo>
                    <a:pt x="5" y="0"/>
                  </a:lnTo>
                  <a:lnTo>
                    <a:pt x="5" y="7"/>
                  </a:lnTo>
                  <a:lnTo>
                    <a:pt x="5" y="18"/>
                  </a:lnTo>
                  <a:lnTo>
                    <a:pt x="5" y="29"/>
                  </a:lnTo>
                  <a:lnTo>
                    <a:pt x="5" y="37"/>
                  </a:lnTo>
                  <a:lnTo>
                    <a:pt x="9" y="47"/>
                  </a:lnTo>
                  <a:lnTo>
                    <a:pt x="15" y="60"/>
                  </a:lnTo>
                  <a:lnTo>
                    <a:pt x="19" y="74"/>
                  </a:lnTo>
                  <a:lnTo>
                    <a:pt x="23" y="91"/>
                  </a:lnTo>
                  <a:lnTo>
                    <a:pt x="28" y="109"/>
                  </a:lnTo>
                  <a:lnTo>
                    <a:pt x="31" y="128"/>
                  </a:lnTo>
                  <a:lnTo>
                    <a:pt x="34" y="150"/>
                  </a:lnTo>
                  <a:lnTo>
                    <a:pt x="38" y="172"/>
                  </a:lnTo>
                  <a:lnTo>
                    <a:pt x="38" y="190"/>
                  </a:lnTo>
                  <a:lnTo>
                    <a:pt x="37" y="206"/>
                  </a:lnTo>
                  <a:lnTo>
                    <a:pt x="33" y="219"/>
                  </a:lnTo>
                  <a:lnTo>
                    <a:pt x="29" y="230"/>
                  </a:lnTo>
                  <a:lnTo>
                    <a:pt x="18" y="249"/>
                  </a:lnTo>
                  <a:lnTo>
                    <a:pt x="7" y="269"/>
                  </a:lnTo>
                  <a:lnTo>
                    <a:pt x="17" y="284"/>
                  </a:lnTo>
                  <a:lnTo>
                    <a:pt x="10" y="321"/>
                  </a:lnTo>
                  <a:lnTo>
                    <a:pt x="0" y="328"/>
                  </a:lnTo>
                  <a:lnTo>
                    <a:pt x="28" y="339"/>
                  </a:lnTo>
                  <a:lnTo>
                    <a:pt x="55" y="352"/>
                  </a:lnTo>
                  <a:lnTo>
                    <a:pt x="84" y="367"/>
                  </a:lnTo>
                  <a:lnTo>
                    <a:pt x="111" y="381"/>
                  </a:lnTo>
                  <a:lnTo>
                    <a:pt x="136" y="396"/>
                  </a:lnTo>
                  <a:lnTo>
                    <a:pt x="159" y="411"/>
                  </a:lnTo>
                  <a:lnTo>
                    <a:pt x="170" y="420"/>
                  </a:lnTo>
                  <a:lnTo>
                    <a:pt x="180" y="428"/>
                  </a:lnTo>
                  <a:lnTo>
                    <a:pt x="189" y="436"/>
                  </a:lnTo>
                  <a:lnTo>
                    <a:pt x="197" y="444"/>
                  </a:lnTo>
                  <a:lnTo>
                    <a:pt x="198" y="451"/>
                  </a:lnTo>
                  <a:lnTo>
                    <a:pt x="199" y="457"/>
                  </a:lnTo>
                  <a:lnTo>
                    <a:pt x="201" y="464"/>
                  </a:lnTo>
                  <a:lnTo>
                    <a:pt x="205" y="471"/>
                  </a:lnTo>
                  <a:lnTo>
                    <a:pt x="209" y="479"/>
                  </a:lnTo>
                  <a:lnTo>
                    <a:pt x="214" y="486"/>
                  </a:lnTo>
                  <a:lnTo>
                    <a:pt x="220" y="492"/>
                  </a:lnTo>
                  <a:lnTo>
                    <a:pt x="226" y="498"/>
                  </a:lnTo>
                  <a:lnTo>
                    <a:pt x="233" y="503"/>
                  </a:lnTo>
                  <a:lnTo>
                    <a:pt x="240" y="508"/>
                  </a:lnTo>
                  <a:lnTo>
                    <a:pt x="247" y="512"/>
                  </a:lnTo>
                  <a:lnTo>
                    <a:pt x="256" y="516"/>
                  </a:lnTo>
                  <a:lnTo>
                    <a:pt x="264" y="519"/>
                  </a:lnTo>
                  <a:lnTo>
                    <a:pt x="273" y="521"/>
                  </a:lnTo>
                  <a:lnTo>
                    <a:pt x="281" y="523"/>
                  </a:lnTo>
                  <a:lnTo>
                    <a:pt x="290" y="523"/>
                  </a:lnTo>
                  <a:lnTo>
                    <a:pt x="304" y="502"/>
                  </a:lnTo>
                  <a:lnTo>
                    <a:pt x="320" y="482"/>
                  </a:lnTo>
                  <a:lnTo>
                    <a:pt x="335" y="462"/>
                  </a:lnTo>
                  <a:lnTo>
                    <a:pt x="349" y="444"/>
                  </a:lnTo>
                  <a:lnTo>
                    <a:pt x="365" y="427"/>
                  </a:lnTo>
                  <a:lnTo>
                    <a:pt x="379" y="408"/>
                  </a:lnTo>
                  <a:lnTo>
                    <a:pt x="394" y="390"/>
                  </a:lnTo>
                  <a:lnTo>
                    <a:pt x="410" y="37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908" name="Freeform 467"/>
            <p:cNvSpPr>
              <a:spLocks/>
            </p:cNvSpPr>
            <p:nvPr>
              <p:custDataLst>
                <p:tags r:id="rId300"/>
              </p:custDataLst>
            </p:nvPr>
          </p:nvSpPr>
          <p:spPr bwMode="auto">
            <a:xfrm>
              <a:off x="6598484" y="2835843"/>
              <a:ext cx="121126" cy="156323"/>
            </a:xfrm>
            <a:custGeom>
              <a:avLst/>
              <a:gdLst>
                <a:gd name="T0" fmla="*/ 5395 w 226"/>
                <a:gd name="T1" fmla="*/ 120650 h 246"/>
                <a:gd name="T2" fmla="*/ 16184 w 226"/>
                <a:gd name="T3" fmla="*/ 127000 h 246"/>
                <a:gd name="T4" fmla="*/ 23827 w 226"/>
                <a:gd name="T5" fmla="*/ 129646 h 246"/>
                <a:gd name="T6" fmla="*/ 30570 w 226"/>
                <a:gd name="T7" fmla="*/ 129646 h 246"/>
                <a:gd name="T8" fmla="*/ 38212 w 226"/>
                <a:gd name="T9" fmla="*/ 127529 h 246"/>
                <a:gd name="T10" fmla="*/ 49451 w 226"/>
                <a:gd name="T11" fmla="*/ 120650 h 246"/>
                <a:gd name="T12" fmla="*/ 63388 w 226"/>
                <a:gd name="T13" fmla="*/ 108479 h 246"/>
                <a:gd name="T14" fmla="*/ 72379 w 226"/>
                <a:gd name="T15" fmla="*/ 97367 h 246"/>
                <a:gd name="T16" fmla="*/ 71480 w 226"/>
                <a:gd name="T17" fmla="*/ 91546 h 246"/>
                <a:gd name="T18" fmla="*/ 66984 w 226"/>
                <a:gd name="T19" fmla="*/ 84667 h 246"/>
                <a:gd name="T20" fmla="*/ 64287 w 226"/>
                <a:gd name="T21" fmla="*/ 76729 h 246"/>
                <a:gd name="T22" fmla="*/ 63388 w 226"/>
                <a:gd name="T23" fmla="*/ 68792 h 246"/>
                <a:gd name="T24" fmla="*/ 63388 w 226"/>
                <a:gd name="T25" fmla="*/ 61383 h 246"/>
                <a:gd name="T26" fmla="*/ 65635 w 226"/>
                <a:gd name="T27" fmla="*/ 55562 h 246"/>
                <a:gd name="T28" fmla="*/ 70131 w 226"/>
                <a:gd name="T29" fmla="*/ 49742 h 246"/>
                <a:gd name="T30" fmla="*/ 75526 w 226"/>
                <a:gd name="T31" fmla="*/ 45508 h 246"/>
                <a:gd name="T32" fmla="*/ 91710 w 226"/>
                <a:gd name="T33" fmla="*/ 37571 h 246"/>
                <a:gd name="T34" fmla="*/ 101150 w 226"/>
                <a:gd name="T35" fmla="*/ 25929 h 246"/>
                <a:gd name="T36" fmla="*/ 99352 w 226"/>
                <a:gd name="T37" fmla="*/ 15875 h 246"/>
                <a:gd name="T38" fmla="*/ 96205 w 226"/>
                <a:gd name="T39" fmla="*/ 8996 h 246"/>
                <a:gd name="T40" fmla="*/ 95306 w 226"/>
                <a:gd name="T41" fmla="*/ 3175 h 246"/>
                <a:gd name="T42" fmla="*/ 90811 w 226"/>
                <a:gd name="T43" fmla="*/ 529 h 246"/>
                <a:gd name="T44" fmla="*/ 81370 w 226"/>
                <a:gd name="T45" fmla="*/ 3704 h 246"/>
                <a:gd name="T46" fmla="*/ 69232 w 226"/>
                <a:gd name="T47" fmla="*/ 10583 h 246"/>
                <a:gd name="T48" fmla="*/ 54396 w 226"/>
                <a:gd name="T49" fmla="*/ 20108 h 246"/>
                <a:gd name="T50" fmla="*/ 44956 w 226"/>
                <a:gd name="T51" fmla="*/ 26987 h 246"/>
                <a:gd name="T52" fmla="*/ 39112 w 226"/>
                <a:gd name="T53" fmla="*/ 29104 h 246"/>
                <a:gd name="T54" fmla="*/ 33717 w 226"/>
                <a:gd name="T55" fmla="*/ 28575 h 246"/>
                <a:gd name="T56" fmla="*/ 26524 w 226"/>
                <a:gd name="T57" fmla="*/ 24871 h 246"/>
                <a:gd name="T58" fmla="*/ 16184 w 226"/>
                <a:gd name="T59" fmla="*/ 16404 h 246"/>
                <a:gd name="T60" fmla="*/ 10789 w 226"/>
                <a:gd name="T61" fmla="*/ 20638 h 246"/>
                <a:gd name="T62" fmla="*/ 8092 w 226"/>
                <a:gd name="T63" fmla="*/ 50271 h 246"/>
                <a:gd name="T64" fmla="*/ 4496 w 226"/>
                <a:gd name="T65" fmla="*/ 86254 h 246"/>
                <a:gd name="T66" fmla="*/ 1349 w 226"/>
                <a:gd name="T67" fmla="*/ 112183 h 24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226" h="246">
                  <a:moveTo>
                    <a:pt x="0" y="221"/>
                  </a:moveTo>
                  <a:lnTo>
                    <a:pt x="12" y="228"/>
                  </a:lnTo>
                  <a:lnTo>
                    <a:pt x="27" y="236"/>
                  </a:lnTo>
                  <a:lnTo>
                    <a:pt x="36" y="240"/>
                  </a:lnTo>
                  <a:lnTo>
                    <a:pt x="44" y="243"/>
                  </a:lnTo>
                  <a:lnTo>
                    <a:pt x="53" y="245"/>
                  </a:lnTo>
                  <a:lnTo>
                    <a:pt x="60" y="246"/>
                  </a:lnTo>
                  <a:lnTo>
                    <a:pt x="68" y="245"/>
                  </a:lnTo>
                  <a:lnTo>
                    <a:pt x="76" y="243"/>
                  </a:lnTo>
                  <a:lnTo>
                    <a:pt x="85" y="241"/>
                  </a:lnTo>
                  <a:lnTo>
                    <a:pt x="92" y="237"/>
                  </a:lnTo>
                  <a:lnTo>
                    <a:pt x="110" y="228"/>
                  </a:lnTo>
                  <a:lnTo>
                    <a:pt x="126" y="217"/>
                  </a:lnTo>
                  <a:lnTo>
                    <a:pt x="141" y="205"/>
                  </a:lnTo>
                  <a:lnTo>
                    <a:pt x="153" y="194"/>
                  </a:lnTo>
                  <a:lnTo>
                    <a:pt x="161" y="184"/>
                  </a:lnTo>
                  <a:lnTo>
                    <a:pt x="167" y="178"/>
                  </a:lnTo>
                  <a:lnTo>
                    <a:pt x="159" y="173"/>
                  </a:lnTo>
                  <a:lnTo>
                    <a:pt x="154" y="167"/>
                  </a:lnTo>
                  <a:lnTo>
                    <a:pt x="149" y="160"/>
                  </a:lnTo>
                  <a:lnTo>
                    <a:pt x="146" y="152"/>
                  </a:lnTo>
                  <a:lnTo>
                    <a:pt x="143" y="145"/>
                  </a:lnTo>
                  <a:lnTo>
                    <a:pt x="142" y="137"/>
                  </a:lnTo>
                  <a:lnTo>
                    <a:pt x="141" y="130"/>
                  </a:lnTo>
                  <a:lnTo>
                    <a:pt x="139" y="123"/>
                  </a:lnTo>
                  <a:lnTo>
                    <a:pt x="141" y="116"/>
                  </a:lnTo>
                  <a:lnTo>
                    <a:pt x="143" y="110"/>
                  </a:lnTo>
                  <a:lnTo>
                    <a:pt x="146" y="105"/>
                  </a:lnTo>
                  <a:lnTo>
                    <a:pt x="150" y="100"/>
                  </a:lnTo>
                  <a:lnTo>
                    <a:pt x="156" y="94"/>
                  </a:lnTo>
                  <a:lnTo>
                    <a:pt x="161" y="90"/>
                  </a:lnTo>
                  <a:lnTo>
                    <a:pt x="168" y="86"/>
                  </a:lnTo>
                  <a:lnTo>
                    <a:pt x="176" y="82"/>
                  </a:lnTo>
                  <a:lnTo>
                    <a:pt x="204" y="71"/>
                  </a:lnTo>
                  <a:lnTo>
                    <a:pt x="226" y="61"/>
                  </a:lnTo>
                  <a:lnTo>
                    <a:pt x="225" y="49"/>
                  </a:lnTo>
                  <a:lnTo>
                    <a:pt x="223" y="38"/>
                  </a:lnTo>
                  <a:lnTo>
                    <a:pt x="221" y="30"/>
                  </a:lnTo>
                  <a:lnTo>
                    <a:pt x="217" y="23"/>
                  </a:lnTo>
                  <a:lnTo>
                    <a:pt x="214" y="17"/>
                  </a:lnTo>
                  <a:lnTo>
                    <a:pt x="212" y="12"/>
                  </a:lnTo>
                  <a:lnTo>
                    <a:pt x="212" y="6"/>
                  </a:lnTo>
                  <a:lnTo>
                    <a:pt x="213" y="0"/>
                  </a:lnTo>
                  <a:lnTo>
                    <a:pt x="202" y="1"/>
                  </a:lnTo>
                  <a:lnTo>
                    <a:pt x="191" y="4"/>
                  </a:lnTo>
                  <a:lnTo>
                    <a:pt x="181" y="7"/>
                  </a:lnTo>
                  <a:lnTo>
                    <a:pt x="171" y="11"/>
                  </a:lnTo>
                  <a:lnTo>
                    <a:pt x="154" y="20"/>
                  </a:lnTo>
                  <a:lnTo>
                    <a:pt x="136" y="29"/>
                  </a:lnTo>
                  <a:lnTo>
                    <a:pt x="121" y="38"/>
                  </a:lnTo>
                  <a:lnTo>
                    <a:pt x="107" y="47"/>
                  </a:lnTo>
                  <a:lnTo>
                    <a:pt x="100" y="51"/>
                  </a:lnTo>
                  <a:lnTo>
                    <a:pt x="93" y="53"/>
                  </a:lnTo>
                  <a:lnTo>
                    <a:pt x="87" y="55"/>
                  </a:lnTo>
                  <a:lnTo>
                    <a:pt x="80" y="55"/>
                  </a:lnTo>
                  <a:lnTo>
                    <a:pt x="75" y="54"/>
                  </a:lnTo>
                  <a:lnTo>
                    <a:pt x="67" y="51"/>
                  </a:lnTo>
                  <a:lnTo>
                    <a:pt x="59" y="47"/>
                  </a:lnTo>
                  <a:lnTo>
                    <a:pt x="51" y="41"/>
                  </a:lnTo>
                  <a:lnTo>
                    <a:pt x="36" y="31"/>
                  </a:lnTo>
                  <a:lnTo>
                    <a:pt x="27" y="24"/>
                  </a:lnTo>
                  <a:lnTo>
                    <a:pt x="24" y="39"/>
                  </a:lnTo>
                  <a:lnTo>
                    <a:pt x="21" y="64"/>
                  </a:lnTo>
                  <a:lnTo>
                    <a:pt x="18" y="95"/>
                  </a:lnTo>
                  <a:lnTo>
                    <a:pt x="13" y="129"/>
                  </a:lnTo>
                  <a:lnTo>
                    <a:pt x="10" y="163"/>
                  </a:lnTo>
                  <a:lnTo>
                    <a:pt x="7" y="191"/>
                  </a:lnTo>
                  <a:lnTo>
                    <a:pt x="3" y="212"/>
                  </a:lnTo>
                  <a:lnTo>
                    <a:pt x="0" y="22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909" name="Freeform 468"/>
            <p:cNvSpPr>
              <a:spLocks/>
            </p:cNvSpPr>
            <p:nvPr>
              <p:custDataLst>
                <p:tags r:id="rId301"/>
              </p:custDataLst>
            </p:nvPr>
          </p:nvSpPr>
          <p:spPr bwMode="auto">
            <a:xfrm>
              <a:off x="6954294" y="2959757"/>
              <a:ext cx="26496" cy="66723"/>
            </a:xfrm>
            <a:custGeom>
              <a:avLst/>
              <a:gdLst>
                <a:gd name="T0" fmla="*/ 10001 w 60"/>
                <a:gd name="T1" fmla="*/ 0 h 81"/>
                <a:gd name="T2" fmla="*/ 10742 w 60"/>
                <a:gd name="T3" fmla="*/ 1372 h 81"/>
                <a:gd name="T4" fmla="*/ 11853 w 60"/>
                <a:gd name="T5" fmla="*/ 2058 h 81"/>
                <a:gd name="T6" fmla="*/ 13335 w 60"/>
                <a:gd name="T7" fmla="*/ 2058 h 81"/>
                <a:gd name="T8" fmla="*/ 14817 w 60"/>
                <a:gd name="T9" fmla="*/ 1372 h 81"/>
                <a:gd name="T10" fmla="*/ 17410 w 60"/>
                <a:gd name="T11" fmla="*/ 686 h 81"/>
                <a:gd name="T12" fmla="*/ 19632 w 60"/>
                <a:gd name="T13" fmla="*/ 0 h 81"/>
                <a:gd name="T14" fmla="*/ 19632 w 60"/>
                <a:gd name="T15" fmla="*/ 17835 h 81"/>
                <a:gd name="T16" fmla="*/ 20003 w 60"/>
                <a:gd name="T17" fmla="*/ 32240 h 81"/>
                <a:gd name="T18" fmla="*/ 20003 w 60"/>
                <a:gd name="T19" fmla="*/ 39099 h 81"/>
                <a:gd name="T20" fmla="*/ 20743 w 60"/>
                <a:gd name="T21" fmla="*/ 44587 h 81"/>
                <a:gd name="T22" fmla="*/ 21484 w 60"/>
                <a:gd name="T23" fmla="*/ 50074 h 81"/>
                <a:gd name="T24" fmla="*/ 22225 w 60"/>
                <a:gd name="T25" fmla="*/ 55562 h 81"/>
                <a:gd name="T26" fmla="*/ 7408 w 60"/>
                <a:gd name="T27" fmla="*/ 55562 h 81"/>
                <a:gd name="T28" fmla="*/ 5186 w 60"/>
                <a:gd name="T29" fmla="*/ 54876 h 81"/>
                <a:gd name="T30" fmla="*/ 2593 w 60"/>
                <a:gd name="T31" fmla="*/ 52818 h 81"/>
                <a:gd name="T32" fmla="*/ 1852 w 60"/>
                <a:gd name="T33" fmla="*/ 50760 h 81"/>
                <a:gd name="T34" fmla="*/ 741 w 60"/>
                <a:gd name="T35" fmla="*/ 49388 h 81"/>
                <a:gd name="T36" fmla="*/ 370 w 60"/>
                <a:gd name="T37" fmla="*/ 48017 h 81"/>
                <a:gd name="T38" fmla="*/ 0 w 60"/>
                <a:gd name="T39" fmla="*/ 46645 h 81"/>
                <a:gd name="T40" fmla="*/ 2593 w 60"/>
                <a:gd name="T41" fmla="*/ 8231 h 81"/>
                <a:gd name="T42" fmla="*/ 7408 w 60"/>
                <a:gd name="T43" fmla="*/ 4116 h 81"/>
                <a:gd name="T44" fmla="*/ 12594 w 60"/>
                <a:gd name="T45" fmla="*/ 0 h 81"/>
                <a:gd name="T46" fmla="*/ 10001 w 60"/>
                <a:gd name="T47" fmla="*/ 0 h 8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60" h="81">
                  <a:moveTo>
                    <a:pt x="27" y="0"/>
                  </a:moveTo>
                  <a:lnTo>
                    <a:pt x="29" y="2"/>
                  </a:lnTo>
                  <a:lnTo>
                    <a:pt x="32" y="3"/>
                  </a:lnTo>
                  <a:lnTo>
                    <a:pt x="36" y="3"/>
                  </a:lnTo>
                  <a:lnTo>
                    <a:pt x="40" y="2"/>
                  </a:lnTo>
                  <a:lnTo>
                    <a:pt x="47" y="1"/>
                  </a:lnTo>
                  <a:lnTo>
                    <a:pt x="53" y="0"/>
                  </a:lnTo>
                  <a:lnTo>
                    <a:pt x="53" y="26"/>
                  </a:lnTo>
                  <a:lnTo>
                    <a:pt x="54" y="47"/>
                  </a:lnTo>
                  <a:lnTo>
                    <a:pt x="54" y="57"/>
                  </a:lnTo>
                  <a:lnTo>
                    <a:pt x="56" y="65"/>
                  </a:lnTo>
                  <a:lnTo>
                    <a:pt x="58" y="73"/>
                  </a:lnTo>
                  <a:lnTo>
                    <a:pt x="60" y="81"/>
                  </a:lnTo>
                  <a:lnTo>
                    <a:pt x="20" y="81"/>
                  </a:lnTo>
                  <a:lnTo>
                    <a:pt x="14" y="80"/>
                  </a:lnTo>
                  <a:lnTo>
                    <a:pt x="7" y="77"/>
                  </a:lnTo>
                  <a:lnTo>
                    <a:pt x="5" y="74"/>
                  </a:lnTo>
                  <a:lnTo>
                    <a:pt x="2" y="72"/>
                  </a:lnTo>
                  <a:lnTo>
                    <a:pt x="1" y="70"/>
                  </a:lnTo>
                  <a:lnTo>
                    <a:pt x="0" y="68"/>
                  </a:lnTo>
                  <a:lnTo>
                    <a:pt x="7" y="12"/>
                  </a:lnTo>
                  <a:lnTo>
                    <a:pt x="20" y="6"/>
                  </a:lnTo>
                  <a:lnTo>
                    <a:pt x="34" y="0"/>
                  </a:lnTo>
                  <a:lnTo>
                    <a:pt x="27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910" name="Freeform 469"/>
            <p:cNvSpPr>
              <a:spLocks/>
            </p:cNvSpPr>
            <p:nvPr>
              <p:custDataLst>
                <p:tags r:id="rId302"/>
              </p:custDataLst>
            </p:nvPr>
          </p:nvSpPr>
          <p:spPr bwMode="auto">
            <a:xfrm>
              <a:off x="6104516" y="1920781"/>
              <a:ext cx="193045" cy="80068"/>
            </a:xfrm>
            <a:custGeom>
              <a:avLst/>
              <a:gdLst>
                <a:gd name="T0" fmla="*/ 109409 w 370"/>
                <a:gd name="T1" fmla="*/ 60473 h 129"/>
                <a:gd name="T2" fmla="*/ 112910 w 370"/>
                <a:gd name="T3" fmla="*/ 61506 h 129"/>
                <a:gd name="T4" fmla="*/ 121225 w 370"/>
                <a:gd name="T5" fmla="*/ 63574 h 129"/>
                <a:gd name="T6" fmla="*/ 129102 w 370"/>
                <a:gd name="T7" fmla="*/ 65641 h 129"/>
                <a:gd name="T8" fmla="*/ 132603 w 370"/>
                <a:gd name="T9" fmla="*/ 66675 h 129"/>
                <a:gd name="T10" fmla="*/ 161925 w 370"/>
                <a:gd name="T11" fmla="*/ 50135 h 129"/>
                <a:gd name="T12" fmla="*/ 156673 w 370"/>
                <a:gd name="T13" fmla="*/ 38765 h 129"/>
                <a:gd name="T14" fmla="*/ 150984 w 370"/>
                <a:gd name="T15" fmla="*/ 24809 h 129"/>
                <a:gd name="T16" fmla="*/ 146608 w 370"/>
                <a:gd name="T17" fmla="*/ 13955 h 129"/>
                <a:gd name="T18" fmla="*/ 144420 w 370"/>
                <a:gd name="T19" fmla="*/ 9303 h 129"/>
                <a:gd name="T20" fmla="*/ 131291 w 370"/>
                <a:gd name="T21" fmla="*/ 7753 h 129"/>
                <a:gd name="T22" fmla="*/ 112472 w 370"/>
                <a:gd name="T23" fmla="*/ 4652 h 129"/>
                <a:gd name="T24" fmla="*/ 93654 w 370"/>
                <a:gd name="T25" fmla="*/ 1034 h 129"/>
                <a:gd name="T26" fmla="*/ 80087 w 370"/>
                <a:gd name="T27" fmla="*/ 0 h 129"/>
                <a:gd name="T28" fmla="*/ 78337 w 370"/>
                <a:gd name="T29" fmla="*/ 0 h 129"/>
                <a:gd name="T30" fmla="*/ 77024 w 370"/>
                <a:gd name="T31" fmla="*/ 517 h 129"/>
                <a:gd name="T32" fmla="*/ 75273 w 370"/>
                <a:gd name="T33" fmla="*/ 1034 h 129"/>
                <a:gd name="T34" fmla="*/ 74398 w 370"/>
                <a:gd name="T35" fmla="*/ 1551 h 129"/>
                <a:gd name="T36" fmla="*/ 70897 w 370"/>
                <a:gd name="T37" fmla="*/ 3618 h 129"/>
                <a:gd name="T38" fmla="*/ 65645 w 370"/>
                <a:gd name="T39" fmla="*/ 6202 h 129"/>
                <a:gd name="T40" fmla="*/ 64332 w 370"/>
                <a:gd name="T41" fmla="*/ 10854 h 129"/>
                <a:gd name="T42" fmla="*/ 61269 w 370"/>
                <a:gd name="T43" fmla="*/ 18090 h 129"/>
                <a:gd name="T44" fmla="*/ 58643 w 370"/>
                <a:gd name="T45" fmla="*/ 24809 h 129"/>
                <a:gd name="T46" fmla="*/ 57330 w 370"/>
                <a:gd name="T47" fmla="*/ 28427 h 129"/>
                <a:gd name="T48" fmla="*/ 53391 w 370"/>
                <a:gd name="T49" fmla="*/ 27910 h 129"/>
                <a:gd name="T50" fmla="*/ 48578 w 370"/>
                <a:gd name="T51" fmla="*/ 25326 h 129"/>
                <a:gd name="T52" fmla="*/ 42888 w 370"/>
                <a:gd name="T53" fmla="*/ 22742 h 129"/>
                <a:gd name="T54" fmla="*/ 36761 w 370"/>
                <a:gd name="T55" fmla="*/ 19641 h 129"/>
                <a:gd name="T56" fmla="*/ 26258 w 370"/>
                <a:gd name="T57" fmla="*/ 13438 h 129"/>
                <a:gd name="T58" fmla="*/ 19256 w 370"/>
                <a:gd name="T59" fmla="*/ 9303 h 129"/>
                <a:gd name="T60" fmla="*/ 14004 w 370"/>
                <a:gd name="T61" fmla="*/ 12922 h 129"/>
                <a:gd name="T62" fmla="*/ 9190 w 370"/>
                <a:gd name="T63" fmla="*/ 17056 h 129"/>
                <a:gd name="T64" fmla="*/ 7002 w 370"/>
                <a:gd name="T65" fmla="*/ 19124 h 129"/>
                <a:gd name="T66" fmla="*/ 5252 w 370"/>
                <a:gd name="T67" fmla="*/ 21191 h 129"/>
                <a:gd name="T68" fmla="*/ 3939 w 370"/>
                <a:gd name="T69" fmla="*/ 23776 h 129"/>
                <a:gd name="T70" fmla="*/ 2188 w 370"/>
                <a:gd name="T71" fmla="*/ 26877 h 129"/>
                <a:gd name="T72" fmla="*/ 1313 w 370"/>
                <a:gd name="T73" fmla="*/ 29461 h 129"/>
                <a:gd name="T74" fmla="*/ 438 w 370"/>
                <a:gd name="T75" fmla="*/ 32562 h 129"/>
                <a:gd name="T76" fmla="*/ 0 w 370"/>
                <a:gd name="T77" fmla="*/ 35663 h 129"/>
                <a:gd name="T78" fmla="*/ 0 w 370"/>
                <a:gd name="T79" fmla="*/ 38765 h 129"/>
                <a:gd name="T80" fmla="*/ 438 w 370"/>
                <a:gd name="T81" fmla="*/ 42383 h 129"/>
                <a:gd name="T82" fmla="*/ 1313 w 370"/>
                <a:gd name="T83" fmla="*/ 45484 h 129"/>
                <a:gd name="T84" fmla="*/ 2626 w 370"/>
                <a:gd name="T85" fmla="*/ 49619 h 129"/>
                <a:gd name="T86" fmla="*/ 4814 w 370"/>
                <a:gd name="T87" fmla="*/ 53237 h 129"/>
                <a:gd name="T88" fmla="*/ 8753 w 370"/>
                <a:gd name="T89" fmla="*/ 52203 h 129"/>
                <a:gd name="T90" fmla="*/ 14442 w 370"/>
                <a:gd name="T91" fmla="*/ 51169 h 129"/>
                <a:gd name="T92" fmla="*/ 21882 w 370"/>
                <a:gd name="T93" fmla="*/ 50135 h 129"/>
                <a:gd name="T94" fmla="*/ 30197 w 370"/>
                <a:gd name="T95" fmla="*/ 49102 h 129"/>
                <a:gd name="T96" fmla="*/ 44639 w 370"/>
                <a:gd name="T97" fmla="*/ 47551 h 129"/>
                <a:gd name="T98" fmla="*/ 51203 w 370"/>
                <a:gd name="T99" fmla="*/ 47034 h 129"/>
                <a:gd name="T100" fmla="*/ 59956 w 370"/>
                <a:gd name="T101" fmla="*/ 47551 h 129"/>
                <a:gd name="T102" fmla="*/ 66521 w 370"/>
                <a:gd name="T103" fmla="*/ 48585 h 129"/>
                <a:gd name="T104" fmla="*/ 72647 w 370"/>
                <a:gd name="T105" fmla="*/ 50135 h 129"/>
                <a:gd name="T106" fmla="*/ 77461 w 370"/>
                <a:gd name="T107" fmla="*/ 51686 h 129"/>
                <a:gd name="T108" fmla="*/ 82713 w 370"/>
                <a:gd name="T109" fmla="*/ 53753 h 129"/>
                <a:gd name="T110" fmla="*/ 87965 w 370"/>
                <a:gd name="T111" fmla="*/ 55821 h 129"/>
                <a:gd name="T112" fmla="*/ 94967 w 370"/>
                <a:gd name="T113" fmla="*/ 56855 h 129"/>
                <a:gd name="T114" fmla="*/ 103720 w 370"/>
                <a:gd name="T115" fmla="*/ 57372 h 129"/>
                <a:gd name="T116" fmla="*/ 103720 w 370"/>
                <a:gd name="T117" fmla="*/ 60473 h 129"/>
                <a:gd name="T118" fmla="*/ 109409 w 370"/>
                <a:gd name="T119" fmla="*/ 60473 h 12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370" h="129">
                  <a:moveTo>
                    <a:pt x="250" y="117"/>
                  </a:moveTo>
                  <a:lnTo>
                    <a:pt x="258" y="119"/>
                  </a:lnTo>
                  <a:lnTo>
                    <a:pt x="277" y="123"/>
                  </a:lnTo>
                  <a:lnTo>
                    <a:pt x="295" y="127"/>
                  </a:lnTo>
                  <a:lnTo>
                    <a:pt x="303" y="129"/>
                  </a:lnTo>
                  <a:lnTo>
                    <a:pt x="370" y="97"/>
                  </a:lnTo>
                  <a:lnTo>
                    <a:pt x="358" y="75"/>
                  </a:lnTo>
                  <a:lnTo>
                    <a:pt x="345" y="48"/>
                  </a:lnTo>
                  <a:lnTo>
                    <a:pt x="335" y="27"/>
                  </a:lnTo>
                  <a:lnTo>
                    <a:pt x="330" y="18"/>
                  </a:lnTo>
                  <a:lnTo>
                    <a:pt x="300" y="15"/>
                  </a:lnTo>
                  <a:lnTo>
                    <a:pt x="257" y="9"/>
                  </a:lnTo>
                  <a:lnTo>
                    <a:pt x="214" y="2"/>
                  </a:lnTo>
                  <a:lnTo>
                    <a:pt x="183" y="0"/>
                  </a:lnTo>
                  <a:lnTo>
                    <a:pt x="179" y="0"/>
                  </a:lnTo>
                  <a:lnTo>
                    <a:pt x="176" y="1"/>
                  </a:lnTo>
                  <a:lnTo>
                    <a:pt x="172" y="2"/>
                  </a:lnTo>
                  <a:lnTo>
                    <a:pt x="170" y="3"/>
                  </a:lnTo>
                  <a:lnTo>
                    <a:pt x="162" y="7"/>
                  </a:lnTo>
                  <a:lnTo>
                    <a:pt x="150" y="12"/>
                  </a:lnTo>
                  <a:lnTo>
                    <a:pt x="147" y="21"/>
                  </a:lnTo>
                  <a:lnTo>
                    <a:pt x="140" y="35"/>
                  </a:lnTo>
                  <a:lnTo>
                    <a:pt x="134" y="48"/>
                  </a:lnTo>
                  <a:lnTo>
                    <a:pt x="131" y="55"/>
                  </a:lnTo>
                  <a:lnTo>
                    <a:pt x="122" y="54"/>
                  </a:lnTo>
                  <a:lnTo>
                    <a:pt x="111" y="49"/>
                  </a:lnTo>
                  <a:lnTo>
                    <a:pt x="98" y="44"/>
                  </a:lnTo>
                  <a:lnTo>
                    <a:pt x="84" y="38"/>
                  </a:lnTo>
                  <a:lnTo>
                    <a:pt x="60" y="26"/>
                  </a:lnTo>
                  <a:lnTo>
                    <a:pt x="44" y="18"/>
                  </a:lnTo>
                  <a:lnTo>
                    <a:pt x="32" y="25"/>
                  </a:lnTo>
                  <a:lnTo>
                    <a:pt x="21" y="33"/>
                  </a:lnTo>
                  <a:lnTo>
                    <a:pt x="16" y="37"/>
                  </a:lnTo>
                  <a:lnTo>
                    <a:pt x="12" y="41"/>
                  </a:lnTo>
                  <a:lnTo>
                    <a:pt x="9" y="46"/>
                  </a:lnTo>
                  <a:lnTo>
                    <a:pt x="5" y="52"/>
                  </a:lnTo>
                  <a:lnTo>
                    <a:pt x="3" y="57"/>
                  </a:lnTo>
                  <a:lnTo>
                    <a:pt x="1" y="63"/>
                  </a:lnTo>
                  <a:lnTo>
                    <a:pt x="0" y="69"/>
                  </a:lnTo>
                  <a:lnTo>
                    <a:pt x="0" y="75"/>
                  </a:lnTo>
                  <a:lnTo>
                    <a:pt x="1" y="82"/>
                  </a:lnTo>
                  <a:lnTo>
                    <a:pt x="3" y="88"/>
                  </a:lnTo>
                  <a:lnTo>
                    <a:pt x="6" y="96"/>
                  </a:lnTo>
                  <a:lnTo>
                    <a:pt x="11" y="103"/>
                  </a:lnTo>
                  <a:lnTo>
                    <a:pt x="20" y="101"/>
                  </a:lnTo>
                  <a:lnTo>
                    <a:pt x="33" y="99"/>
                  </a:lnTo>
                  <a:lnTo>
                    <a:pt x="50" y="97"/>
                  </a:lnTo>
                  <a:lnTo>
                    <a:pt x="69" y="95"/>
                  </a:lnTo>
                  <a:lnTo>
                    <a:pt x="102" y="92"/>
                  </a:lnTo>
                  <a:lnTo>
                    <a:pt x="117" y="91"/>
                  </a:lnTo>
                  <a:lnTo>
                    <a:pt x="137" y="92"/>
                  </a:lnTo>
                  <a:lnTo>
                    <a:pt x="152" y="94"/>
                  </a:lnTo>
                  <a:lnTo>
                    <a:pt x="166" y="97"/>
                  </a:lnTo>
                  <a:lnTo>
                    <a:pt x="177" y="100"/>
                  </a:lnTo>
                  <a:lnTo>
                    <a:pt x="189" y="104"/>
                  </a:lnTo>
                  <a:lnTo>
                    <a:pt x="201" y="108"/>
                  </a:lnTo>
                  <a:lnTo>
                    <a:pt x="217" y="110"/>
                  </a:lnTo>
                  <a:lnTo>
                    <a:pt x="237" y="111"/>
                  </a:lnTo>
                  <a:lnTo>
                    <a:pt x="237" y="117"/>
                  </a:lnTo>
                  <a:lnTo>
                    <a:pt x="250" y="11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911" name="Freeform 470"/>
            <p:cNvSpPr>
              <a:spLocks/>
            </p:cNvSpPr>
            <p:nvPr>
              <p:custDataLst>
                <p:tags r:id="rId303"/>
              </p:custDataLst>
            </p:nvPr>
          </p:nvSpPr>
          <p:spPr bwMode="auto">
            <a:xfrm>
              <a:off x="6594699" y="2786276"/>
              <a:ext cx="35959" cy="68630"/>
            </a:xfrm>
            <a:custGeom>
              <a:avLst/>
              <a:gdLst>
                <a:gd name="T0" fmla="*/ 10180 w 80"/>
                <a:gd name="T1" fmla="*/ 608 h 94"/>
                <a:gd name="T2" fmla="*/ 12819 w 80"/>
                <a:gd name="T3" fmla="*/ 0 h 94"/>
                <a:gd name="T4" fmla="*/ 15458 w 80"/>
                <a:gd name="T5" fmla="*/ 0 h 94"/>
                <a:gd name="T6" fmla="*/ 17720 w 80"/>
                <a:gd name="T7" fmla="*/ 1216 h 94"/>
                <a:gd name="T8" fmla="*/ 20359 w 80"/>
                <a:gd name="T9" fmla="*/ 2432 h 94"/>
                <a:gd name="T10" fmla="*/ 22622 w 80"/>
                <a:gd name="T11" fmla="*/ 3648 h 94"/>
                <a:gd name="T12" fmla="*/ 24884 w 80"/>
                <a:gd name="T13" fmla="*/ 4864 h 94"/>
                <a:gd name="T14" fmla="*/ 27523 w 80"/>
                <a:gd name="T15" fmla="*/ 4864 h 94"/>
                <a:gd name="T16" fmla="*/ 30162 w 80"/>
                <a:gd name="T17" fmla="*/ 4256 h 94"/>
                <a:gd name="T18" fmla="*/ 30162 w 80"/>
                <a:gd name="T19" fmla="*/ 23103 h 94"/>
                <a:gd name="T20" fmla="*/ 28277 w 80"/>
                <a:gd name="T21" fmla="*/ 26751 h 94"/>
                <a:gd name="T22" fmla="*/ 26015 w 80"/>
                <a:gd name="T23" fmla="*/ 31007 h 94"/>
                <a:gd name="T24" fmla="*/ 24130 w 80"/>
                <a:gd name="T25" fmla="*/ 35871 h 94"/>
                <a:gd name="T26" fmla="*/ 21867 w 80"/>
                <a:gd name="T27" fmla="*/ 41343 h 94"/>
                <a:gd name="T28" fmla="*/ 19228 w 80"/>
                <a:gd name="T29" fmla="*/ 51070 h 94"/>
                <a:gd name="T30" fmla="*/ 17720 w 80"/>
                <a:gd name="T31" fmla="*/ 57150 h 94"/>
                <a:gd name="T32" fmla="*/ 16212 w 80"/>
                <a:gd name="T33" fmla="*/ 56542 h 94"/>
                <a:gd name="T34" fmla="*/ 15081 w 80"/>
                <a:gd name="T35" fmla="*/ 55934 h 94"/>
                <a:gd name="T36" fmla="*/ 13950 w 80"/>
                <a:gd name="T37" fmla="*/ 55326 h 94"/>
                <a:gd name="T38" fmla="*/ 12819 w 80"/>
                <a:gd name="T39" fmla="*/ 54110 h 94"/>
                <a:gd name="T40" fmla="*/ 10934 w 80"/>
                <a:gd name="T41" fmla="*/ 51070 h 94"/>
                <a:gd name="T42" fmla="*/ 8672 w 80"/>
                <a:gd name="T43" fmla="*/ 47422 h 94"/>
                <a:gd name="T44" fmla="*/ 7163 w 80"/>
                <a:gd name="T45" fmla="*/ 43774 h 94"/>
                <a:gd name="T46" fmla="*/ 4901 w 80"/>
                <a:gd name="T47" fmla="*/ 39519 h 94"/>
                <a:gd name="T48" fmla="*/ 2639 w 80"/>
                <a:gd name="T49" fmla="*/ 36479 h 94"/>
                <a:gd name="T50" fmla="*/ 0 w 80"/>
                <a:gd name="T51" fmla="*/ 34047 h 94"/>
                <a:gd name="T52" fmla="*/ 3016 w 80"/>
                <a:gd name="T53" fmla="*/ 24927 h 94"/>
                <a:gd name="T54" fmla="*/ 4901 w 80"/>
                <a:gd name="T55" fmla="*/ 17631 h 94"/>
                <a:gd name="T56" fmla="*/ 7163 w 80"/>
                <a:gd name="T57" fmla="*/ 10336 h 94"/>
                <a:gd name="T58" fmla="*/ 10180 w 80"/>
                <a:gd name="T59" fmla="*/ 608 h 94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80" h="94">
                  <a:moveTo>
                    <a:pt x="27" y="1"/>
                  </a:moveTo>
                  <a:lnTo>
                    <a:pt x="34" y="0"/>
                  </a:lnTo>
                  <a:lnTo>
                    <a:pt x="41" y="0"/>
                  </a:lnTo>
                  <a:lnTo>
                    <a:pt x="47" y="2"/>
                  </a:lnTo>
                  <a:lnTo>
                    <a:pt x="54" y="4"/>
                  </a:lnTo>
                  <a:lnTo>
                    <a:pt x="60" y="6"/>
                  </a:lnTo>
                  <a:lnTo>
                    <a:pt x="66" y="8"/>
                  </a:lnTo>
                  <a:lnTo>
                    <a:pt x="73" y="8"/>
                  </a:lnTo>
                  <a:lnTo>
                    <a:pt x="80" y="7"/>
                  </a:lnTo>
                  <a:lnTo>
                    <a:pt x="80" y="38"/>
                  </a:lnTo>
                  <a:lnTo>
                    <a:pt x="75" y="44"/>
                  </a:lnTo>
                  <a:lnTo>
                    <a:pt x="69" y="51"/>
                  </a:lnTo>
                  <a:lnTo>
                    <a:pt x="64" y="59"/>
                  </a:lnTo>
                  <a:lnTo>
                    <a:pt x="58" y="68"/>
                  </a:lnTo>
                  <a:lnTo>
                    <a:pt x="51" y="84"/>
                  </a:lnTo>
                  <a:lnTo>
                    <a:pt x="47" y="94"/>
                  </a:lnTo>
                  <a:lnTo>
                    <a:pt x="43" y="93"/>
                  </a:lnTo>
                  <a:lnTo>
                    <a:pt x="40" y="92"/>
                  </a:lnTo>
                  <a:lnTo>
                    <a:pt x="37" y="91"/>
                  </a:lnTo>
                  <a:lnTo>
                    <a:pt x="34" y="89"/>
                  </a:lnTo>
                  <a:lnTo>
                    <a:pt x="29" y="84"/>
                  </a:lnTo>
                  <a:lnTo>
                    <a:pt x="23" y="78"/>
                  </a:lnTo>
                  <a:lnTo>
                    <a:pt x="19" y="72"/>
                  </a:lnTo>
                  <a:lnTo>
                    <a:pt x="13" y="65"/>
                  </a:lnTo>
                  <a:lnTo>
                    <a:pt x="7" y="60"/>
                  </a:lnTo>
                  <a:lnTo>
                    <a:pt x="0" y="56"/>
                  </a:lnTo>
                  <a:lnTo>
                    <a:pt x="8" y="41"/>
                  </a:lnTo>
                  <a:lnTo>
                    <a:pt x="13" y="29"/>
                  </a:lnTo>
                  <a:lnTo>
                    <a:pt x="19" y="17"/>
                  </a:lnTo>
                  <a:lnTo>
                    <a:pt x="27" y="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912" name="Freeform 471"/>
            <p:cNvSpPr>
              <a:spLocks/>
            </p:cNvSpPr>
            <p:nvPr>
              <p:custDataLst>
                <p:tags r:id="rId304"/>
              </p:custDataLst>
            </p:nvPr>
          </p:nvSpPr>
          <p:spPr bwMode="auto">
            <a:xfrm>
              <a:off x="6375157" y="5201657"/>
              <a:ext cx="73811" cy="68630"/>
            </a:xfrm>
            <a:custGeom>
              <a:avLst/>
              <a:gdLst>
                <a:gd name="T0" fmla="*/ 1376 w 135"/>
                <a:gd name="T1" fmla="*/ 32074 h 98"/>
                <a:gd name="T2" fmla="*/ 5045 w 135"/>
                <a:gd name="T3" fmla="*/ 31491 h 98"/>
                <a:gd name="T4" fmla="*/ 8255 w 135"/>
                <a:gd name="T5" fmla="*/ 30908 h 98"/>
                <a:gd name="T6" fmla="*/ 11007 w 135"/>
                <a:gd name="T7" fmla="*/ 29158 h 98"/>
                <a:gd name="T8" fmla="*/ 14217 w 135"/>
                <a:gd name="T9" fmla="*/ 27409 h 98"/>
                <a:gd name="T10" fmla="*/ 19262 w 135"/>
                <a:gd name="T11" fmla="*/ 22160 h 98"/>
                <a:gd name="T12" fmla="*/ 23848 w 135"/>
                <a:gd name="T13" fmla="*/ 16329 h 98"/>
                <a:gd name="T14" fmla="*/ 27975 w 135"/>
                <a:gd name="T15" fmla="*/ 10497 h 98"/>
                <a:gd name="T16" fmla="*/ 32561 w 135"/>
                <a:gd name="T17" fmla="*/ 4665 h 98"/>
                <a:gd name="T18" fmla="*/ 34854 w 135"/>
                <a:gd name="T19" fmla="*/ 2916 h 98"/>
                <a:gd name="T20" fmla="*/ 37606 w 135"/>
                <a:gd name="T21" fmla="*/ 1166 h 98"/>
                <a:gd name="T22" fmla="*/ 40357 w 135"/>
                <a:gd name="T23" fmla="*/ 0 h 98"/>
                <a:gd name="T24" fmla="*/ 44026 w 135"/>
                <a:gd name="T25" fmla="*/ 0 h 98"/>
                <a:gd name="T26" fmla="*/ 46778 w 135"/>
                <a:gd name="T27" fmla="*/ 0 h 98"/>
                <a:gd name="T28" fmla="*/ 50447 w 135"/>
                <a:gd name="T29" fmla="*/ 1749 h 98"/>
                <a:gd name="T30" fmla="*/ 53657 w 135"/>
                <a:gd name="T31" fmla="*/ 3499 h 98"/>
                <a:gd name="T32" fmla="*/ 56409 w 135"/>
                <a:gd name="T33" fmla="*/ 6415 h 98"/>
                <a:gd name="T34" fmla="*/ 58702 w 135"/>
                <a:gd name="T35" fmla="*/ 9331 h 98"/>
                <a:gd name="T36" fmla="*/ 60536 w 135"/>
                <a:gd name="T37" fmla="*/ 13996 h 98"/>
                <a:gd name="T38" fmla="*/ 61453 w 135"/>
                <a:gd name="T39" fmla="*/ 17495 h 98"/>
                <a:gd name="T40" fmla="*/ 61912 w 135"/>
                <a:gd name="T41" fmla="*/ 21577 h 98"/>
                <a:gd name="T42" fmla="*/ 61453 w 135"/>
                <a:gd name="T43" fmla="*/ 23327 h 98"/>
                <a:gd name="T44" fmla="*/ 60536 w 135"/>
                <a:gd name="T45" fmla="*/ 25076 h 98"/>
                <a:gd name="T46" fmla="*/ 59160 w 135"/>
                <a:gd name="T47" fmla="*/ 27409 h 98"/>
                <a:gd name="T48" fmla="*/ 56867 w 135"/>
                <a:gd name="T49" fmla="*/ 29741 h 98"/>
                <a:gd name="T50" fmla="*/ 51823 w 135"/>
                <a:gd name="T51" fmla="*/ 35573 h 98"/>
                <a:gd name="T52" fmla="*/ 45861 w 135"/>
                <a:gd name="T53" fmla="*/ 41988 h 98"/>
                <a:gd name="T54" fmla="*/ 39899 w 135"/>
                <a:gd name="T55" fmla="*/ 47819 h 98"/>
                <a:gd name="T56" fmla="*/ 33937 w 135"/>
                <a:gd name="T57" fmla="*/ 53068 h 98"/>
                <a:gd name="T58" fmla="*/ 28892 w 135"/>
                <a:gd name="T59" fmla="*/ 55984 h 98"/>
                <a:gd name="T60" fmla="*/ 25223 w 135"/>
                <a:gd name="T61" fmla="*/ 57150 h 98"/>
                <a:gd name="T62" fmla="*/ 23389 w 135"/>
                <a:gd name="T63" fmla="*/ 56567 h 98"/>
                <a:gd name="T64" fmla="*/ 19720 w 135"/>
                <a:gd name="T65" fmla="*/ 53651 h 98"/>
                <a:gd name="T66" fmla="*/ 14675 w 135"/>
                <a:gd name="T67" fmla="*/ 49569 h 98"/>
                <a:gd name="T68" fmla="*/ 9631 w 135"/>
                <a:gd name="T69" fmla="*/ 44904 h 98"/>
                <a:gd name="T70" fmla="*/ 5045 w 135"/>
                <a:gd name="T71" fmla="*/ 39655 h 98"/>
                <a:gd name="T72" fmla="*/ 2293 w 135"/>
                <a:gd name="T73" fmla="*/ 36156 h 98"/>
                <a:gd name="T74" fmla="*/ 459 w 135"/>
                <a:gd name="T75" fmla="*/ 34407 h 98"/>
                <a:gd name="T76" fmla="*/ 0 w 135"/>
                <a:gd name="T77" fmla="*/ 33240 h 98"/>
                <a:gd name="T78" fmla="*/ 0 w 135"/>
                <a:gd name="T79" fmla="*/ 32657 h 98"/>
                <a:gd name="T80" fmla="*/ 1376 w 135"/>
                <a:gd name="T81" fmla="*/ 32074 h 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913" name="Freeform 472"/>
            <p:cNvSpPr>
              <a:spLocks/>
            </p:cNvSpPr>
            <p:nvPr>
              <p:custDataLst>
                <p:tags r:id="rId305"/>
              </p:custDataLst>
            </p:nvPr>
          </p:nvSpPr>
          <p:spPr bwMode="auto">
            <a:xfrm>
              <a:off x="6102623" y="1977971"/>
              <a:ext cx="157085" cy="101039"/>
            </a:xfrm>
            <a:custGeom>
              <a:avLst/>
              <a:gdLst>
                <a:gd name="T0" fmla="*/ 81084 w 312"/>
                <a:gd name="T1" fmla="*/ 84138 h 155"/>
                <a:gd name="T2" fmla="*/ 81929 w 312"/>
                <a:gd name="T3" fmla="*/ 81967 h 155"/>
                <a:gd name="T4" fmla="*/ 83196 w 312"/>
                <a:gd name="T5" fmla="*/ 80338 h 155"/>
                <a:gd name="T6" fmla="*/ 84463 w 312"/>
                <a:gd name="T7" fmla="*/ 78710 h 155"/>
                <a:gd name="T8" fmla="*/ 85730 w 312"/>
                <a:gd name="T9" fmla="*/ 77081 h 155"/>
                <a:gd name="T10" fmla="*/ 89108 w 312"/>
                <a:gd name="T11" fmla="*/ 74367 h 155"/>
                <a:gd name="T12" fmla="*/ 92909 w 312"/>
                <a:gd name="T13" fmla="*/ 71653 h 155"/>
                <a:gd name="T14" fmla="*/ 100511 w 312"/>
                <a:gd name="T15" fmla="*/ 66768 h 155"/>
                <a:gd name="T16" fmla="*/ 106845 w 312"/>
                <a:gd name="T17" fmla="*/ 63511 h 155"/>
                <a:gd name="T18" fmla="*/ 107690 w 312"/>
                <a:gd name="T19" fmla="*/ 59168 h 155"/>
                <a:gd name="T20" fmla="*/ 109802 w 312"/>
                <a:gd name="T21" fmla="*/ 52654 h 155"/>
                <a:gd name="T22" fmla="*/ 111491 w 312"/>
                <a:gd name="T23" fmla="*/ 49397 h 155"/>
                <a:gd name="T24" fmla="*/ 112758 w 312"/>
                <a:gd name="T25" fmla="*/ 46683 h 155"/>
                <a:gd name="T26" fmla="*/ 113602 w 312"/>
                <a:gd name="T27" fmla="*/ 44512 h 155"/>
                <a:gd name="T28" fmla="*/ 114869 w 312"/>
                <a:gd name="T29" fmla="*/ 43969 h 155"/>
                <a:gd name="T30" fmla="*/ 131762 w 312"/>
                <a:gd name="T31" fmla="*/ 23884 h 155"/>
                <a:gd name="T32" fmla="*/ 131762 w 312"/>
                <a:gd name="T33" fmla="*/ 21170 h 155"/>
                <a:gd name="T34" fmla="*/ 130917 w 312"/>
                <a:gd name="T35" fmla="*/ 18999 h 155"/>
                <a:gd name="T36" fmla="*/ 129228 w 312"/>
                <a:gd name="T37" fmla="*/ 17370 h 155"/>
                <a:gd name="T38" fmla="*/ 127539 w 312"/>
                <a:gd name="T39" fmla="*/ 16285 h 155"/>
                <a:gd name="T40" fmla="*/ 122893 w 312"/>
                <a:gd name="T41" fmla="*/ 15199 h 155"/>
                <a:gd name="T42" fmla="*/ 118248 w 312"/>
                <a:gd name="T43" fmla="*/ 14656 h 155"/>
                <a:gd name="T44" fmla="*/ 113180 w 312"/>
                <a:gd name="T45" fmla="*/ 14656 h 155"/>
                <a:gd name="T46" fmla="*/ 109379 w 312"/>
                <a:gd name="T47" fmla="*/ 14656 h 155"/>
                <a:gd name="T48" fmla="*/ 108112 w 312"/>
                <a:gd name="T49" fmla="*/ 14113 h 155"/>
                <a:gd name="T50" fmla="*/ 106845 w 312"/>
                <a:gd name="T51" fmla="*/ 13571 h 155"/>
                <a:gd name="T52" fmla="*/ 106423 w 312"/>
                <a:gd name="T53" fmla="*/ 12485 h 155"/>
                <a:gd name="T54" fmla="*/ 106845 w 312"/>
                <a:gd name="T55" fmla="*/ 10857 h 155"/>
                <a:gd name="T56" fmla="*/ 97977 w 312"/>
                <a:gd name="T57" fmla="*/ 10314 h 155"/>
                <a:gd name="T58" fmla="*/ 91220 w 312"/>
                <a:gd name="T59" fmla="*/ 9228 h 155"/>
                <a:gd name="T60" fmla="*/ 85307 w 312"/>
                <a:gd name="T61" fmla="*/ 7057 h 155"/>
                <a:gd name="T62" fmla="*/ 79817 w 312"/>
                <a:gd name="T63" fmla="*/ 4885 h 155"/>
                <a:gd name="T64" fmla="*/ 74750 w 312"/>
                <a:gd name="T65" fmla="*/ 3257 h 155"/>
                <a:gd name="T66" fmla="*/ 68837 w 312"/>
                <a:gd name="T67" fmla="*/ 1628 h 155"/>
                <a:gd name="T68" fmla="*/ 61658 w 312"/>
                <a:gd name="T69" fmla="*/ 543 h 155"/>
                <a:gd name="T70" fmla="*/ 53212 w 312"/>
                <a:gd name="T71" fmla="*/ 0 h 155"/>
                <a:gd name="T72" fmla="*/ 46455 w 312"/>
                <a:gd name="T73" fmla="*/ 543 h 155"/>
                <a:gd name="T74" fmla="*/ 31251 w 312"/>
                <a:gd name="T75" fmla="*/ 2171 h 155"/>
                <a:gd name="T76" fmla="*/ 22383 w 312"/>
                <a:gd name="T77" fmla="*/ 3257 h 155"/>
                <a:gd name="T78" fmla="*/ 14359 w 312"/>
                <a:gd name="T79" fmla="*/ 4343 h 155"/>
                <a:gd name="T80" fmla="*/ 7602 w 312"/>
                <a:gd name="T81" fmla="*/ 5428 h 155"/>
                <a:gd name="T82" fmla="*/ 2956 w 312"/>
                <a:gd name="T83" fmla="*/ 6514 h 155"/>
                <a:gd name="T84" fmla="*/ 3801 w 312"/>
                <a:gd name="T85" fmla="*/ 9228 h 155"/>
                <a:gd name="T86" fmla="*/ 4645 w 312"/>
                <a:gd name="T87" fmla="*/ 10314 h 155"/>
                <a:gd name="T88" fmla="*/ 5490 w 312"/>
                <a:gd name="T89" fmla="*/ 10314 h 155"/>
                <a:gd name="T90" fmla="*/ 6335 w 312"/>
                <a:gd name="T91" fmla="*/ 10857 h 155"/>
                <a:gd name="T92" fmla="*/ 7602 w 312"/>
                <a:gd name="T93" fmla="*/ 10857 h 155"/>
                <a:gd name="T94" fmla="*/ 8024 w 312"/>
                <a:gd name="T95" fmla="*/ 10857 h 155"/>
                <a:gd name="T96" fmla="*/ 8446 w 312"/>
                <a:gd name="T97" fmla="*/ 11942 h 155"/>
                <a:gd name="T98" fmla="*/ 8446 w 312"/>
                <a:gd name="T99" fmla="*/ 14113 h 155"/>
                <a:gd name="T100" fmla="*/ 8446 w 312"/>
                <a:gd name="T101" fmla="*/ 16285 h 155"/>
                <a:gd name="T102" fmla="*/ 8024 w 312"/>
                <a:gd name="T103" fmla="*/ 18999 h 155"/>
                <a:gd name="T104" fmla="*/ 7602 w 312"/>
                <a:gd name="T105" fmla="*/ 21170 h 155"/>
                <a:gd name="T106" fmla="*/ 6335 w 312"/>
                <a:gd name="T107" fmla="*/ 22799 h 155"/>
                <a:gd name="T108" fmla="*/ 5068 w 312"/>
                <a:gd name="T109" fmla="*/ 24427 h 155"/>
                <a:gd name="T110" fmla="*/ 3801 w 312"/>
                <a:gd name="T111" fmla="*/ 26056 h 155"/>
                <a:gd name="T112" fmla="*/ 1689 w 312"/>
                <a:gd name="T113" fmla="*/ 26598 h 155"/>
                <a:gd name="T114" fmla="*/ 0 w 312"/>
                <a:gd name="T115" fmla="*/ 27141 h 155"/>
                <a:gd name="T116" fmla="*/ 31251 w 312"/>
                <a:gd name="T117" fmla="*/ 36912 h 155"/>
                <a:gd name="T118" fmla="*/ 36741 w 312"/>
                <a:gd name="T119" fmla="*/ 60254 h 155"/>
                <a:gd name="T120" fmla="*/ 70104 w 312"/>
                <a:gd name="T121" fmla="*/ 66768 h 155"/>
                <a:gd name="T122" fmla="*/ 81084 w 312"/>
                <a:gd name="T123" fmla="*/ 84138 h 15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312" h="155">
                  <a:moveTo>
                    <a:pt x="192" y="155"/>
                  </a:moveTo>
                  <a:lnTo>
                    <a:pt x="194" y="151"/>
                  </a:lnTo>
                  <a:lnTo>
                    <a:pt x="197" y="148"/>
                  </a:lnTo>
                  <a:lnTo>
                    <a:pt x="200" y="145"/>
                  </a:lnTo>
                  <a:lnTo>
                    <a:pt x="203" y="142"/>
                  </a:lnTo>
                  <a:lnTo>
                    <a:pt x="211" y="137"/>
                  </a:lnTo>
                  <a:lnTo>
                    <a:pt x="220" y="132"/>
                  </a:lnTo>
                  <a:lnTo>
                    <a:pt x="238" y="123"/>
                  </a:lnTo>
                  <a:lnTo>
                    <a:pt x="253" y="117"/>
                  </a:lnTo>
                  <a:lnTo>
                    <a:pt x="255" y="109"/>
                  </a:lnTo>
                  <a:lnTo>
                    <a:pt x="260" y="97"/>
                  </a:lnTo>
                  <a:lnTo>
                    <a:pt x="264" y="91"/>
                  </a:lnTo>
                  <a:lnTo>
                    <a:pt x="267" y="86"/>
                  </a:lnTo>
                  <a:lnTo>
                    <a:pt x="269" y="82"/>
                  </a:lnTo>
                  <a:lnTo>
                    <a:pt x="272" y="81"/>
                  </a:lnTo>
                  <a:lnTo>
                    <a:pt x="312" y="44"/>
                  </a:lnTo>
                  <a:lnTo>
                    <a:pt x="312" y="39"/>
                  </a:lnTo>
                  <a:lnTo>
                    <a:pt x="310" y="35"/>
                  </a:lnTo>
                  <a:lnTo>
                    <a:pt x="306" y="32"/>
                  </a:lnTo>
                  <a:lnTo>
                    <a:pt x="302" y="30"/>
                  </a:lnTo>
                  <a:lnTo>
                    <a:pt x="291" y="28"/>
                  </a:lnTo>
                  <a:lnTo>
                    <a:pt x="280" y="27"/>
                  </a:lnTo>
                  <a:lnTo>
                    <a:pt x="268" y="27"/>
                  </a:lnTo>
                  <a:lnTo>
                    <a:pt x="259" y="27"/>
                  </a:lnTo>
                  <a:lnTo>
                    <a:pt x="256" y="26"/>
                  </a:lnTo>
                  <a:lnTo>
                    <a:pt x="253" y="25"/>
                  </a:lnTo>
                  <a:lnTo>
                    <a:pt x="252" y="23"/>
                  </a:lnTo>
                  <a:lnTo>
                    <a:pt x="253" y="20"/>
                  </a:lnTo>
                  <a:lnTo>
                    <a:pt x="232" y="19"/>
                  </a:lnTo>
                  <a:lnTo>
                    <a:pt x="216" y="17"/>
                  </a:lnTo>
                  <a:lnTo>
                    <a:pt x="202" y="13"/>
                  </a:lnTo>
                  <a:lnTo>
                    <a:pt x="189" y="9"/>
                  </a:lnTo>
                  <a:lnTo>
                    <a:pt x="177" y="6"/>
                  </a:lnTo>
                  <a:lnTo>
                    <a:pt x="163" y="3"/>
                  </a:lnTo>
                  <a:lnTo>
                    <a:pt x="146" y="1"/>
                  </a:lnTo>
                  <a:lnTo>
                    <a:pt x="126" y="0"/>
                  </a:lnTo>
                  <a:lnTo>
                    <a:pt x="110" y="1"/>
                  </a:lnTo>
                  <a:lnTo>
                    <a:pt x="74" y="4"/>
                  </a:lnTo>
                  <a:lnTo>
                    <a:pt x="53" y="6"/>
                  </a:lnTo>
                  <a:lnTo>
                    <a:pt x="34" y="8"/>
                  </a:lnTo>
                  <a:lnTo>
                    <a:pt x="18" y="10"/>
                  </a:lnTo>
                  <a:lnTo>
                    <a:pt x="7" y="12"/>
                  </a:lnTo>
                  <a:lnTo>
                    <a:pt x="9" y="17"/>
                  </a:lnTo>
                  <a:lnTo>
                    <a:pt x="11" y="19"/>
                  </a:lnTo>
                  <a:lnTo>
                    <a:pt x="13" y="19"/>
                  </a:lnTo>
                  <a:lnTo>
                    <a:pt x="15" y="20"/>
                  </a:lnTo>
                  <a:lnTo>
                    <a:pt x="18" y="20"/>
                  </a:lnTo>
                  <a:lnTo>
                    <a:pt x="19" y="20"/>
                  </a:lnTo>
                  <a:lnTo>
                    <a:pt x="20" y="22"/>
                  </a:lnTo>
                  <a:lnTo>
                    <a:pt x="20" y="26"/>
                  </a:lnTo>
                  <a:lnTo>
                    <a:pt x="20" y="30"/>
                  </a:lnTo>
                  <a:lnTo>
                    <a:pt x="19" y="35"/>
                  </a:lnTo>
                  <a:lnTo>
                    <a:pt x="18" y="39"/>
                  </a:lnTo>
                  <a:lnTo>
                    <a:pt x="15" y="42"/>
                  </a:lnTo>
                  <a:lnTo>
                    <a:pt x="12" y="45"/>
                  </a:lnTo>
                  <a:lnTo>
                    <a:pt x="9" y="48"/>
                  </a:lnTo>
                  <a:lnTo>
                    <a:pt x="4" y="49"/>
                  </a:lnTo>
                  <a:lnTo>
                    <a:pt x="0" y="50"/>
                  </a:lnTo>
                  <a:lnTo>
                    <a:pt x="74" y="68"/>
                  </a:lnTo>
                  <a:lnTo>
                    <a:pt x="87" y="111"/>
                  </a:lnTo>
                  <a:lnTo>
                    <a:pt x="166" y="123"/>
                  </a:lnTo>
                  <a:lnTo>
                    <a:pt x="192" y="15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914" name="Freeform 473"/>
            <p:cNvSpPr>
              <a:spLocks/>
            </p:cNvSpPr>
            <p:nvPr>
              <p:custDataLst>
                <p:tags r:id="rId306"/>
              </p:custDataLst>
            </p:nvPr>
          </p:nvSpPr>
          <p:spPr bwMode="auto">
            <a:xfrm>
              <a:off x="5752491" y="2201019"/>
              <a:ext cx="22711" cy="72442"/>
            </a:xfrm>
            <a:custGeom>
              <a:avLst/>
              <a:gdLst>
                <a:gd name="T0" fmla="*/ 0 w 46"/>
                <a:gd name="T1" fmla="*/ 30163 h 50"/>
                <a:gd name="T2" fmla="*/ 828 w 46"/>
                <a:gd name="T3" fmla="*/ 21717 h 50"/>
                <a:gd name="T4" fmla="*/ 414 w 46"/>
                <a:gd name="T5" fmla="*/ 16891 h 50"/>
                <a:gd name="T6" fmla="*/ 828 w 46"/>
                <a:gd name="T7" fmla="*/ 15685 h 50"/>
                <a:gd name="T8" fmla="*/ 1242 w 46"/>
                <a:gd name="T9" fmla="*/ 15685 h 50"/>
                <a:gd name="T10" fmla="*/ 2485 w 46"/>
                <a:gd name="T11" fmla="*/ 14478 h 50"/>
                <a:gd name="T12" fmla="*/ 5384 w 46"/>
                <a:gd name="T13" fmla="*/ 14478 h 50"/>
                <a:gd name="T14" fmla="*/ 19050 w 46"/>
                <a:gd name="T15" fmla="*/ 0 h 50"/>
                <a:gd name="T16" fmla="*/ 19050 w 46"/>
                <a:gd name="T17" fmla="*/ 60325 h 50"/>
                <a:gd name="T18" fmla="*/ 16565 w 46"/>
                <a:gd name="T19" fmla="*/ 59119 h 50"/>
                <a:gd name="T20" fmla="*/ 13666 w 46"/>
                <a:gd name="T21" fmla="*/ 54293 h 50"/>
                <a:gd name="T22" fmla="*/ 10353 w 46"/>
                <a:gd name="T23" fmla="*/ 49467 h 50"/>
                <a:gd name="T24" fmla="*/ 7040 w 46"/>
                <a:gd name="T25" fmla="*/ 44641 h 50"/>
                <a:gd name="T26" fmla="*/ 2071 w 46"/>
                <a:gd name="T27" fmla="*/ 33782 h 50"/>
                <a:gd name="T28" fmla="*/ 0 w 46"/>
                <a:gd name="T29" fmla="*/ 30163 h 5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6" h="50">
                  <a:moveTo>
                    <a:pt x="0" y="25"/>
                  </a:moveTo>
                  <a:lnTo>
                    <a:pt x="2" y="18"/>
                  </a:lnTo>
                  <a:lnTo>
                    <a:pt x="1" y="14"/>
                  </a:lnTo>
                  <a:lnTo>
                    <a:pt x="2" y="13"/>
                  </a:lnTo>
                  <a:lnTo>
                    <a:pt x="3" y="13"/>
                  </a:lnTo>
                  <a:lnTo>
                    <a:pt x="6" y="12"/>
                  </a:lnTo>
                  <a:lnTo>
                    <a:pt x="13" y="12"/>
                  </a:lnTo>
                  <a:lnTo>
                    <a:pt x="46" y="0"/>
                  </a:lnTo>
                  <a:lnTo>
                    <a:pt x="46" y="50"/>
                  </a:lnTo>
                  <a:lnTo>
                    <a:pt x="40" y="49"/>
                  </a:lnTo>
                  <a:lnTo>
                    <a:pt x="33" y="45"/>
                  </a:lnTo>
                  <a:lnTo>
                    <a:pt x="25" y="41"/>
                  </a:lnTo>
                  <a:lnTo>
                    <a:pt x="17" y="37"/>
                  </a:lnTo>
                  <a:lnTo>
                    <a:pt x="5" y="28"/>
                  </a:lnTo>
                  <a:lnTo>
                    <a:pt x="0" y="2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915" name="Freeform 474"/>
            <p:cNvSpPr>
              <a:spLocks/>
            </p:cNvSpPr>
            <p:nvPr>
              <p:custDataLst>
                <p:tags r:id="rId307"/>
              </p:custDataLst>
            </p:nvPr>
          </p:nvSpPr>
          <p:spPr bwMode="auto">
            <a:xfrm>
              <a:off x="6583343" y="4463888"/>
              <a:ext cx="83274" cy="289769"/>
            </a:xfrm>
            <a:custGeom>
              <a:avLst/>
              <a:gdLst>
                <a:gd name="T0" fmla="*/ 4208 w 166"/>
                <a:gd name="T1" fmla="*/ 149225 h 456"/>
                <a:gd name="T2" fmla="*/ 7995 w 166"/>
                <a:gd name="T3" fmla="*/ 153458 h 456"/>
                <a:gd name="T4" fmla="*/ 15569 w 166"/>
                <a:gd name="T5" fmla="*/ 158750 h 456"/>
                <a:gd name="T6" fmla="*/ 24405 w 166"/>
                <a:gd name="T7" fmla="*/ 161925 h 456"/>
                <a:gd name="T8" fmla="*/ 29455 w 166"/>
                <a:gd name="T9" fmla="*/ 165100 h 456"/>
                <a:gd name="T10" fmla="*/ 33663 w 166"/>
                <a:gd name="T11" fmla="*/ 169333 h 456"/>
                <a:gd name="T12" fmla="*/ 36187 w 166"/>
                <a:gd name="T13" fmla="*/ 175154 h 456"/>
                <a:gd name="T14" fmla="*/ 36187 w 166"/>
                <a:gd name="T15" fmla="*/ 183621 h 456"/>
                <a:gd name="T16" fmla="*/ 32821 w 166"/>
                <a:gd name="T17" fmla="*/ 192088 h 456"/>
                <a:gd name="T18" fmla="*/ 28613 w 166"/>
                <a:gd name="T19" fmla="*/ 198438 h 456"/>
                <a:gd name="T20" fmla="*/ 26089 w 166"/>
                <a:gd name="T21" fmla="*/ 205317 h 456"/>
                <a:gd name="T22" fmla="*/ 25247 w 166"/>
                <a:gd name="T23" fmla="*/ 211667 h 456"/>
                <a:gd name="T24" fmla="*/ 26930 w 166"/>
                <a:gd name="T25" fmla="*/ 217487 h 456"/>
                <a:gd name="T26" fmla="*/ 31980 w 166"/>
                <a:gd name="T27" fmla="*/ 224367 h 456"/>
                <a:gd name="T28" fmla="*/ 43761 w 166"/>
                <a:gd name="T29" fmla="*/ 235479 h 456"/>
                <a:gd name="T30" fmla="*/ 50494 w 166"/>
                <a:gd name="T31" fmla="*/ 234421 h 456"/>
                <a:gd name="T32" fmla="*/ 50494 w 166"/>
                <a:gd name="T33" fmla="*/ 223837 h 456"/>
                <a:gd name="T34" fmla="*/ 55123 w 166"/>
                <a:gd name="T35" fmla="*/ 218546 h 456"/>
                <a:gd name="T36" fmla="*/ 61014 w 166"/>
                <a:gd name="T37" fmla="*/ 215371 h 456"/>
                <a:gd name="T38" fmla="*/ 64380 w 166"/>
                <a:gd name="T39" fmla="*/ 212725 h 456"/>
                <a:gd name="T40" fmla="*/ 67325 w 166"/>
                <a:gd name="T41" fmla="*/ 207962 h 456"/>
                <a:gd name="T42" fmla="*/ 69850 w 166"/>
                <a:gd name="T43" fmla="*/ 198438 h 456"/>
                <a:gd name="T44" fmla="*/ 69429 w 166"/>
                <a:gd name="T45" fmla="*/ 185208 h 456"/>
                <a:gd name="T46" fmla="*/ 66484 w 166"/>
                <a:gd name="T47" fmla="*/ 173567 h 456"/>
                <a:gd name="T48" fmla="*/ 62276 w 166"/>
                <a:gd name="T49" fmla="*/ 162454 h 456"/>
                <a:gd name="T50" fmla="*/ 59330 w 166"/>
                <a:gd name="T51" fmla="*/ 150283 h 456"/>
                <a:gd name="T52" fmla="*/ 56806 w 166"/>
                <a:gd name="T53" fmla="*/ 142346 h 456"/>
                <a:gd name="T54" fmla="*/ 49652 w 166"/>
                <a:gd name="T55" fmla="*/ 132821 h 456"/>
                <a:gd name="T56" fmla="*/ 40816 w 166"/>
                <a:gd name="T57" fmla="*/ 118533 h 456"/>
                <a:gd name="T58" fmla="*/ 35767 w 166"/>
                <a:gd name="T59" fmla="*/ 109008 h 456"/>
                <a:gd name="T60" fmla="*/ 33663 w 166"/>
                <a:gd name="T61" fmla="*/ 103187 h 456"/>
                <a:gd name="T62" fmla="*/ 34083 w 166"/>
                <a:gd name="T63" fmla="*/ 93663 h 456"/>
                <a:gd name="T64" fmla="*/ 37029 w 166"/>
                <a:gd name="T65" fmla="*/ 77788 h 456"/>
                <a:gd name="T66" fmla="*/ 40395 w 166"/>
                <a:gd name="T67" fmla="*/ 68263 h 456"/>
                <a:gd name="T68" fmla="*/ 41237 w 166"/>
                <a:gd name="T69" fmla="*/ 59796 h 456"/>
                <a:gd name="T70" fmla="*/ 39974 w 166"/>
                <a:gd name="T71" fmla="*/ 43392 h 456"/>
                <a:gd name="T72" fmla="*/ 38712 w 166"/>
                <a:gd name="T73" fmla="*/ 23813 h 456"/>
                <a:gd name="T74" fmla="*/ 37450 w 166"/>
                <a:gd name="T75" fmla="*/ 9525 h 456"/>
                <a:gd name="T76" fmla="*/ 29876 w 166"/>
                <a:gd name="T77" fmla="*/ 4233 h 456"/>
                <a:gd name="T78" fmla="*/ 13886 w 166"/>
                <a:gd name="T79" fmla="*/ 2117 h 456"/>
                <a:gd name="T80" fmla="*/ 5049 w 166"/>
                <a:gd name="T81" fmla="*/ 5292 h 456"/>
                <a:gd name="T82" fmla="*/ 9257 w 166"/>
                <a:gd name="T83" fmla="*/ 13229 h 456"/>
                <a:gd name="T84" fmla="*/ 13886 w 166"/>
                <a:gd name="T85" fmla="*/ 15875 h 456"/>
                <a:gd name="T86" fmla="*/ 16831 w 166"/>
                <a:gd name="T87" fmla="*/ 23283 h 456"/>
                <a:gd name="T88" fmla="*/ 16831 w 166"/>
                <a:gd name="T89" fmla="*/ 33867 h 456"/>
                <a:gd name="T90" fmla="*/ 16831 w 166"/>
                <a:gd name="T91" fmla="*/ 41275 h 456"/>
                <a:gd name="T92" fmla="*/ 15148 w 166"/>
                <a:gd name="T93" fmla="*/ 44979 h 456"/>
                <a:gd name="T94" fmla="*/ 12203 w 166"/>
                <a:gd name="T95" fmla="*/ 50271 h 456"/>
                <a:gd name="T96" fmla="*/ 6312 w 166"/>
                <a:gd name="T97" fmla="*/ 57679 h 456"/>
                <a:gd name="T98" fmla="*/ 1262 w 166"/>
                <a:gd name="T99" fmla="*/ 64558 h 456"/>
                <a:gd name="T100" fmla="*/ 2945 w 166"/>
                <a:gd name="T101" fmla="*/ 146579 h 45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166" h="456">
                  <a:moveTo>
                    <a:pt x="7" y="277"/>
                  </a:moveTo>
                  <a:lnTo>
                    <a:pt x="10" y="282"/>
                  </a:lnTo>
                  <a:lnTo>
                    <a:pt x="14" y="287"/>
                  </a:lnTo>
                  <a:lnTo>
                    <a:pt x="19" y="290"/>
                  </a:lnTo>
                  <a:lnTo>
                    <a:pt x="25" y="294"/>
                  </a:lnTo>
                  <a:lnTo>
                    <a:pt x="37" y="300"/>
                  </a:lnTo>
                  <a:lnTo>
                    <a:pt x="52" y="304"/>
                  </a:lnTo>
                  <a:lnTo>
                    <a:pt x="58" y="306"/>
                  </a:lnTo>
                  <a:lnTo>
                    <a:pt x="65" y="309"/>
                  </a:lnTo>
                  <a:lnTo>
                    <a:pt x="70" y="312"/>
                  </a:lnTo>
                  <a:lnTo>
                    <a:pt x="76" y="316"/>
                  </a:lnTo>
                  <a:lnTo>
                    <a:pt x="80" y="320"/>
                  </a:lnTo>
                  <a:lnTo>
                    <a:pt x="84" y="325"/>
                  </a:lnTo>
                  <a:lnTo>
                    <a:pt x="86" y="331"/>
                  </a:lnTo>
                  <a:lnTo>
                    <a:pt x="87" y="339"/>
                  </a:lnTo>
                  <a:lnTo>
                    <a:pt x="86" y="347"/>
                  </a:lnTo>
                  <a:lnTo>
                    <a:pt x="82" y="356"/>
                  </a:lnTo>
                  <a:lnTo>
                    <a:pt x="78" y="363"/>
                  </a:lnTo>
                  <a:lnTo>
                    <a:pt x="74" y="369"/>
                  </a:lnTo>
                  <a:lnTo>
                    <a:pt x="68" y="375"/>
                  </a:lnTo>
                  <a:lnTo>
                    <a:pt x="64" y="381"/>
                  </a:lnTo>
                  <a:lnTo>
                    <a:pt x="62" y="388"/>
                  </a:lnTo>
                  <a:lnTo>
                    <a:pt x="60" y="394"/>
                  </a:lnTo>
                  <a:lnTo>
                    <a:pt x="60" y="400"/>
                  </a:lnTo>
                  <a:lnTo>
                    <a:pt x="62" y="405"/>
                  </a:lnTo>
                  <a:lnTo>
                    <a:pt x="64" y="411"/>
                  </a:lnTo>
                  <a:lnTo>
                    <a:pt x="67" y="416"/>
                  </a:lnTo>
                  <a:lnTo>
                    <a:pt x="76" y="424"/>
                  </a:lnTo>
                  <a:lnTo>
                    <a:pt x="85" y="432"/>
                  </a:lnTo>
                  <a:lnTo>
                    <a:pt x="104" y="445"/>
                  </a:lnTo>
                  <a:lnTo>
                    <a:pt x="120" y="456"/>
                  </a:lnTo>
                  <a:lnTo>
                    <a:pt x="120" y="443"/>
                  </a:lnTo>
                  <a:lnTo>
                    <a:pt x="120" y="432"/>
                  </a:lnTo>
                  <a:lnTo>
                    <a:pt x="120" y="423"/>
                  </a:lnTo>
                  <a:lnTo>
                    <a:pt x="120" y="413"/>
                  </a:lnTo>
                  <a:lnTo>
                    <a:pt x="131" y="413"/>
                  </a:lnTo>
                  <a:lnTo>
                    <a:pt x="141" y="410"/>
                  </a:lnTo>
                  <a:lnTo>
                    <a:pt x="145" y="407"/>
                  </a:lnTo>
                  <a:lnTo>
                    <a:pt x="149" y="405"/>
                  </a:lnTo>
                  <a:lnTo>
                    <a:pt x="153" y="402"/>
                  </a:lnTo>
                  <a:lnTo>
                    <a:pt x="155" y="399"/>
                  </a:lnTo>
                  <a:lnTo>
                    <a:pt x="160" y="393"/>
                  </a:lnTo>
                  <a:lnTo>
                    <a:pt x="164" y="384"/>
                  </a:lnTo>
                  <a:lnTo>
                    <a:pt x="166" y="375"/>
                  </a:lnTo>
                  <a:lnTo>
                    <a:pt x="166" y="364"/>
                  </a:lnTo>
                  <a:lnTo>
                    <a:pt x="165" y="350"/>
                  </a:lnTo>
                  <a:lnTo>
                    <a:pt x="163" y="339"/>
                  </a:lnTo>
                  <a:lnTo>
                    <a:pt x="158" y="328"/>
                  </a:lnTo>
                  <a:lnTo>
                    <a:pt x="153" y="318"/>
                  </a:lnTo>
                  <a:lnTo>
                    <a:pt x="148" y="307"/>
                  </a:lnTo>
                  <a:lnTo>
                    <a:pt x="144" y="296"/>
                  </a:lnTo>
                  <a:lnTo>
                    <a:pt x="141" y="284"/>
                  </a:lnTo>
                  <a:lnTo>
                    <a:pt x="140" y="271"/>
                  </a:lnTo>
                  <a:lnTo>
                    <a:pt x="135" y="269"/>
                  </a:lnTo>
                  <a:lnTo>
                    <a:pt x="127" y="261"/>
                  </a:lnTo>
                  <a:lnTo>
                    <a:pt x="118" y="251"/>
                  </a:lnTo>
                  <a:lnTo>
                    <a:pt x="108" y="238"/>
                  </a:lnTo>
                  <a:lnTo>
                    <a:pt x="97" y="224"/>
                  </a:lnTo>
                  <a:lnTo>
                    <a:pt x="88" y="211"/>
                  </a:lnTo>
                  <a:lnTo>
                    <a:pt x="85" y="206"/>
                  </a:lnTo>
                  <a:lnTo>
                    <a:pt x="82" y="200"/>
                  </a:lnTo>
                  <a:lnTo>
                    <a:pt x="80" y="195"/>
                  </a:lnTo>
                  <a:lnTo>
                    <a:pt x="80" y="192"/>
                  </a:lnTo>
                  <a:lnTo>
                    <a:pt x="81" y="177"/>
                  </a:lnTo>
                  <a:lnTo>
                    <a:pt x="85" y="157"/>
                  </a:lnTo>
                  <a:lnTo>
                    <a:pt x="88" y="147"/>
                  </a:lnTo>
                  <a:lnTo>
                    <a:pt x="91" y="138"/>
                  </a:lnTo>
                  <a:lnTo>
                    <a:pt x="96" y="129"/>
                  </a:lnTo>
                  <a:lnTo>
                    <a:pt x="100" y="123"/>
                  </a:lnTo>
                  <a:lnTo>
                    <a:pt x="98" y="113"/>
                  </a:lnTo>
                  <a:lnTo>
                    <a:pt x="96" y="99"/>
                  </a:lnTo>
                  <a:lnTo>
                    <a:pt x="95" y="82"/>
                  </a:lnTo>
                  <a:lnTo>
                    <a:pt x="93" y="63"/>
                  </a:lnTo>
                  <a:lnTo>
                    <a:pt x="92" y="45"/>
                  </a:lnTo>
                  <a:lnTo>
                    <a:pt x="90" y="30"/>
                  </a:lnTo>
                  <a:lnTo>
                    <a:pt x="89" y="18"/>
                  </a:lnTo>
                  <a:lnTo>
                    <a:pt x="87" y="12"/>
                  </a:lnTo>
                  <a:lnTo>
                    <a:pt x="71" y="8"/>
                  </a:lnTo>
                  <a:lnTo>
                    <a:pt x="54" y="6"/>
                  </a:lnTo>
                  <a:lnTo>
                    <a:pt x="33" y="4"/>
                  </a:lnTo>
                  <a:lnTo>
                    <a:pt x="7" y="0"/>
                  </a:lnTo>
                  <a:lnTo>
                    <a:pt x="12" y="10"/>
                  </a:lnTo>
                  <a:lnTo>
                    <a:pt x="19" y="21"/>
                  </a:lnTo>
                  <a:lnTo>
                    <a:pt x="22" y="25"/>
                  </a:lnTo>
                  <a:lnTo>
                    <a:pt x="28" y="28"/>
                  </a:lnTo>
                  <a:lnTo>
                    <a:pt x="33" y="30"/>
                  </a:lnTo>
                  <a:lnTo>
                    <a:pt x="40" y="31"/>
                  </a:lnTo>
                  <a:lnTo>
                    <a:pt x="40" y="44"/>
                  </a:lnTo>
                  <a:lnTo>
                    <a:pt x="40" y="55"/>
                  </a:lnTo>
                  <a:lnTo>
                    <a:pt x="40" y="64"/>
                  </a:lnTo>
                  <a:lnTo>
                    <a:pt x="40" y="74"/>
                  </a:lnTo>
                  <a:lnTo>
                    <a:pt x="40" y="78"/>
                  </a:lnTo>
                  <a:lnTo>
                    <a:pt x="39" y="81"/>
                  </a:lnTo>
                  <a:lnTo>
                    <a:pt x="36" y="85"/>
                  </a:lnTo>
                  <a:lnTo>
                    <a:pt x="35" y="88"/>
                  </a:lnTo>
                  <a:lnTo>
                    <a:pt x="29" y="95"/>
                  </a:lnTo>
                  <a:lnTo>
                    <a:pt x="22" y="102"/>
                  </a:lnTo>
                  <a:lnTo>
                    <a:pt x="15" y="109"/>
                  </a:lnTo>
                  <a:lnTo>
                    <a:pt x="9" y="115"/>
                  </a:lnTo>
                  <a:lnTo>
                    <a:pt x="3" y="122"/>
                  </a:lnTo>
                  <a:lnTo>
                    <a:pt x="0" y="129"/>
                  </a:lnTo>
                  <a:lnTo>
                    <a:pt x="7" y="277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916" name="Freeform 475"/>
            <p:cNvSpPr>
              <a:spLocks/>
            </p:cNvSpPr>
            <p:nvPr>
              <p:custDataLst>
                <p:tags r:id="rId308"/>
              </p:custDataLst>
            </p:nvPr>
          </p:nvSpPr>
          <p:spPr bwMode="auto">
            <a:xfrm>
              <a:off x="5977712" y="2748148"/>
              <a:ext cx="17033" cy="68630"/>
            </a:xfrm>
            <a:custGeom>
              <a:avLst/>
              <a:gdLst>
                <a:gd name="T0" fmla="*/ 14287 w 27"/>
                <a:gd name="T1" fmla="*/ 0 h 19"/>
                <a:gd name="T2" fmla="*/ 14287 w 27"/>
                <a:gd name="T3" fmla="*/ 36095 h 19"/>
                <a:gd name="T4" fmla="*/ 14287 w 27"/>
                <a:gd name="T5" fmla="*/ 57150 h 19"/>
                <a:gd name="T6" fmla="*/ 4762 w 27"/>
                <a:gd name="T7" fmla="*/ 57150 h 19"/>
                <a:gd name="T8" fmla="*/ 0 w 27"/>
                <a:gd name="T9" fmla="*/ 57150 h 19"/>
                <a:gd name="T10" fmla="*/ 4762 w 27"/>
                <a:gd name="T11" fmla="*/ 36095 h 19"/>
                <a:gd name="T12" fmla="*/ 14287 w 27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917" name="Freeform 476"/>
            <p:cNvSpPr>
              <a:spLocks/>
            </p:cNvSpPr>
            <p:nvPr>
              <p:custDataLst>
                <p:tags r:id="rId309"/>
              </p:custDataLst>
            </p:nvPr>
          </p:nvSpPr>
          <p:spPr bwMode="auto">
            <a:xfrm>
              <a:off x="6358124" y="4694562"/>
              <a:ext cx="225220" cy="261173"/>
            </a:xfrm>
            <a:custGeom>
              <a:avLst/>
              <a:gdLst>
                <a:gd name="T0" fmla="*/ 122492 w 438"/>
                <a:gd name="T1" fmla="*/ 4285 h 406"/>
                <a:gd name="T2" fmla="*/ 138019 w 438"/>
                <a:gd name="T3" fmla="*/ 14463 h 406"/>
                <a:gd name="T4" fmla="*/ 156565 w 438"/>
                <a:gd name="T5" fmla="*/ 25177 h 406"/>
                <a:gd name="T6" fmla="*/ 170367 w 438"/>
                <a:gd name="T7" fmla="*/ 31070 h 406"/>
                <a:gd name="T8" fmla="*/ 179424 w 438"/>
                <a:gd name="T9" fmla="*/ 32677 h 406"/>
                <a:gd name="T10" fmla="*/ 183306 w 438"/>
                <a:gd name="T11" fmla="*/ 43390 h 406"/>
                <a:gd name="T12" fmla="*/ 185031 w 438"/>
                <a:gd name="T13" fmla="*/ 64282 h 406"/>
                <a:gd name="T14" fmla="*/ 187188 w 438"/>
                <a:gd name="T15" fmla="*/ 84102 h 406"/>
                <a:gd name="T16" fmla="*/ 188913 w 438"/>
                <a:gd name="T17" fmla="*/ 104458 h 406"/>
                <a:gd name="T18" fmla="*/ 188913 w 438"/>
                <a:gd name="T19" fmla="*/ 119457 h 406"/>
                <a:gd name="T20" fmla="*/ 187619 w 438"/>
                <a:gd name="T21" fmla="*/ 126957 h 406"/>
                <a:gd name="T22" fmla="*/ 183306 w 438"/>
                <a:gd name="T23" fmla="*/ 138742 h 406"/>
                <a:gd name="T24" fmla="*/ 175542 w 438"/>
                <a:gd name="T25" fmla="*/ 153741 h 406"/>
                <a:gd name="T26" fmla="*/ 168642 w 438"/>
                <a:gd name="T27" fmla="*/ 164454 h 406"/>
                <a:gd name="T28" fmla="*/ 164328 w 438"/>
                <a:gd name="T29" fmla="*/ 171418 h 406"/>
                <a:gd name="T30" fmla="*/ 161309 w 438"/>
                <a:gd name="T31" fmla="*/ 177847 h 406"/>
                <a:gd name="T32" fmla="*/ 160447 w 438"/>
                <a:gd name="T33" fmla="*/ 188560 h 406"/>
                <a:gd name="T34" fmla="*/ 154840 w 438"/>
                <a:gd name="T35" fmla="*/ 199274 h 406"/>
                <a:gd name="T36" fmla="*/ 138450 w 438"/>
                <a:gd name="T37" fmla="*/ 214809 h 406"/>
                <a:gd name="T38" fmla="*/ 88418 w 438"/>
                <a:gd name="T39" fmla="*/ 207845 h 406"/>
                <a:gd name="T40" fmla="*/ 78498 w 438"/>
                <a:gd name="T41" fmla="*/ 203024 h 406"/>
                <a:gd name="T42" fmla="*/ 71166 w 438"/>
                <a:gd name="T43" fmla="*/ 198202 h 406"/>
                <a:gd name="T44" fmla="*/ 64696 w 438"/>
                <a:gd name="T45" fmla="*/ 192310 h 406"/>
                <a:gd name="T46" fmla="*/ 59952 w 438"/>
                <a:gd name="T47" fmla="*/ 185346 h 406"/>
                <a:gd name="T48" fmla="*/ 53482 w 438"/>
                <a:gd name="T49" fmla="*/ 172490 h 406"/>
                <a:gd name="T50" fmla="*/ 46581 w 438"/>
                <a:gd name="T51" fmla="*/ 158562 h 406"/>
                <a:gd name="T52" fmla="*/ 40543 w 438"/>
                <a:gd name="T53" fmla="*/ 149455 h 406"/>
                <a:gd name="T54" fmla="*/ 31054 w 438"/>
                <a:gd name="T55" fmla="*/ 138742 h 406"/>
                <a:gd name="T56" fmla="*/ 18978 w 438"/>
                <a:gd name="T57" fmla="*/ 125350 h 406"/>
                <a:gd name="T58" fmla="*/ 10351 w 438"/>
                <a:gd name="T59" fmla="*/ 114100 h 406"/>
                <a:gd name="T60" fmla="*/ 5607 w 438"/>
                <a:gd name="T61" fmla="*/ 104458 h 406"/>
                <a:gd name="T62" fmla="*/ 1725 w 438"/>
                <a:gd name="T63" fmla="*/ 94280 h 406"/>
                <a:gd name="T64" fmla="*/ 0 w 438"/>
                <a:gd name="T65" fmla="*/ 82495 h 406"/>
                <a:gd name="T66" fmla="*/ 7764 w 438"/>
                <a:gd name="T67" fmla="*/ 75531 h 406"/>
                <a:gd name="T68" fmla="*/ 17252 w 438"/>
                <a:gd name="T69" fmla="*/ 75531 h 406"/>
                <a:gd name="T70" fmla="*/ 22859 w 438"/>
                <a:gd name="T71" fmla="*/ 75531 h 406"/>
                <a:gd name="T72" fmla="*/ 27172 w 438"/>
                <a:gd name="T73" fmla="*/ 73924 h 406"/>
                <a:gd name="T74" fmla="*/ 33211 w 438"/>
                <a:gd name="T75" fmla="*/ 70174 h 406"/>
                <a:gd name="T76" fmla="*/ 42700 w 438"/>
                <a:gd name="T77" fmla="*/ 57854 h 406"/>
                <a:gd name="T78" fmla="*/ 50463 w 438"/>
                <a:gd name="T79" fmla="*/ 46604 h 406"/>
                <a:gd name="T80" fmla="*/ 56070 w 438"/>
                <a:gd name="T81" fmla="*/ 42855 h 406"/>
                <a:gd name="T82" fmla="*/ 64696 w 438"/>
                <a:gd name="T83" fmla="*/ 38033 h 406"/>
                <a:gd name="T84" fmla="*/ 77204 w 438"/>
                <a:gd name="T85" fmla="*/ 32141 h 406"/>
                <a:gd name="T86" fmla="*/ 87556 w 438"/>
                <a:gd name="T87" fmla="*/ 26784 h 406"/>
                <a:gd name="T88" fmla="*/ 91006 w 438"/>
                <a:gd name="T89" fmla="*/ 23034 h 406"/>
                <a:gd name="T90" fmla="*/ 90575 w 438"/>
                <a:gd name="T91" fmla="*/ 20356 h 406"/>
                <a:gd name="T92" fmla="*/ 91006 w 438"/>
                <a:gd name="T93" fmla="*/ 16070 h 406"/>
                <a:gd name="T94" fmla="*/ 91869 w 438"/>
                <a:gd name="T95" fmla="*/ 9107 h 406"/>
                <a:gd name="T96" fmla="*/ 93594 w 438"/>
                <a:gd name="T97" fmla="*/ 6428 h 406"/>
                <a:gd name="T98" fmla="*/ 97044 w 438"/>
                <a:gd name="T99" fmla="*/ 6428 h 406"/>
                <a:gd name="T100" fmla="*/ 100064 w 438"/>
                <a:gd name="T101" fmla="*/ 4821 h 406"/>
                <a:gd name="T102" fmla="*/ 101789 w 438"/>
                <a:gd name="T103" fmla="*/ 2143 h 406"/>
                <a:gd name="T104" fmla="*/ 105239 w 438"/>
                <a:gd name="T105" fmla="*/ 1071 h 406"/>
                <a:gd name="T106" fmla="*/ 108258 w 438"/>
                <a:gd name="T107" fmla="*/ 1607 h 406"/>
                <a:gd name="T108" fmla="*/ 113865 w 438"/>
                <a:gd name="T109" fmla="*/ 536 h 40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438" h="406">
                  <a:moveTo>
                    <a:pt x="272" y="0"/>
                  </a:moveTo>
                  <a:lnTo>
                    <a:pt x="284" y="8"/>
                  </a:lnTo>
                  <a:lnTo>
                    <a:pt x="301" y="17"/>
                  </a:lnTo>
                  <a:lnTo>
                    <a:pt x="320" y="27"/>
                  </a:lnTo>
                  <a:lnTo>
                    <a:pt x="341" y="37"/>
                  </a:lnTo>
                  <a:lnTo>
                    <a:pt x="363" y="47"/>
                  </a:lnTo>
                  <a:lnTo>
                    <a:pt x="385" y="55"/>
                  </a:lnTo>
                  <a:lnTo>
                    <a:pt x="395" y="58"/>
                  </a:lnTo>
                  <a:lnTo>
                    <a:pt x="406" y="60"/>
                  </a:lnTo>
                  <a:lnTo>
                    <a:pt x="416" y="61"/>
                  </a:lnTo>
                  <a:lnTo>
                    <a:pt x="425" y="61"/>
                  </a:lnTo>
                  <a:lnTo>
                    <a:pt x="425" y="81"/>
                  </a:lnTo>
                  <a:lnTo>
                    <a:pt x="427" y="101"/>
                  </a:lnTo>
                  <a:lnTo>
                    <a:pt x="429" y="120"/>
                  </a:lnTo>
                  <a:lnTo>
                    <a:pt x="432" y="138"/>
                  </a:lnTo>
                  <a:lnTo>
                    <a:pt x="434" y="157"/>
                  </a:lnTo>
                  <a:lnTo>
                    <a:pt x="436" y="176"/>
                  </a:lnTo>
                  <a:lnTo>
                    <a:pt x="438" y="195"/>
                  </a:lnTo>
                  <a:lnTo>
                    <a:pt x="438" y="216"/>
                  </a:lnTo>
                  <a:lnTo>
                    <a:pt x="438" y="223"/>
                  </a:lnTo>
                  <a:lnTo>
                    <a:pt x="436" y="230"/>
                  </a:lnTo>
                  <a:lnTo>
                    <a:pt x="435" y="237"/>
                  </a:lnTo>
                  <a:lnTo>
                    <a:pt x="432" y="245"/>
                  </a:lnTo>
                  <a:lnTo>
                    <a:pt x="425" y="259"/>
                  </a:lnTo>
                  <a:lnTo>
                    <a:pt x="416" y="274"/>
                  </a:lnTo>
                  <a:lnTo>
                    <a:pt x="407" y="287"/>
                  </a:lnTo>
                  <a:lnTo>
                    <a:pt x="399" y="298"/>
                  </a:lnTo>
                  <a:lnTo>
                    <a:pt x="391" y="307"/>
                  </a:lnTo>
                  <a:lnTo>
                    <a:pt x="385" y="314"/>
                  </a:lnTo>
                  <a:lnTo>
                    <a:pt x="381" y="320"/>
                  </a:lnTo>
                  <a:lnTo>
                    <a:pt x="378" y="326"/>
                  </a:lnTo>
                  <a:lnTo>
                    <a:pt x="374" y="332"/>
                  </a:lnTo>
                  <a:lnTo>
                    <a:pt x="373" y="339"/>
                  </a:lnTo>
                  <a:lnTo>
                    <a:pt x="372" y="352"/>
                  </a:lnTo>
                  <a:lnTo>
                    <a:pt x="372" y="363"/>
                  </a:lnTo>
                  <a:lnTo>
                    <a:pt x="359" y="372"/>
                  </a:lnTo>
                  <a:lnTo>
                    <a:pt x="339" y="387"/>
                  </a:lnTo>
                  <a:lnTo>
                    <a:pt x="321" y="401"/>
                  </a:lnTo>
                  <a:lnTo>
                    <a:pt x="312" y="406"/>
                  </a:lnTo>
                  <a:lnTo>
                    <a:pt x="205" y="388"/>
                  </a:lnTo>
                  <a:lnTo>
                    <a:pt x="192" y="382"/>
                  </a:lnTo>
                  <a:lnTo>
                    <a:pt x="182" y="379"/>
                  </a:lnTo>
                  <a:lnTo>
                    <a:pt x="172" y="376"/>
                  </a:lnTo>
                  <a:lnTo>
                    <a:pt x="165" y="370"/>
                  </a:lnTo>
                  <a:lnTo>
                    <a:pt x="157" y="365"/>
                  </a:lnTo>
                  <a:lnTo>
                    <a:pt x="150" y="359"/>
                  </a:lnTo>
                  <a:lnTo>
                    <a:pt x="145" y="353"/>
                  </a:lnTo>
                  <a:lnTo>
                    <a:pt x="139" y="346"/>
                  </a:lnTo>
                  <a:lnTo>
                    <a:pt x="134" y="338"/>
                  </a:lnTo>
                  <a:lnTo>
                    <a:pt x="124" y="322"/>
                  </a:lnTo>
                  <a:lnTo>
                    <a:pt x="114" y="304"/>
                  </a:lnTo>
                  <a:lnTo>
                    <a:pt x="108" y="296"/>
                  </a:lnTo>
                  <a:lnTo>
                    <a:pt x="101" y="288"/>
                  </a:lnTo>
                  <a:lnTo>
                    <a:pt x="94" y="279"/>
                  </a:lnTo>
                  <a:lnTo>
                    <a:pt x="86" y="271"/>
                  </a:lnTo>
                  <a:lnTo>
                    <a:pt x="72" y="259"/>
                  </a:lnTo>
                  <a:lnTo>
                    <a:pt x="58" y="247"/>
                  </a:lnTo>
                  <a:lnTo>
                    <a:pt x="44" y="234"/>
                  </a:lnTo>
                  <a:lnTo>
                    <a:pt x="31" y="220"/>
                  </a:lnTo>
                  <a:lnTo>
                    <a:pt x="24" y="213"/>
                  </a:lnTo>
                  <a:lnTo>
                    <a:pt x="19" y="204"/>
                  </a:lnTo>
                  <a:lnTo>
                    <a:pt x="13" y="195"/>
                  </a:lnTo>
                  <a:lnTo>
                    <a:pt x="9" y="186"/>
                  </a:lnTo>
                  <a:lnTo>
                    <a:pt x="4" y="176"/>
                  </a:lnTo>
                  <a:lnTo>
                    <a:pt x="2" y="166"/>
                  </a:lnTo>
                  <a:lnTo>
                    <a:pt x="0" y="154"/>
                  </a:lnTo>
                  <a:lnTo>
                    <a:pt x="0" y="141"/>
                  </a:lnTo>
                  <a:lnTo>
                    <a:pt x="18" y="141"/>
                  </a:lnTo>
                  <a:lnTo>
                    <a:pt x="31" y="141"/>
                  </a:lnTo>
                  <a:lnTo>
                    <a:pt x="40" y="141"/>
                  </a:lnTo>
                  <a:lnTo>
                    <a:pt x="46" y="141"/>
                  </a:lnTo>
                  <a:lnTo>
                    <a:pt x="53" y="141"/>
                  </a:lnTo>
                  <a:lnTo>
                    <a:pt x="58" y="140"/>
                  </a:lnTo>
                  <a:lnTo>
                    <a:pt x="63" y="138"/>
                  </a:lnTo>
                  <a:lnTo>
                    <a:pt x="68" y="136"/>
                  </a:lnTo>
                  <a:lnTo>
                    <a:pt x="77" y="131"/>
                  </a:lnTo>
                  <a:lnTo>
                    <a:pt x="85" y="124"/>
                  </a:lnTo>
                  <a:lnTo>
                    <a:pt x="99" y="108"/>
                  </a:lnTo>
                  <a:lnTo>
                    <a:pt x="113" y="92"/>
                  </a:lnTo>
                  <a:lnTo>
                    <a:pt x="117" y="87"/>
                  </a:lnTo>
                  <a:lnTo>
                    <a:pt x="124" y="83"/>
                  </a:lnTo>
                  <a:lnTo>
                    <a:pt x="130" y="80"/>
                  </a:lnTo>
                  <a:lnTo>
                    <a:pt x="136" y="77"/>
                  </a:lnTo>
                  <a:lnTo>
                    <a:pt x="150" y="71"/>
                  </a:lnTo>
                  <a:lnTo>
                    <a:pt x="165" y="65"/>
                  </a:lnTo>
                  <a:lnTo>
                    <a:pt x="179" y="60"/>
                  </a:lnTo>
                  <a:lnTo>
                    <a:pt x="192" y="55"/>
                  </a:lnTo>
                  <a:lnTo>
                    <a:pt x="203" y="50"/>
                  </a:lnTo>
                  <a:lnTo>
                    <a:pt x="212" y="43"/>
                  </a:lnTo>
                  <a:lnTo>
                    <a:pt x="211" y="43"/>
                  </a:lnTo>
                  <a:lnTo>
                    <a:pt x="210" y="41"/>
                  </a:lnTo>
                  <a:lnTo>
                    <a:pt x="210" y="38"/>
                  </a:lnTo>
                  <a:lnTo>
                    <a:pt x="210" y="36"/>
                  </a:lnTo>
                  <a:lnTo>
                    <a:pt x="211" y="30"/>
                  </a:lnTo>
                  <a:lnTo>
                    <a:pt x="212" y="24"/>
                  </a:lnTo>
                  <a:lnTo>
                    <a:pt x="213" y="17"/>
                  </a:lnTo>
                  <a:lnTo>
                    <a:pt x="214" y="14"/>
                  </a:lnTo>
                  <a:lnTo>
                    <a:pt x="217" y="12"/>
                  </a:lnTo>
                  <a:lnTo>
                    <a:pt x="221" y="12"/>
                  </a:lnTo>
                  <a:lnTo>
                    <a:pt x="225" y="12"/>
                  </a:lnTo>
                  <a:lnTo>
                    <a:pt x="229" y="11"/>
                  </a:lnTo>
                  <a:lnTo>
                    <a:pt x="232" y="9"/>
                  </a:lnTo>
                  <a:lnTo>
                    <a:pt x="234" y="7"/>
                  </a:lnTo>
                  <a:lnTo>
                    <a:pt x="236" y="4"/>
                  </a:lnTo>
                  <a:lnTo>
                    <a:pt x="239" y="0"/>
                  </a:lnTo>
                  <a:lnTo>
                    <a:pt x="244" y="2"/>
                  </a:lnTo>
                  <a:lnTo>
                    <a:pt x="248" y="3"/>
                  </a:lnTo>
                  <a:lnTo>
                    <a:pt x="251" y="3"/>
                  </a:lnTo>
                  <a:lnTo>
                    <a:pt x="256" y="2"/>
                  </a:lnTo>
                  <a:lnTo>
                    <a:pt x="264" y="1"/>
                  </a:lnTo>
                  <a:lnTo>
                    <a:pt x="272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918" name="Freeform 477"/>
            <p:cNvSpPr>
              <a:spLocks/>
            </p:cNvSpPr>
            <p:nvPr>
              <p:custDataLst>
                <p:tags r:id="rId310"/>
              </p:custDataLst>
            </p:nvPr>
          </p:nvSpPr>
          <p:spPr bwMode="auto">
            <a:xfrm>
              <a:off x="6254032" y="4425761"/>
              <a:ext cx="350131" cy="360306"/>
            </a:xfrm>
            <a:custGeom>
              <a:avLst/>
              <a:gdLst>
                <a:gd name="T0" fmla="*/ 222215 w 678"/>
                <a:gd name="T1" fmla="*/ 4182 h 574"/>
                <a:gd name="T2" fmla="*/ 239108 w 678"/>
                <a:gd name="T3" fmla="*/ 13591 h 574"/>
                <a:gd name="T4" fmla="*/ 279393 w 678"/>
                <a:gd name="T5" fmla="*/ 32931 h 574"/>
                <a:gd name="T6" fmla="*/ 285890 w 678"/>
                <a:gd name="T7" fmla="*/ 45999 h 574"/>
                <a:gd name="T8" fmla="*/ 293687 w 678"/>
                <a:gd name="T9" fmla="*/ 49135 h 574"/>
                <a:gd name="T10" fmla="*/ 293687 w 678"/>
                <a:gd name="T11" fmla="*/ 66385 h 574"/>
                <a:gd name="T12" fmla="*/ 293254 w 678"/>
                <a:gd name="T13" fmla="*/ 75271 h 574"/>
                <a:gd name="T14" fmla="*/ 288922 w 678"/>
                <a:gd name="T15" fmla="*/ 82589 h 574"/>
                <a:gd name="T16" fmla="*/ 280259 w 678"/>
                <a:gd name="T17" fmla="*/ 93043 h 574"/>
                <a:gd name="T18" fmla="*/ 276360 w 678"/>
                <a:gd name="T19" fmla="*/ 180859 h 574"/>
                <a:gd name="T20" fmla="*/ 199690 w 678"/>
                <a:gd name="T21" fmla="*/ 202813 h 574"/>
                <a:gd name="T22" fmla="*/ 199690 w 678"/>
                <a:gd name="T23" fmla="*/ 216926 h 574"/>
                <a:gd name="T24" fmla="*/ 197091 w 678"/>
                <a:gd name="T25" fmla="*/ 227381 h 574"/>
                <a:gd name="T26" fmla="*/ 192326 w 678"/>
                <a:gd name="T27" fmla="*/ 227381 h 574"/>
                <a:gd name="T28" fmla="*/ 187994 w 678"/>
                <a:gd name="T29" fmla="*/ 229994 h 574"/>
                <a:gd name="T30" fmla="*/ 184096 w 678"/>
                <a:gd name="T31" fmla="*/ 232608 h 574"/>
                <a:gd name="T32" fmla="*/ 179331 w 678"/>
                <a:gd name="T33" fmla="*/ 233653 h 574"/>
                <a:gd name="T34" fmla="*/ 178032 w 678"/>
                <a:gd name="T35" fmla="*/ 242017 h 574"/>
                <a:gd name="T36" fmla="*/ 177598 w 678"/>
                <a:gd name="T37" fmla="*/ 247767 h 574"/>
                <a:gd name="T38" fmla="*/ 174566 w 678"/>
                <a:gd name="T39" fmla="*/ 252471 h 574"/>
                <a:gd name="T40" fmla="*/ 158106 w 678"/>
                <a:gd name="T41" fmla="*/ 260312 h 574"/>
                <a:gd name="T42" fmla="*/ 142945 w 678"/>
                <a:gd name="T43" fmla="*/ 268152 h 574"/>
                <a:gd name="T44" fmla="*/ 135581 w 678"/>
                <a:gd name="T45" fmla="*/ 274425 h 574"/>
                <a:gd name="T46" fmla="*/ 119987 w 678"/>
                <a:gd name="T47" fmla="*/ 294811 h 574"/>
                <a:gd name="T48" fmla="*/ 111757 w 678"/>
                <a:gd name="T49" fmla="*/ 299515 h 574"/>
                <a:gd name="T50" fmla="*/ 103094 w 678"/>
                <a:gd name="T51" fmla="*/ 300038 h 574"/>
                <a:gd name="T52" fmla="*/ 83601 w 678"/>
                <a:gd name="T53" fmla="*/ 300038 h 574"/>
                <a:gd name="T54" fmla="*/ 80569 w 678"/>
                <a:gd name="T55" fmla="*/ 292197 h 574"/>
                <a:gd name="T56" fmla="*/ 71473 w 678"/>
                <a:gd name="T57" fmla="*/ 285925 h 574"/>
                <a:gd name="T58" fmla="*/ 57611 w 678"/>
                <a:gd name="T59" fmla="*/ 284879 h 574"/>
                <a:gd name="T60" fmla="*/ 40285 w 678"/>
                <a:gd name="T61" fmla="*/ 290629 h 574"/>
                <a:gd name="T62" fmla="*/ 14295 w 678"/>
                <a:gd name="T63" fmla="*/ 275470 h 574"/>
                <a:gd name="T64" fmla="*/ 0 w 678"/>
                <a:gd name="T65" fmla="*/ 148974 h 574"/>
                <a:gd name="T66" fmla="*/ 31621 w 678"/>
                <a:gd name="T67" fmla="*/ 149496 h 574"/>
                <a:gd name="T68" fmla="*/ 44616 w 678"/>
                <a:gd name="T69" fmla="*/ 147405 h 574"/>
                <a:gd name="T70" fmla="*/ 51547 w 678"/>
                <a:gd name="T71" fmla="*/ 143746 h 574"/>
                <a:gd name="T72" fmla="*/ 55879 w 678"/>
                <a:gd name="T73" fmla="*/ 133815 h 574"/>
                <a:gd name="T74" fmla="*/ 56745 w 678"/>
                <a:gd name="T75" fmla="*/ 119702 h 574"/>
                <a:gd name="T76" fmla="*/ 54579 w 678"/>
                <a:gd name="T77" fmla="*/ 96702 h 574"/>
                <a:gd name="T78" fmla="*/ 56312 w 678"/>
                <a:gd name="T79" fmla="*/ 86248 h 574"/>
                <a:gd name="T80" fmla="*/ 60643 w 678"/>
                <a:gd name="T81" fmla="*/ 89384 h 574"/>
                <a:gd name="T82" fmla="*/ 75371 w 678"/>
                <a:gd name="T83" fmla="*/ 91475 h 574"/>
                <a:gd name="T84" fmla="*/ 81435 w 678"/>
                <a:gd name="T85" fmla="*/ 97225 h 574"/>
                <a:gd name="T86" fmla="*/ 84468 w 678"/>
                <a:gd name="T87" fmla="*/ 105066 h 574"/>
                <a:gd name="T88" fmla="*/ 90099 w 678"/>
                <a:gd name="T89" fmla="*/ 109770 h 574"/>
                <a:gd name="T90" fmla="*/ 104393 w 678"/>
                <a:gd name="T91" fmla="*/ 113429 h 574"/>
                <a:gd name="T92" fmla="*/ 116522 w 678"/>
                <a:gd name="T93" fmla="*/ 111861 h 574"/>
                <a:gd name="T94" fmla="*/ 130383 w 678"/>
                <a:gd name="T95" fmla="*/ 104020 h 574"/>
                <a:gd name="T96" fmla="*/ 138180 w 678"/>
                <a:gd name="T97" fmla="*/ 102452 h 574"/>
                <a:gd name="T98" fmla="*/ 143378 w 678"/>
                <a:gd name="T99" fmla="*/ 100884 h 574"/>
                <a:gd name="T100" fmla="*/ 148576 w 678"/>
                <a:gd name="T101" fmla="*/ 99316 h 574"/>
                <a:gd name="T102" fmla="*/ 154641 w 678"/>
                <a:gd name="T103" fmla="*/ 95134 h 574"/>
                <a:gd name="T104" fmla="*/ 159405 w 678"/>
                <a:gd name="T105" fmla="*/ 87816 h 574"/>
                <a:gd name="T106" fmla="*/ 165903 w 678"/>
                <a:gd name="T107" fmla="*/ 65862 h 574"/>
                <a:gd name="T108" fmla="*/ 174566 w 678"/>
                <a:gd name="T109" fmla="*/ 24568 h 574"/>
                <a:gd name="T110" fmla="*/ 179331 w 678"/>
                <a:gd name="T111" fmla="*/ 5227 h 574"/>
                <a:gd name="T112" fmla="*/ 186695 w 678"/>
                <a:gd name="T113" fmla="*/ 3136 h 574"/>
                <a:gd name="T114" fmla="*/ 196225 w 678"/>
                <a:gd name="T115" fmla="*/ 4182 h 574"/>
                <a:gd name="T116" fmla="*/ 208786 w 678"/>
                <a:gd name="T117" fmla="*/ 523 h 57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678" h="574">
                  <a:moveTo>
                    <a:pt x="505" y="1"/>
                  </a:moveTo>
                  <a:lnTo>
                    <a:pt x="507" y="4"/>
                  </a:lnTo>
                  <a:lnTo>
                    <a:pt x="513" y="8"/>
                  </a:lnTo>
                  <a:lnTo>
                    <a:pt x="521" y="12"/>
                  </a:lnTo>
                  <a:lnTo>
                    <a:pt x="529" y="16"/>
                  </a:lnTo>
                  <a:lnTo>
                    <a:pt x="552" y="26"/>
                  </a:lnTo>
                  <a:lnTo>
                    <a:pt x="578" y="37"/>
                  </a:lnTo>
                  <a:lnTo>
                    <a:pt x="624" y="55"/>
                  </a:lnTo>
                  <a:lnTo>
                    <a:pt x="645" y="63"/>
                  </a:lnTo>
                  <a:lnTo>
                    <a:pt x="650" y="73"/>
                  </a:lnTo>
                  <a:lnTo>
                    <a:pt x="657" y="84"/>
                  </a:lnTo>
                  <a:lnTo>
                    <a:pt x="660" y="88"/>
                  </a:lnTo>
                  <a:lnTo>
                    <a:pt x="666" y="91"/>
                  </a:lnTo>
                  <a:lnTo>
                    <a:pt x="671" y="93"/>
                  </a:lnTo>
                  <a:lnTo>
                    <a:pt x="678" y="94"/>
                  </a:lnTo>
                  <a:lnTo>
                    <a:pt x="678" y="107"/>
                  </a:lnTo>
                  <a:lnTo>
                    <a:pt x="678" y="118"/>
                  </a:lnTo>
                  <a:lnTo>
                    <a:pt x="678" y="127"/>
                  </a:lnTo>
                  <a:lnTo>
                    <a:pt x="678" y="137"/>
                  </a:lnTo>
                  <a:lnTo>
                    <a:pt x="678" y="141"/>
                  </a:lnTo>
                  <a:lnTo>
                    <a:pt x="677" y="144"/>
                  </a:lnTo>
                  <a:lnTo>
                    <a:pt x="674" y="148"/>
                  </a:lnTo>
                  <a:lnTo>
                    <a:pt x="673" y="151"/>
                  </a:lnTo>
                  <a:lnTo>
                    <a:pt x="667" y="158"/>
                  </a:lnTo>
                  <a:lnTo>
                    <a:pt x="660" y="165"/>
                  </a:lnTo>
                  <a:lnTo>
                    <a:pt x="653" y="172"/>
                  </a:lnTo>
                  <a:lnTo>
                    <a:pt x="647" y="178"/>
                  </a:lnTo>
                  <a:lnTo>
                    <a:pt x="641" y="185"/>
                  </a:lnTo>
                  <a:lnTo>
                    <a:pt x="638" y="192"/>
                  </a:lnTo>
                  <a:lnTo>
                    <a:pt x="638" y="346"/>
                  </a:lnTo>
                  <a:lnTo>
                    <a:pt x="466" y="378"/>
                  </a:lnTo>
                  <a:lnTo>
                    <a:pt x="464" y="382"/>
                  </a:lnTo>
                  <a:lnTo>
                    <a:pt x="461" y="388"/>
                  </a:lnTo>
                  <a:lnTo>
                    <a:pt x="460" y="394"/>
                  </a:lnTo>
                  <a:lnTo>
                    <a:pt x="460" y="400"/>
                  </a:lnTo>
                  <a:lnTo>
                    <a:pt x="461" y="415"/>
                  </a:lnTo>
                  <a:lnTo>
                    <a:pt x="466" y="433"/>
                  </a:lnTo>
                  <a:lnTo>
                    <a:pt x="460" y="434"/>
                  </a:lnTo>
                  <a:lnTo>
                    <a:pt x="455" y="435"/>
                  </a:lnTo>
                  <a:lnTo>
                    <a:pt x="451" y="436"/>
                  </a:lnTo>
                  <a:lnTo>
                    <a:pt x="448" y="436"/>
                  </a:lnTo>
                  <a:lnTo>
                    <a:pt x="444" y="435"/>
                  </a:lnTo>
                  <a:lnTo>
                    <a:pt x="439" y="433"/>
                  </a:lnTo>
                  <a:lnTo>
                    <a:pt x="436" y="437"/>
                  </a:lnTo>
                  <a:lnTo>
                    <a:pt x="434" y="440"/>
                  </a:lnTo>
                  <a:lnTo>
                    <a:pt x="432" y="442"/>
                  </a:lnTo>
                  <a:lnTo>
                    <a:pt x="429" y="444"/>
                  </a:lnTo>
                  <a:lnTo>
                    <a:pt x="425" y="445"/>
                  </a:lnTo>
                  <a:lnTo>
                    <a:pt x="421" y="445"/>
                  </a:lnTo>
                  <a:lnTo>
                    <a:pt x="417" y="445"/>
                  </a:lnTo>
                  <a:lnTo>
                    <a:pt x="414" y="447"/>
                  </a:lnTo>
                  <a:lnTo>
                    <a:pt x="413" y="450"/>
                  </a:lnTo>
                  <a:lnTo>
                    <a:pt x="412" y="457"/>
                  </a:lnTo>
                  <a:lnTo>
                    <a:pt x="411" y="463"/>
                  </a:lnTo>
                  <a:lnTo>
                    <a:pt x="410" y="469"/>
                  </a:lnTo>
                  <a:lnTo>
                    <a:pt x="410" y="471"/>
                  </a:lnTo>
                  <a:lnTo>
                    <a:pt x="410" y="474"/>
                  </a:lnTo>
                  <a:lnTo>
                    <a:pt x="411" y="476"/>
                  </a:lnTo>
                  <a:lnTo>
                    <a:pt x="412" y="476"/>
                  </a:lnTo>
                  <a:lnTo>
                    <a:pt x="403" y="483"/>
                  </a:lnTo>
                  <a:lnTo>
                    <a:pt x="392" y="488"/>
                  </a:lnTo>
                  <a:lnTo>
                    <a:pt x="379" y="493"/>
                  </a:lnTo>
                  <a:lnTo>
                    <a:pt x="365" y="498"/>
                  </a:lnTo>
                  <a:lnTo>
                    <a:pt x="350" y="504"/>
                  </a:lnTo>
                  <a:lnTo>
                    <a:pt x="336" y="510"/>
                  </a:lnTo>
                  <a:lnTo>
                    <a:pt x="330" y="513"/>
                  </a:lnTo>
                  <a:lnTo>
                    <a:pt x="324" y="516"/>
                  </a:lnTo>
                  <a:lnTo>
                    <a:pt x="317" y="520"/>
                  </a:lnTo>
                  <a:lnTo>
                    <a:pt x="313" y="525"/>
                  </a:lnTo>
                  <a:lnTo>
                    <a:pt x="299" y="541"/>
                  </a:lnTo>
                  <a:lnTo>
                    <a:pt x="285" y="557"/>
                  </a:lnTo>
                  <a:lnTo>
                    <a:pt x="277" y="564"/>
                  </a:lnTo>
                  <a:lnTo>
                    <a:pt x="268" y="569"/>
                  </a:lnTo>
                  <a:lnTo>
                    <a:pt x="263" y="571"/>
                  </a:lnTo>
                  <a:lnTo>
                    <a:pt x="258" y="573"/>
                  </a:lnTo>
                  <a:lnTo>
                    <a:pt x="253" y="574"/>
                  </a:lnTo>
                  <a:lnTo>
                    <a:pt x="246" y="574"/>
                  </a:lnTo>
                  <a:lnTo>
                    <a:pt x="238" y="574"/>
                  </a:lnTo>
                  <a:lnTo>
                    <a:pt x="227" y="574"/>
                  </a:lnTo>
                  <a:lnTo>
                    <a:pt x="212" y="574"/>
                  </a:lnTo>
                  <a:lnTo>
                    <a:pt x="193" y="574"/>
                  </a:lnTo>
                  <a:lnTo>
                    <a:pt x="192" y="569"/>
                  </a:lnTo>
                  <a:lnTo>
                    <a:pt x="189" y="564"/>
                  </a:lnTo>
                  <a:lnTo>
                    <a:pt x="186" y="559"/>
                  </a:lnTo>
                  <a:lnTo>
                    <a:pt x="180" y="554"/>
                  </a:lnTo>
                  <a:lnTo>
                    <a:pt x="173" y="550"/>
                  </a:lnTo>
                  <a:lnTo>
                    <a:pt x="165" y="547"/>
                  </a:lnTo>
                  <a:lnTo>
                    <a:pt x="156" y="545"/>
                  </a:lnTo>
                  <a:lnTo>
                    <a:pt x="146" y="544"/>
                  </a:lnTo>
                  <a:lnTo>
                    <a:pt x="133" y="545"/>
                  </a:lnTo>
                  <a:lnTo>
                    <a:pt x="120" y="548"/>
                  </a:lnTo>
                  <a:lnTo>
                    <a:pt x="108" y="552"/>
                  </a:lnTo>
                  <a:lnTo>
                    <a:pt x="93" y="556"/>
                  </a:lnTo>
                  <a:lnTo>
                    <a:pt x="61" y="556"/>
                  </a:lnTo>
                  <a:lnTo>
                    <a:pt x="48" y="544"/>
                  </a:lnTo>
                  <a:lnTo>
                    <a:pt x="33" y="527"/>
                  </a:lnTo>
                  <a:lnTo>
                    <a:pt x="17" y="510"/>
                  </a:lnTo>
                  <a:lnTo>
                    <a:pt x="0" y="494"/>
                  </a:lnTo>
                  <a:lnTo>
                    <a:pt x="0" y="285"/>
                  </a:lnTo>
                  <a:lnTo>
                    <a:pt x="21" y="286"/>
                  </a:lnTo>
                  <a:lnTo>
                    <a:pt x="54" y="286"/>
                  </a:lnTo>
                  <a:lnTo>
                    <a:pt x="73" y="286"/>
                  </a:lnTo>
                  <a:lnTo>
                    <a:pt x="89" y="285"/>
                  </a:lnTo>
                  <a:lnTo>
                    <a:pt x="97" y="284"/>
                  </a:lnTo>
                  <a:lnTo>
                    <a:pt x="103" y="282"/>
                  </a:lnTo>
                  <a:lnTo>
                    <a:pt x="109" y="281"/>
                  </a:lnTo>
                  <a:lnTo>
                    <a:pt x="113" y="279"/>
                  </a:lnTo>
                  <a:lnTo>
                    <a:pt x="119" y="275"/>
                  </a:lnTo>
                  <a:lnTo>
                    <a:pt x="123" y="269"/>
                  </a:lnTo>
                  <a:lnTo>
                    <a:pt x="126" y="263"/>
                  </a:lnTo>
                  <a:lnTo>
                    <a:pt x="129" y="256"/>
                  </a:lnTo>
                  <a:lnTo>
                    <a:pt x="130" y="247"/>
                  </a:lnTo>
                  <a:lnTo>
                    <a:pt x="131" y="238"/>
                  </a:lnTo>
                  <a:lnTo>
                    <a:pt x="131" y="229"/>
                  </a:lnTo>
                  <a:lnTo>
                    <a:pt x="130" y="220"/>
                  </a:lnTo>
                  <a:lnTo>
                    <a:pt x="129" y="202"/>
                  </a:lnTo>
                  <a:lnTo>
                    <a:pt x="126" y="185"/>
                  </a:lnTo>
                  <a:lnTo>
                    <a:pt x="125" y="171"/>
                  </a:lnTo>
                  <a:lnTo>
                    <a:pt x="126" y="162"/>
                  </a:lnTo>
                  <a:lnTo>
                    <a:pt x="130" y="165"/>
                  </a:lnTo>
                  <a:lnTo>
                    <a:pt x="132" y="168"/>
                  </a:lnTo>
                  <a:lnTo>
                    <a:pt x="136" y="170"/>
                  </a:lnTo>
                  <a:lnTo>
                    <a:pt x="140" y="171"/>
                  </a:lnTo>
                  <a:lnTo>
                    <a:pt x="147" y="174"/>
                  </a:lnTo>
                  <a:lnTo>
                    <a:pt x="156" y="175"/>
                  </a:lnTo>
                  <a:lnTo>
                    <a:pt x="174" y="175"/>
                  </a:lnTo>
                  <a:lnTo>
                    <a:pt x="187" y="174"/>
                  </a:lnTo>
                  <a:lnTo>
                    <a:pt x="187" y="180"/>
                  </a:lnTo>
                  <a:lnTo>
                    <a:pt x="188" y="186"/>
                  </a:lnTo>
                  <a:lnTo>
                    <a:pt x="190" y="191"/>
                  </a:lnTo>
                  <a:lnTo>
                    <a:pt x="192" y="197"/>
                  </a:lnTo>
                  <a:lnTo>
                    <a:pt x="195" y="201"/>
                  </a:lnTo>
                  <a:lnTo>
                    <a:pt x="199" y="204"/>
                  </a:lnTo>
                  <a:lnTo>
                    <a:pt x="202" y="207"/>
                  </a:lnTo>
                  <a:lnTo>
                    <a:pt x="208" y="210"/>
                  </a:lnTo>
                  <a:lnTo>
                    <a:pt x="218" y="213"/>
                  </a:lnTo>
                  <a:lnTo>
                    <a:pt x="229" y="216"/>
                  </a:lnTo>
                  <a:lnTo>
                    <a:pt x="241" y="217"/>
                  </a:lnTo>
                  <a:lnTo>
                    <a:pt x="253" y="217"/>
                  </a:lnTo>
                  <a:lnTo>
                    <a:pt x="260" y="216"/>
                  </a:lnTo>
                  <a:lnTo>
                    <a:pt x="269" y="214"/>
                  </a:lnTo>
                  <a:lnTo>
                    <a:pt x="277" y="211"/>
                  </a:lnTo>
                  <a:lnTo>
                    <a:pt x="286" y="207"/>
                  </a:lnTo>
                  <a:lnTo>
                    <a:pt x="301" y="199"/>
                  </a:lnTo>
                  <a:lnTo>
                    <a:pt x="313" y="192"/>
                  </a:lnTo>
                  <a:lnTo>
                    <a:pt x="315" y="195"/>
                  </a:lnTo>
                  <a:lnTo>
                    <a:pt x="319" y="196"/>
                  </a:lnTo>
                  <a:lnTo>
                    <a:pt x="322" y="196"/>
                  </a:lnTo>
                  <a:lnTo>
                    <a:pt x="325" y="195"/>
                  </a:lnTo>
                  <a:lnTo>
                    <a:pt x="331" y="193"/>
                  </a:lnTo>
                  <a:lnTo>
                    <a:pt x="333" y="192"/>
                  </a:lnTo>
                  <a:lnTo>
                    <a:pt x="338" y="192"/>
                  </a:lnTo>
                  <a:lnTo>
                    <a:pt x="343" y="190"/>
                  </a:lnTo>
                  <a:lnTo>
                    <a:pt x="348" y="188"/>
                  </a:lnTo>
                  <a:lnTo>
                    <a:pt x="353" y="185"/>
                  </a:lnTo>
                  <a:lnTo>
                    <a:pt x="357" y="182"/>
                  </a:lnTo>
                  <a:lnTo>
                    <a:pt x="360" y="178"/>
                  </a:lnTo>
                  <a:lnTo>
                    <a:pt x="364" y="173"/>
                  </a:lnTo>
                  <a:lnTo>
                    <a:pt x="368" y="168"/>
                  </a:lnTo>
                  <a:lnTo>
                    <a:pt x="373" y="156"/>
                  </a:lnTo>
                  <a:lnTo>
                    <a:pt x="379" y="142"/>
                  </a:lnTo>
                  <a:lnTo>
                    <a:pt x="383" y="126"/>
                  </a:lnTo>
                  <a:lnTo>
                    <a:pt x="388" y="111"/>
                  </a:lnTo>
                  <a:lnTo>
                    <a:pt x="395" y="78"/>
                  </a:lnTo>
                  <a:lnTo>
                    <a:pt x="403" y="47"/>
                  </a:lnTo>
                  <a:lnTo>
                    <a:pt x="406" y="33"/>
                  </a:lnTo>
                  <a:lnTo>
                    <a:pt x="410" y="20"/>
                  </a:lnTo>
                  <a:lnTo>
                    <a:pt x="414" y="10"/>
                  </a:lnTo>
                  <a:lnTo>
                    <a:pt x="418" y="1"/>
                  </a:lnTo>
                  <a:lnTo>
                    <a:pt x="425" y="4"/>
                  </a:lnTo>
                  <a:lnTo>
                    <a:pt x="431" y="6"/>
                  </a:lnTo>
                  <a:lnTo>
                    <a:pt x="436" y="8"/>
                  </a:lnTo>
                  <a:lnTo>
                    <a:pt x="442" y="8"/>
                  </a:lnTo>
                  <a:lnTo>
                    <a:pt x="453" y="8"/>
                  </a:lnTo>
                  <a:lnTo>
                    <a:pt x="462" y="6"/>
                  </a:lnTo>
                  <a:lnTo>
                    <a:pt x="472" y="4"/>
                  </a:lnTo>
                  <a:lnTo>
                    <a:pt x="482" y="1"/>
                  </a:lnTo>
                  <a:lnTo>
                    <a:pt x="493" y="0"/>
                  </a:lnTo>
                  <a:lnTo>
                    <a:pt x="505" y="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919" name="Freeform 478"/>
            <p:cNvSpPr>
              <a:spLocks/>
            </p:cNvSpPr>
            <p:nvPr>
              <p:custDataLst>
                <p:tags r:id="rId311"/>
              </p:custDataLst>
            </p:nvPr>
          </p:nvSpPr>
          <p:spPr bwMode="auto">
            <a:xfrm>
              <a:off x="5939860" y="4753658"/>
              <a:ext cx="418264" cy="457531"/>
            </a:xfrm>
            <a:custGeom>
              <a:avLst/>
              <a:gdLst>
                <a:gd name="T0" fmla="*/ 345206 w 810"/>
                <a:gd name="T1" fmla="*/ 22011 h 727"/>
                <a:gd name="T2" fmla="*/ 331779 w 810"/>
                <a:gd name="T3" fmla="*/ 13626 h 727"/>
                <a:gd name="T4" fmla="*/ 310989 w 810"/>
                <a:gd name="T5" fmla="*/ 17294 h 727"/>
                <a:gd name="T6" fmla="*/ 274606 w 810"/>
                <a:gd name="T7" fmla="*/ 23059 h 727"/>
                <a:gd name="T8" fmla="*/ 261612 w 810"/>
                <a:gd name="T9" fmla="*/ 28824 h 727"/>
                <a:gd name="T10" fmla="*/ 121277 w 810"/>
                <a:gd name="T11" fmla="*/ 20963 h 727"/>
                <a:gd name="T12" fmla="*/ 100487 w 810"/>
                <a:gd name="T13" fmla="*/ 19391 h 727"/>
                <a:gd name="T14" fmla="*/ 74499 w 810"/>
                <a:gd name="T15" fmla="*/ 8909 h 727"/>
                <a:gd name="T16" fmla="*/ 50243 w 810"/>
                <a:gd name="T17" fmla="*/ 0 h 727"/>
                <a:gd name="T18" fmla="*/ 35950 w 810"/>
                <a:gd name="T19" fmla="*/ 2620 h 727"/>
                <a:gd name="T20" fmla="*/ 22956 w 810"/>
                <a:gd name="T21" fmla="*/ 12578 h 727"/>
                <a:gd name="T22" fmla="*/ 0 w 810"/>
                <a:gd name="T23" fmla="*/ 28824 h 727"/>
                <a:gd name="T24" fmla="*/ 3032 w 810"/>
                <a:gd name="T25" fmla="*/ 35637 h 727"/>
                <a:gd name="T26" fmla="*/ 11261 w 810"/>
                <a:gd name="T27" fmla="*/ 38781 h 727"/>
                <a:gd name="T28" fmla="*/ 15593 w 810"/>
                <a:gd name="T29" fmla="*/ 67605 h 727"/>
                <a:gd name="T30" fmla="*/ 25988 w 810"/>
                <a:gd name="T31" fmla="*/ 100622 h 727"/>
                <a:gd name="T32" fmla="*/ 47211 w 810"/>
                <a:gd name="T33" fmla="*/ 144644 h 727"/>
                <a:gd name="T34" fmla="*/ 57607 w 810"/>
                <a:gd name="T35" fmla="*/ 157221 h 727"/>
                <a:gd name="T36" fmla="*/ 68868 w 810"/>
                <a:gd name="T37" fmla="*/ 158270 h 727"/>
                <a:gd name="T38" fmla="*/ 68868 w 810"/>
                <a:gd name="T39" fmla="*/ 173992 h 727"/>
                <a:gd name="T40" fmla="*/ 65836 w 810"/>
                <a:gd name="T41" fmla="*/ 188142 h 727"/>
                <a:gd name="T42" fmla="*/ 63237 w 810"/>
                <a:gd name="T43" fmla="*/ 206484 h 727"/>
                <a:gd name="T44" fmla="*/ 64970 w 810"/>
                <a:gd name="T45" fmla="*/ 222730 h 727"/>
                <a:gd name="T46" fmla="*/ 74932 w 810"/>
                <a:gd name="T47" fmla="*/ 253651 h 727"/>
                <a:gd name="T48" fmla="*/ 77531 w 810"/>
                <a:gd name="T49" fmla="*/ 271469 h 727"/>
                <a:gd name="T50" fmla="*/ 80996 w 810"/>
                <a:gd name="T51" fmla="*/ 317587 h 727"/>
                <a:gd name="T52" fmla="*/ 88359 w 810"/>
                <a:gd name="T53" fmla="*/ 339074 h 727"/>
                <a:gd name="T54" fmla="*/ 100054 w 810"/>
                <a:gd name="T55" fmla="*/ 361609 h 727"/>
                <a:gd name="T56" fmla="*/ 106117 w 810"/>
                <a:gd name="T57" fmla="*/ 366850 h 727"/>
                <a:gd name="T58" fmla="*/ 112181 w 810"/>
                <a:gd name="T59" fmla="*/ 374711 h 727"/>
                <a:gd name="T60" fmla="*/ 114780 w 810"/>
                <a:gd name="T61" fmla="*/ 355320 h 727"/>
                <a:gd name="T62" fmla="*/ 133405 w 810"/>
                <a:gd name="T63" fmla="*/ 364754 h 727"/>
                <a:gd name="T64" fmla="*/ 142067 w 810"/>
                <a:gd name="T65" fmla="*/ 373663 h 727"/>
                <a:gd name="T66" fmla="*/ 161125 w 810"/>
                <a:gd name="T67" fmla="*/ 380476 h 727"/>
                <a:gd name="T68" fmla="*/ 176285 w 810"/>
                <a:gd name="T69" fmla="*/ 378904 h 727"/>
                <a:gd name="T70" fmla="*/ 185814 w 810"/>
                <a:gd name="T71" fmla="*/ 372091 h 727"/>
                <a:gd name="T72" fmla="*/ 195776 w 810"/>
                <a:gd name="T73" fmla="*/ 353748 h 727"/>
                <a:gd name="T74" fmla="*/ 200540 w 810"/>
                <a:gd name="T75" fmla="*/ 277234 h 727"/>
                <a:gd name="T76" fmla="*/ 201406 w 810"/>
                <a:gd name="T77" fmla="*/ 251554 h 727"/>
                <a:gd name="T78" fmla="*/ 204005 w 810"/>
                <a:gd name="T79" fmla="*/ 245790 h 727"/>
                <a:gd name="T80" fmla="*/ 200540 w 810"/>
                <a:gd name="T81" fmla="*/ 223254 h 727"/>
                <a:gd name="T82" fmla="*/ 203139 w 810"/>
                <a:gd name="T83" fmla="*/ 192858 h 727"/>
                <a:gd name="T84" fmla="*/ 216566 w 810"/>
                <a:gd name="T85" fmla="*/ 172944 h 727"/>
                <a:gd name="T86" fmla="*/ 227394 w 810"/>
                <a:gd name="T87" fmla="*/ 167703 h 727"/>
                <a:gd name="T88" fmla="*/ 233025 w 810"/>
                <a:gd name="T89" fmla="*/ 121585 h 727"/>
                <a:gd name="T90" fmla="*/ 238656 w 810"/>
                <a:gd name="T91" fmla="*/ 77563 h 727"/>
                <a:gd name="T92" fmla="*/ 234324 w 810"/>
                <a:gd name="T93" fmla="*/ 64985 h 727"/>
                <a:gd name="T94" fmla="*/ 229993 w 810"/>
                <a:gd name="T95" fmla="*/ 51883 h 727"/>
                <a:gd name="T96" fmla="*/ 233458 w 810"/>
                <a:gd name="T97" fmla="*/ 45070 h 727"/>
                <a:gd name="T98" fmla="*/ 267243 w 810"/>
                <a:gd name="T99" fmla="*/ 41926 h 727"/>
                <a:gd name="T100" fmla="*/ 306658 w 810"/>
                <a:gd name="T101" fmla="*/ 33017 h 727"/>
                <a:gd name="T102" fmla="*/ 347805 w 810"/>
                <a:gd name="T103" fmla="*/ 31968 h 727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810" h="727">
                  <a:moveTo>
                    <a:pt x="810" y="61"/>
                  </a:moveTo>
                  <a:lnTo>
                    <a:pt x="807" y="54"/>
                  </a:lnTo>
                  <a:lnTo>
                    <a:pt x="802" y="48"/>
                  </a:lnTo>
                  <a:lnTo>
                    <a:pt x="797" y="42"/>
                  </a:lnTo>
                  <a:lnTo>
                    <a:pt x="790" y="36"/>
                  </a:lnTo>
                  <a:lnTo>
                    <a:pt x="784" y="32"/>
                  </a:lnTo>
                  <a:lnTo>
                    <a:pt x="775" y="28"/>
                  </a:lnTo>
                  <a:lnTo>
                    <a:pt x="766" y="26"/>
                  </a:lnTo>
                  <a:lnTo>
                    <a:pt x="756" y="25"/>
                  </a:lnTo>
                  <a:lnTo>
                    <a:pt x="743" y="26"/>
                  </a:lnTo>
                  <a:lnTo>
                    <a:pt x="730" y="29"/>
                  </a:lnTo>
                  <a:lnTo>
                    <a:pt x="718" y="33"/>
                  </a:lnTo>
                  <a:lnTo>
                    <a:pt x="703" y="37"/>
                  </a:lnTo>
                  <a:lnTo>
                    <a:pt x="671" y="37"/>
                  </a:lnTo>
                  <a:lnTo>
                    <a:pt x="651" y="41"/>
                  </a:lnTo>
                  <a:lnTo>
                    <a:pt x="634" y="44"/>
                  </a:lnTo>
                  <a:lnTo>
                    <a:pt x="627" y="46"/>
                  </a:lnTo>
                  <a:lnTo>
                    <a:pt x="619" y="48"/>
                  </a:lnTo>
                  <a:lnTo>
                    <a:pt x="611" y="51"/>
                  </a:lnTo>
                  <a:lnTo>
                    <a:pt x="604" y="55"/>
                  </a:lnTo>
                  <a:lnTo>
                    <a:pt x="411" y="55"/>
                  </a:lnTo>
                  <a:lnTo>
                    <a:pt x="411" y="37"/>
                  </a:lnTo>
                  <a:lnTo>
                    <a:pt x="292" y="37"/>
                  </a:lnTo>
                  <a:lnTo>
                    <a:pt x="280" y="40"/>
                  </a:lnTo>
                  <a:lnTo>
                    <a:pt x="269" y="41"/>
                  </a:lnTo>
                  <a:lnTo>
                    <a:pt x="257" y="40"/>
                  </a:lnTo>
                  <a:lnTo>
                    <a:pt x="245" y="39"/>
                  </a:lnTo>
                  <a:lnTo>
                    <a:pt x="232" y="37"/>
                  </a:lnTo>
                  <a:lnTo>
                    <a:pt x="220" y="34"/>
                  </a:lnTo>
                  <a:lnTo>
                    <a:pt x="208" y="30"/>
                  </a:lnTo>
                  <a:lnTo>
                    <a:pt x="196" y="26"/>
                  </a:lnTo>
                  <a:lnTo>
                    <a:pt x="172" y="17"/>
                  </a:lnTo>
                  <a:lnTo>
                    <a:pt x="149" y="8"/>
                  </a:lnTo>
                  <a:lnTo>
                    <a:pt x="137" y="5"/>
                  </a:lnTo>
                  <a:lnTo>
                    <a:pt x="126" y="2"/>
                  </a:lnTo>
                  <a:lnTo>
                    <a:pt x="116" y="0"/>
                  </a:lnTo>
                  <a:lnTo>
                    <a:pt x="105" y="0"/>
                  </a:lnTo>
                  <a:lnTo>
                    <a:pt x="97" y="0"/>
                  </a:lnTo>
                  <a:lnTo>
                    <a:pt x="91" y="2"/>
                  </a:lnTo>
                  <a:lnTo>
                    <a:pt x="83" y="5"/>
                  </a:lnTo>
                  <a:lnTo>
                    <a:pt x="75" y="8"/>
                  </a:lnTo>
                  <a:lnTo>
                    <a:pt x="68" y="13"/>
                  </a:lnTo>
                  <a:lnTo>
                    <a:pt x="60" y="19"/>
                  </a:lnTo>
                  <a:lnTo>
                    <a:pt x="53" y="24"/>
                  </a:lnTo>
                  <a:lnTo>
                    <a:pt x="46" y="31"/>
                  </a:lnTo>
                  <a:lnTo>
                    <a:pt x="6" y="31"/>
                  </a:lnTo>
                  <a:lnTo>
                    <a:pt x="3" y="45"/>
                  </a:lnTo>
                  <a:lnTo>
                    <a:pt x="0" y="55"/>
                  </a:lnTo>
                  <a:lnTo>
                    <a:pt x="0" y="58"/>
                  </a:lnTo>
                  <a:lnTo>
                    <a:pt x="2" y="61"/>
                  </a:lnTo>
                  <a:lnTo>
                    <a:pt x="4" y="64"/>
                  </a:lnTo>
                  <a:lnTo>
                    <a:pt x="7" y="68"/>
                  </a:lnTo>
                  <a:lnTo>
                    <a:pt x="12" y="70"/>
                  </a:lnTo>
                  <a:lnTo>
                    <a:pt x="16" y="72"/>
                  </a:lnTo>
                  <a:lnTo>
                    <a:pt x="21" y="74"/>
                  </a:lnTo>
                  <a:lnTo>
                    <a:pt x="26" y="74"/>
                  </a:lnTo>
                  <a:lnTo>
                    <a:pt x="26" y="86"/>
                  </a:lnTo>
                  <a:lnTo>
                    <a:pt x="28" y="99"/>
                  </a:lnTo>
                  <a:lnTo>
                    <a:pt x="32" y="113"/>
                  </a:lnTo>
                  <a:lnTo>
                    <a:pt x="36" y="129"/>
                  </a:lnTo>
                  <a:lnTo>
                    <a:pt x="40" y="144"/>
                  </a:lnTo>
                  <a:lnTo>
                    <a:pt x="47" y="160"/>
                  </a:lnTo>
                  <a:lnTo>
                    <a:pt x="53" y="175"/>
                  </a:lnTo>
                  <a:lnTo>
                    <a:pt x="60" y="192"/>
                  </a:lnTo>
                  <a:lnTo>
                    <a:pt x="77" y="223"/>
                  </a:lnTo>
                  <a:lnTo>
                    <a:pt x="93" y="252"/>
                  </a:lnTo>
                  <a:lnTo>
                    <a:pt x="102" y="265"/>
                  </a:lnTo>
                  <a:lnTo>
                    <a:pt x="109" y="276"/>
                  </a:lnTo>
                  <a:lnTo>
                    <a:pt x="117" y="286"/>
                  </a:lnTo>
                  <a:lnTo>
                    <a:pt x="125" y="296"/>
                  </a:lnTo>
                  <a:lnTo>
                    <a:pt x="128" y="298"/>
                  </a:lnTo>
                  <a:lnTo>
                    <a:pt x="133" y="300"/>
                  </a:lnTo>
                  <a:lnTo>
                    <a:pt x="137" y="301"/>
                  </a:lnTo>
                  <a:lnTo>
                    <a:pt x="142" y="301"/>
                  </a:lnTo>
                  <a:lnTo>
                    <a:pt x="151" y="302"/>
                  </a:lnTo>
                  <a:lnTo>
                    <a:pt x="159" y="302"/>
                  </a:lnTo>
                  <a:lnTo>
                    <a:pt x="159" y="309"/>
                  </a:lnTo>
                  <a:lnTo>
                    <a:pt x="159" y="317"/>
                  </a:lnTo>
                  <a:lnTo>
                    <a:pt x="159" y="326"/>
                  </a:lnTo>
                  <a:lnTo>
                    <a:pt x="159" y="332"/>
                  </a:lnTo>
                  <a:lnTo>
                    <a:pt x="158" y="339"/>
                  </a:lnTo>
                  <a:lnTo>
                    <a:pt x="157" y="346"/>
                  </a:lnTo>
                  <a:lnTo>
                    <a:pt x="154" y="353"/>
                  </a:lnTo>
                  <a:lnTo>
                    <a:pt x="152" y="359"/>
                  </a:lnTo>
                  <a:lnTo>
                    <a:pt x="149" y="366"/>
                  </a:lnTo>
                  <a:lnTo>
                    <a:pt x="147" y="374"/>
                  </a:lnTo>
                  <a:lnTo>
                    <a:pt x="146" y="383"/>
                  </a:lnTo>
                  <a:lnTo>
                    <a:pt x="146" y="394"/>
                  </a:lnTo>
                  <a:lnTo>
                    <a:pt x="146" y="403"/>
                  </a:lnTo>
                  <a:lnTo>
                    <a:pt x="147" y="410"/>
                  </a:lnTo>
                  <a:lnTo>
                    <a:pt x="148" y="418"/>
                  </a:lnTo>
                  <a:lnTo>
                    <a:pt x="150" y="425"/>
                  </a:lnTo>
                  <a:lnTo>
                    <a:pt x="156" y="439"/>
                  </a:lnTo>
                  <a:lnTo>
                    <a:pt x="162" y="453"/>
                  </a:lnTo>
                  <a:lnTo>
                    <a:pt x="168" y="469"/>
                  </a:lnTo>
                  <a:lnTo>
                    <a:pt x="173" y="484"/>
                  </a:lnTo>
                  <a:lnTo>
                    <a:pt x="175" y="491"/>
                  </a:lnTo>
                  <a:lnTo>
                    <a:pt x="178" y="500"/>
                  </a:lnTo>
                  <a:lnTo>
                    <a:pt x="179" y="508"/>
                  </a:lnTo>
                  <a:lnTo>
                    <a:pt x="179" y="518"/>
                  </a:lnTo>
                  <a:lnTo>
                    <a:pt x="179" y="542"/>
                  </a:lnTo>
                  <a:lnTo>
                    <a:pt x="180" y="564"/>
                  </a:lnTo>
                  <a:lnTo>
                    <a:pt x="183" y="586"/>
                  </a:lnTo>
                  <a:lnTo>
                    <a:pt x="187" y="606"/>
                  </a:lnTo>
                  <a:lnTo>
                    <a:pt x="191" y="616"/>
                  </a:lnTo>
                  <a:lnTo>
                    <a:pt x="194" y="627"/>
                  </a:lnTo>
                  <a:lnTo>
                    <a:pt x="198" y="637"/>
                  </a:lnTo>
                  <a:lnTo>
                    <a:pt x="204" y="647"/>
                  </a:lnTo>
                  <a:lnTo>
                    <a:pt x="209" y="657"/>
                  </a:lnTo>
                  <a:lnTo>
                    <a:pt x="216" y="667"/>
                  </a:lnTo>
                  <a:lnTo>
                    <a:pt x="224" y="679"/>
                  </a:lnTo>
                  <a:lnTo>
                    <a:pt x="231" y="690"/>
                  </a:lnTo>
                  <a:lnTo>
                    <a:pt x="235" y="696"/>
                  </a:lnTo>
                  <a:lnTo>
                    <a:pt x="238" y="698"/>
                  </a:lnTo>
                  <a:lnTo>
                    <a:pt x="241" y="700"/>
                  </a:lnTo>
                  <a:lnTo>
                    <a:pt x="245" y="700"/>
                  </a:lnTo>
                  <a:lnTo>
                    <a:pt x="249" y="701"/>
                  </a:lnTo>
                  <a:lnTo>
                    <a:pt x="252" y="703"/>
                  </a:lnTo>
                  <a:lnTo>
                    <a:pt x="256" y="707"/>
                  </a:lnTo>
                  <a:lnTo>
                    <a:pt x="259" y="715"/>
                  </a:lnTo>
                  <a:lnTo>
                    <a:pt x="259" y="708"/>
                  </a:lnTo>
                  <a:lnTo>
                    <a:pt x="262" y="699"/>
                  </a:lnTo>
                  <a:lnTo>
                    <a:pt x="264" y="688"/>
                  </a:lnTo>
                  <a:lnTo>
                    <a:pt x="265" y="678"/>
                  </a:lnTo>
                  <a:lnTo>
                    <a:pt x="298" y="678"/>
                  </a:lnTo>
                  <a:lnTo>
                    <a:pt x="301" y="685"/>
                  </a:lnTo>
                  <a:lnTo>
                    <a:pt x="304" y="691"/>
                  </a:lnTo>
                  <a:lnTo>
                    <a:pt x="308" y="696"/>
                  </a:lnTo>
                  <a:lnTo>
                    <a:pt x="313" y="701"/>
                  </a:lnTo>
                  <a:lnTo>
                    <a:pt x="317" y="706"/>
                  </a:lnTo>
                  <a:lnTo>
                    <a:pt x="322" y="710"/>
                  </a:lnTo>
                  <a:lnTo>
                    <a:pt x="328" y="713"/>
                  </a:lnTo>
                  <a:lnTo>
                    <a:pt x="333" y="716"/>
                  </a:lnTo>
                  <a:lnTo>
                    <a:pt x="346" y="721"/>
                  </a:lnTo>
                  <a:lnTo>
                    <a:pt x="359" y="724"/>
                  </a:lnTo>
                  <a:lnTo>
                    <a:pt x="372" y="726"/>
                  </a:lnTo>
                  <a:lnTo>
                    <a:pt x="384" y="727"/>
                  </a:lnTo>
                  <a:lnTo>
                    <a:pt x="393" y="726"/>
                  </a:lnTo>
                  <a:lnTo>
                    <a:pt x="400" y="725"/>
                  </a:lnTo>
                  <a:lnTo>
                    <a:pt x="407" y="723"/>
                  </a:lnTo>
                  <a:lnTo>
                    <a:pt x="414" y="721"/>
                  </a:lnTo>
                  <a:lnTo>
                    <a:pt x="419" y="718"/>
                  </a:lnTo>
                  <a:lnTo>
                    <a:pt x="425" y="714"/>
                  </a:lnTo>
                  <a:lnTo>
                    <a:pt x="429" y="710"/>
                  </a:lnTo>
                  <a:lnTo>
                    <a:pt x="433" y="706"/>
                  </a:lnTo>
                  <a:lnTo>
                    <a:pt x="441" y="696"/>
                  </a:lnTo>
                  <a:lnTo>
                    <a:pt x="447" y="686"/>
                  </a:lnTo>
                  <a:lnTo>
                    <a:pt x="452" y="675"/>
                  </a:lnTo>
                  <a:lnTo>
                    <a:pt x="458" y="665"/>
                  </a:lnTo>
                  <a:lnTo>
                    <a:pt x="458" y="554"/>
                  </a:lnTo>
                  <a:lnTo>
                    <a:pt x="462" y="542"/>
                  </a:lnTo>
                  <a:lnTo>
                    <a:pt x="463" y="529"/>
                  </a:lnTo>
                  <a:lnTo>
                    <a:pt x="464" y="516"/>
                  </a:lnTo>
                  <a:lnTo>
                    <a:pt x="464" y="502"/>
                  </a:lnTo>
                  <a:lnTo>
                    <a:pt x="464" y="490"/>
                  </a:lnTo>
                  <a:lnTo>
                    <a:pt x="465" y="480"/>
                  </a:lnTo>
                  <a:lnTo>
                    <a:pt x="466" y="476"/>
                  </a:lnTo>
                  <a:lnTo>
                    <a:pt x="467" y="473"/>
                  </a:lnTo>
                  <a:lnTo>
                    <a:pt x="469" y="470"/>
                  </a:lnTo>
                  <a:lnTo>
                    <a:pt x="471" y="469"/>
                  </a:lnTo>
                  <a:lnTo>
                    <a:pt x="466" y="456"/>
                  </a:lnTo>
                  <a:lnTo>
                    <a:pt x="464" y="444"/>
                  </a:lnTo>
                  <a:lnTo>
                    <a:pt x="463" y="435"/>
                  </a:lnTo>
                  <a:lnTo>
                    <a:pt x="463" y="426"/>
                  </a:lnTo>
                  <a:lnTo>
                    <a:pt x="463" y="409"/>
                  </a:lnTo>
                  <a:lnTo>
                    <a:pt x="464" y="388"/>
                  </a:lnTo>
                  <a:lnTo>
                    <a:pt x="465" y="378"/>
                  </a:lnTo>
                  <a:lnTo>
                    <a:pt x="469" y="368"/>
                  </a:lnTo>
                  <a:lnTo>
                    <a:pt x="474" y="358"/>
                  </a:lnTo>
                  <a:lnTo>
                    <a:pt x="482" y="348"/>
                  </a:lnTo>
                  <a:lnTo>
                    <a:pt x="490" y="338"/>
                  </a:lnTo>
                  <a:lnTo>
                    <a:pt x="500" y="330"/>
                  </a:lnTo>
                  <a:lnTo>
                    <a:pt x="506" y="327"/>
                  </a:lnTo>
                  <a:lnTo>
                    <a:pt x="511" y="324"/>
                  </a:lnTo>
                  <a:lnTo>
                    <a:pt x="518" y="322"/>
                  </a:lnTo>
                  <a:lnTo>
                    <a:pt x="525" y="320"/>
                  </a:lnTo>
                  <a:lnTo>
                    <a:pt x="526" y="298"/>
                  </a:lnTo>
                  <a:lnTo>
                    <a:pt x="528" y="275"/>
                  </a:lnTo>
                  <a:lnTo>
                    <a:pt x="532" y="254"/>
                  </a:lnTo>
                  <a:lnTo>
                    <a:pt x="538" y="232"/>
                  </a:lnTo>
                  <a:lnTo>
                    <a:pt x="542" y="211"/>
                  </a:lnTo>
                  <a:lnTo>
                    <a:pt x="546" y="190"/>
                  </a:lnTo>
                  <a:lnTo>
                    <a:pt x="550" y="168"/>
                  </a:lnTo>
                  <a:lnTo>
                    <a:pt x="551" y="148"/>
                  </a:lnTo>
                  <a:lnTo>
                    <a:pt x="550" y="141"/>
                  </a:lnTo>
                  <a:lnTo>
                    <a:pt x="548" y="135"/>
                  </a:lnTo>
                  <a:lnTo>
                    <a:pt x="544" y="129"/>
                  </a:lnTo>
                  <a:lnTo>
                    <a:pt x="541" y="124"/>
                  </a:lnTo>
                  <a:lnTo>
                    <a:pt x="537" y="117"/>
                  </a:lnTo>
                  <a:lnTo>
                    <a:pt x="533" y="111"/>
                  </a:lnTo>
                  <a:lnTo>
                    <a:pt x="531" y="105"/>
                  </a:lnTo>
                  <a:lnTo>
                    <a:pt x="531" y="99"/>
                  </a:lnTo>
                  <a:lnTo>
                    <a:pt x="531" y="94"/>
                  </a:lnTo>
                  <a:lnTo>
                    <a:pt x="532" y="91"/>
                  </a:lnTo>
                  <a:lnTo>
                    <a:pt x="535" y="88"/>
                  </a:lnTo>
                  <a:lnTo>
                    <a:pt x="539" y="86"/>
                  </a:lnTo>
                  <a:lnTo>
                    <a:pt x="548" y="84"/>
                  </a:lnTo>
                  <a:lnTo>
                    <a:pt x="559" y="83"/>
                  </a:lnTo>
                  <a:lnTo>
                    <a:pt x="587" y="82"/>
                  </a:lnTo>
                  <a:lnTo>
                    <a:pt x="617" y="80"/>
                  </a:lnTo>
                  <a:lnTo>
                    <a:pt x="640" y="74"/>
                  </a:lnTo>
                  <a:lnTo>
                    <a:pt x="662" y="70"/>
                  </a:lnTo>
                  <a:lnTo>
                    <a:pt x="685" y="67"/>
                  </a:lnTo>
                  <a:lnTo>
                    <a:pt x="708" y="63"/>
                  </a:lnTo>
                  <a:lnTo>
                    <a:pt x="731" y="62"/>
                  </a:lnTo>
                  <a:lnTo>
                    <a:pt x="754" y="61"/>
                  </a:lnTo>
                  <a:lnTo>
                    <a:pt x="778" y="61"/>
                  </a:lnTo>
                  <a:lnTo>
                    <a:pt x="803" y="61"/>
                  </a:lnTo>
                  <a:lnTo>
                    <a:pt x="810" y="6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920" name="Freeform 479"/>
            <p:cNvSpPr>
              <a:spLocks/>
            </p:cNvSpPr>
            <p:nvPr>
              <p:custDataLst>
                <p:tags r:id="rId312"/>
              </p:custDataLst>
            </p:nvPr>
          </p:nvSpPr>
          <p:spPr bwMode="auto">
            <a:xfrm>
              <a:off x="5080619" y="3468759"/>
              <a:ext cx="193045" cy="169668"/>
            </a:xfrm>
            <a:custGeom>
              <a:avLst/>
              <a:gdLst>
                <a:gd name="T0" fmla="*/ 90057 w 365"/>
                <a:gd name="T1" fmla="*/ 130339 h 271"/>
                <a:gd name="T2" fmla="*/ 72312 w 365"/>
                <a:gd name="T3" fmla="*/ 128254 h 271"/>
                <a:gd name="T4" fmla="*/ 53679 w 365"/>
                <a:gd name="T5" fmla="*/ 128775 h 271"/>
                <a:gd name="T6" fmla="*/ 40814 w 365"/>
                <a:gd name="T7" fmla="*/ 130339 h 271"/>
                <a:gd name="T8" fmla="*/ 32829 w 365"/>
                <a:gd name="T9" fmla="*/ 132946 h 271"/>
                <a:gd name="T10" fmla="*/ 11534 w 365"/>
                <a:gd name="T11" fmla="*/ 141288 h 271"/>
                <a:gd name="T12" fmla="*/ 8873 w 365"/>
                <a:gd name="T13" fmla="*/ 140767 h 271"/>
                <a:gd name="T14" fmla="*/ 7542 w 365"/>
                <a:gd name="T15" fmla="*/ 138681 h 271"/>
                <a:gd name="T16" fmla="*/ 7985 w 365"/>
                <a:gd name="T17" fmla="*/ 132425 h 271"/>
                <a:gd name="T18" fmla="*/ 11534 w 365"/>
                <a:gd name="T19" fmla="*/ 118870 h 271"/>
                <a:gd name="T20" fmla="*/ 27061 w 365"/>
                <a:gd name="T21" fmla="*/ 117827 h 271"/>
                <a:gd name="T22" fmla="*/ 39483 w 365"/>
                <a:gd name="T23" fmla="*/ 115741 h 271"/>
                <a:gd name="T24" fmla="*/ 51017 w 365"/>
                <a:gd name="T25" fmla="*/ 113656 h 271"/>
                <a:gd name="T26" fmla="*/ 64770 w 365"/>
                <a:gd name="T27" fmla="*/ 112613 h 271"/>
                <a:gd name="T28" fmla="*/ 80741 w 365"/>
                <a:gd name="T29" fmla="*/ 113656 h 271"/>
                <a:gd name="T30" fmla="*/ 88282 w 365"/>
                <a:gd name="T31" fmla="*/ 113656 h 271"/>
                <a:gd name="T32" fmla="*/ 97155 w 365"/>
                <a:gd name="T33" fmla="*/ 112613 h 271"/>
                <a:gd name="T34" fmla="*/ 95380 w 365"/>
                <a:gd name="T35" fmla="*/ 108442 h 271"/>
                <a:gd name="T36" fmla="*/ 93162 w 365"/>
                <a:gd name="T37" fmla="*/ 104793 h 271"/>
                <a:gd name="T38" fmla="*/ 86508 w 365"/>
                <a:gd name="T39" fmla="*/ 101143 h 271"/>
                <a:gd name="T40" fmla="*/ 77635 w 365"/>
                <a:gd name="T41" fmla="*/ 99579 h 271"/>
                <a:gd name="T42" fmla="*/ 67432 w 365"/>
                <a:gd name="T43" fmla="*/ 99058 h 271"/>
                <a:gd name="T44" fmla="*/ 41258 w 365"/>
                <a:gd name="T45" fmla="*/ 100101 h 271"/>
                <a:gd name="T46" fmla="*/ 28392 w 365"/>
                <a:gd name="T47" fmla="*/ 102186 h 271"/>
                <a:gd name="T48" fmla="*/ 14640 w 365"/>
                <a:gd name="T49" fmla="*/ 105836 h 271"/>
                <a:gd name="T50" fmla="*/ 16858 w 365"/>
                <a:gd name="T51" fmla="*/ 95409 h 271"/>
                <a:gd name="T52" fmla="*/ 17302 w 365"/>
                <a:gd name="T53" fmla="*/ 89674 h 271"/>
                <a:gd name="T54" fmla="*/ 11534 w 365"/>
                <a:gd name="T55" fmla="*/ 85503 h 271"/>
                <a:gd name="T56" fmla="*/ 5767 w 365"/>
                <a:gd name="T57" fmla="*/ 83417 h 271"/>
                <a:gd name="T58" fmla="*/ 4880 w 365"/>
                <a:gd name="T59" fmla="*/ 76640 h 271"/>
                <a:gd name="T60" fmla="*/ 2662 w 365"/>
                <a:gd name="T61" fmla="*/ 74554 h 271"/>
                <a:gd name="T62" fmla="*/ 887 w 365"/>
                <a:gd name="T63" fmla="*/ 73511 h 271"/>
                <a:gd name="T64" fmla="*/ 0 w 365"/>
                <a:gd name="T65" fmla="*/ 70383 h 271"/>
                <a:gd name="T66" fmla="*/ 2218 w 365"/>
                <a:gd name="T67" fmla="*/ 59956 h 271"/>
                <a:gd name="T68" fmla="*/ 7542 w 365"/>
                <a:gd name="T69" fmla="*/ 47965 h 271"/>
                <a:gd name="T70" fmla="*/ 13309 w 365"/>
                <a:gd name="T71" fmla="*/ 35974 h 271"/>
                <a:gd name="T72" fmla="*/ 17302 w 365"/>
                <a:gd name="T73" fmla="*/ 25547 h 271"/>
                <a:gd name="T74" fmla="*/ 21294 w 365"/>
                <a:gd name="T75" fmla="*/ 21897 h 271"/>
                <a:gd name="T76" fmla="*/ 21738 w 365"/>
                <a:gd name="T77" fmla="*/ 25025 h 271"/>
                <a:gd name="T78" fmla="*/ 23069 w 365"/>
                <a:gd name="T79" fmla="*/ 18769 h 271"/>
                <a:gd name="T80" fmla="*/ 33272 w 365"/>
                <a:gd name="T81" fmla="*/ 16162 h 271"/>
                <a:gd name="T82" fmla="*/ 50574 w 365"/>
                <a:gd name="T83" fmla="*/ 9384 h 271"/>
                <a:gd name="T84" fmla="*/ 73199 w 365"/>
                <a:gd name="T85" fmla="*/ 0 h 271"/>
                <a:gd name="T86" fmla="*/ 81628 w 365"/>
                <a:gd name="T87" fmla="*/ 7820 h 271"/>
                <a:gd name="T88" fmla="*/ 89613 w 365"/>
                <a:gd name="T89" fmla="*/ 12513 h 271"/>
                <a:gd name="T90" fmla="*/ 97599 w 365"/>
                <a:gd name="T91" fmla="*/ 15119 h 271"/>
                <a:gd name="T92" fmla="*/ 106028 w 365"/>
                <a:gd name="T93" fmla="*/ 15641 h 271"/>
                <a:gd name="T94" fmla="*/ 106915 w 365"/>
                <a:gd name="T95" fmla="*/ 27111 h 271"/>
                <a:gd name="T96" fmla="*/ 109577 w 365"/>
                <a:gd name="T97" fmla="*/ 35974 h 271"/>
                <a:gd name="T98" fmla="*/ 112682 w 365"/>
                <a:gd name="T99" fmla="*/ 43794 h 271"/>
                <a:gd name="T100" fmla="*/ 117118 w 365"/>
                <a:gd name="T101" fmla="*/ 49529 h 271"/>
                <a:gd name="T102" fmla="*/ 135307 w 365"/>
                <a:gd name="T103" fmla="*/ 67255 h 271"/>
                <a:gd name="T104" fmla="*/ 156158 w 365"/>
                <a:gd name="T105" fmla="*/ 121998 h 271"/>
                <a:gd name="T106" fmla="*/ 159263 w 365"/>
                <a:gd name="T107" fmla="*/ 133989 h 271"/>
                <a:gd name="T108" fmla="*/ 161925 w 365"/>
                <a:gd name="T109" fmla="*/ 141288 h 271"/>
                <a:gd name="T110" fmla="*/ 142405 w 365"/>
                <a:gd name="T111" fmla="*/ 135032 h 271"/>
                <a:gd name="T112" fmla="*/ 121998 w 365"/>
                <a:gd name="T113" fmla="*/ 131382 h 271"/>
                <a:gd name="T114" fmla="*/ 110020 w 365"/>
                <a:gd name="T115" fmla="*/ 130861 h 271"/>
                <a:gd name="T116" fmla="*/ 97155 w 365"/>
                <a:gd name="T117" fmla="*/ 131382 h 27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365" h="271">
                  <a:moveTo>
                    <a:pt x="219" y="252"/>
                  </a:moveTo>
                  <a:lnTo>
                    <a:pt x="203" y="250"/>
                  </a:lnTo>
                  <a:lnTo>
                    <a:pt x="184" y="248"/>
                  </a:lnTo>
                  <a:lnTo>
                    <a:pt x="163" y="246"/>
                  </a:lnTo>
                  <a:lnTo>
                    <a:pt x="142" y="246"/>
                  </a:lnTo>
                  <a:lnTo>
                    <a:pt x="121" y="247"/>
                  </a:lnTo>
                  <a:lnTo>
                    <a:pt x="101" y="249"/>
                  </a:lnTo>
                  <a:lnTo>
                    <a:pt x="92" y="250"/>
                  </a:lnTo>
                  <a:lnTo>
                    <a:pt x="82" y="252"/>
                  </a:lnTo>
                  <a:lnTo>
                    <a:pt x="74" y="255"/>
                  </a:lnTo>
                  <a:lnTo>
                    <a:pt x="65" y="258"/>
                  </a:lnTo>
                  <a:lnTo>
                    <a:pt x="26" y="271"/>
                  </a:lnTo>
                  <a:lnTo>
                    <a:pt x="23" y="271"/>
                  </a:lnTo>
                  <a:lnTo>
                    <a:pt x="20" y="270"/>
                  </a:lnTo>
                  <a:lnTo>
                    <a:pt x="18" y="268"/>
                  </a:lnTo>
                  <a:lnTo>
                    <a:pt x="17" y="266"/>
                  </a:lnTo>
                  <a:lnTo>
                    <a:pt x="17" y="260"/>
                  </a:lnTo>
                  <a:lnTo>
                    <a:pt x="18" y="254"/>
                  </a:lnTo>
                  <a:lnTo>
                    <a:pt x="24" y="240"/>
                  </a:lnTo>
                  <a:lnTo>
                    <a:pt x="26" y="228"/>
                  </a:lnTo>
                  <a:lnTo>
                    <a:pt x="45" y="227"/>
                  </a:lnTo>
                  <a:lnTo>
                    <a:pt x="61" y="226"/>
                  </a:lnTo>
                  <a:lnTo>
                    <a:pt x="75" y="224"/>
                  </a:lnTo>
                  <a:lnTo>
                    <a:pt x="89" y="222"/>
                  </a:lnTo>
                  <a:lnTo>
                    <a:pt x="102" y="220"/>
                  </a:lnTo>
                  <a:lnTo>
                    <a:pt x="115" y="218"/>
                  </a:lnTo>
                  <a:lnTo>
                    <a:pt x="129" y="216"/>
                  </a:lnTo>
                  <a:lnTo>
                    <a:pt x="146" y="216"/>
                  </a:lnTo>
                  <a:lnTo>
                    <a:pt x="164" y="217"/>
                  </a:lnTo>
                  <a:lnTo>
                    <a:pt x="182" y="218"/>
                  </a:lnTo>
                  <a:lnTo>
                    <a:pt x="191" y="218"/>
                  </a:lnTo>
                  <a:lnTo>
                    <a:pt x="199" y="218"/>
                  </a:lnTo>
                  <a:lnTo>
                    <a:pt x="209" y="217"/>
                  </a:lnTo>
                  <a:lnTo>
                    <a:pt x="219" y="216"/>
                  </a:lnTo>
                  <a:lnTo>
                    <a:pt x="217" y="211"/>
                  </a:lnTo>
                  <a:lnTo>
                    <a:pt x="215" y="208"/>
                  </a:lnTo>
                  <a:lnTo>
                    <a:pt x="213" y="203"/>
                  </a:lnTo>
                  <a:lnTo>
                    <a:pt x="210" y="201"/>
                  </a:lnTo>
                  <a:lnTo>
                    <a:pt x="204" y="196"/>
                  </a:lnTo>
                  <a:lnTo>
                    <a:pt x="195" y="194"/>
                  </a:lnTo>
                  <a:lnTo>
                    <a:pt x="186" y="192"/>
                  </a:lnTo>
                  <a:lnTo>
                    <a:pt x="175" y="191"/>
                  </a:lnTo>
                  <a:lnTo>
                    <a:pt x="164" y="191"/>
                  </a:lnTo>
                  <a:lnTo>
                    <a:pt x="152" y="190"/>
                  </a:lnTo>
                  <a:lnTo>
                    <a:pt x="120" y="191"/>
                  </a:lnTo>
                  <a:lnTo>
                    <a:pt x="93" y="192"/>
                  </a:lnTo>
                  <a:lnTo>
                    <a:pt x="79" y="193"/>
                  </a:lnTo>
                  <a:lnTo>
                    <a:pt x="64" y="196"/>
                  </a:lnTo>
                  <a:lnTo>
                    <a:pt x="49" y="199"/>
                  </a:lnTo>
                  <a:lnTo>
                    <a:pt x="33" y="203"/>
                  </a:lnTo>
                  <a:lnTo>
                    <a:pt x="37" y="191"/>
                  </a:lnTo>
                  <a:lnTo>
                    <a:pt x="38" y="183"/>
                  </a:lnTo>
                  <a:lnTo>
                    <a:pt x="39" y="177"/>
                  </a:lnTo>
                  <a:lnTo>
                    <a:pt x="39" y="172"/>
                  </a:lnTo>
                  <a:lnTo>
                    <a:pt x="34" y="168"/>
                  </a:lnTo>
                  <a:lnTo>
                    <a:pt x="26" y="164"/>
                  </a:lnTo>
                  <a:lnTo>
                    <a:pt x="18" y="161"/>
                  </a:lnTo>
                  <a:lnTo>
                    <a:pt x="13" y="160"/>
                  </a:lnTo>
                  <a:lnTo>
                    <a:pt x="13" y="153"/>
                  </a:lnTo>
                  <a:lnTo>
                    <a:pt x="11" y="147"/>
                  </a:lnTo>
                  <a:lnTo>
                    <a:pt x="8" y="144"/>
                  </a:lnTo>
                  <a:lnTo>
                    <a:pt x="6" y="143"/>
                  </a:lnTo>
                  <a:lnTo>
                    <a:pt x="4" y="142"/>
                  </a:lnTo>
                  <a:lnTo>
                    <a:pt x="2" y="141"/>
                  </a:lnTo>
                  <a:lnTo>
                    <a:pt x="0" y="139"/>
                  </a:lnTo>
                  <a:lnTo>
                    <a:pt x="0" y="135"/>
                  </a:lnTo>
                  <a:lnTo>
                    <a:pt x="1" y="125"/>
                  </a:lnTo>
                  <a:lnTo>
                    <a:pt x="5" y="115"/>
                  </a:lnTo>
                  <a:lnTo>
                    <a:pt x="11" y="104"/>
                  </a:lnTo>
                  <a:lnTo>
                    <a:pt x="17" y="92"/>
                  </a:lnTo>
                  <a:lnTo>
                    <a:pt x="24" y="80"/>
                  </a:lnTo>
                  <a:lnTo>
                    <a:pt x="30" y="69"/>
                  </a:lnTo>
                  <a:lnTo>
                    <a:pt x="36" y="59"/>
                  </a:lnTo>
                  <a:lnTo>
                    <a:pt x="39" y="49"/>
                  </a:lnTo>
                  <a:lnTo>
                    <a:pt x="45" y="43"/>
                  </a:lnTo>
                  <a:lnTo>
                    <a:pt x="48" y="42"/>
                  </a:lnTo>
                  <a:lnTo>
                    <a:pt x="49" y="44"/>
                  </a:lnTo>
                  <a:lnTo>
                    <a:pt x="49" y="48"/>
                  </a:lnTo>
                  <a:lnTo>
                    <a:pt x="48" y="51"/>
                  </a:lnTo>
                  <a:lnTo>
                    <a:pt x="52" y="36"/>
                  </a:lnTo>
                  <a:lnTo>
                    <a:pt x="61" y="35"/>
                  </a:lnTo>
                  <a:lnTo>
                    <a:pt x="75" y="31"/>
                  </a:lnTo>
                  <a:lnTo>
                    <a:pt x="94" y="25"/>
                  </a:lnTo>
                  <a:lnTo>
                    <a:pt x="114" y="18"/>
                  </a:lnTo>
                  <a:lnTo>
                    <a:pt x="150" y="6"/>
                  </a:lnTo>
                  <a:lnTo>
                    <a:pt x="165" y="0"/>
                  </a:lnTo>
                  <a:lnTo>
                    <a:pt x="175" y="8"/>
                  </a:lnTo>
                  <a:lnTo>
                    <a:pt x="184" y="15"/>
                  </a:lnTo>
                  <a:lnTo>
                    <a:pt x="194" y="20"/>
                  </a:lnTo>
                  <a:lnTo>
                    <a:pt x="202" y="24"/>
                  </a:lnTo>
                  <a:lnTo>
                    <a:pt x="210" y="27"/>
                  </a:lnTo>
                  <a:lnTo>
                    <a:pt x="220" y="29"/>
                  </a:lnTo>
                  <a:lnTo>
                    <a:pt x="229" y="30"/>
                  </a:lnTo>
                  <a:lnTo>
                    <a:pt x="239" y="30"/>
                  </a:lnTo>
                  <a:lnTo>
                    <a:pt x="239" y="42"/>
                  </a:lnTo>
                  <a:lnTo>
                    <a:pt x="241" y="52"/>
                  </a:lnTo>
                  <a:lnTo>
                    <a:pt x="243" y="61"/>
                  </a:lnTo>
                  <a:lnTo>
                    <a:pt x="247" y="69"/>
                  </a:lnTo>
                  <a:lnTo>
                    <a:pt x="250" y="77"/>
                  </a:lnTo>
                  <a:lnTo>
                    <a:pt x="254" y="84"/>
                  </a:lnTo>
                  <a:lnTo>
                    <a:pt x="259" y="90"/>
                  </a:lnTo>
                  <a:lnTo>
                    <a:pt x="264" y="95"/>
                  </a:lnTo>
                  <a:lnTo>
                    <a:pt x="286" y="115"/>
                  </a:lnTo>
                  <a:lnTo>
                    <a:pt x="305" y="129"/>
                  </a:lnTo>
                  <a:lnTo>
                    <a:pt x="305" y="210"/>
                  </a:lnTo>
                  <a:lnTo>
                    <a:pt x="352" y="234"/>
                  </a:lnTo>
                  <a:lnTo>
                    <a:pt x="353" y="245"/>
                  </a:lnTo>
                  <a:lnTo>
                    <a:pt x="359" y="257"/>
                  </a:lnTo>
                  <a:lnTo>
                    <a:pt x="363" y="267"/>
                  </a:lnTo>
                  <a:lnTo>
                    <a:pt x="365" y="271"/>
                  </a:lnTo>
                  <a:lnTo>
                    <a:pt x="353" y="267"/>
                  </a:lnTo>
                  <a:lnTo>
                    <a:pt x="321" y="259"/>
                  </a:lnTo>
                  <a:lnTo>
                    <a:pt x="300" y="255"/>
                  </a:lnTo>
                  <a:lnTo>
                    <a:pt x="275" y="252"/>
                  </a:lnTo>
                  <a:lnTo>
                    <a:pt x="262" y="251"/>
                  </a:lnTo>
                  <a:lnTo>
                    <a:pt x="248" y="251"/>
                  </a:lnTo>
                  <a:lnTo>
                    <a:pt x="233" y="251"/>
                  </a:lnTo>
                  <a:lnTo>
                    <a:pt x="219" y="25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921" name="Freeform 480"/>
            <p:cNvSpPr>
              <a:spLocks/>
            </p:cNvSpPr>
            <p:nvPr>
              <p:custDataLst>
                <p:tags r:id="rId313"/>
              </p:custDataLst>
            </p:nvPr>
          </p:nvSpPr>
          <p:spPr bwMode="auto">
            <a:xfrm>
              <a:off x="6479251" y="4143618"/>
              <a:ext cx="321742" cy="402246"/>
            </a:xfrm>
            <a:custGeom>
              <a:avLst/>
              <a:gdLst>
                <a:gd name="T0" fmla="*/ 63144 w 624"/>
                <a:gd name="T1" fmla="*/ 6281 h 640"/>
                <a:gd name="T2" fmla="*/ 103366 w 624"/>
                <a:gd name="T3" fmla="*/ 6281 h 640"/>
                <a:gd name="T4" fmla="*/ 124125 w 624"/>
                <a:gd name="T5" fmla="*/ 2617 h 640"/>
                <a:gd name="T6" fmla="*/ 140992 w 624"/>
                <a:gd name="T7" fmla="*/ 11514 h 640"/>
                <a:gd name="T8" fmla="*/ 171267 w 624"/>
                <a:gd name="T9" fmla="*/ 34543 h 640"/>
                <a:gd name="T10" fmla="*/ 201109 w 624"/>
                <a:gd name="T11" fmla="*/ 58095 h 640"/>
                <a:gd name="T12" fmla="*/ 202839 w 624"/>
                <a:gd name="T13" fmla="*/ 68563 h 640"/>
                <a:gd name="T14" fmla="*/ 207596 w 624"/>
                <a:gd name="T15" fmla="*/ 80077 h 640"/>
                <a:gd name="T16" fmla="*/ 214949 w 624"/>
                <a:gd name="T17" fmla="*/ 88975 h 640"/>
                <a:gd name="T18" fmla="*/ 224463 w 624"/>
                <a:gd name="T19" fmla="*/ 95778 h 640"/>
                <a:gd name="T20" fmla="*/ 234843 w 624"/>
                <a:gd name="T21" fmla="*/ 99442 h 640"/>
                <a:gd name="T22" fmla="*/ 239601 w 624"/>
                <a:gd name="T23" fmla="*/ 102059 h 640"/>
                <a:gd name="T24" fmla="*/ 244358 w 624"/>
                <a:gd name="T25" fmla="*/ 107293 h 640"/>
                <a:gd name="T26" fmla="*/ 242628 w 624"/>
                <a:gd name="T27" fmla="*/ 118807 h 640"/>
                <a:gd name="T28" fmla="*/ 232248 w 624"/>
                <a:gd name="T29" fmla="*/ 131892 h 640"/>
                <a:gd name="T30" fmla="*/ 227058 w 624"/>
                <a:gd name="T31" fmla="*/ 141836 h 640"/>
                <a:gd name="T32" fmla="*/ 230518 w 624"/>
                <a:gd name="T33" fmla="*/ 150210 h 640"/>
                <a:gd name="T34" fmla="*/ 236573 w 624"/>
                <a:gd name="T35" fmla="*/ 156491 h 640"/>
                <a:gd name="T36" fmla="*/ 238736 w 624"/>
                <a:gd name="T37" fmla="*/ 222436 h 640"/>
                <a:gd name="T38" fmla="*/ 237871 w 624"/>
                <a:gd name="T39" fmla="*/ 229764 h 640"/>
                <a:gd name="T40" fmla="*/ 241331 w 624"/>
                <a:gd name="T41" fmla="*/ 241801 h 640"/>
                <a:gd name="T42" fmla="*/ 241331 w 624"/>
                <a:gd name="T43" fmla="*/ 255933 h 640"/>
                <a:gd name="T44" fmla="*/ 242628 w 624"/>
                <a:gd name="T45" fmla="*/ 269541 h 640"/>
                <a:gd name="T46" fmla="*/ 256900 w 624"/>
                <a:gd name="T47" fmla="*/ 287335 h 640"/>
                <a:gd name="T48" fmla="*/ 266415 w 624"/>
                <a:gd name="T49" fmla="*/ 303037 h 640"/>
                <a:gd name="T50" fmla="*/ 248683 w 624"/>
                <a:gd name="T51" fmla="*/ 314028 h 640"/>
                <a:gd name="T52" fmla="*/ 212354 w 624"/>
                <a:gd name="T53" fmla="*/ 330253 h 640"/>
                <a:gd name="T54" fmla="*/ 191594 w 624"/>
                <a:gd name="T55" fmla="*/ 333916 h 640"/>
                <a:gd name="T56" fmla="*/ 169537 w 624"/>
                <a:gd name="T57" fmla="*/ 328682 h 640"/>
                <a:gd name="T58" fmla="*/ 146615 w 624"/>
                <a:gd name="T59" fmla="*/ 331299 h 640"/>
                <a:gd name="T60" fmla="*/ 132343 w 624"/>
                <a:gd name="T61" fmla="*/ 328682 h 640"/>
                <a:gd name="T62" fmla="*/ 129315 w 624"/>
                <a:gd name="T63" fmla="*/ 321355 h 640"/>
                <a:gd name="T64" fmla="*/ 127153 w 624"/>
                <a:gd name="T65" fmla="*/ 299897 h 640"/>
                <a:gd name="T66" fmla="*/ 124558 w 624"/>
                <a:gd name="T67" fmla="*/ 276868 h 640"/>
                <a:gd name="T68" fmla="*/ 109420 w 624"/>
                <a:gd name="T69" fmla="*/ 270587 h 640"/>
                <a:gd name="T70" fmla="*/ 80011 w 624"/>
                <a:gd name="T71" fmla="*/ 262737 h 640"/>
                <a:gd name="T72" fmla="*/ 38924 w 624"/>
                <a:gd name="T73" fmla="*/ 240231 h 640"/>
                <a:gd name="T74" fmla="*/ 29409 w 624"/>
                <a:gd name="T75" fmla="*/ 233427 h 640"/>
                <a:gd name="T76" fmla="*/ 28544 w 624"/>
                <a:gd name="T77" fmla="*/ 224007 h 640"/>
                <a:gd name="T78" fmla="*/ 28112 w 624"/>
                <a:gd name="T79" fmla="*/ 210399 h 640"/>
                <a:gd name="T80" fmla="*/ 22922 w 624"/>
                <a:gd name="T81" fmla="*/ 197314 h 640"/>
                <a:gd name="T82" fmla="*/ 17732 w 624"/>
                <a:gd name="T83" fmla="*/ 186847 h 640"/>
                <a:gd name="T84" fmla="*/ 11677 w 624"/>
                <a:gd name="T85" fmla="*/ 181613 h 640"/>
                <a:gd name="T86" fmla="*/ 5190 w 624"/>
                <a:gd name="T87" fmla="*/ 173762 h 640"/>
                <a:gd name="T88" fmla="*/ 2162 w 624"/>
                <a:gd name="T89" fmla="*/ 161201 h 640"/>
                <a:gd name="T90" fmla="*/ 0 w 624"/>
                <a:gd name="T91" fmla="*/ 137125 h 640"/>
                <a:gd name="T92" fmla="*/ 0 w 624"/>
                <a:gd name="T93" fmla="*/ 122471 h 640"/>
                <a:gd name="T94" fmla="*/ 4325 w 624"/>
                <a:gd name="T95" fmla="*/ 110956 h 640"/>
                <a:gd name="T96" fmla="*/ 16435 w 624"/>
                <a:gd name="T97" fmla="*/ 102059 h 640"/>
                <a:gd name="T98" fmla="*/ 26382 w 624"/>
                <a:gd name="T99" fmla="*/ 90545 h 640"/>
                <a:gd name="T100" fmla="*/ 33302 w 624"/>
                <a:gd name="T101" fmla="*/ 40300 h 640"/>
                <a:gd name="T102" fmla="*/ 36329 w 624"/>
                <a:gd name="T103" fmla="*/ 22505 h 640"/>
                <a:gd name="T104" fmla="*/ 35464 w 624"/>
                <a:gd name="T105" fmla="*/ 4187 h 6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624" h="640">
                  <a:moveTo>
                    <a:pt x="79" y="0"/>
                  </a:moveTo>
                  <a:lnTo>
                    <a:pt x="146" y="0"/>
                  </a:lnTo>
                  <a:lnTo>
                    <a:pt x="146" y="12"/>
                  </a:lnTo>
                  <a:lnTo>
                    <a:pt x="173" y="43"/>
                  </a:lnTo>
                  <a:lnTo>
                    <a:pt x="232" y="43"/>
                  </a:lnTo>
                  <a:lnTo>
                    <a:pt x="239" y="12"/>
                  </a:lnTo>
                  <a:lnTo>
                    <a:pt x="259" y="0"/>
                  </a:lnTo>
                  <a:lnTo>
                    <a:pt x="273" y="0"/>
                  </a:lnTo>
                  <a:lnTo>
                    <a:pt x="287" y="5"/>
                  </a:lnTo>
                  <a:lnTo>
                    <a:pt x="301" y="10"/>
                  </a:lnTo>
                  <a:lnTo>
                    <a:pt x="314" y="16"/>
                  </a:lnTo>
                  <a:lnTo>
                    <a:pt x="326" y="22"/>
                  </a:lnTo>
                  <a:lnTo>
                    <a:pt x="351" y="36"/>
                  </a:lnTo>
                  <a:lnTo>
                    <a:pt x="374" y="51"/>
                  </a:lnTo>
                  <a:lnTo>
                    <a:pt x="396" y="66"/>
                  </a:lnTo>
                  <a:lnTo>
                    <a:pt x="418" y="81"/>
                  </a:lnTo>
                  <a:lnTo>
                    <a:pt x="441" y="97"/>
                  </a:lnTo>
                  <a:lnTo>
                    <a:pt x="465" y="111"/>
                  </a:lnTo>
                  <a:lnTo>
                    <a:pt x="465" y="118"/>
                  </a:lnTo>
                  <a:lnTo>
                    <a:pt x="467" y="124"/>
                  </a:lnTo>
                  <a:lnTo>
                    <a:pt x="469" y="131"/>
                  </a:lnTo>
                  <a:lnTo>
                    <a:pt x="471" y="138"/>
                  </a:lnTo>
                  <a:lnTo>
                    <a:pt x="476" y="146"/>
                  </a:lnTo>
                  <a:lnTo>
                    <a:pt x="480" y="153"/>
                  </a:lnTo>
                  <a:lnTo>
                    <a:pt x="485" y="159"/>
                  </a:lnTo>
                  <a:lnTo>
                    <a:pt x="491" y="165"/>
                  </a:lnTo>
                  <a:lnTo>
                    <a:pt x="497" y="170"/>
                  </a:lnTo>
                  <a:lnTo>
                    <a:pt x="503" y="175"/>
                  </a:lnTo>
                  <a:lnTo>
                    <a:pt x="511" y="179"/>
                  </a:lnTo>
                  <a:lnTo>
                    <a:pt x="519" y="183"/>
                  </a:lnTo>
                  <a:lnTo>
                    <a:pt x="526" y="186"/>
                  </a:lnTo>
                  <a:lnTo>
                    <a:pt x="534" y="188"/>
                  </a:lnTo>
                  <a:lnTo>
                    <a:pt x="543" y="190"/>
                  </a:lnTo>
                  <a:lnTo>
                    <a:pt x="552" y="190"/>
                  </a:lnTo>
                  <a:lnTo>
                    <a:pt x="552" y="193"/>
                  </a:lnTo>
                  <a:lnTo>
                    <a:pt x="554" y="195"/>
                  </a:lnTo>
                  <a:lnTo>
                    <a:pt x="556" y="198"/>
                  </a:lnTo>
                  <a:lnTo>
                    <a:pt x="559" y="200"/>
                  </a:lnTo>
                  <a:lnTo>
                    <a:pt x="565" y="205"/>
                  </a:lnTo>
                  <a:lnTo>
                    <a:pt x="571" y="209"/>
                  </a:lnTo>
                  <a:lnTo>
                    <a:pt x="567" y="219"/>
                  </a:lnTo>
                  <a:lnTo>
                    <a:pt x="561" y="227"/>
                  </a:lnTo>
                  <a:lnTo>
                    <a:pt x="554" y="236"/>
                  </a:lnTo>
                  <a:lnTo>
                    <a:pt x="545" y="244"/>
                  </a:lnTo>
                  <a:lnTo>
                    <a:pt x="537" y="252"/>
                  </a:lnTo>
                  <a:lnTo>
                    <a:pt x="531" y="260"/>
                  </a:lnTo>
                  <a:lnTo>
                    <a:pt x="526" y="266"/>
                  </a:lnTo>
                  <a:lnTo>
                    <a:pt x="525" y="271"/>
                  </a:lnTo>
                  <a:lnTo>
                    <a:pt x="526" y="277"/>
                  </a:lnTo>
                  <a:lnTo>
                    <a:pt x="528" y="283"/>
                  </a:lnTo>
                  <a:lnTo>
                    <a:pt x="533" y="287"/>
                  </a:lnTo>
                  <a:lnTo>
                    <a:pt x="538" y="291"/>
                  </a:lnTo>
                  <a:lnTo>
                    <a:pt x="543" y="295"/>
                  </a:lnTo>
                  <a:lnTo>
                    <a:pt x="547" y="299"/>
                  </a:lnTo>
                  <a:lnTo>
                    <a:pt x="550" y="303"/>
                  </a:lnTo>
                  <a:lnTo>
                    <a:pt x="552" y="307"/>
                  </a:lnTo>
                  <a:lnTo>
                    <a:pt x="552" y="425"/>
                  </a:lnTo>
                  <a:lnTo>
                    <a:pt x="549" y="430"/>
                  </a:lnTo>
                  <a:lnTo>
                    <a:pt x="549" y="434"/>
                  </a:lnTo>
                  <a:lnTo>
                    <a:pt x="550" y="439"/>
                  </a:lnTo>
                  <a:lnTo>
                    <a:pt x="552" y="443"/>
                  </a:lnTo>
                  <a:lnTo>
                    <a:pt x="556" y="452"/>
                  </a:lnTo>
                  <a:lnTo>
                    <a:pt x="558" y="462"/>
                  </a:lnTo>
                  <a:lnTo>
                    <a:pt x="558" y="475"/>
                  </a:lnTo>
                  <a:lnTo>
                    <a:pt x="558" y="483"/>
                  </a:lnTo>
                  <a:lnTo>
                    <a:pt x="558" y="489"/>
                  </a:lnTo>
                  <a:lnTo>
                    <a:pt x="558" y="499"/>
                  </a:lnTo>
                  <a:lnTo>
                    <a:pt x="559" y="507"/>
                  </a:lnTo>
                  <a:lnTo>
                    <a:pt x="561" y="515"/>
                  </a:lnTo>
                  <a:lnTo>
                    <a:pt x="567" y="523"/>
                  </a:lnTo>
                  <a:lnTo>
                    <a:pt x="574" y="532"/>
                  </a:lnTo>
                  <a:lnTo>
                    <a:pt x="594" y="549"/>
                  </a:lnTo>
                  <a:lnTo>
                    <a:pt x="624" y="572"/>
                  </a:lnTo>
                  <a:lnTo>
                    <a:pt x="622" y="575"/>
                  </a:lnTo>
                  <a:lnTo>
                    <a:pt x="616" y="579"/>
                  </a:lnTo>
                  <a:lnTo>
                    <a:pt x="609" y="583"/>
                  </a:lnTo>
                  <a:lnTo>
                    <a:pt x="599" y="589"/>
                  </a:lnTo>
                  <a:lnTo>
                    <a:pt x="575" y="600"/>
                  </a:lnTo>
                  <a:lnTo>
                    <a:pt x="546" y="611"/>
                  </a:lnTo>
                  <a:lnTo>
                    <a:pt x="518" y="622"/>
                  </a:lnTo>
                  <a:lnTo>
                    <a:pt x="491" y="631"/>
                  </a:lnTo>
                  <a:lnTo>
                    <a:pt x="470" y="638"/>
                  </a:lnTo>
                  <a:lnTo>
                    <a:pt x="458" y="640"/>
                  </a:lnTo>
                  <a:lnTo>
                    <a:pt x="443" y="638"/>
                  </a:lnTo>
                  <a:lnTo>
                    <a:pt x="423" y="634"/>
                  </a:lnTo>
                  <a:lnTo>
                    <a:pt x="403" y="630"/>
                  </a:lnTo>
                  <a:lnTo>
                    <a:pt x="392" y="628"/>
                  </a:lnTo>
                  <a:lnTo>
                    <a:pt x="369" y="630"/>
                  </a:lnTo>
                  <a:lnTo>
                    <a:pt x="348" y="632"/>
                  </a:lnTo>
                  <a:lnTo>
                    <a:pt x="339" y="633"/>
                  </a:lnTo>
                  <a:lnTo>
                    <a:pt x="329" y="633"/>
                  </a:lnTo>
                  <a:lnTo>
                    <a:pt x="318" y="631"/>
                  </a:lnTo>
                  <a:lnTo>
                    <a:pt x="306" y="628"/>
                  </a:lnTo>
                  <a:lnTo>
                    <a:pt x="303" y="625"/>
                  </a:lnTo>
                  <a:lnTo>
                    <a:pt x="301" y="620"/>
                  </a:lnTo>
                  <a:lnTo>
                    <a:pt x="299" y="614"/>
                  </a:lnTo>
                  <a:lnTo>
                    <a:pt x="298" y="608"/>
                  </a:lnTo>
                  <a:lnTo>
                    <a:pt x="295" y="592"/>
                  </a:lnTo>
                  <a:lnTo>
                    <a:pt x="294" y="573"/>
                  </a:lnTo>
                  <a:lnTo>
                    <a:pt x="291" y="556"/>
                  </a:lnTo>
                  <a:lnTo>
                    <a:pt x="289" y="541"/>
                  </a:lnTo>
                  <a:lnTo>
                    <a:pt x="288" y="529"/>
                  </a:lnTo>
                  <a:lnTo>
                    <a:pt x="286" y="523"/>
                  </a:lnTo>
                  <a:lnTo>
                    <a:pt x="270" y="519"/>
                  </a:lnTo>
                  <a:lnTo>
                    <a:pt x="253" y="517"/>
                  </a:lnTo>
                  <a:lnTo>
                    <a:pt x="232" y="515"/>
                  </a:lnTo>
                  <a:lnTo>
                    <a:pt x="206" y="511"/>
                  </a:lnTo>
                  <a:lnTo>
                    <a:pt x="185" y="502"/>
                  </a:lnTo>
                  <a:lnTo>
                    <a:pt x="139" y="482"/>
                  </a:lnTo>
                  <a:lnTo>
                    <a:pt x="113" y="470"/>
                  </a:lnTo>
                  <a:lnTo>
                    <a:pt x="90" y="459"/>
                  </a:lnTo>
                  <a:lnTo>
                    <a:pt x="82" y="454"/>
                  </a:lnTo>
                  <a:lnTo>
                    <a:pt x="74" y="450"/>
                  </a:lnTo>
                  <a:lnTo>
                    <a:pt x="68" y="446"/>
                  </a:lnTo>
                  <a:lnTo>
                    <a:pt x="66" y="443"/>
                  </a:lnTo>
                  <a:lnTo>
                    <a:pt x="66" y="437"/>
                  </a:lnTo>
                  <a:lnTo>
                    <a:pt x="66" y="428"/>
                  </a:lnTo>
                  <a:lnTo>
                    <a:pt x="66" y="419"/>
                  </a:lnTo>
                  <a:lnTo>
                    <a:pt x="66" y="412"/>
                  </a:lnTo>
                  <a:lnTo>
                    <a:pt x="65" y="402"/>
                  </a:lnTo>
                  <a:lnTo>
                    <a:pt x="62" y="392"/>
                  </a:lnTo>
                  <a:lnTo>
                    <a:pt x="57" y="384"/>
                  </a:lnTo>
                  <a:lnTo>
                    <a:pt x="53" y="377"/>
                  </a:lnTo>
                  <a:lnTo>
                    <a:pt x="48" y="371"/>
                  </a:lnTo>
                  <a:lnTo>
                    <a:pt x="44" y="363"/>
                  </a:lnTo>
                  <a:lnTo>
                    <a:pt x="41" y="357"/>
                  </a:lnTo>
                  <a:lnTo>
                    <a:pt x="40" y="351"/>
                  </a:lnTo>
                  <a:lnTo>
                    <a:pt x="32" y="350"/>
                  </a:lnTo>
                  <a:lnTo>
                    <a:pt x="27" y="347"/>
                  </a:lnTo>
                  <a:lnTo>
                    <a:pt x="21" y="343"/>
                  </a:lnTo>
                  <a:lnTo>
                    <a:pt x="17" y="338"/>
                  </a:lnTo>
                  <a:lnTo>
                    <a:pt x="12" y="332"/>
                  </a:lnTo>
                  <a:lnTo>
                    <a:pt x="9" y="325"/>
                  </a:lnTo>
                  <a:lnTo>
                    <a:pt x="7" y="317"/>
                  </a:lnTo>
                  <a:lnTo>
                    <a:pt x="5" y="308"/>
                  </a:lnTo>
                  <a:lnTo>
                    <a:pt x="1" y="291"/>
                  </a:lnTo>
                  <a:lnTo>
                    <a:pt x="0" y="276"/>
                  </a:lnTo>
                  <a:lnTo>
                    <a:pt x="0" y="262"/>
                  </a:lnTo>
                  <a:lnTo>
                    <a:pt x="0" y="252"/>
                  </a:lnTo>
                  <a:lnTo>
                    <a:pt x="0" y="243"/>
                  </a:lnTo>
                  <a:lnTo>
                    <a:pt x="0" y="234"/>
                  </a:lnTo>
                  <a:lnTo>
                    <a:pt x="0" y="225"/>
                  </a:lnTo>
                  <a:lnTo>
                    <a:pt x="0" y="215"/>
                  </a:lnTo>
                  <a:lnTo>
                    <a:pt x="10" y="212"/>
                  </a:lnTo>
                  <a:lnTo>
                    <a:pt x="20" y="208"/>
                  </a:lnTo>
                  <a:lnTo>
                    <a:pt x="29" y="202"/>
                  </a:lnTo>
                  <a:lnTo>
                    <a:pt x="38" y="195"/>
                  </a:lnTo>
                  <a:lnTo>
                    <a:pt x="46" y="188"/>
                  </a:lnTo>
                  <a:lnTo>
                    <a:pt x="54" y="180"/>
                  </a:lnTo>
                  <a:lnTo>
                    <a:pt x="61" y="173"/>
                  </a:lnTo>
                  <a:lnTo>
                    <a:pt x="66" y="166"/>
                  </a:lnTo>
                  <a:lnTo>
                    <a:pt x="73" y="85"/>
                  </a:lnTo>
                  <a:lnTo>
                    <a:pt x="77" y="77"/>
                  </a:lnTo>
                  <a:lnTo>
                    <a:pt x="81" y="67"/>
                  </a:lnTo>
                  <a:lnTo>
                    <a:pt x="83" y="55"/>
                  </a:lnTo>
                  <a:lnTo>
                    <a:pt x="84" y="43"/>
                  </a:lnTo>
                  <a:lnTo>
                    <a:pt x="84" y="30"/>
                  </a:lnTo>
                  <a:lnTo>
                    <a:pt x="83" y="18"/>
                  </a:lnTo>
                  <a:lnTo>
                    <a:pt x="82" y="8"/>
                  </a:lnTo>
                  <a:lnTo>
                    <a:pt x="79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922" name="Freeform 481"/>
            <p:cNvSpPr>
              <a:spLocks/>
            </p:cNvSpPr>
            <p:nvPr>
              <p:custDataLst>
                <p:tags r:id="rId314"/>
              </p:custDataLst>
            </p:nvPr>
          </p:nvSpPr>
          <p:spPr bwMode="auto">
            <a:xfrm>
              <a:off x="9535801" y="2359247"/>
              <a:ext cx="22711" cy="68630"/>
            </a:xfrm>
            <a:custGeom>
              <a:avLst/>
              <a:gdLst>
                <a:gd name="T0" fmla="*/ 4763 w 52"/>
                <a:gd name="T1" fmla="*/ 57150 h 50"/>
                <a:gd name="T2" fmla="*/ 0 w 52"/>
                <a:gd name="T3" fmla="*/ 36576 h 50"/>
                <a:gd name="T4" fmla="*/ 733 w 52"/>
                <a:gd name="T5" fmla="*/ 28575 h 50"/>
                <a:gd name="T6" fmla="*/ 2198 w 52"/>
                <a:gd name="T7" fmla="*/ 20574 h 50"/>
                <a:gd name="T8" fmla="*/ 4396 w 52"/>
                <a:gd name="T9" fmla="*/ 14859 h 50"/>
                <a:gd name="T10" fmla="*/ 6594 w 52"/>
                <a:gd name="T11" fmla="*/ 10287 h 50"/>
                <a:gd name="T12" fmla="*/ 9525 w 52"/>
                <a:gd name="T13" fmla="*/ 5715 h 50"/>
                <a:gd name="T14" fmla="*/ 12456 w 52"/>
                <a:gd name="T15" fmla="*/ 3429 h 50"/>
                <a:gd name="T16" fmla="*/ 15753 w 52"/>
                <a:gd name="T17" fmla="*/ 1143 h 50"/>
                <a:gd name="T18" fmla="*/ 19050 w 52"/>
                <a:gd name="T19" fmla="*/ 0 h 50"/>
                <a:gd name="T20" fmla="*/ 14654 w 52"/>
                <a:gd name="T21" fmla="*/ 12573 h 50"/>
                <a:gd name="T22" fmla="*/ 9891 w 52"/>
                <a:gd name="T23" fmla="*/ 25146 h 50"/>
                <a:gd name="T24" fmla="*/ 8060 w 52"/>
                <a:gd name="T25" fmla="*/ 34290 h 50"/>
                <a:gd name="T26" fmla="*/ 6228 w 52"/>
                <a:gd name="T27" fmla="*/ 41148 h 50"/>
                <a:gd name="T28" fmla="*/ 5129 w 52"/>
                <a:gd name="T29" fmla="*/ 49149 h 50"/>
                <a:gd name="T30" fmla="*/ 4763 w 52"/>
                <a:gd name="T31" fmla="*/ 57150 h 5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2" h="50">
                  <a:moveTo>
                    <a:pt x="13" y="50"/>
                  </a:moveTo>
                  <a:lnTo>
                    <a:pt x="0" y="32"/>
                  </a:lnTo>
                  <a:lnTo>
                    <a:pt x="2" y="25"/>
                  </a:lnTo>
                  <a:lnTo>
                    <a:pt x="6" y="18"/>
                  </a:lnTo>
                  <a:lnTo>
                    <a:pt x="12" y="13"/>
                  </a:lnTo>
                  <a:lnTo>
                    <a:pt x="18" y="9"/>
                  </a:lnTo>
                  <a:lnTo>
                    <a:pt x="26" y="5"/>
                  </a:lnTo>
                  <a:lnTo>
                    <a:pt x="34" y="3"/>
                  </a:lnTo>
                  <a:lnTo>
                    <a:pt x="43" y="1"/>
                  </a:lnTo>
                  <a:lnTo>
                    <a:pt x="52" y="0"/>
                  </a:lnTo>
                  <a:lnTo>
                    <a:pt x="40" y="11"/>
                  </a:lnTo>
                  <a:lnTo>
                    <a:pt x="27" y="22"/>
                  </a:lnTo>
                  <a:lnTo>
                    <a:pt x="22" y="30"/>
                  </a:lnTo>
                  <a:lnTo>
                    <a:pt x="17" y="36"/>
                  </a:lnTo>
                  <a:lnTo>
                    <a:pt x="14" y="43"/>
                  </a:lnTo>
                  <a:lnTo>
                    <a:pt x="13" y="5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923" name="Freeform 482"/>
            <p:cNvSpPr>
              <a:spLocks/>
            </p:cNvSpPr>
            <p:nvPr>
              <p:custDataLst>
                <p:tags r:id="rId315"/>
              </p:custDataLst>
            </p:nvPr>
          </p:nvSpPr>
          <p:spPr bwMode="auto">
            <a:xfrm>
              <a:off x="9367359" y="2361154"/>
              <a:ext cx="168442" cy="150603"/>
            </a:xfrm>
            <a:custGeom>
              <a:avLst/>
              <a:gdLst>
                <a:gd name="T0" fmla="*/ 33556 w 320"/>
                <a:gd name="T1" fmla="*/ 123804 h 234"/>
                <a:gd name="T2" fmla="*/ 26933 w 320"/>
                <a:gd name="T3" fmla="*/ 121124 h 234"/>
                <a:gd name="T4" fmla="*/ 29141 w 320"/>
                <a:gd name="T5" fmla="*/ 118981 h 234"/>
                <a:gd name="T6" fmla="*/ 33997 w 320"/>
                <a:gd name="T7" fmla="*/ 116301 h 234"/>
                <a:gd name="T8" fmla="*/ 28258 w 320"/>
                <a:gd name="T9" fmla="*/ 109334 h 234"/>
                <a:gd name="T10" fmla="*/ 18986 w 320"/>
                <a:gd name="T11" fmla="*/ 101294 h 234"/>
                <a:gd name="T12" fmla="*/ 15895 w 320"/>
                <a:gd name="T13" fmla="*/ 95935 h 234"/>
                <a:gd name="T14" fmla="*/ 15012 w 320"/>
                <a:gd name="T15" fmla="*/ 91647 h 234"/>
                <a:gd name="T16" fmla="*/ 15012 w 320"/>
                <a:gd name="T17" fmla="*/ 87896 h 234"/>
                <a:gd name="T18" fmla="*/ 15895 w 320"/>
                <a:gd name="T19" fmla="*/ 84144 h 234"/>
                <a:gd name="T20" fmla="*/ 18986 w 320"/>
                <a:gd name="T21" fmla="*/ 79856 h 234"/>
                <a:gd name="T22" fmla="*/ 24725 w 320"/>
                <a:gd name="T23" fmla="*/ 75569 h 234"/>
                <a:gd name="T24" fmla="*/ 32231 w 320"/>
                <a:gd name="T25" fmla="*/ 73425 h 234"/>
                <a:gd name="T26" fmla="*/ 35322 w 320"/>
                <a:gd name="T27" fmla="*/ 67530 h 234"/>
                <a:gd name="T28" fmla="*/ 29582 w 320"/>
                <a:gd name="T29" fmla="*/ 59490 h 234"/>
                <a:gd name="T30" fmla="*/ 26933 w 320"/>
                <a:gd name="T31" fmla="*/ 54667 h 234"/>
                <a:gd name="T32" fmla="*/ 26492 w 320"/>
                <a:gd name="T33" fmla="*/ 46092 h 234"/>
                <a:gd name="T34" fmla="*/ 24284 w 320"/>
                <a:gd name="T35" fmla="*/ 37516 h 234"/>
                <a:gd name="T36" fmla="*/ 20310 w 320"/>
                <a:gd name="T37" fmla="*/ 24654 h 234"/>
                <a:gd name="T38" fmla="*/ 14570 w 320"/>
                <a:gd name="T39" fmla="*/ 16614 h 234"/>
                <a:gd name="T40" fmla="*/ 8831 w 320"/>
                <a:gd name="T41" fmla="*/ 13399 h 234"/>
                <a:gd name="T42" fmla="*/ 3091 w 320"/>
                <a:gd name="T43" fmla="*/ 5359 h 234"/>
                <a:gd name="T44" fmla="*/ 3974 w 320"/>
                <a:gd name="T45" fmla="*/ 0 h 234"/>
                <a:gd name="T46" fmla="*/ 10597 w 320"/>
                <a:gd name="T47" fmla="*/ 0 h 234"/>
                <a:gd name="T48" fmla="*/ 16778 w 320"/>
                <a:gd name="T49" fmla="*/ 1608 h 234"/>
                <a:gd name="T50" fmla="*/ 24725 w 320"/>
                <a:gd name="T51" fmla="*/ 8575 h 234"/>
                <a:gd name="T52" fmla="*/ 34439 w 320"/>
                <a:gd name="T53" fmla="*/ 18758 h 234"/>
                <a:gd name="T54" fmla="*/ 42386 w 320"/>
                <a:gd name="T55" fmla="*/ 25726 h 234"/>
                <a:gd name="T56" fmla="*/ 52541 w 320"/>
                <a:gd name="T57" fmla="*/ 31085 h 234"/>
                <a:gd name="T58" fmla="*/ 67112 w 320"/>
                <a:gd name="T59" fmla="*/ 37516 h 234"/>
                <a:gd name="T60" fmla="*/ 79916 w 320"/>
                <a:gd name="T61" fmla="*/ 42340 h 234"/>
                <a:gd name="T62" fmla="*/ 94486 w 320"/>
                <a:gd name="T63" fmla="*/ 45556 h 234"/>
                <a:gd name="T64" fmla="*/ 104200 w 320"/>
                <a:gd name="T65" fmla="*/ 41268 h 234"/>
                <a:gd name="T66" fmla="*/ 113472 w 320"/>
                <a:gd name="T67" fmla="*/ 44484 h 234"/>
                <a:gd name="T68" fmla="*/ 125393 w 320"/>
                <a:gd name="T69" fmla="*/ 57347 h 234"/>
                <a:gd name="T70" fmla="*/ 134665 w 320"/>
                <a:gd name="T71" fmla="*/ 63778 h 234"/>
                <a:gd name="T72" fmla="*/ 131133 w 320"/>
                <a:gd name="T73" fmla="*/ 71281 h 234"/>
                <a:gd name="T74" fmla="*/ 118329 w 320"/>
                <a:gd name="T75" fmla="*/ 77177 h 234"/>
                <a:gd name="T76" fmla="*/ 109940 w 320"/>
                <a:gd name="T77" fmla="*/ 79320 h 234"/>
                <a:gd name="T78" fmla="*/ 104641 w 320"/>
                <a:gd name="T79" fmla="*/ 85216 h 234"/>
                <a:gd name="T80" fmla="*/ 102434 w 320"/>
                <a:gd name="T81" fmla="*/ 94327 h 234"/>
                <a:gd name="T82" fmla="*/ 101992 w 320"/>
                <a:gd name="T83" fmla="*/ 100222 h 234"/>
                <a:gd name="T84" fmla="*/ 98019 w 320"/>
                <a:gd name="T85" fmla="*/ 102902 h 234"/>
                <a:gd name="T86" fmla="*/ 90071 w 320"/>
                <a:gd name="T87" fmla="*/ 101294 h 234"/>
                <a:gd name="T88" fmla="*/ 82124 w 320"/>
                <a:gd name="T89" fmla="*/ 97007 h 234"/>
                <a:gd name="T90" fmla="*/ 74176 w 320"/>
                <a:gd name="T91" fmla="*/ 91111 h 234"/>
                <a:gd name="T92" fmla="*/ 68436 w 320"/>
                <a:gd name="T93" fmla="*/ 87896 h 234"/>
                <a:gd name="T94" fmla="*/ 64021 w 320"/>
                <a:gd name="T95" fmla="*/ 86288 h 234"/>
                <a:gd name="T96" fmla="*/ 57840 w 320"/>
                <a:gd name="T97" fmla="*/ 86824 h 234"/>
                <a:gd name="T98" fmla="*/ 50334 w 320"/>
                <a:gd name="T99" fmla="*/ 89503 h 234"/>
                <a:gd name="T100" fmla="*/ 44153 w 320"/>
                <a:gd name="T101" fmla="*/ 92719 h 234"/>
                <a:gd name="T102" fmla="*/ 38413 w 320"/>
                <a:gd name="T103" fmla="*/ 95399 h 234"/>
                <a:gd name="T104" fmla="*/ 37530 w 320"/>
                <a:gd name="T105" fmla="*/ 98079 h 234"/>
                <a:gd name="T106" fmla="*/ 42386 w 320"/>
                <a:gd name="T107" fmla="*/ 102366 h 234"/>
                <a:gd name="T108" fmla="*/ 51217 w 320"/>
                <a:gd name="T109" fmla="*/ 107190 h 234"/>
                <a:gd name="T110" fmla="*/ 55632 w 320"/>
                <a:gd name="T111" fmla="*/ 113621 h 234"/>
                <a:gd name="T112" fmla="*/ 49892 w 320"/>
                <a:gd name="T113" fmla="*/ 120053 h 234"/>
                <a:gd name="T114" fmla="*/ 45036 w 320"/>
                <a:gd name="T115" fmla="*/ 123804 h 234"/>
                <a:gd name="T116" fmla="*/ 40179 w 320"/>
                <a:gd name="T117" fmla="*/ 125412 h 23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320" h="234">
                  <a:moveTo>
                    <a:pt x="87" y="234"/>
                  </a:moveTo>
                  <a:lnTo>
                    <a:pt x="76" y="231"/>
                  </a:lnTo>
                  <a:lnTo>
                    <a:pt x="61" y="228"/>
                  </a:lnTo>
                  <a:lnTo>
                    <a:pt x="61" y="226"/>
                  </a:lnTo>
                  <a:lnTo>
                    <a:pt x="63" y="224"/>
                  </a:lnTo>
                  <a:lnTo>
                    <a:pt x="66" y="222"/>
                  </a:lnTo>
                  <a:lnTo>
                    <a:pt x="70" y="220"/>
                  </a:lnTo>
                  <a:lnTo>
                    <a:pt x="77" y="217"/>
                  </a:lnTo>
                  <a:lnTo>
                    <a:pt x="80" y="216"/>
                  </a:lnTo>
                  <a:lnTo>
                    <a:pt x="64" y="204"/>
                  </a:lnTo>
                  <a:lnTo>
                    <a:pt x="50" y="194"/>
                  </a:lnTo>
                  <a:lnTo>
                    <a:pt x="43" y="189"/>
                  </a:lnTo>
                  <a:lnTo>
                    <a:pt x="38" y="182"/>
                  </a:lnTo>
                  <a:lnTo>
                    <a:pt x="36" y="179"/>
                  </a:lnTo>
                  <a:lnTo>
                    <a:pt x="34" y="175"/>
                  </a:lnTo>
                  <a:lnTo>
                    <a:pt x="34" y="171"/>
                  </a:lnTo>
                  <a:lnTo>
                    <a:pt x="33" y="167"/>
                  </a:lnTo>
                  <a:lnTo>
                    <a:pt x="34" y="164"/>
                  </a:lnTo>
                  <a:lnTo>
                    <a:pt x="34" y="160"/>
                  </a:lnTo>
                  <a:lnTo>
                    <a:pt x="36" y="157"/>
                  </a:lnTo>
                  <a:lnTo>
                    <a:pt x="38" y="154"/>
                  </a:lnTo>
                  <a:lnTo>
                    <a:pt x="43" y="149"/>
                  </a:lnTo>
                  <a:lnTo>
                    <a:pt x="50" y="145"/>
                  </a:lnTo>
                  <a:lnTo>
                    <a:pt x="56" y="141"/>
                  </a:lnTo>
                  <a:lnTo>
                    <a:pt x="64" y="139"/>
                  </a:lnTo>
                  <a:lnTo>
                    <a:pt x="73" y="137"/>
                  </a:lnTo>
                  <a:lnTo>
                    <a:pt x="80" y="137"/>
                  </a:lnTo>
                  <a:lnTo>
                    <a:pt x="80" y="126"/>
                  </a:lnTo>
                  <a:lnTo>
                    <a:pt x="80" y="111"/>
                  </a:lnTo>
                  <a:lnTo>
                    <a:pt x="67" y="111"/>
                  </a:lnTo>
                  <a:lnTo>
                    <a:pt x="61" y="111"/>
                  </a:lnTo>
                  <a:lnTo>
                    <a:pt x="61" y="102"/>
                  </a:lnTo>
                  <a:lnTo>
                    <a:pt x="61" y="93"/>
                  </a:lnTo>
                  <a:lnTo>
                    <a:pt x="60" y="86"/>
                  </a:lnTo>
                  <a:lnTo>
                    <a:pt x="58" y="79"/>
                  </a:lnTo>
                  <a:lnTo>
                    <a:pt x="55" y="70"/>
                  </a:lnTo>
                  <a:lnTo>
                    <a:pt x="53" y="62"/>
                  </a:lnTo>
                  <a:lnTo>
                    <a:pt x="46" y="46"/>
                  </a:lnTo>
                  <a:lnTo>
                    <a:pt x="40" y="32"/>
                  </a:lnTo>
                  <a:lnTo>
                    <a:pt x="33" y="31"/>
                  </a:lnTo>
                  <a:lnTo>
                    <a:pt x="27" y="29"/>
                  </a:lnTo>
                  <a:lnTo>
                    <a:pt x="20" y="25"/>
                  </a:lnTo>
                  <a:lnTo>
                    <a:pt x="16" y="21"/>
                  </a:lnTo>
                  <a:lnTo>
                    <a:pt x="7" y="10"/>
                  </a:lnTo>
                  <a:lnTo>
                    <a:pt x="0" y="0"/>
                  </a:lnTo>
                  <a:lnTo>
                    <a:pt x="9" y="0"/>
                  </a:lnTo>
                  <a:lnTo>
                    <a:pt x="17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8" y="3"/>
                  </a:lnTo>
                  <a:lnTo>
                    <a:pt x="45" y="8"/>
                  </a:lnTo>
                  <a:lnTo>
                    <a:pt x="56" y="16"/>
                  </a:lnTo>
                  <a:lnTo>
                    <a:pt x="67" y="26"/>
                  </a:lnTo>
                  <a:lnTo>
                    <a:pt x="78" y="35"/>
                  </a:lnTo>
                  <a:lnTo>
                    <a:pt x="88" y="42"/>
                  </a:lnTo>
                  <a:lnTo>
                    <a:pt x="96" y="48"/>
                  </a:lnTo>
                  <a:lnTo>
                    <a:pt x="100" y="50"/>
                  </a:lnTo>
                  <a:lnTo>
                    <a:pt x="119" y="58"/>
                  </a:lnTo>
                  <a:lnTo>
                    <a:pt x="135" y="65"/>
                  </a:lnTo>
                  <a:lnTo>
                    <a:pt x="152" y="70"/>
                  </a:lnTo>
                  <a:lnTo>
                    <a:pt x="166" y="76"/>
                  </a:lnTo>
                  <a:lnTo>
                    <a:pt x="181" y="79"/>
                  </a:lnTo>
                  <a:lnTo>
                    <a:pt x="197" y="82"/>
                  </a:lnTo>
                  <a:lnTo>
                    <a:pt x="214" y="85"/>
                  </a:lnTo>
                  <a:lnTo>
                    <a:pt x="233" y="87"/>
                  </a:lnTo>
                  <a:lnTo>
                    <a:pt x="236" y="77"/>
                  </a:lnTo>
                  <a:lnTo>
                    <a:pt x="240" y="62"/>
                  </a:lnTo>
                  <a:lnTo>
                    <a:pt x="257" y="83"/>
                  </a:lnTo>
                  <a:lnTo>
                    <a:pt x="275" y="100"/>
                  </a:lnTo>
                  <a:lnTo>
                    <a:pt x="284" y="107"/>
                  </a:lnTo>
                  <a:lnTo>
                    <a:pt x="293" y="113"/>
                  </a:lnTo>
                  <a:lnTo>
                    <a:pt x="305" y="119"/>
                  </a:lnTo>
                  <a:lnTo>
                    <a:pt x="320" y="123"/>
                  </a:lnTo>
                  <a:lnTo>
                    <a:pt x="297" y="133"/>
                  </a:lnTo>
                  <a:lnTo>
                    <a:pt x="277" y="141"/>
                  </a:lnTo>
                  <a:lnTo>
                    <a:pt x="268" y="144"/>
                  </a:lnTo>
                  <a:lnTo>
                    <a:pt x="258" y="147"/>
                  </a:lnTo>
                  <a:lnTo>
                    <a:pt x="249" y="148"/>
                  </a:lnTo>
                  <a:lnTo>
                    <a:pt x="240" y="149"/>
                  </a:lnTo>
                  <a:lnTo>
                    <a:pt x="237" y="159"/>
                  </a:lnTo>
                  <a:lnTo>
                    <a:pt x="234" y="170"/>
                  </a:lnTo>
                  <a:lnTo>
                    <a:pt x="232" y="176"/>
                  </a:lnTo>
                  <a:lnTo>
                    <a:pt x="231" y="181"/>
                  </a:lnTo>
                  <a:lnTo>
                    <a:pt x="231" y="187"/>
                  </a:lnTo>
                  <a:lnTo>
                    <a:pt x="233" y="192"/>
                  </a:lnTo>
                  <a:lnTo>
                    <a:pt x="222" y="192"/>
                  </a:lnTo>
                  <a:lnTo>
                    <a:pt x="213" y="191"/>
                  </a:lnTo>
                  <a:lnTo>
                    <a:pt x="204" y="189"/>
                  </a:lnTo>
                  <a:lnTo>
                    <a:pt x="198" y="187"/>
                  </a:lnTo>
                  <a:lnTo>
                    <a:pt x="186" y="181"/>
                  </a:lnTo>
                  <a:lnTo>
                    <a:pt x="176" y="176"/>
                  </a:lnTo>
                  <a:lnTo>
                    <a:pt x="168" y="170"/>
                  </a:lnTo>
                  <a:lnTo>
                    <a:pt x="159" y="165"/>
                  </a:lnTo>
                  <a:lnTo>
                    <a:pt x="155" y="164"/>
                  </a:lnTo>
                  <a:lnTo>
                    <a:pt x="151" y="162"/>
                  </a:lnTo>
                  <a:lnTo>
                    <a:pt x="145" y="161"/>
                  </a:lnTo>
                  <a:lnTo>
                    <a:pt x="140" y="161"/>
                  </a:lnTo>
                  <a:lnTo>
                    <a:pt x="131" y="162"/>
                  </a:lnTo>
                  <a:lnTo>
                    <a:pt x="122" y="164"/>
                  </a:lnTo>
                  <a:lnTo>
                    <a:pt x="114" y="167"/>
                  </a:lnTo>
                  <a:lnTo>
                    <a:pt x="108" y="170"/>
                  </a:lnTo>
                  <a:lnTo>
                    <a:pt x="100" y="173"/>
                  </a:lnTo>
                  <a:lnTo>
                    <a:pt x="94" y="176"/>
                  </a:lnTo>
                  <a:lnTo>
                    <a:pt x="87" y="178"/>
                  </a:lnTo>
                  <a:lnTo>
                    <a:pt x="80" y="179"/>
                  </a:lnTo>
                  <a:lnTo>
                    <a:pt x="85" y="183"/>
                  </a:lnTo>
                  <a:lnTo>
                    <a:pt x="90" y="188"/>
                  </a:lnTo>
                  <a:lnTo>
                    <a:pt x="96" y="191"/>
                  </a:lnTo>
                  <a:lnTo>
                    <a:pt x="101" y="194"/>
                  </a:lnTo>
                  <a:lnTo>
                    <a:pt x="116" y="200"/>
                  </a:lnTo>
                  <a:lnTo>
                    <a:pt x="133" y="204"/>
                  </a:lnTo>
                  <a:lnTo>
                    <a:pt x="126" y="212"/>
                  </a:lnTo>
                  <a:lnTo>
                    <a:pt x="119" y="219"/>
                  </a:lnTo>
                  <a:lnTo>
                    <a:pt x="113" y="224"/>
                  </a:lnTo>
                  <a:lnTo>
                    <a:pt x="108" y="228"/>
                  </a:lnTo>
                  <a:lnTo>
                    <a:pt x="102" y="231"/>
                  </a:lnTo>
                  <a:lnTo>
                    <a:pt x="97" y="233"/>
                  </a:lnTo>
                  <a:lnTo>
                    <a:pt x="91" y="234"/>
                  </a:lnTo>
                  <a:lnTo>
                    <a:pt x="87" y="23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924" name="Freeform 483"/>
            <p:cNvSpPr>
              <a:spLocks/>
            </p:cNvSpPr>
            <p:nvPr>
              <p:custDataLst>
                <p:tags r:id="rId316"/>
              </p:custDataLst>
            </p:nvPr>
          </p:nvSpPr>
          <p:spPr bwMode="auto">
            <a:xfrm>
              <a:off x="9331401" y="2786276"/>
              <a:ext cx="62455" cy="68630"/>
            </a:xfrm>
            <a:custGeom>
              <a:avLst/>
              <a:gdLst>
                <a:gd name="T0" fmla="*/ 13830 w 125"/>
                <a:gd name="T1" fmla="*/ 11676 h 93"/>
                <a:gd name="T2" fmla="*/ 18021 w 125"/>
                <a:gd name="T3" fmla="*/ 11676 h 93"/>
                <a:gd name="T4" fmla="*/ 21793 w 125"/>
                <a:gd name="T5" fmla="*/ 11676 h 93"/>
                <a:gd name="T6" fmla="*/ 23050 w 125"/>
                <a:gd name="T7" fmla="*/ 11676 h 93"/>
                <a:gd name="T8" fmla="*/ 24308 w 125"/>
                <a:gd name="T9" fmla="*/ 10447 h 93"/>
                <a:gd name="T10" fmla="*/ 25565 w 125"/>
                <a:gd name="T11" fmla="*/ 9218 h 93"/>
                <a:gd name="T12" fmla="*/ 27241 w 125"/>
                <a:gd name="T13" fmla="*/ 6760 h 93"/>
                <a:gd name="T14" fmla="*/ 28499 w 125"/>
                <a:gd name="T15" fmla="*/ 4916 h 93"/>
                <a:gd name="T16" fmla="*/ 29337 w 125"/>
                <a:gd name="T17" fmla="*/ 3073 h 93"/>
                <a:gd name="T18" fmla="*/ 30175 w 125"/>
                <a:gd name="T19" fmla="*/ 1844 h 93"/>
                <a:gd name="T20" fmla="*/ 30175 w 125"/>
                <a:gd name="T21" fmla="*/ 0 h 93"/>
                <a:gd name="T22" fmla="*/ 49453 w 125"/>
                <a:gd name="T23" fmla="*/ 0 h 93"/>
                <a:gd name="T24" fmla="*/ 51130 w 125"/>
                <a:gd name="T25" fmla="*/ 9218 h 93"/>
                <a:gd name="T26" fmla="*/ 52387 w 125"/>
                <a:gd name="T27" fmla="*/ 15363 h 93"/>
                <a:gd name="T28" fmla="*/ 51968 w 125"/>
                <a:gd name="T29" fmla="*/ 17821 h 93"/>
                <a:gd name="T30" fmla="*/ 51130 w 125"/>
                <a:gd name="T31" fmla="*/ 20279 h 93"/>
                <a:gd name="T32" fmla="*/ 49872 w 125"/>
                <a:gd name="T33" fmla="*/ 21508 h 93"/>
                <a:gd name="T34" fmla="*/ 49034 w 125"/>
                <a:gd name="T35" fmla="*/ 22737 h 93"/>
                <a:gd name="T36" fmla="*/ 46520 w 125"/>
                <a:gd name="T37" fmla="*/ 24581 h 93"/>
                <a:gd name="T38" fmla="*/ 43586 w 125"/>
                <a:gd name="T39" fmla="*/ 25195 h 93"/>
                <a:gd name="T40" fmla="*/ 36880 w 125"/>
                <a:gd name="T41" fmla="*/ 25195 h 93"/>
                <a:gd name="T42" fmla="*/ 30175 w 125"/>
                <a:gd name="T43" fmla="*/ 26424 h 93"/>
                <a:gd name="T44" fmla="*/ 29337 w 125"/>
                <a:gd name="T45" fmla="*/ 28882 h 93"/>
                <a:gd name="T46" fmla="*/ 28918 w 125"/>
                <a:gd name="T47" fmla="*/ 32569 h 93"/>
                <a:gd name="T48" fmla="*/ 28079 w 125"/>
                <a:gd name="T49" fmla="*/ 37485 h 93"/>
                <a:gd name="T50" fmla="*/ 28079 w 125"/>
                <a:gd name="T51" fmla="*/ 43631 h 93"/>
                <a:gd name="T52" fmla="*/ 27660 w 125"/>
                <a:gd name="T53" fmla="*/ 52848 h 93"/>
                <a:gd name="T54" fmla="*/ 27660 w 125"/>
                <a:gd name="T55" fmla="*/ 57150 h 93"/>
                <a:gd name="T56" fmla="*/ 20536 w 125"/>
                <a:gd name="T57" fmla="*/ 52234 h 93"/>
                <a:gd name="T58" fmla="*/ 11316 w 125"/>
                <a:gd name="T59" fmla="*/ 44860 h 93"/>
                <a:gd name="T60" fmla="*/ 6706 w 125"/>
                <a:gd name="T61" fmla="*/ 39944 h 93"/>
                <a:gd name="T62" fmla="*/ 2934 w 125"/>
                <a:gd name="T63" fmla="*/ 35642 h 93"/>
                <a:gd name="T64" fmla="*/ 1676 w 125"/>
                <a:gd name="T65" fmla="*/ 33184 h 93"/>
                <a:gd name="T66" fmla="*/ 838 w 125"/>
                <a:gd name="T67" fmla="*/ 30726 h 93"/>
                <a:gd name="T68" fmla="*/ 0 w 125"/>
                <a:gd name="T69" fmla="*/ 28882 h 93"/>
                <a:gd name="T70" fmla="*/ 0 w 125"/>
                <a:gd name="T71" fmla="*/ 26424 h 93"/>
                <a:gd name="T72" fmla="*/ 2934 w 125"/>
                <a:gd name="T73" fmla="*/ 26424 h 93"/>
                <a:gd name="T74" fmla="*/ 6286 w 125"/>
                <a:gd name="T75" fmla="*/ 25195 h 93"/>
                <a:gd name="T76" fmla="*/ 8382 w 125"/>
                <a:gd name="T77" fmla="*/ 23966 h 93"/>
                <a:gd name="T78" fmla="*/ 9639 w 125"/>
                <a:gd name="T79" fmla="*/ 22123 h 93"/>
                <a:gd name="T80" fmla="*/ 11735 w 125"/>
                <a:gd name="T81" fmla="*/ 17206 h 93"/>
                <a:gd name="T82" fmla="*/ 13830 w 125"/>
                <a:gd name="T83" fmla="*/ 11676 h 9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125" h="93">
                  <a:moveTo>
                    <a:pt x="33" y="19"/>
                  </a:moveTo>
                  <a:lnTo>
                    <a:pt x="43" y="19"/>
                  </a:lnTo>
                  <a:lnTo>
                    <a:pt x="52" y="19"/>
                  </a:lnTo>
                  <a:lnTo>
                    <a:pt x="55" y="19"/>
                  </a:lnTo>
                  <a:lnTo>
                    <a:pt x="58" y="17"/>
                  </a:lnTo>
                  <a:lnTo>
                    <a:pt x="61" y="15"/>
                  </a:lnTo>
                  <a:lnTo>
                    <a:pt x="65" y="11"/>
                  </a:lnTo>
                  <a:lnTo>
                    <a:pt x="68" y="8"/>
                  </a:lnTo>
                  <a:lnTo>
                    <a:pt x="70" y="5"/>
                  </a:lnTo>
                  <a:lnTo>
                    <a:pt x="72" y="3"/>
                  </a:lnTo>
                  <a:lnTo>
                    <a:pt x="72" y="0"/>
                  </a:lnTo>
                  <a:lnTo>
                    <a:pt x="118" y="0"/>
                  </a:lnTo>
                  <a:lnTo>
                    <a:pt x="122" y="15"/>
                  </a:lnTo>
                  <a:lnTo>
                    <a:pt x="125" y="25"/>
                  </a:lnTo>
                  <a:lnTo>
                    <a:pt x="124" y="29"/>
                  </a:lnTo>
                  <a:lnTo>
                    <a:pt x="122" y="33"/>
                  </a:lnTo>
                  <a:lnTo>
                    <a:pt x="119" y="35"/>
                  </a:lnTo>
                  <a:lnTo>
                    <a:pt x="117" y="37"/>
                  </a:lnTo>
                  <a:lnTo>
                    <a:pt x="111" y="40"/>
                  </a:lnTo>
                  <a:lnTo>
                    <a:pt x="104" y="41"/>
                  </a:lnTo>
                  <a:lnTo>
                    <a:pt x="88" y="41"/>
                  </a:lnTo>
                  <a:lnTo>
                    <a:pt x="72" y="43"/>
                  </a:lnTo>
                  <a:lnTo>
                    <a:pt x="70" y="47"/>
                  </a:lnTo>
                  <a:lnTo>
                    <a:pt x="69" y="53"/>
                  </a:lnTo>
                  <a:lnTo>
                    <a:pt x="67" y="61"/>
                  </a:lnTo>
                  <a:lnTo>
                    <a:pt x="67" y="71"/>
                  </a:lnTo>
                  <a:lnTo>
                    <a:pt x="66" y="86"/>
                  </a:lnTo>
                  <a:lnTo>
                    <a:pt x="66" y="93"/>
                  </a:lnTo>
                  <a:lnTo>
                    <a:pt x="49" y="85"/>
                  </a:lnTo>
                  <a:lnTo>
                    <a:pt x="27" y="73"/>
                  </a:lnTo>
                  <a:lnTo>
                    <a:pt x="16" y="65"/>
                  </a:lnTo>
                  <a:lnTo>
                    <a:pt x="7" y="58"/>
                  </a:lnTo>
                  <a:lnTo>
                    <a:pt x="4" y="54"/>
                  </a:lnTo>
                  <a:lnTo>
                    <a:pt x="2" y="50"/>
                  </a:lnTo>
                  <a:lnTo>
                    <a:pt x="0" y="47"/>
                  </a:lnTo>
                  <a:lnTo>
                    <a:pt x="0" y="43"/>
                  </a:lnTo>
                  <a:lnTo>
                    <a:pt x="7" y="43"/>
                  </a:lnTo>
                  <a:lnTo>
                    <a:pt x="15" y="41"/>
                  </a:lnTo>
                  <a:lnTo>
                    <a:pt x="20" y="39"/>
                  </a:lnTo>
                  <a:lnTo>
                    <a:pt x="23" y="36"/>
                  </a:lnTo>
                  <a:lnTo>
                    <a:pt x="28" y="28"/>
                  </a:lnTo>
                  <a:lnTo>
                    <a:pt x="33" y="1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925" name="Freeform 484"/>
            <p:cNvSpPr>
              <a:spLocks/>
            </p:cNvSpPr>
            <p:nvPr>
              <p:custDataLst>
                <p:tags r:id="rId317"/>
              </p:custDataLst>
            </p:nvPr>
          </p:nvSpPr>
          <p:spPr bwMode="auto">
            <a:xfrm>
              <a:off x="9267053" y="2803435"/>
              <a:ext cx="71919" cy="101037"/>
            </a:xfrm>
            <a:custGeom>
              <a:avLst/>
              <a:gdLst>
                <a:gd name="T0" fmla="*/ 9071 w 133"/>
                <a:gd name="T1" fmla="*/ 6556 h 154"/>
                <a:gd name="T2" fmla="*/ 10886 w 133"/>
                <a:gd name="T3" fmla="*/ 5463 h 154"/>
                <a:gd name="T4" fmla="*/ 14061 w 133"/>
                <a:gd name="T5" fmla="*/ 3278 h 154"/>
                <a:gd name="T6" fmla="*/ 15421 w 133"/>
                <a:gd name="T7" fmla="*/ 2185 h 154"/>
                <a:gd name="T8" fmla="*/ 16782 w 133"/>
                <a:gd name="T9" fmla="*/ 1093 h 154"/>
                <a:gd name="T10" fmla="*/ 19050 w 133"/>
                <a:gd name="T11" fmla="*/ 546 h 154"/>
                <a:gd name="T12" fmla="*/ 20864 w 133"/>
                <a:gd name="T13" fmla="*/ 0 h 154"/>
                <a:gd name="T14" fmla="*/ 26761 w 133"/>
                <a:gd name="T15" fmla="*/ 546 h 154"/>
                <a:gd name="T16" fmla="*/ 31750 w 133"/>
                <a:gd name="T17" fmla="*/ 2185 h 154"/>
                <a:gd name="T18" fmla="*/ 36739 w 133"/>
                <a:gd name="T19" fmla="*/ 4371 h 154"/>
                <a:gd name="T20" fmla="*/ 40821 w 133"/>
                <a:gd name="T21" fmla="*/ 7649 h 154"/>
                <a:gd name="T22" fmla="*/ 44904 w 133"/>
                <a:gd name="T23" fmla="*/ 11473 h 154"/>
                <a:gd name="T24" fmla="*/ 47625 w 133"/>
                <a:gd name="T25" fmla="*/ 16390 h 154"/>
                <a:gd name="T26" fmla="*/ 50800 w 133"/>
                <a:gd name="T27" fmla="*/ 21854 h 154"/>
                <a:gd name="T28" fmla="*/ 52614 w 133"/>
                <a:gd name="T29" fmla="*/ 27317 h 154"/>
                <a:gd name="T30" fmla="*/ 54882 w 133"/>
                <a:gd name="T31" fmla="*/ 32781 h 154"/>
                <a:gd name="T32" fmla="*/ 56243 w 133"/>
                <a:gd name="T33" fmla="*/ 38790 h 154"/>
                <a:gd name="T34" fmla="*/ 57604 w 133"/>
                <a:gd name="T35" fmla="*/ 44800 h 154"/>
                <a:gd name="T36" fmla="*/ 58964 w 133"/>
                <a:gd name="T37" fmla="*/ 51356 h 154"/>
                <a:gd name="T38" fmla="*/ 59871 w 133"/>
                <a:gd name="T39" fmla="*/ 63376 h 154"/>
                <a:gd name="T40" fmla="*/ 60325 w 133"/>
                <a:gd name="T41" fmla="*/ 73756 h 154"/>
                <a:gd name="T42" fmla="*/ 59871 w 133"/>
                <a:gd name="T43" fmla="*/ 75395 h 154"/>
                <a:gd name="T44" fmla="*/ 58964 w 133"/>
                <a:gd name="T45" fmla="*/ 77035 h 154"/>
                <a:gd name="T46" fmla="*/ 56696 w 133"/>
                <a:gd name="T47" fmla="*/ 78674 h 154"/>
                <a:gd name="T48" fmla="*/ 54882 w 133"/>
                <a:gd name="T49" fmla="*/ 80313 h 154"/>
                <a:gd name="T50" fmla="*/ 52161 w 133"/>
                <a:gd name="T51" fmla="*/ 81952 h 154"/>
                <a:gd name="T52" fmla="*/ 49893 w 133"/>
                <a:gd name="T53" fmla="*/ 83591 h 154"/>
                <a:gd name="T54" fmla="*/ 47171 w 133"/>
                <a:gd name="T55" fmla="*/ 84137 h 154"/>
                <a:gd name="T56" fmla="*/ 44904 w 133"/>
                <a:gd name="T57" fmla="*/ 84137 h 154"/>
                <a:gd name="T58" fmla="*/ 42182 w 133"/>
                <a:gd name="T59" fmla="*/ 83591 h 154"/>
                <a:gd name="T60" fmla="*/ 39461 w 133"/>
                <a:gd name="T61" fmla="*/ 81405 h 154"/>
                <a:gd name="T62" fmla="*/ 35832 w 133"/>
                <a:gd name="T63" fmla="*/ 77035 h 154"/>
                <a:gd name="T64" fmla="*/ 32204 w 133"/>
                <a:gd name="T65" fmla="*/ 73210 h 154"/>
                <a:gd name="T66" fmla="*/ 29029 w 133"/>
                <a:gd name="T67" fmla="*/ 68839 h 154"/>
                <a:gd name="T68" fmla="*/ 26307 w 133"/>
                <a:gd name="T69" fmla="*/ 64469 h 154"/>
                <a:gd name="T70" fmla="*/ 24493 w 133"/>
                <a:gd name="T71" fmla="*/ 60644 h 154"/>
                <a:gd name="T72" fmla="*/ 24039 w 133"/>
                <a:gd name="T73" fmla="*/ 57366 h 154"/>
                <a:gd name="T74" fmla="*/ 24493 w 133"/>
                <a:gd name="T75" fmla="*/ 53542 h 154"/>
                <a:gd name="T76" fmla="*/ 25400 w 133"/>
                <a:gd name="T77" fmla="*/ 45347 h 154"/>
                <a:gd name="T78" fmla="*/ 26307 w 133"/>
                <a:gd name="T79" fmla="*/ 37151 h 154"/>
                <a:gd name="T80" fmla="*/ 26761 w 133"/>
                <a:gd name="T81" fmla="*/ 33873 h 154"/>
                <a:gd name="T82" fmla="*/ 21318 w 133"/>
                <a:gd name="T83" fmla="*/ 33327 h 154"/>
                <a:gd name="T84" fmla="*/ 16329 w 133"/>
                <a:gd name="T85" fmla="*/ 32234 h 154"/>
                <a:gd name="T86" fmla="*/ 11339 w 133"/>
                <a:gd name="T87" fmla="*/ 30595 h 154"/>
                <a:gd name="T88" fmla="*/ 7711 w 133"/>
                <a:gd name="T89" fmla="*/ 28410 h 154"/>
                <a:gd name="T90" fmla="*/ 5896 w 133"/>
                <a:gd name="T91" fmla="*/ 26771 h 154"/>
                <a:gd name="T92" fmla="*/ 4536 w 133"/>
                <a:gd name="T93" fmla="*/ 25132 h 154"/>
                <a:gd name="T94" fmla="*/ 3175 w 133"/>
                <a:gd name="T95" fmla="*/ 23493 h 154"/>
                <a:gd name="T96" fmla="*/ 1814 w 133"/>
                <a:gd name="T97" fmla="*/ 21307 h 154"/>
                <a:gd name="T98" fmla="*/ 907 w 133"/>
                <a:gd name="T99" fmla="*/ 18576 h 154"/>
                <a:gd name="T100" fmla="*/ 454 w 133"/>
                <a:gd name="T101" fmla="*/ 15844 h 154"/>
                <a:gd name="T102" fmla="*/ 0 w 133"/>
                <a:gd name="T103" fmla="*/ 13112 h 154"/>
                <a:gd name="T104" fmla="*/ 0 w 133"/>
                <a:gd name="T105" fmla="*/ 9834 h 154"/>
                <a:gd name="T106" fmla="*/ 3175 w 133"/>
                <a:gd name="T107" fmla="*/ 8195 h 154"/>
                <a:gd name="T108" fmla="*/ 9071 w 133"/>
                <a:gd name="T109" fmla="*/ 6556 h 15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33" h="154">
                  <a:moveTo>
                    <a:pt x="20" y="12"/>
                  </a:moveTo>
                  <a:lnTo>
                    <a:pt x="24" y="10"/>
                  </a:lnTo>
                  <a:lnTo>
                    <a:pt x="31" y="6"/>
                  </a:lnTo>
                  <a:lnTo>
                    <a:pt x="34" y="4"/>
                  </a:lnTo>
                  <a:lnTo>
                    <a:pt x="37" y="2"/>
                  </a:lnTo>
                  <a:lnTo>
                    <a:pt x="42" y="1"/>
                  </a:lnTo>
                  <a:lnTo>
                    <a:pt x="46" y="0"/>
                  </a:lnTo>
                  <a:lnTo>
                    <a:pt x="59" y="1"/>
                  </a:lnTo>
                  <a:lnTo>
                    <a:pt x="70" y="4"/>
                  </a:lnTo>
                  <a:lnTo>
                    <a:pt x="81" y="8"/>
                  </a:lnTo>
                  <a:lnTo>
                    <a:pt x="90" y="14"/>
                  </a:lnTo>
                  <a:lnTo>
                    <a:pt x="99" y="21"/>
                  </a:lnTo>
                  <a:lnTo>
                    <a:pt x="105" y="30"/>
                  </a:lnTo>
                  <a:lnTo>
                    <a:pt x="112" y="40"/>
                  </a:lnTo>
                  <a:lnTo>
                    <a:pt x="116" y="50"/>
                  </a:lnTo>
                  <a:lnTo>
                    <a:pt x="121" y="60"/>
                  </a:lnTo>
                  <a:lnTo>
                    <a:pt x="124" y="71"/>
                  </a:lnTo>
                  <a:lnTo>
                    <a:pt x="127" y="82"/>
                  </a:lnTo>
                  <a:lnTo>
                    <a:pt x="130" y="94"/>
                  </a:lnTo>
                  <a:lnTo>
                    <a:pt x="132" y="116"/>
                  </a:lnTo>
                  <a:lnTo>
                    <a:pt x="133" y="135"/>
                  </a:lnTo>
                  <a:lnTo>
                    <a:pt x="132" y="138"/>
                  </a:lnTo>
                  <a:lnTo>
                    <a:pt x="130" y="141"/>
                  </a:lnTo>
                  <a:lnTo>
                    <a:pt x="125" y="144"/>
                  </a:lnTo>
                  <a:lnTo>
                    <a:pt x="121" y="147"/>
                  </a:lnTo>
                  <a:lnTo>
                    <a:pt x="115" y="150"/>
                  </a:lnTo>
                  <a:lnTo>
                    <a:pt x="110" y="153"/>
                  </a:lnTo>
                  <a:lnTo>
                    <a:pt x="104" y="154"/>
                  </a:lnTo>
                  <a:lnTo>
                    <a:pt x="99" y="154"/>
                  </a:lnTo>
                  <a:lnTo>
                    <a:pt x="93" y="153"/>
                  </a:lnTo>
                  <a:lnTo>
                    <a:pt x="87" y="149"/>
                  </a:lnTo>
                  <a:lnTo>
                    <a:pt x="79" y="141"/>
                  </a:lnTo>
                  <a:lnTo>
                    <a:pt x="71" y="134"/>
                  </a:lnTo>
                  <a:lnTo>
                    <a:pt x="64" y="126"/>
                  </a:lnTo>
                  <a:lnTo>
                    <a:pt x="58" y="118"/>
                  </a:lnTo>
                  <a:lnTo>
                    <a:pt x="54" y="111"/>
                  </a:lnTo>
                  <a:lnTo>
                    <a:pt x="53" y="105"/>
                  </a:lnTo>
                  <a:lnTo>
                    <a:pt x="54" y="98"/>
                  </a:lnTo>
                  <a:lnTo>
                    <a:pt x="56" y="83"/>
                  </a:lnTo>
                  <a:lnTo>
                    <a:pt x="58" y="68"/>
                  </a:lnTo>
                  <a:lnTo>
                    <a:pt x="59" y="62"/>
                  </a:lnTo>
                  <a:lnTo>
                    <a:pt x="47" y="61"/>
                  </a:lnTo>
                  <a:lnTo>
                    <a:pt x="36" y="59"/>
                  </a:lnTo>
                  <a:lnTo>
                    <a:pt x="25" y="56"/>
                  </a:lnTo>
                  <a:lnTo>
                    <a:pt x="17" y="52"/>
                  </a:lnTo>
                  <a:lnTo>
                    <a:pt x="13" y="49"/>
                  </a:lnTo>
                  <a:lnTo>
                    <a:pt x="10" y="46"/>
                  </a:lnTo>
                  <a:lnTo>
                    <a:pt x="7" y="43"/>
                  </a:lnTo>
                  <a:lnTo>
                    <a:pt x="4" y="39"/>
                  </a:lnTo>
                  <a:lnTo>
                    <a:pt x="2" y="34"/>
                  </a:lnTo>
                  <a:lnTo>
                    <a:pt x="1" y="29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7" y="15"/>
                  </a:lnTo>
                  <a:lnTo>
                    <a:pt x="20" y="1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926" name="Freeform 485"/>
            <p:cNvSpPr>
              <a:spLocks/>
            </p:cNvSpPr>
            <p:nvPr>
              <p:custDataLst>
                <p:tags r:id="rId318"/>
              </p:custDataLst>
            </p:nvPr>
          </p:nvSpPr>
          <p:spPr bwMode="auto">
            <a:xfrm>
              <a:off x="9285978" y="2517478"/>
              <a:ext cx="249823" cy="293582"/>
            </a:xfrm>
            <a:custGeom>
              <a:avLst/>
              <a:gdLst>
                <a:gd name="T0" fmla="*/ 57896 w 485"/>
                <a:gd name="T1" fmla="*/ 183356 h 468"/>
                <a:gd name="T2" fmla="*/ 72154 w 485"/>
                <a:gd name="T3" fmla="*/ 177088 h 468"/>
                <a:gd name="T4" fmla="*/ 86412 w 485"/>
                <a:gd name="T5" fmla="*/ 177088 h 468"/>
                <a:gd name="T6" fmla="*/ 97646 w 485"/>
                <a:gd name="T7" fmla="*/ 181789 h 468"/>
                <a:gd name="T8" fmla="*/ 96782 w 485"/>
                <a:gd name="T9" fmla="*/ 170819 h 468"/>
                <a:gd name="T10" fmla="*/ 95054 w 485"/>
                <a:gd name="T11" fmla="*/ 165073 h 468"/>
                <a:gd name="T12" fmla="*/ 100670 w 485"/>
                <a:gd name="T13" fmla="*/ 158282 h 468"/>
                <a:gd name="T14" fmla="*/ 103263 w 485"/>
                <a:gd name="T15" fmla="*/ 144178 h 468"/>
                <a:gd name="T16" fmla="*/ 104559 w 485"/>
                <a:gd name="T17" fmla="*/ 128506 h 468"/>
                <a:gd name="T18" fmla="*/ 115793 w 485"/>
                <a:gd name="T19" fmla="*/ 133208 h 468"/>
                <a:gd name="T20" fmla="*/ 129619 w 485"/>
                <a:gd name="T21" fmla="*/ 124327 h 468"/>
                <a:gd name="T22" fmla="*/ 136532 w 485"/>
                <a:gd name="T23" fmla="*/ 113357 h 468"/>
                <a:gd name="T24" fmla="*/ 126594 w 485"/>
                <a:gd name="T25" fmla="*/ 101342 h 468"/>
                <a:gd name="T26" fmla="*/ 137396 w 485"/>
                <a:gd name="T27" fmla="*/ 103954 h 468"/>
                <a:gd name="T28" fmla="*/ 148197 w 485"/>
                <a:gd name="T29" fmla="*/ 105521 h 468"/>
                <a:gd name="T30" fmla="*/ 149493 w 485"/>
                <a:gd name="T31" fmla="*/ 96641 h 468"/>
                <a:gd name="T32" fmla="*/ 127458 w 485"/>
                <a:gd name="T33" fmla="*/ 50149 h 468"/>
                <a:gd name="T34" fmla="*/ 123138 w 485"/>
                <a:gd name="T35" fmla="*/ 27686 h 468"/>
                <a:gd name="T36" fmla="*/ 125730 w 485"/>
                <a:gd name="T37" fmla="*/ 9925 h 468"/>
                <a:gd name="T38" fmla="*/ 136532 w 485"/>
                <a:gd name="T39" fmla="*/ 522 h 468"/>
                <a:gd name="T40" fmla="*/ 145173 w 485"/>
                <a:gd name="T41" fmla="*/ 9403 h 468"/>
                <a:gd name="T42" fmla="*/ 162887 w 485"/>
                <a:gd name="T43" fmla="*/ 23507 h 468"/>
                <a:gd name="T44" fmla="*/ 179306 w 485"/>
                <a:gd name="T45" fmla="*/ 37612 h 468"/>
                <a:gd name="T46" fmla="*/ 184058 w 485"/>
                <a:gd name="T47" fmla="*/ 51193 h 468"/>
                <a:gd name="T48" fmla="*/ 188379 w 485"/>
                <a:gd name="T49" fmla="*/ 71566 h 468"/>
                <a:gd name="T50" fmla="*/ 192268 w 485"/>
                <a:gd name="T51" fmla="*/ 90372 h 468"/>
                <a:gd name="T52" fmla="*/ 184922 w 485"/>
                <a:gd name="T53" fmla="*/ 93506 h 468"/>
                <a:gd name="T54" fmla="*/ 178009 w 485"/>
                <a:gd name="T55" fmla="*/ 96641 h 468"/>
                <a:gd name="T56" fmla="*/ 184058 w 485"/>
                <a:gd name="T57" fmla="*/ 103954 h 468"/>
                <a:gd name="T58" fmla="*/ 192268 w 485"/>
                <a:gd name="T59" fmla="*/ 106044 h 468"/>
                <a:gd name="T60" fmla="*/ 196588 w 485"/>
                <a:gd name="T61" fmla="*/ 136864 h 468"/>
                <a:gd name="T62" fmla="*/ 205229 w 485"/>
                <a:gd name="T63" fmla="*/ 162983 h 468"/>
                <a:gd name="T64" fmla="*/ 207390 w 485"/>
                <a:gd name="T65" fmla="*/ 199028 h 468"/>
                <a:gd name="T66" fmla="*/ 200045 w 485"/>
                <a:gd name="T67" fmla="*/ 190147 h 468"/>
                <a:gd name="T68" fmla="*/ 195724 w 485"/>
                <a:gd name="T69" fmla="*/ 185968 h 468"/>
                <a:gd name="T70" fmla="*/ 188379 w 485"/>
                <a:gd name="T71" fmla="*/ 189625 h 468"/>
                <a:gd name="T72" fmla="*/ 185355 w 485"/>
                <a:gd name="T73" fmla="*/ 208431 h 468"/>
                <a:gd name="T74" fmla="*/ 176281 w 485"/>
                <a:gd name="T75" fmla="*/ 203207 h 468"/>
                <a:gd name="T76" fmla="*/ 168072 w 485"/>
                <a:gd name="T77" fmla="*/ 199550 h 468"/>
                <a:gd name="T78" fmla="*/ 162455 w 485"/>
                <a:gd name="T79" fmla="*/ 209998 h 468"/>
                <a:gd name="T80" fmla="*/ 149061 w 485"/>
                <a:gd name="T81" fmla="*/ 215744 h 468"/>
                <a:gd name="T82" fmla="*/ 144309 w 485"/>
                <a:gd name="T83" fmla="*/ 208953 h 468"/>
                <a:gd name="T84" fmla="*/ 134803 w 485"/>
                <a:gd name="T85" fmla="*/ 206341 h 468"/>
                <a:gd name="T86" fmla="*/ 130915 w 485"/>
                <a:gd name="T87" fmla="*/ 222535 h 468"/>
                <a:gd name="T88" fmla="*/ 129186 w 485"/>
                <a:gd name="T89" fmla="*/ 235072 h 468"/>
                <a:gd name="T90" fmla="*/ 132643 w 485"/>
                <a:gd name="T91" fmla="*/ 243430 h 468"/>
                <a:gd name="T92" fmla="*/ 117521 w 485"/>
                <a:gd name="T93" fmla="*/ 244475 h 468"/>
                <a:gd name="T94" fmla="*/ 111472 w 485"/>
                <a:gd name="T95" fmla="*/ 242908 h 468"/>
                <a:gd name="T96" fmla="*/ 105423 w 485"/>
                <a:gd name="T97" fmla="*/ 229848 h 468"/>
                <a:gd name="T98" fmla="*/ 98942 w 485"/>
                <a:gd name="T99" fmla="*/ 218356 h 468"/>
                <a:gd name="T100" fmla="*/ 88141 w 485"/>
                <a:gd name="T101" fmla="*/ 212087 h 468"/>
                <a:gd name="T102" fmla="*/ 82092 w 485"/>
                <a:gd name="T103" fmla="*/ 205819 h 468"/>
                <a:gd name="T104" fmla="*/ 58760 w 485"/>
                <a:gd name="T105" fmla="*/ 217833 h 468"/>
                <a:gd name="T106" fmla="*/ 38886 w 485"/>
                <a:gd name="T107" fmla="*/ 227236 h 468"/>
                <a:gd name="T108" fmla="*/ 28084 w 485"/>
                <a:gd name="T109" fmla="*/ 239774 h 468"/>
                <a:gd name="T110" fmla="*/ 11666 w 485"/>
                <a:gd name="T111" fmla="*/ 240818 h 468"/>
                <a:gd name="T112" fmla="*/ 3024 w 485"/>
                <a:gd name="T113" fmla="*/ 228804 h 468"/>
                <a:gd name="T114" fmla="*/ 0 w 485"/>
                <a:gd name="T115" fmla="*/ 217833 h 468"/>
                <a:gd name="T116" fmla="*/ 3024 w 485"/>
                <a:gd name="T117" fmla="*/ 215744 h 468"/>
                <a:gd name="T118" fmla="*/ 11666 w 485"/>
                <a:gd name="T119" fmla="*/ 216266 h 468"/>
                <a:gd name="T120" fmla="*/ 20739 w 485"/>
                <a:gd name="T121" fmla="*/ 211565 h 468"/>
                <a:gd name="T122" fmla="*/ 31108 w 485"/>
                <a:gd name="T123" fmla="*/ 192759 h 468"/>
                <a:gd name="T124" fmla="*/ 40182 w 485"/>
                <a:gd name="T125" fmla="*/ 183879 h 46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85" h="468">
                  <a:moveTo>
                    <a:pt x="100" y="351"/>
                  </a:moveTo>
                  <a:lnTo>
                    <a:pt x="113" y="351"/>
                  </a:lnTo>
                  <a:lnTo>
                    <a:pt x="126" y="351"/>
                  </a:lnTo>
                  <a:lnTo>
                    <a:pt x="134" y="351"/>
                  </a:lnTo>
                  <a:lnTo>
                    <a:pt x="142" y="348"/>
                  </a:lnTo>
                  <a:lnTo>
                    <a:pt x="149" y="346"/>
                  </a:lnTo>
                  <a:lnTo>
                    <a:pt x="158" y="342"/>
                  </a:lnTo>
                  <a:lnTo>
                    <a:pt x="167" y="339"/>
                  </a:lnTo>
                  <a:lnTo>
                    <a:pt x="177" y="336"/>
                  </a:lnTo>
                  <a:lnTo>
                    <a:pt x="188" y="334"/>
                  </a:lnTo>
                  <a:lnTo>
                    <a:pt x="199" y="333"/>
                  </a:lnTo>
                  <a:lnTo>
                    <a:pt x="200" y="339"/>
                  </a:lnTo>
                  <a:lnTo>
                    <a:pt x="203" y="345"/>
                  </a:lnTo>
                  <a:lnTo>
                    <a:pt x="208" y="352"/>
                  </a:lnTo>
                  <a:lnTo>
                    <a:pt x="212" y="357"/>
                  </a:lnTo>
                  <a:lnTo>
                    <a:pt x="226" y="348"/>
                  </a:lnTo>
                  <a:lnTo>
                    <a:pt x="239" y="339"/>
                  </a:lnTo>
                  <a:lnTo>
                    <a:pt x="233" y="335"/>
                  </a:lnTo>
                  <a:lnTo>
                    <a:pt x="226" y="329"/>
                  </a:lnTo>
                  <a:lnTo>
                    <a:pt x="224" y="327"/>
                  </a:lnTo>
                  <a:lnTo>
                    <a:pt x="221" y="325"/>
                  </a:lnTo>
                  <a:lnTo>
                    <a:pt x="220" y="322"/>
                  </a:lnTo>
                  <a:lnTo>
                    <a:pt x="220" y="320"/>
                  </a:lnTo>
                  <a:lnTo>
                    <a:pt x="220" y="316"/>
                  </a:lnTo>
                  <a:lnTo>
                    <a:pt x="222" y="312"/>
                  </a:lnTo>
                  <a:lnTo>
                    <a:pt x="225" y="309"/>
                  </a:lnTo>
                  <a:lnTo>
                    <a:pt x="229" y="306"/>
                  </a:lnTo>
                  <a:lnTo>
                    <a:pt x="233" y="303"/>
                  </a:lnTo>
                  <a:lnTo>
                    <a:pt x="236" y="301"/>
                  </a:lnTo>
                  <a:lnTo>
                    <a:pt x="238" y="298"/>
                  </a:lnTo>
                  <a:lnTo>
                    <a:pt x="239" y="296"/>
                  </a:lnTo>
                  <a:lnTo>
                    <a:pt x="239" y="276"/>
                  </a:lnTo>
                  <a:lnTo>
                    <a:pt x="239" y="268"/>
                  </a:lnTo>
                  <a:lnTo>
                    <a:pt x="239" y="259"/>
                  </a:lnTo>
                  <a:lnTo>
                    <a:pt x="239" y="240"/>
                  </a:lnTo>
                  <a:lnTo>
                    <a:pt x="242" y="246"/>
                  </a:lnTo>
                  <a:lnTo>
                    <a:pt x="246" y="253"/>
                  </a:lnTo>
                  <a:lnTo>
                    <a:pt x="253" y="259"/>
                  </a:lnTo>
                  <a:lnTo>
                    <a:pt x="259" y="265"/>
                  </a:lnTo>
                  <a:lnTo>
                    <a:pt x="268" y="255"/>
                  </a:lnTo>
                  <a:lnTo>
                    <a:pt x="277" y="249"/>
                  </a:lnTo>
                  <a:lnTo>
                    <a:pt x="284" y="244"/>
                  </a:lnTo>
                  <a:lnTo>
                    <a:pt x="292" y="241"/>
                  </a:lnTo>
                  <a:lnTo>
                    <a:pt x="300" y="238"/>
                  </a:lnTo>
                  <a:lnTo>
                    <a:pt x="307" y="235"/>
                  </a:lnTo>
                  <a:lnTo>
                    <a:pt x="316" y="230"/>
                  </a:lnTo>
                  <a:lnTo>
                    <a:pt x="325" y="222"/>
                  </a:lnTo>
                  <a:lnTo>
                    <a:pt x="316" y="217"/>
                  </a:lnTo>
                  <a:lnTo>
                    <a:pt x="310" y="212"/>
                  </a:lnTo>
                  <a:lnTo>
                    <a:pt x="304" y="208"/>
                  </a:lnTo>
                  <a:lnTo>
                    <a:pt x="301" y="203"/>
                  </a:lnTo>
                  <a:lnTo>
                    <a:pt x="293" y="194"/>
                  </a:lnTo>
                  <a:lnTo>
                    <a:pt x="285" y="185"/>
                  </a:lnTo>
                  <a:lnTo>
                    <a:pt x="300" y="190"/>
                  </a:lnTo>
                  <a:lnTo>
                    <a:pt x="312" y="196"/>
                  </a:lnTo>
                  <a:lnTo>
                    <a:pt x="318" y="199"/>
                  </a:lnTo>
                  <a:lnTo>
                    <a:pt x="325" y="201"/>
                  </a:lnTo>
                  <a:lnTo>
                    <a:pt x="332" y="203"/>
                  </a:lnTo>
                  <a:lnTo>
                    <a:pt x="338" y="203"/>
                  </a:lnTo>
                  <a:lnTo>
                    <a:pt x="343" y="202"/>
                  </a:lnTo>
                  <a:lnTo>
                    <a:pt x="345" y="200"/>
                  </a:lnTo>
                  <a:lnTo>
                    <a:pt x="347" y="197"/>
                  </a:lnTo>
                  <a:lnTo>
                    <a:pt x="347" y="193"/>
                  </a:lnTo>
                  <a:lnTo>
                    <a:pt x="346" y="185"/>
                  </a:lnTo>
                  <a:lnTo>
                    <a:pt x="345" y="179"/>
                  </a:lnTo>
                  <a:lnTo>
                    <a:pt x="322" y="142"/>
                  </a:lnTo>
                  <a:lnTo>
                    <a:pt x="303" y="111"/>
                  </a:lnTo>
                  <a:lnTo>
                    <a:pt x="295" y="96"/>
                  </a:lnTo>
                  <a:lnTo>
                    <a:pt x="290" y="80"/>
                  </a:lnTo>
                  <a:lnTo>
                    <a:pt x="288" y="72"/>
                  </a:lnTo>
                  <a:lnTo>
                    <a:pt x="287" y="63"/>
                  </a:lnTo>
                  <a:lnTo>
                    <a:pt x="285" y="53"/>
                  </a:lnTo>
                  <a:lnTo>
                    <a:pt x="285" y="43"/>
                  </a:lnTo>
                  <a:lnTo>
                    <a:pt x="287" y="34"/>
                  </a:lnTo>
                  <a:lnTo>
                    <a:pt x="288" y="26"/>
                  </a:lnTo>
                  <a:lnTo>
                    <a:pt x="291" y="19"/>
                  </a:lnTo>
                  <a:lnTo>
                    <a:pt x="295" y="13"/>
                  </a:lnTo>
                  <a:lnTo>
                    <a:pt x="301" y="7"/>
                  </a:lnTo>
                  <a:lnTo>
                    <a:pt x="307" y="4"/>
                  </a:lnTo>
                  <a:lnTo>
                    <a:pt x="316" y="1"/>
                  </a:lnTo>
                  <a:lnTo>
                    <a:pt x="325" y="0"/>
                  </a:lnTo>
                  <a:lnTo>
                    <a:pt x="328" y="7"/>
                  </a:lnTo>
                  <a:lnTo>
                    <a:pt x="332" y="13"/>
                  </a:lnTo>
                  <a:lnTo>
                    <a:pt x="336" y="18"/>
                  </a:lnTo>
                  <a:lnTo>
                    <a:pt x="340" y="23"/>
                  </a:lnTo>
                  <a:lnTo>
                    <a:pt x="351" y="31"/>
                  </a:lnTo>
                  <a:lnTo>
                    <a:pt x="363" y="38"/>
                  </a:lnTo>
                  <a:lnTo>
                    <a:pt x="377" y="45"/>
                  </a:lnTo>
                  <a:lnTo>
                    <a:pt x="389" y="51"/>
                  </a:lnTo>
                  <a:lnTo>
                    <a:pt x="401" y="60"/>
                  </a:lnTo>
                  <a:lnTo>
                    <a:pt x="412" y="68"/>
                  </a:lnTo>
                  <a:lnTo>
                    <a:pt x="415" y="72"/>
                  </a:lnTo>
                  <a:lnTo>
                    <a:pt x="418" y="76"/>
                  </a:lnTo>
                  <a:lnTo>
                    <a:pt x="421" y="81"/>
                  </a:lnTo>
                  <a:lnTo>
                    <a:pt x="423" y="86"/>
                  </a:lnTo>
                  <a:lnTo>
                    <a:pt x="426" y="98"/>
                  </a:lnTo>
                  <a:lnTo>
                    <a:pt x="428" y="111"/>
                  </a:lnTo>
                  <a:lnTo>
                    <a:pt x="430" y="122"/>
                  </a:lnTo>
                  <a:lnTo>
                    <a:pt x="434" y="133"/>
                  </a:lnTo>
                  <a:lnTo>
                    <a:pt x="436" y="137"/>
                  </a:lnTo>
                  <a:lnTo>
                    <a:pt x="438" y="142"/>
                  </a:lnTo>
                  <a:lnTo>
                    <a:pt x="441" y="145"/>
                  </a:lnTo>
                  <a:lnTo>
                    <a:pt x="445" y="148"/>
                  </a:lnTo>
                  <a:lnTo>
                    <a:pt x="445" y="173"/>
                  </a:lnTo>
                  <a:lnTo>
                    <a:pt x="440" y="173"/>
                  </a:lnTo>
                  <a:lnTo>
                    <a:pt x="436" y="175"/>
                  </a:lnTo>
                  <a:lnTo>
                    <a:pt x="432" y="177"/>
                  </a:lnTo>
                  <a:lnTo>
                    <a:pt x="428" y="179"/>
                  </a:lnTo>
                  <a:lnTo>
                    <a:pt x="425" y="181"/>
                  </a:lnTo>
                  <a:lnTo>
                    <a:pt x="421" y="183"/>
                  </a:lnTo>
                  <a:lnTo>
                    <a:pt x="416" y="184"/>
                  </a:lnTo>
                  <a:lnTo>
                    <a:pt x="412" y="185"/>
                  </a:lnTo>
                  <a:lnTo>
                    <a:pt x="415" y="189"/>
                  </a:lnTo>
                  <a:lnTo>
                    <a:pt x="418" y="193"/>
                  </a:lnTo>
                  <a:lnTo>
                    <a:pt x="422" y="196"/>
                  </a:lnTo>
                  <a:lnTo>
                    <a:pt x="426" y="199"/>
                  </a:lnTo>
                  <a:lnTo>
                    <a:pt x="430" y="201"/>
                  </a:lnTo>
                  <a:lnTo>
                    <a:pt x="435" y="202"/>
                  </a:lnTo>
                  <a:lnTo>
                    <a:pt x="440" y="203"/>
                  </a:lnTo>
                  <a:lnTo>
                    <a:pt x="445" y="203"/>
                  </a:lnTo>
                  <a:lnTo>
                    <a:pt x="446" y="211"/>
                  </a:lnTo>
                  <a:lnTo>
                    <a:pt x="447" y="225"/>
                  </a:lnTo>
                  <a:lnTo>
                    <a:pt x="450" y="243"/>
                  </a:lnTo>
                  <a:lnTo>
                    <a:pt x="455" y="262"/>
                  </a:lnTo>
                  <a:lnTo>
                    <a:pt x="460" y="282"/>
                  </a:lnTo>
                  <a:lnTo>
                    <a:pt x="468" y="299"/>
                  </a:lnTo>
                  <a:lnTo>
                    <a:pt x="471" y="306"/>
                  </a:lnTo>
                  <a:lnTo>
                    <a:pt x="475" y="312"/>
                  </a:lnTo>
                  <a:lnTo>
                    <a:pt x="480" y="317"/>
                  </a:lnTo>
                  <a:lnTo>
                    <a:pt x="485" y="320"/>
                  </a:lnTo>
                  <a:lnTo>
                    <a:pt x="485" y="382"/>
                  </a:lnTo>
                  <a:lnTo>
                    <a:pt x="480" y="381"/>
                  </a:lnTo>
                  <a:lnTo>
                    <a:pt x="475" y="378"/>
                  </a:lnTo>
                  <a:lnTo>
                    <a:pt x="471" y="374"/>
                  </a:lnTo>
                  <a:lnTo>
                    <a:pt x="467" y="369"/>
                  </a:lnTo>
                  <a:lnTo>
                    <a:pt x="463" y="364"/>
                  </a:lnTo>
                  <a:lnTo>
                    <a:pt x="460" y="359"/>
                  </a:lnTo>
                  <a:lnTo>
                    <a:pt x="459" y="354"/>
                  </a:lnTo>
                  <a:lnTo>
                    <a:pt x="458" y="351"/>
                  </a:lnTo>
                  <a:lnTo>
                    <a:pt x="453" y="356"/>
                  </a:lnTo>
                  <a:lnTo>
                    <a:pt x="448" y="360"/>
                  </a:lnTo>
                  <a:lnTo>
                    <a:pt x="444" y="361"/>
                  </a:lnTo>
                  <a:lnTo>
                    <a:pt x="440" y="362"/>
                  </a:lnTo>
                  <a:lnTo>
                    <a:pt x="436" y="363"/>
                  </a:lnTo>
                  <a:lnTo>
                    <a:pt x="432" y="363"/>
                  </a:lnTo>
                  <a:lnTo>
                    <a:pt x="432" y="380"/>
                  </a:lnTo>
                  <a:lnTo>
                    <a:pt x="430" y="391"/>
                  </a:lnTo>
                  <a:lnTo>
                    <a:pt x="429" y="399"/>
                  </a:lnTo>
                  <a:lnTo>
                    <a:pt x="425" y="413"/>
                  </a:lnTo>
                  <a:lnTo>
                    <a:pt x="419" y="403"/>
                  </a:lnTo>
                  <a:lnTo>
                    <a:pt x="412" y="393"/>
                  </a:lnTo>
                  <a:lnTo>
                    <a:pt x="408" y="389"/>
                  </a:lnTo>
                  <a:lnTo>
                    <a:pt x="404" y="385"/>
                  </a:lnTo>
                  <a:lnTo>
                    <a:pt x="401" y="382"/>
                  </a:lnTo>
                  <a:lnTo>
                    <a:pt x="399" y="382"/>
                  </a:lnTo>
                  <a:lnTo>
                    <a:pt x="389" y="382"/>
                  </a:lnTo>
                  <a:lnTo>
                    <a:pt x="379" y="382"/>
                  </a:lnTo>
                  <a:lnTo>
                    <a:pt x="378" y="389"/>
                  </a:lnTo>
                  <a:lnTo>
                    <a:pt x="376" y="398"/>
                  </a:lnTo>
                  <a:lnTo>
                    <a:pt x="376" y="402"/>
                  </a:lnTo>
                  <a:lnTo>
                    <a:pt x="376" y="406"/>
                  </a:lnTo>
                  <a:lnTo>
                    <a:pt x="377" y="410"/>
                  </a:lnTo>
                  <a:lnTo>
                    <a:pt x="379" y="413"/>
                  </a:lnTo>
                  <a:lnTo>
                    <a:pt x="345" y="413"/>
                  </a:lnTo>
                  <a:lnTo>
                    <a:pt x="340" y="410"/>
                  </a:lnTo>
                  <a:lnTo>
                    <a:pt x="337" y="407"/>
                  </a:lnTo>
                  <a:lnTo>
                    <a:pt x="335" y="404"/>
                  </a:lnTo>
                  <a:lnTo>
                    <a:pt x="334" y="400"/>
                  </a:lnTo>
                  <a:lnTo>
                    <a:pt x="333" y="392"/>
                  </a:lnTo>
                  <a:lnTo>
                    <a:pt x="332" y="382"/>
                  </a:lnTo>
                  <a:lnTo>
                    <a:pt x="312" y="382"/>
                  </a:lnTo>
                  <a:lnTo>
                    <a:pt x="312" y="395"/>
                  </a:lnTo>
                  <a:lnTo>
                    <a:pt x="310" y="405"/>
                  </a:lnTo>
                  <a:lnTo>
                    <a:pt x="307" y="413"/>
                  </a:lnTo>
                  <a:lnTo>
                    <a:pt x="305" y="420"/>
                  </a:lnTo>
                  <a:lnTo>
                    <a:pt x="303" y="426"/>
                  </a:lnTo>
                  <a:lnTo>
                    <a:pt x="301" y="431"/>
                  </a:lnTo>
                  <a:lnTo>
                    <a:pt x="300" y="437"/>
                  </a:lnTo>
                  <a:lnTo>
                    <a:pt x="299" y="443"/>
                  </a:lnTo>
                  <a:lnTo>
                    <a:pt x="299" y="450"/>
                  </a:lnTo>
                  <a:lnTo>
                    <a:pt x="301" y="456"/>
                  </a:lnTo>
                  <a:lnTo>
                    <a:pt x="302" y="460"/>
                  </a:lnTo>
                  <a:lnTo>
                    <a:pt x="304" y="463"/>
                  </a:lnTo>
                  <a:lnTo>
                    <a:pt x="307" y="466"/>
                  </a:lnTo>
                  <a:lnTo>
                    <a:pt x="312" y="468"/>
                  </a:lnTo>
                  <a:lnTo>
                    <a:pt x="298" y="468"/>
                  </a:lnTo>
                  <a:lnTo>
                    <a:pt x="284" y="468"/>
                  </a:lnTo>
                  <a:lnTo>
                    <a:pt x="272" y="468"/>
                  </a:lnTo>
                  <a:lnTo>
                    <a:pt x="266" y="468"/>
                  </a:lnTo>
                  <a:lnTo>
                    <a:pt x="264" y="468"/>
                  </a:lnTo>
                  <a:lnTo>
                    <a:pt x="260" y="467"/>
                  </a:lnTo>
                  <a:lnTo>
                    <a:pt x="258" y="465"/>
                  </a:lnTo>
                  <a:lnTo>
                    <a:pt x="256" y="462"/>
                  </a:lnTo>
                  <a:lnTo>
                    <a:pt x="251" y="456"/>
                  </a:lnTo>
                  <a:lnTo>
                    <a:pt x="247" y="449"/>
                  </a:lnTo>
                  <a:lnTo>
                    <a:pt x="244" y="440"/>
                  </a:lnTo>
                  <a:lnTo>
                    <a:pt x="242" y="432"/>
                  </a:lnTo>
                  <a:lnTo>
                    <a:pt x="239" y="424"/>
                  </a:lnTo>
                  <a:lnTo>
                    <a:pt x="239" y="419"/>
                  </a:lnTo>
                  <a:lnTo>
                    <a:pt x="229" y="418"/>
                  </a:lnTo>
                  <a:lnTo>
                    <a:pt x="222" y="417"/>
                  </a:lnTo>
                  <a:lnTo>
                    <a:pt x="215" y="414"/>
                  </a:lnTo>
                  <a:lnTo>
                    <a:pt x="209" y="411"/>
                  </a:lnTo>
                  <a:lnTo>
                    <a:pt x="204" y="406"/>
                  </a:lnTo>
                  <a:lnTo>
                    <a:pt x="202" y="401"/>
                  </a:lnTo>
                  <a:lnTo>
                    <a:pt x="200" y="395"/>
                  </a:lnTo>
                  <a:lnTo>
                    <a:pt x="199" y="389"/>
                  </a:lnTo>
                  <a:lnTo>
                    <a:pt x="190" y="394"/>
                  </a:lnTo>
                  <a:lnTo>
                    <a:pt x="179" y="399"/>
                  </a:lnTo>
                  <a:lnTo>
                    <a:pt x="166" y="405"/>
                  </a:lnTo>
                  <a:lnTo>
                    <a:pt x="150" y="411"/>
                  </a:lnTo>
                  <a:lnTo>
                    <a:pt x="136" y="417"/>
                  </a:lnTo>
                  <a:lnTo>
                    <a:pt x="121" y="421"/>
                  </a:lnTo>
                  <a:lnTo>
                    <a:pt x="107" y="424"/>
                  </a:lnTo>
                  <a:lnTo>
                    <a:pt x="93" y="425"/>
                  </a:lnTo>
                  <a:lnTo>
                    <a:pt x="90" y="435"/>
                  </a:lnTo>
                  <a:lnTo>
                    <a:pt x="86" y="443"/>
                  </a:lnTo>
                  <a:lnTo>
                    <a:pt x="80" y="451"/>
                  </a:lnTo>
                  <a:lnTo>
                    <a:pt x="72" y="455"/>
                  </a:lnTo>
                  <a:lnTo>
                    <a:pt x="65" y="459"/>
                  </a:lnTo>
                  <a:lnTo>
                    <a:pt x="56" y="461"/>
                  </a:lnTo>
                  <a:lnTo>
                    <a:pt x="45" y="462"/>
                  </a:lnTo>
                  <a:lnTo>
                    <a:pt x="33" y="462"/>
                  </a:lnTo>
                  <a:lnTo>
                    <a:pt x="27" y="461"/>
                  </a:lnTo>
                  <a:lnTo>
                    <a:pt x="22" y="457"/>
                  </a:lnTo>
                  <a:lnTo>
                    <a:pt x="16" y="452"/>
                  </a:lnTo>
                  <a:lnTo>
                    <a:pt x="11" y="446"/>
                  </a:lnTo>
                  <a:lnTo>
                    <a:pt x="7" y="438"/>
                  </a:lnTo>
                  <a:lnTo>
                    <a:pt x="3" y="431"/>
                  </a:lnTo>
                  <a:lnTo>
                    <a:pt x="1" y="424"/>
                  </a:lnTo>
                  <a:lnTo>
                    <a:pt x="0" y="419"/>
                  </a:lnTo>
                  <a:lnTo>
                    <a:pt x="0" y="417"/>
                  </a:lnTo>
                  <a:lnTo>
                    <a:pt x="1" y="415"/>
                  </a:lnTo>
                  <a:lnTo>
                    <a:pt x="2" y="414"/>
                  </a:lnTo>
                  <a:lnTo>
                    <a:pt x="3" y="414"/>
                  </a:lnTo>
                  <a:lnTo>
                    <a:pt x="7" y="413"/>
                  </a:lnTo>
                  <a:lnTo>
                    <a:pt x="11" y="414"/>
                  </a:lnTo>
                  <a:lnTo>
                    <a:pt x="16" y="414"/>
                  </a:lnTo>
                  <a:lnTo>
                    <a:pt x="22" y="415"/>
                  </a:lnTo>
                  <a:lnTo>
                    <a:pt x="27" y="414"/>
                  </a:lnTo>
                  <a:lnTo>
                    <a:pt x="33" y="413"/>
                  </a:lnTo>
                  <a:lnTo>
                    <a:pt x="38" y="411"/>
                  </a:lnTo>
                  <a:lnTo>
                    <a:pt x="44" y="409"/>
                  </a:lnTo>
                  <a:lnTo>
                    <a:pt x="48" y="405"/>
                  </a:lnTo>
                  <a:lnTo>
                    <a:pt x="53" y="401"/>
                  </a:lnTo>
                  <a:lnTo>
                    <a:pt x="60" y="391"/>
                  </a:lnTo>
                  <a:lnTo>
                    <a:pt x="66" y="379"/>
                  </a:lnTo>
                  <a:lnTo>
                    <a:pt x="72" y="369"/>
                  </a:lnTo>
                  <a:lnTo>
                    <a:pt x="80" y="360"/>
                  </a:lnTo>
                  <a:lnTo>
                    <a:pt x="83" y="356"/>
                  </a:lnTo>
                  <a:lnTo>
                    <a:pt x="89" y="354"/>
                  </a:lnTo>
                  <a:lnTo>
                    <a:pt x="93" y="352"/>
                  </a:lnTo>
                  <a:lnTo>
                    <a:pt x="100" y="35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927" name="Freeform 486"/>
            <p:cNvSpPr>
              <a:spLocks/>
            </p:cNvSpPr>
            <p:nvPr>
              <p:custDataLst>
                <p:tags r:id="rId319"/>
              </p:custDataLst>
            </p:nvPr>
          </p:nvSpPr>
          <p:spPr bwMode="auto">
            <a:xfrm>
              <a:off x="6405439" y="1184919"/>
              <a:ext cx="128697" cy="72442"/>
            </a:xfrm>
            <a:custGeom>
              <a:avLst/>
              <a:gdLst>
                <a:gd name="T0" fmla="*/ 11848 w 246"/>
                <a:gd name="T1" fmla="*/ 51707 h 42"/>
                <a:gd name="T2" fmla="*/ 15798 w 246"/>
                <a:gd name="T3" fmla="*/ 51707 h 42"/>
                <a:gd name="T4" fmla="*/ 19747 w 246"/>
                <a:gd name="T5" fmla="*/ 50271 h 42"/>
                <a:gd name="T6" fmla="*/ 23258 w 246"/>
                <a:gd name="T7" fmla="*/ 47398 h 42"/>
                <a:gd name="T8" fmla="*/ 25890 w 246"/>
                <a:gd name="T9" fmla="*/ 44526 h 42"/>
                <a:gd name="T10" fmla="*/ 28962 w 246"/>
                <a:gd name="T11" fmla="*/ 43089 h 42"/>
                <a:gd name="T12" fmla="*/ 31595 w 246"/>
                <a:gd name="T13" fmla="*/ 41653 h 42"/>
                <a:gd name="T14" fmla="*/ 35106 w 246"/>
                <a:gd name="T15" fmla="*/ 41653 h 42"/>
                <a:gd name="T16" fmla="*/ 38177 w 246"/>
                <a:gd name="T17" fmla="*/ 43089 h 42"/>
                <a:gd name="T18" fmla="*/ 38177 w 246"/>
                <a:gd name="T19" fmla="*/ 60325 h 42"/>
                <a:gd name="T20" fmla="*/ 67578 w 246"/>
                <a:gd name="T21" fmla="*/ 60325 h 42"/>
                <a:gd name="T22" fmla="*/ 67578 w 246"/>
                <a:gd name="T23" fmla="*/ 56016 h 42"/>
                <a:gd name="T24" fmla="*/ 68456 w 246"/>
                <a:gd name="T25" fmla="*/ 51707 h 42"/>
                <a:gd name="T26" fmla="*/ 69773 w 246"/>
                <a:gd name="T27" fmla="*/ 47398 h 42"/>
                <a:gd name="T28" fmla="*/ 71528 w 246"/>
                <a:gd name="T29" fmla="*/ 44526 h 42"/>
                <a:gd name="T30" fmla="*/ 76794 w 246"/>
                <a:gd name="T31" fmla="*/ 37344 h 42"/>
                <a:gd name="T32" fmla="*/ 83376 w 246"/>
                <a:gd name="T33" fmla="*/ 33035 h 42"/>
                <a:gd name="T34" fmla="*/ 96979 w 246"/>
                <a:gd name="T35" fmla="*/ 24417 h 42"/>
                <a:gd name="T36" fmla="*/ 107950 w 246"/>
                <a:gd name="T37" fmla="*/ 17236 h 42"/>
                <a:gd name="T38" fmla="*/ 93030 w 246"/>
                <a:gd name="T39" fmla="*/ 18672 h 42"/>
                <a:gd name="T40" fmla="*/ 81621 w 246"/>
                <a:gd name="T41" fmla="*/ 20108 h 42"/>
                <a:gd name="T42" fmla="*/ 78110 w 246"/>
                <a:gd name="T43" fmla="*/ 21545 h 42"/>
                <a:gd name="T44" fmla="*/ 75038 w 246"/>
                <a:gd name="T45" fmla="*/ 21545 h 42"/>
                <a:gd name="T46" fmla="*/ 73722 w 246"/>
                <a:gd name="T47" fmla="*/ 20108 h 42"/>
                <a:gd name="T48" fmla="*/ 73283 w 246"/>
                <a:gd name="T49" fmla="*/ 17236 h 42"/>
                <a:gd name="T50" fmla="*/ 69773 w 246"/>
                <a:gd name="T51" fmla="*/ 22981 h 42"/>
                <a:gd name="T52" fmla="*/ 66701 w 246"/>
                <a:gd name="T53" fmla="*/ 24417 h 42"/>
                <a:gd name="T54" fmla="*/ 64507 w 246"/>
                <a:gd name="T55" fmla="*/ 24417 h 42"/>
                <a:gd name="T56" fmla="*/ 61874 w 246"/>
                <a:gd name="T57" fmla="*/ 21545 h 42"/>
                <a:gd name="T58" fmla="*/ 60118 w 246"/>
                <a:gd name="T59" fmla="*/ 17236 h 42"/>
                <a:gd name="T60" fmla="*/ 58363 w 246"/>
                <a:gd name="T61" fmla="*/ 12927 h 42"/>
                <a:gd name="T62" fmla="*/ 56608 w 246"/>
                <a:gd name="T63" fmla="*/ 7182 h 42"/>
                <a:gd name="T64" fmla="*/ 55291 w 246"/>
                <a:gd name="T65" fmla="*/ 0 h 42"/>
                <a:gd name="T66" fmla="*/ 53097 w 246"/>
                <a:gd name="T67" fmla="*/ 2873 h 42"/>
                <a:gd name="T68" fmla="*/ 49587 w 246"/>
                <a:gd name="T69" fmla="*/ 5745 h 42"/>
                <a:gd name="T70" fmla="*/ 45199 w 246"/>
                <a:gd name="T71" fmla="*/ 7182 h 42"/>
                <a:gd name="T72" fmla="*/ 40810 w 246"/>
                <a:gd name="T73" fmla="*/ 7182 h 42"/>
                <a:gd name="T74" fmla="*/ 32473 w 246"/>
                <a:gd name="T75" fmla="*/ 8618 h 42"/>
                <a:gd name="T76" fmla="*/ 26329 w 246"/>
                <a:gd name="T77" fmla="*/ 8618 h 42"/>
                <a:gd name="T78" fmla="*/ 25452 w 246"/>
                <a:gd name="T79" fmla="*/ 12927 h 42"/>
                <a:gd name="T80" fmla="*/ 24574 w 246"/>
                <a:gd name="T81" fmla="*/ 17236 h 42"/>
                <a:gd name="T82" fmla="*/ 23696 w 246"/>
                <a:gd name="T83" fmla="*/ 21545 h 42"/>
                <a:gd name="T84" fmla="*/ 21941 w 246"/>
                <a:gd name="T85" fmla="*/ 24417 h 42"/>
                <a:gd name="T86" fmla="*/ 18430 w 246"/>
                <a:gd name="T87" fmla="*/ 28726 h 42"/>
                <a:gd name="T88" fmla="*/ 14481 w 246"/>
                <a:gd name="T89" fmla="*/ 31599 h 42"/>
                <a:gd name="T90" fmla="*/ 6143 w 246"/>
                <a:gd name="T91" fmla="*/ 34471 h 42"/>
                <a:gd name="T92" fmla="*/ 0 w 246"/>
                <a:gd name="T93" fmla="*/ 34471 h 42"/>
                <a:gd name="T94" fmla="*/ 439 w 246"/>
                <a:gd name="T95" fmla="*/ 38780 h 42"/>
                <a:gd name="T96" fmla="*/ 1316 w 246"/>
                <a:gd name="T97" fmla="*/ 41653 h 42"/>
                <a:gd name="T98" fmla="*/ 2194 w 246"/>
                <a:gd name="T99" fmla="*/ 44526 h 42"/>
                <a:gd name="T100" fmla="*/ 3949 w 246"/>
                <a:gd name="T101" fmla="*/ 47398 h 42"/>
                <a:gd name="T102" fmla="*/ 7460 w 246"/>
                <a:gd name="T103" fmla="*/ 50271 h 42"/>
                <a:gd name="T104" fmla="*/ 11848 w 246"/>
                <a:gd name="T105" fmla="*/ 51707 h 4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928" name="Freeform 487"/>
            <p:cNvSpPr>
              <a:spLocks/>
            </p:cNvSpPr>
            <p:nvPr>
              <p:custDataLst>
                <p:tags r:id="rId320"/>
              </p:custDataLst>
            </p:nvPr>
          </p:nvSpPr>
          <p:spPr bwMode="auto">
            <a:xfrm>
              <a:off x="6575773" y="1163949"/>
              <a:ext cx="75704" cy="68630"/>
            </a:xfrm>
            <a:custGeom>
              <a:avLst/>
              <a:gdLst>
                <a:gd name="T0" fmla="*/ 43896 w 149"/>
                <a:gd name="T1" fmla="*/ 0 h 61"/>
                <a:gd name="T2" fmla="*/ 50289 w 149"/>
                <a:gd name="T3" fmla="*/ 937 h 61"/>
                <a:gd name="T4" fmla="*/ 57107 w 149"/>
                <a:gd name="T5" fmla="*/ 2811 h 61"/>
                <a:gd name="T6" fmla="*/ 61795 w 149"/>
                <a:gd name="T7" fmla="*/ 4684 h 61"/>
                <a:gd name="T8" fmla="*/ 63500 w 149"/>
                <a:gd name="T9" fmla="*/ 5621 h 61"/>
                <a:gd name="T10" fmla="*/ 63500 w 149"/>
                <a:gd name="T11" fmla="*/ 7495 h 61"/>
                <a:gd name="T12" fmla="*/ 62648 w 149"/>
                <a:gd name="T13" fmla="*/ 9369 h 61"/>
                <a:gd name="T14" fmla="*/ 61795 w 149"/>
                <a:gd name="T15" fmla="*/ 11243 h 61"/>
                <a:gd name="T16" fmla="*/ 60091 w 149"/>
                <a:gd name="T17" fmla="*/ 12180 h 61"/>
                <a:gd name="T18" fmla="*/ 58386 w 149"/>
                <a:gd name="T19" fmla="*/ 13116 h 61"/>
                <a:gd name="T20" fmla="*/ 56255 w 149"/>
                <a:gd name="T21" fmla="*/ 13116 h 61"/>
                <a:gd name="T22" fmla="*/ 54124 w 149"/>
                <a:gd name="T23" fmla="*/ 13116 h 61"/>
                <a:gd name="T24" fmla="*/ 52419 w 149"/>
                <a:gd name="T25" fmla="*/ 11243 h 61"/>
                <a:gd name="T26" fmla="*/ 52419 w 149"/>
                <a:gd name="T27" fmla="*/ 21548 h 61"/>
                <a:gd name="T28" fmla="*/ 52419 w 149"/>
                <a:gd name="T29" fmla="*/ 30917 h 61"/>
                <a:gd name="T30" fmla="*/ 52419 w 149"/>
                <a:gd name="T31" fmla="*/ 38412 h 61"/>
                <a:gd name="T32" fmla="*/ 52419 w 149"/>
                <a:gd name="T33" fmla="*/ 45907 h 61"/>
                <a:gd name="T34" fmla="*/ 49436 w 149"/>
                <a:gd name="T35" fmla="*/ 46844 h 61"/>
                <a:gd name="T36" fmla="*/ 46453 w 149"/>
                <a:gd name="T37" fmla="*/ 47781 h 61"/>
                <a:gd name="T38" fmla="*/ 44322 w 149"/>
                <a:gd name="T39" fmla="*/ 49655 h 61"/>
                <a:gd name="T40" fmla="*/ 42617 w 149"/>
                <a:gd name="T41" fmla="*/ 51529 h 61"/>
                <a:gd name="T42" fmla="*/ 40060 w 149"/>
                <a:gd name="T43" fmla="*/ 53402 h 61"/>
                <a:gd name="T44" fmla="*/ 37930 w 149"/>
                <a:gd name="T45" fmla="*/ 55276 h 61"/>
                <a:gd name="T46" fmla="*/ 35372 w 149"/>
                <a:gd name="T47" fmla="*/ 57150 h 61"/>
                <a:gd name="T48" fmla="*/ 32389 w 149"/>
                <a:gd name="T49" fmla="*/ 57150 h 61"/>
                <a:gd name="T50" fmla="*/ 28554 w 149"/>
                <a:gd name="T51" fmla="*/ 56213 h 61"/>
                <a:gd name="T52" fmla="*/ 22587 w 149"/>
                <a:gd name="T53" fmla="*/ 53402 h 61"/>
                <a:gd name="T54" fmla="*/ 16621 w 149"/>
                <a:gd name="T55" fmla="*/ 50592 h 61"/>
                <a:gd name="T56" fmla="*/ 10654 w 149"/>
                <a:gd name="T57" fmla="*/ 45907 h 61"/>
                <a:gd name="T58" fmla="*/ 5114 w 149"/>
                <a:gd name="T59" fmla="*/ 42160 h 61"/>
                <a:gd name="T60" fmla="*/ 1279 w 149"/>
                <a:gd name="T61" fmla="*/ 38412 h 61"/>
                <a:gd name="T62" fmla="*/ 426 w 149"/>
                <a:gd name="T63" fmla="*/ 36539 h 61"/>
                <a:gd name="T64" fmla="*/ 0 w 149"/>
                <a:gd name="T65" fmla="*/ 35602 h 61"/>
                <a:gd name="T66" fmla="*/ 0 w 149"/>
                <a:gd name="T67" fmla="*/ 34665 h 61"/>
                <a:gd name="T68" fmla="*/ 1279 w 149"/>
                <a:gd name="T69" fmla="*/ 34665 h 61"/>
                <a:gd name="T70" fmla="*/ 8097 w 149"/>
                <a:gd name="T71" fmla="*/ 33728 h 61"/>
                <a:gd name="T72" fmla="*/ 14916 w 149"/>
                <a:gd name="T73" fmla="*/ 32791 h 61"/>
                <a:gd name="T74" fmla="*/ 20456 w 149"/>
                <a:gd name="T75" fmla="*/ 29980 h 61"/>
                <a:gd name="T76" fmla="*/ 25570 w 149"/>
                <a:gd name="T77" fmla="*/ 25296 h 61"/>
                <a:gd name="T78" fmla="*/ 30685 w 149"/>
                <a:gd name="T79" fmla="*/ 20611 h 61"/>
                <a:gd name="T80" fmla="*/ 34946 w 149"/>
                <a:gd name="T81" fmla="*/ 14990 h 61"/>
                <a:gd name="T82" fmla="*/ 39634 w 149"/>
                <a:gd name="T83" fmla="*/ 7495 h 61"/>
                <a:gd name="T84" fmla="*/ 43896 w 149"/>
                <a:gd name="T85" fmla="*/ 0 h 6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929" name="Freeform 488"/>
            <p:cNvSpPr>
              <a:spLocks/>
            </p:cNvSpPr>
            <p:nvPr>
              <p:custDataLst>
                <p:tags r:id="rId321"/>
              </p:custDataLst>
            </p:nvPr>
          </p:nvSpPr>
          <p:spPr bwMode="auto">
            <a:xfrm>
              <a:off x="6619303" y="1173480"/>
              <a:ext cx="155193" cy="68630"/>
            </a:xfrm>
            <a:custGeom>
              <a:avLst/>
              <a:gdLst>
                <a:gd name="T0" fmla="*/ 57904 w 299"/>
                <a:gd name="T1" fmla="*/ 55605 h 74"/>
                <a:gd name="T2" fmla="*/ 67047 w 299"/>
                <a:gd name="T3" fmla="*/ 50199 h 74"/>
                <a:gd name="T4" fmla="*/ 77495 w 299"/>
                <a:gd name="T5" fmla="*/ 41704 h 74"/>
                <a:gd name="T6" fmla="*/ 86638 w 299"/>
                <a:gd name="T7" fmla="*/ 32436 h 74"/>
                <a:gd name="T8" fmla="*/ 90121 w 299"/>
                <a:gd name="T9" fmla="*/ 30892 h 74"/>
                <a:gd name="T10" fmla="*/ 91863 w 299"/>
                <a:gd name="T11" fmla="*/ 35526 h 74"/>
                <a:gd name="T12" fmla="*/ 95781 w 299"/>
                <a:gd name="T13" fmla="*/ 39387 h 74"/>
                <a:gd name="T14" fmla="*/ 105794 w 299"/>
                <a:gd name="T15" fmla="*/ 42476 h 74"/>
                <a:gd name="T16" fmla="*/ 117114 w 299"/>
                <a:gd name="T17" fmla="*/ 42476 h 74"/>
                <a:gd name="T18" fmla="*/ 124515 w 299"/>
                <a:gd name="T19" fmla="*/ 42476 h 74"/>
                <a:gd name="T20" fmla="*/ 127563 w 299"/>
                <a:gd name="T21" fmla="*/ 35526 h 74"/>
                <a:gd name="T22" fmla="*/ 129740 w 299"/>
                <a:gd name="T23" fmla="*/ 23941 h 74"/>
                <a:gd name="T24" fmla="*/ 121468 w 299"/>
                <a:gd name="T25" fmla="*/ 19307 h 74"/>
                <a:gd name="T26" fmla="*/ 106230 w 299"/>
                <a:gd name="T27" fmla="*/ 19307 h 74"/>
                <a:gd name="T28" fmla="*/ 97958 w 299"/>
                <a:gd name="T29" fmla="*/ 19307 h 74"/>
                <a:gd name="T30" fmla="*/ 93169 w 299"/>
                <a:gd name="T31" fmla="*/ 20852 h 74"/>
                <a:gd name="T32" fmla="*/ 88815 w 299"/>
                <a:gd name="T33" fmla="*/ 25486 h 74"/>
                <a:gd name="T34" fmla="*/ 74883 w 299"/>
                <a:gd name="T35" fmla="*/ 28575 h 74"/>
                <a:gd name="T36" fmla="*/ 76625 w 299"/>
                <a:gd name="T37" fmla="*/ 21624 h 74"/>
                <a:gd name="T38" fmla="*/ 78366 w 299"/>
                <a:gd name="T39" fmla="*/ 16218 h 74"/>
                <a:gd name="T40" fmla="*/ 84461 w 299"/>
                <a:gd name="T41" fmla="*/ 10040 h 74"/>
                <a:gd name="T42" fmla="*/ 91427 w 299"/>
                <a:gd name="T43" fmla="*/ 6951 h 74"/>
                <a:gd name="T44" fmla="*/ 97958 w 299"/>
                <a:gd name="T45" fmla="*/ 0 h 74"/>
                <a:gd name="T46" fmla="*/ 80543 w 299"/>
                <a:gd name="T47" fmla="*/ 2317 h 74"/>
                <a:gd name="T48" fmla="*/ 68353 w 299"/>
                <a:gd name="T49" fmla="*/ 8495 h 74"/>
                <a:gd name="T50" fmla="*/ 58339 w 299"/>
                <a:gd name="T51" fmla="*/ 19307 h 74"/>
                <a:gd name="T52" fmla="*/ 49632 w 299"/>
                <a:gd name="T53" fmla="*/ 30892 h 74"/>
                <a:gd name="T54" fmla="*/ 43537 w 299"/>
                <a:gd name="T55" fmla="*/ 40932 h 74"/>
                <a:gd name="T56" fmla="*/ 37877 w 299"/>
                <a:gd name="T57" fmla="*/ 45566 h 74"/>
                <a:gd name="T58" fmla="*/ 27864 w 299"/>
                <a:gd name="T59" fmla="*/ 48655 h 74"/>
                <a:gd name="T60" fmla="*/ 13932 w 299"/>
                <a:gd name="T61" fmla="*/ 49427 h 74"/>
                <a:gd name="T62" fmla="*/ 5224 w 299"/>
                <a:gd name="T63" fmla="*/ 51744 h 74"/>
                <a:gd name="T64" fmla="*/ 871 w 299"/>
                <a:gd name="T65" fmla="*/ 54061 h 74"/>
                <a:gd name="T66" fmla="*/ 16979 w 299"/>
                <a:gd name="T67" fmla="*/ 57150 h 74"/>
                <a:gd name="T68" fmla="*/ 44408 w 299"/>
                <a:gd name="T69" fmla="*/ 57150 h 7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930" name="Freeform 489"/>
            <p:cNvSpPr>
              <a:spLocks/>
            </p:cNvSpPr>
            <p:nvPr>
              <p:custDataLst>
                <p:tags r:id="rId322"/>
              </p:custDataLst>
            </p:nvPr>
          </p:nvSpPr>
          <p:spPr bwMode="auto">
            <a:xfrm>
              <a:off x="7255217" y="1396527"/>
              <a:ext cx="49208" cy="68630"/>
            </a:xfrm>
            <a:custGeom>
              <a:avLst/>
              <a:gdLst>
                <a:gd name="T0" fmla="*/ 38386 w 100"/>
                <a:gd name="T1" fmla="*/ 0 h 42"/>
                <a:gd name="T2" fmla="*/ 40037 w 100"/>
                <a:gd name="T3" fmla="*/ 9525 h 42"/>
                <a:gd name="T4" fmla="*/ 41275 w 100"/>
                <a:gd name="T5" fmla="*/ 24493 h 42"/>
                <a:gd name="T6" fmla="*/ 37973 w 100"/>
                <a:gd name="T7" fmla="*/ 32657 h 42"/>
                <a:gd name="T8" fmla="*/ 35497 w 100"/>
                <a:gd name="T9" fmla="*/ 39461 h 42"/>
                <a:gd name="T10" fmla="*/ 32607 w 100"/>
                <a:gd name="T11" fmla="*/ 46264 h 42"/>
                <a:gd name="T12" fmla="*/ 29718 w 100"/>
                <a:gd name="T13" fmla="*/ 50346 h 42"/>
                <a:gd name="T14" fmla="*/ 26829 w 100"/>
                <a:gd name="T15" fmla="*/ 53068 h 42"/>
                <a:gd name="T16" fmla="*/ 23527 w 100"/>
                <a:gd name="T17" fmla="*/ 55789 h 42"/>
                <a:gd name="T18" fmla="*/ 20225 w 100"/>
                <a:gd name="T19" fmla="*/ 57150 h 42"/>
                <a:gd name="T20" fmla="*/ 16510 w 100"/>
                <a:gd name="T21" fmla="*/ 57150 h 42"/>
                <a:gd name="T22" fmla="*/ 11144 w 100"/>
                <a:gd name="T23" fmla="*/ 55789 h 42"/>
                <a:gd name="T24" fmla="*/ 4953 w 100"/>
                <a:gd name="T25" fmla="*/ 53068 h 42"/>
                <a:gd name="T26" fmla="*/ 413 w 100"/>
                <a:gd name="T27" fmla="*/ 50346 h 42"/>
                <a:gd name="T28" fmla="*/ 0 w 100"/>
                <a:gd name="T29" fmla="*/ 48986 h 42"/>
                <a:gd name="T30" fmla="*/ 2477 w 100"/>
                <a:gd name="T31" fmla="*/ 48986 h 42"/>
                <a:gd name="T32" fmla="*/ 4953 w 100"/>
                <a:gd name="T33" fmla="*/ 47625 h 42"/>
                <a:gd name="T34" fmla="*/ 7430 w 100"/>
                <a:gd name="T35" fmla="*/ 44904 h 42"/>
                <a:gd name="T36" fmla="*/ 9493 w 100"/>
                <a:gd name="T37" fmla="*/ 40821 h 42"/>
                <a:gd name="T38" fmla="*/ 13621 w 100"/>
                <a:gd name="T39" fmla="*/ 34018 h 42"/>
                <a:gd name="T40" fmla="*/ 18161 w 100"/>
                <a:gd name="T41" fmla="*/ 24493 h 42"/>
                <a:gd name="T42" fmla="*/ 22701 w 100"/>
                <a:gd name="T43" fmla="*/ 14968 h 42"/>
                <a:gd name="T44" fmla="*/ 27242 w 100"/>
                <a:gd name="T45" fmla="*/ 6804 h 42"/>
                <a:gd name="T46" fmla="*/ 29718 w 100"/>
                <a:gd name="T47" fmla="*/ 4082 h 42"/>
                <a:gd name="T48" fmla="*/ 32607 w 100"/>
                <a:gd name="T49" fmla="*/ 1361 h 42"/>
                <a:gd name="T50" fmla="*/ 35497 w 100"/>
                <a:gd name="T51" fmla="*/ 0 h 42"/>
                <a:gd name="T52" fmla="*/ 38386 w 100"/>
                <a:gd name="T53" fmla="*/ 0 h 42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100" h="42">
                  <a:moveTo>
                    <a:pt x="93" y="0"/>
                  </a:moveTo>
                  <a:lnTo>
                    <a:pt x="97" y="7"/>
                  </a:lnTo>
                  <a:lnTo>
                    <a:pt x="100" y="18"/>
                  </a:lnTo>
                  <a:lnTo>
                    <a:pt x="92" y="24"/>
                  </a:lnTo>
                  <a:lnTo>
                    <a:pt x="86" y="29"/>
                  </a:lnTo>
                  <a:lnTo>
                    <a:pt x="79" y="34"/>
                  </a:lnTo>
                  <a:lnTo>
                    <a:pt x="72" y="37"/>
                  </a:lnTo>
                  <a:lnTo>
                    <a:pt x="65" y="39"/>
                  </a:lnTo>
                  <a:lnTo>
                    <a:pt x="57" y="41"/>
                  </a:lnTo>
                  <a:lnTo>
                    <a:pt x="49" y="42"/>
                  </a:lnTo>
                  <a:lnTo>
                    <a:pt x="40" y="42"/>
                  </a:lnTo>
                  <a:lnTo>
                    <a:pt x="27" y="41"/>
                  </a:lnTo>
                  <a:lnTo>
                    <a:pt x="12" y="39"/>
                  </a:lnTo>
                  <a:lnTo>
                    <a:pt x="1" y="37"/>
                  </a:lnTo>
                  <a:lnTo>
                    <a:pt x="0" y="36"/>
                  </a:lnTo>
                  <a:lnTo>
                    <a:pt x="6" y="36"/>
                  </a:lnTo>
                  <a:lnTo>
                    <a:pt x="12" y="35"/>
                  </a:lnTo>
                  <a:lnTo>
                    <a:pt x="18" y="33"/>
                  </a:lnTo>
                  <a:lnTo>
                    <a:pt x="23" y="30"/>
                  </a:lnTo>
                  <a:lnTo>
                    <a:pt x="33" y="25"/>
                  </a:lnTo>
                  <a:lnTo>
                    <a:pt x="44" y="18"/>
                  </a:lnTo>
                  <a:lnTo>
                    <a:pt x="55" y="11"/>
                  </a:lnTo>
                  <a:lnTo>
                    <a:pt x="66" y="5"/>
                  </a:lnTo>
                  <a:lnTo>
                    <a:pt x="72" y="3"/>
                  </a:lnTo>
                  <a:lnTo>
                    <a:pt x="79" y="1"/>
                  </a:lnTo>
                  <a:lnTo>
                    <a:pt x="86" y="0"/>
                  </a:lnTo>
                  <a:lnTo>
                    <a:pt x="9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931" name="Freeform 490"/>
            <p:cNvSpPr>
              <a:spLocks/>
            </p:cNvSpPr>
            <p:nvPr>
              <p:custDataLst>
                <p:tags r:id="rId323"/>
              </p:custDataLst>
            </p:nvPr>
          </p:nvSpPr>
          <p:spPr bwMode="auto">
            <a:xfrm>
              <a:off x="7147340" y="1226858"/>
              <a:ext cx="18926" cy="70537"/>
            </a:xfrm>
            <a:custGeom>
              <a:avLst/>
              <a:gdLst>
                <a:gd name="T0" fmla="*/ 15875 w 40"/>
                <a:gd name="T1" fmla="*/ 58738 h 5"/>
                <a:gd name="T2" fmla="*/ 0 w 40"/>
                <a:gd name="T3" fmla="*/ 58738 h 5"/>
                <a:gd name="T4" fmla="*/ 1984 w 40"/>
                <a:gd name="T5" fmla="*/ 35243 h 5"/>
                <a:gd name="T6" fmla="*/ 3572 w 40"/>
                <a:gd name="T7" fmla="*/ 11748 h 5"/>
                <a:gd name="T8" fmla="*/ 5953 w 40"/>
                <a:gd name="T9" fmla="*/ 0 h 5"/>
                <a:gd name="T10" fmla="*/ 7938 w 40"/>
                <a:gd name="T11" fmla="*/ 0 h 5"/>
                <a:gd name="T12" fmla="*/ 9922 w 40"/>
                <a:gd name="T13" fmla="*/ 0 h 5"/>
                <a:gd name="T14" fmla="*/ 11906 w 40"/>
                <a:gd name="T15" fmla="*/ 11748 h 5"/>
                <a:gd name="T16" fmla="*/ 13891 w 40"/>
                <a:gd name="T17" fmla="*/ 35243 h 5"/>
                <a:gd name="T18" fmla="*/ 15875 w 40"/>
                <a:gd name="T19" fmla="*/ 58738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0" h="5">
                  <a:moveTo>
                    <a:pt x="40" y="5"/>
                  </a:moveTo>
                  <a:lnTo>
                    <a:pt x="0" y="5"/>
                  </a:lnTo>
                  <a:lnTo>
                    <a:pt x="5" y="3"/>
                  </a:lnTo>
                  <a:lnTo>
                    <a:pt x="9" y="1"/>
                  </a:lnTo>
                  <a:lnTo>
                    <a:pt x="15" y="0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0" y="1"/>
                  </a:lnTo>
                  <a:lnTo>
                    <a:pt x="35" y="3"/>
                  </a:lnTo>
                  <a:lnTo>
                    <a:pt x="40" y="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932" name="Freeform 491"/>
            <p:cNvSpPr>
              <a:spLocks/>
            </p:cNvSpPr>
            <p:nvPr>
              <p:custDataLst>
                <p:tags r:id="rId324"/>
              </p:custDataLst>
            </p:nvPr>
          </p:nvSpPr>
          <p:spPr bwMode="auto">
            <a:xfrm>
              <a:off x="7173836" y="1177294"/>
              <a:ext cx="17033" cy="72442"/>
            </a:xfrm>
            <a:custGeom>
              <a:avLst/>
              <a:gdLst>
                <a:gd name="T0" fmla="*/ 0 w 33"/>
                <a:gd name="T1" fmla="*/ 36973 h 31"/>
                <a:gd name="T2" fmla="*/ 8659 w 33"/>
                <a:gd name="T3" fmla="*/ 0 h 31"/>
                <a:gd name="T4" fmla="*/ 8659 w 33"/>
                <a:gd name="T5" fmla="*/ 7784 h 31"/>
                <a:gd name="T6" fmla="*/ 9525 w 33"/>
                <a:gd name="T7" fmla="*/ 19460 h 31"/>
                <a:gd name="T8" fmla="*/ 10823 w 33"/>
                <a:gd name="T9" fmla="*/ 27244 h 31"/>
                <a:gd name="T10" fmla="*/ 11689 w 33"/>
                <a:gd name="T11" fmla="*/ 35027 h 31"/>
                <a:gd name="T12" fmla="*/ 13421 w 33"/>
                <a:gd name="T13" fmla="*/ 50595 h 31"/>
                <a:gd name="T14" fmla="*/ 14287 w 33"/>
                <a:gd name="T15" fmla="*/ 60325 h 31"/>
                <a:gd name="T16" fmla="*/ 0 w 33"/>
                <a:gd name="T17" fmla="*/ 60325 h 31"/>
                <a:gd name="T18" fmla="*/ 0 w 33"/>
                <a:gd name="T19" fmla="*/ 48649 h 31"/>
                <a:gd name="T20" fmla="*/ 0 w 33"/>
                <a:gd name="T21" fmla="*/ 36973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31">
                  <a:moveTo>
                    <a:pt x="0" y="19"/>
                  </a:moveTo>
                  <a:lnTo>
                    <a:pt x="20" y="0"/>
                  </a:lnTo>
                  <a:lnTo>
                    <a:pt x="20" y="4"/>
                  </a:lnTo>
                  <a:lnTo>
                    <a:pt x="22" y="10"/>
                  </a:lnTo>
                  <a:lnTo>
                    <a:pt x="25" y="14"/>
                  </a:lnTo>
                  <a:lnTo>
                    <a:pt x="27" y="18"/>
                  </a:lnTo>
                  <a:lnTo>
                    <a:pt x="31" y="26"/>
                  </a:lnTo>
                  <a:lnTo>
                    <a:pt x="33" y="31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0" y="1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933" name="Freeform 492"/>
            <p:cNvSpPr>
              <a:spLocks/>
            </p:cNvSpPr>
            <p:nvPr>
              <p:custDataLst>
                <p:tags r:id="rId325"/>
              </p:custDataLst>
            </p:nvPr>
          </p:nvSpPr>
          <p:spPr bwMode="auto">
            <a:xfrm>
              <a:off x="7346062" y="1316459"/>
              <a:ext cx="20819" cy="68630"/>
            </a:xfrm>
            <a:custGeom>
              <a:avLst/>
              <a:gdLst>
                <a:gd name="T0" fmla="*/ 17463 w 41"/>
                <a:gd name="T1" fmla="*/ 0 h 43"/>
                <a:gd name="T2" fmla="*/ 17463 w 41"/>
                <a:gd name="T3" fmla="*/ 57150 h 43"/>
                <a:gd name="T4" fmla="*/ 13204 w 41"/>
                <a:gd name="T5" fmla="*/ 55821 h 43"/>
                <a:gd name="T6" fmla="*/ 10222 w 41"/>
                <a:gd name="T7" fmla="*/ 53163 h 43"/>
                <a:gd name="T8" fmla="*/ 7667 w 41"/>
                <a:gd name="T9" fmla="*/ 49176 h 43"/>
                <a:gd name="T10" fmla="*/ 5537 w 41"/>
                <a:gd name="T11" fmla="*/ 43859 h 43"/>
                <a:gd name="T12" fmla="*/ 2130 w 41"/>
                <a:gd name="T13" fmla="*/ 33227 h 43"/>
                <a:gd name="T14" fmla="*/ 0 w 41"/>
                <a:gd name="T15" fmla="*/ 25252 h 43"/>
                <a:gd name="T16" fmla="*/ 5111 w 41"/>
                <a:gd name="T17" fmla="*/ 17278 h 43"/>
                <a:gd name="T18" fmla="*/ 10648 w 41"/>
                <a:gd name="T19" fmla="*/ 9303 h 43"/>
                <a:gd name="T20" fmla="*/ 15333 w 41"/>
                <a:gd name="T21" fmla="*/ 2658 h 43"/>
                <a:gd name="T22" fmla="*/ 17463 w 41"/>
                <a:gd name="T23" fmla="*/ 0 h 4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1" h="43">
                  <a:moveTo>
                    <a:pt x="41" y="0"/>
                  </a:moveTo>
                  <a:lnTo>
                    <a:pt x="41" y="43"/>
                  </a:lnTo>
                  <a:lnTo>
                    <a:pt x="31" y="42"/>
                  </a:lnTo>
                  <a:lnTo>
                    <a:pt x="24" y="40"/>
                  </a:lnTo>
                  <a:lnTo>
                    <a:pt x="18" y="37"/>
                  </a:lnTo>
                  <a:lnTo>
                    <a:pt x="13" y="33"/>
                  </a:lnTo>
                  <a:lnTo>
                    <a:pt x="5" y="25"/>
                  </a:lnTo>
                  <a:lnTo>
                    <a:pt x="0" y="19"/>
                  </a:lnTo>
                  <a:lnTo>
                    <a:pt x="12" y="13"/>
                  </a:lnTo>
                  <a:lnTo>
                    <a:pt x="25" y="7"/>
                  </a:lnTo>
                  <a:lnTo>
                    <a:pt x="36" y="2"/>
                  </a:lnTo>
                  <a:lnTo>
                    <a:pt x="41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934" name="Freeform 493"/>
            <p:cNvSpPr>
              <a:spLocks/>
            </p:cNvSpPr>
            <p:nvPr>
              <p:custDataLst>
                <p:tags r:id="rId326"/>
              </p:custDataLst>
            </p:nvPr>
          </p:nvSpPr>
          <p:spPr bwMode="auto">
            <a:xfrm>
              <a:off x="7410411" y="1177294"/>
              <a:ext cx="111664" cy="72442"/>
            </a:xfrm>
            <a:custGeom>
              <a:avLst/>
              <a:gdLst>
                <a:gd name="T0" fmla="*/ 26824 w 213"/>
                <a:gd name="T1" fmla="*/ 0 h 62"/>
                <a:gd name="T2" fmla="*/ 36498 w 213"/>
                <a:gd name="T3" fmla="*/ 0 h 62"/>
                <a:gd name="T4" fmla="*/ 46172 w 213"/>
                <a:gd name="T5" fmla="*/ 973 h 62"/>
                <a:gd name="T6" fmla="*/ 55846 w 213"/>
                <a:gd name="T7" fmla="*/ 2919 h 62"/>
                <a:gd name="T8" fmla="*/ 64201 w 213"/>
                <a:gd name="T9" fmla="*/ 6811 h 62"/>
                <a:gd name="T10" fmla="*/ 72996 w 213"/>
                <a:gd name="T11" fmla="*/ 10703 h 62"/>
                <a:gd name="T12" fmla="*/ 80911 w 213"/>
                <a:gd name="T13" fmla="*/ 15568 h 62"/>
                <a:gd name="T14" fmla="*/ 83989 w 213"/>
                <a:gd name="T15" fmla="*/ 18487 h 62"/>
                <a:gd name="T16" fmla="*/ 87507 w 213"/>
                <a:gd name="T17" fmla="*/ 22379 h 62"/>
                <a:gd name="T18" fmla="*/ 91025 w 213"/>
                <a:gd name="T19" fmla="*/ 26271 h 62"/>
                <a:gd name="T20" fmla="*/ 93663 w 213"/>
                <a:gd name="T21" fmla="*/ 30163 h 62"/>
                <a:gd name="T22" fmla="*/ 92784 w 213"/>
                <a:gd name="T23" fmla="*/ 34054 h 62"/>
                <a:gd name="T24" fmla="*/ 91025 w 213"/>
                <a:gd name="T25" fmla="*/ 36973 h 62"/>
                <a:gd name="T26" fmla="*/ 88386 w 213"/>
                <a:gd name="T27" fmla="*/ 39892 h 62"/>
                <a:gd name="T28" fmla="*/ 85748 w 213"/>
                <a:gd name="T29" fmla="*/ 42811 h 62"/>
                <a:gd name="T30" fmla="*/ 77833 w 213"/>
                <a:gd name="T31" fmla="*/ 47676 h 62"/>
                <a:gd name="T32" fmla="*/ 68598 w 213"/>
                <a:gd name="T33" fmla="*/ 51568 h 62"/>
                <a:gd name="T34" fmla="*/ 59364 w 213"/>
                <a:gd name="T35" fmla="*/ 55460 h 62"/>
                <a:gd name="T36" fmla="*/ 50129 w 213"/>
                <a:gd name="T37" fmla="*/ 57406 h 62"/>
                <a:gd name="T38" fmla="*/ 41775 w 213"/>
                <a:gd name="T39" fmla="*/ 60325 h 62"/>
                <a:gd name="T40" fmla="*/ 35179 w 213"/>
                <a:gd name="T41" fmla="*/ 60325 h 62"/>
                <a:gd name="T42" fmla="*/ 27263 w 213"/>
                <a:gd name="T43" fmla="*/ 60325 h 62"/>
                <a:gd name="T44" fmla="*/ 18908 w 213"/>
                <a:gd name="T45" fmla="*/ 57406 h 62"/>
                <a:gd name="T46" fmla="*/ 14511 w 213"/>
                <a:gd name="T47" fmla="*/ 57406 h 62"/>
                <a:gd name="T48" fmla="*/ 10114 w 213"/>
                <a:gd name="T49" fmla="*/ 57406 h 62"/>
                <a:gd name="T50" fmla="*/ 5277 w 213"/>
                <a:gd name="T51" fmla="*/ 58379 h 62"/>
                <a:gd name="T52" fmla="*/ 0 w 213"/>
                <a:gd name="T53" fmla="*/ 60325 h 62"/>
                <a:gd name="T54" fmla="*/ 2638 w 213"/>
                <a:gd name="T55" fmla="*/ 48649 h 62"/>
                <a:gd name="T56" fmla="*/ 4837 w 213"/>
                <a:gd name="T57" fmla="*/ 37946 h 62"/>
                <a:gd name="T58" fmla="*/ 7475 w 213"/>
                <a:gd name="T59" fmla="*/ 28217 h 62"/>
                <a:gd name="T60" fmla="*/ 10114 w 213"/>
                <a:gd name="T61" fmla="*/ 19460 h 62"/>
                <a:gd name="T62" fmla="*/ 11873 w 213"/>
                <a:gd name="T63" fmla="*/ 15568 h 62"/>
                <a:gd name="T64" fmla="*/ 13192 w 213"/>
                <a:gd name="T65" fmla="*/ 11676 h 62"/>
                <a:gd name="T66" fmla="*/ 14951 w 213"/>
                <a:gd name="T67" fmla="*/ 8757 h 62"/>
                <a:gd name="T68" fmla="*/ 17150 w 213"/>
                <a:gd name="T69" fmla="*/ 5838 h 62"/>
                <a:gd name="T70" fmla="*/ 18908 w 213"/>
                <a:gd name="T71" fmla="*/ 2919 h 62"/>
                <a:gd name="T72" fmla="*/ 21547 w 213"/>
                <a:gd name="T73" fmla="*/ 973 h 62"/>
                <a:gd name="T74" fmla="*/ 23746 w 213"/>
                <a:gd name="T75" fmla="*/ 0 h 62"/>
                <a:gd name="T76" fmla="*/ 26824 w 213"/>
                <a:gd name="T77" fmla="*/ 0 h 62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213" h="62">
                  <a:moveTo>
                    <a:pt x="61" y="0"/>
                  </a:moveTo>
                  <a:lnTo>
                    <a:pt x="83" y="0"/>
                  </a:lnTo>
                  <a:lnTo>
                    <a:pt x="105" y="1"/>
                  </a:lnTo>
                  <a:lnTo>
                    <a:pt x="127" y="3"/>
                  </a:lnTo>
                  <a:lnTo>
                    <a:pt x="146" y="7"/>
                  </a:lnTo>
                  <a:lnTo>
                    <a:pt x="166" y="11"/>
                  </a:lnTo>
                  <a:lnTo>
                    <a:pt x="184" y="16"/>
                  </a:lnTo>
                  <a:lnTo>
                    <a:pt x="191" y="19"/>
                  </a:lnTo>
                  <a:lnTo>
                    <a:pt x="199" y="23"/>
                  </a:lnTo>
                  <a:lnTo>
                    <a:pt x="207" y="27"/>
                  </a:lnTo>
                  <a:lnTo>
                    <a:pt x="213" y="31"/>
                  </a:lnTo>
                  <a:lnTo>
                    <a:pt x="211" y="35"/>
                  </a:lnTo>
                  <a:lnTo>
                    <a:pt x="207" y="38"/>
                  </a:lnTo>
                  <a:lnTo>
                    <a:pt x="201" y="41"/>
                  </a:lnTo>
                  <a:lnTo>
                    <a:pt x="195" y="44"/>
                  </a:lnTo>
                  <a:lnTo>
                    <a:pt x="177" y="49"/>
                  </a:lnTo>
                  <a:lnTo>
                    <a:pt x="156" y="53"/>
                  </a:lnTo>
                  <a:lnTo>
                    <a:pt x="135" y="57"/>
                  </a:lnTo>
                  <a:lnTo>
                    <a:pt x="114" y="59"/>
                  </a:lnTo>
                  <a:lnTo>
                    <a:pt x="95" y="62"/>
                  </a:lnTo>
                  <a:lnTo>
                    <a:pt x="80" y="62"/>
                  </a:lnTo>
                  <a:lnTo>
                    <a:pt x="62" y="62"/>
                  </a:lnTo>
                  <a:lnTo>
                    <a:pt x="43" y="59"/>
                  </a:lnTo>
                  <a:lnTo>
                    <a:pt x="33" y="59"/>
                  </a:lnTo>
                  <a:lnTo>
                    <a:pt x="23" y="59"/>
                  </a:lnTo>
                  <a:lnTo>
                    <a:pt x="12" y="60"/>
                  </a:lnTo>
                  <a:lnTo>
                    <a:pt x="0" y="62"/>
                  </a:lnTo>
                  <a:lnTo>
                    <a:pt x="6" y="50"/>
                  </a:lnTo>
                  <a:lnTo>
                    <a:pt x="11" y="39"/>
                  </a:lnTo>
                  <a:lnTo>
                    <a:pt x="17" y="29"/>
                  </a:lnTo>
                  <a:lnTo>
                    <a:pt x="23" y="20"/>
                  </a:lnTo>
                  <a:lnTo>
                    <a:pt x="27" y="16"/>
                  </a:lnTo>
                  <a:lnTo>
                    <a:pt x="30" y="12"/>
                  </a:lnTo>
                  <a:lnTo>
                    <a:pt x="34" y="9"/>
                  </a:lnTo>
                  <a:lnTo>
                    <a:pt x="39" y="6"/>
                  </a:lnTo>
                  <a:lnTo>
                    <a:pt x="43" y="3"/>
                  </a:lnTo>
                  <a:lnTo>
                    <a:pt x="49" y="1"/>
                  </a:lnTo>
                  <a:lnTo>
                    <a:pt x="54" y="0"/>
                  </a:lnTo>
                  <a:lnTo>
                    <a:pt x="61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935" name="Freeform 494"/>
            <p:cNvSpPr>
              <a:spLocks/>
            </p:cNvSpPr>
            <p:nvPr>
              <p:custDataLst>
                <p:tags r:id="rId327"/>
              </p:custDataLst>
            </p:nvPr>
          </p:nvSpPr>
          <p:spPr bwMode="auto">
            <a:xfrm>
              <a:off x="7482328" y="1207796"/>
              <a:ext cx="123020" cy="72442"/>
            </a:xfrm>
            <a:custGeom>
              <a:avLst/>
              <a:gdLst>
                <a:gd name="T0" fmla="*/ 17702 w 239"/>
                <a:gd name="T1" fmla="*/ 0 h 56"/>
                <a:gd name="T2" fmla="*/ 12952 w 239"/>
                <a:gd name="T3" fmla="*/ 3232 h 56"/>
                <a:gd name="T4" fmla="*/ 9930 w 239"/>
                <a:gd name="T5" fmla="*/ 5386 h 56"/>
                <a:gd name="T6" fmla="*/ 8203 w 239"/>
                <a:gd name="T7" fmla="*/ 7541 h 56"/>
                <a:gd name="T8" fmla="*/ 6476 w 239"/>
                <a:gd name="T9" fmla="*/ 9695 h 56"/>
                <a:gd name="T10" fmla="*/ 5613 w 239"/>
                <a:gd name="T11" fmla="*/ 14004 h 56"/>
                <a:gd name="T12" fmla="*/ 4317 w 239"/>
                <a:gd name="T13" fmla="*/ 16158 h 56"/>
                <a:gd name="T14" fmla="*/ 3022 w 239"/>
                <a:gd name="T15" fmla="*/ 18313 h 56"/>
                <a:gd name="T16" fmla="*/ 0 w 239"/>
                <a:gd name="T17" fmla="*/ 20467 h 56"/>
                <a:gd name="T18" fmla="*/ 863 w 239"/>
                <a:gd name="T19" fmla="*/ 25854 h 56"/>
                <a:gd name="T20" fmla="*/ 2159 w 239"/>
                <a:gd name="T21" fmla="*/ 29085 h 56"/>
                <a:gd name="T22" fmla="*/ 3022 w 239"/>
                <a:gd name="T23" fmla="*/ 32317 h 56"/>
                <a:gd name="T24" fmla="*/ 4317 w 239"/>
                <a:gd name="T25" fmla="*/ 35549 h 56"/>
                <a:gd name="T26" fmla="*/ 7340 w 239"/>
                <a:gd name="T27" fmla="*/ 38780 h 56"/>
                <a:gd name="T28" fmla="*/ 10362 w 239"/>
                <a:gd name="T29" fmla="*/ 40935 h 56"/>
                <a:gd name="T30" fmla="*/ 17702 w 239"/>
                <a:gd name="T31" fmla="*/ 40935 h 56"/>
                <a:gd name="T32" fmla="*/ 23314 w 239"/>
                <a:gd name="T33" fmla="*/ 40935 h 56"/>
                <a:gd name="T34" fmla="*/ 66058 w 239"/>
                <a:gd name="T35" fmla="*/ 40935 h 56"/>
                <a:gd name="T36" fmla="*/ 66921 w 239"/>
                <a:gd name="T37" fmla="*/ 44167 h 56"/>
                <a:gd name="T38" fmla="*/ 67353 w 239"/>
                <a:gd name="T39" fmla="*/ 47398 h 56"/>
                <a:gd name="T40" fmla="*/ 68648 w 239"/>
                <a:gd name="T41" fmla="*/ 49553 h 56"/>
                <a:gd name="T42" fmla="*/ 69943 w 239"/>
                <a:gd name="T43" fmla="*/ 51707 h 56"/>
                <a:gd name="T44" fmla="*/ 72102 w 239"/>
                <a:gd name="T45" fmla="*/ 54939 h 56"/>
                <a:gd name="T46" fmla="*/ 75124 w 239"/>
                <a:gd name="T47" fmla="*/ 58171 h 56"/>
                <a:gd name="T48" fmla="*/ 81169 w 239"/>
                <a:gd name="T49" fmla="*/ 60325 h 56"/>
                <a:gd name="T50" fmla="*/ 86350 w 239"/>
                <a:gd name="T51" fmla="*/ 60325 h 56"/>
                <a:gd name="T52" fmla="*/ 88077 w 239"/>
                <a:gd name="T53" fmla="*/ 59248 h 56"/>
                <a:gd name="T54" fmla="*/ 90667 w 239"/>
                <a:gd name="T55" fmla="*/ 58171 h 56"/>
                <a:gd name="T56" fmla="*/ 92394 w 239"/>
                <a:gd name="T57" fmla="*/ 56016 h 56"/>
                <a:gd name="T58" fmla="*/ 94985 w 239"/>
                <a:gd name="T59" fmla="*/ 52784 h 56"/>
                <a:gd name="T60" fmla="*/ 99302 w 239"/>
                <a:gd name="T61" fmla="*/ 46321 h 56"/>
                <a:gd name="T62" fmla="*/ 103188 w 239"/>
                <a:gd name="T63" fmla="*/ 40935 h 56"/>
                <a:gd name="T64" fmla="*/ 100166 w 239"/>
                <a:gd name="T65" fmla="*/ 39858 h 56"/>
                <a:gd name="T66" fmla="*/ 97144 w 239"/>
                <a:gd name="T67" fmla="*/ 38780 h 56"/>
                <a:gd name="T68" fmla="*/ 94553 w 239"/>
                <a:gd name="T69" fmla="*/ 36626 h 56"/>
                <a:gd name="T70" fmla="*/ 91963 w 239"/>
                <a:gd name="T71" fmla="*/ 34471 h 56"/>
                <a:gd name="T72" fmla="*/ 86782 w 239"/>
                <a:gd name="T73" fmla="*/ 28008 h 56"/>
                <a:gd name="T74" fmla="*/ 82032 w 239"/>
                <a:gd name="T75" fmla="*/ 20467 h 56"/>
                <a:gd name="T76" fmla="*/ 76851 w 239"/>
                <a:gd name="T77" fmla="*/ 14004 h 56"/>
                <a:gd name="T78" fmla="*/ 72102 w 239"/>
                <a:gd name="T79" fmla="*/ 6463 h 56"/>
                <a:gd name="T80" fmla="*/ 69080 w 239"/>
                <a:gd name="T81" fmla="*/ 4309 h 56"/>
                <a:gd name="T82" fmla="*/ 66489 w 239"/>
                <a:gd name="T83" fmla="*/ 2154 h 56"/>
                <a:gd name="T84" fmla="*/ 63467 w 239"/>
                <a:gd name="T85" fmla="*/ 1077 h 56"/>
                <a:gd name="T86" fmla="*/ 60445 w 239"/>
                <a:gd name="T87" fmla="*/ 0 h 56"/>
                <a:gd name="T88" fmla="*/ 57854 w 239"/>
                <a:gd name="T89" fmla="*/ 1077 h 56"/>
                <a:gd name="T90" fmla="*/ 54832 w 239"/>
                <a:gd name="T91" fmla="*/ 4309 h 56"/>
                <a:gd name="T92" fmla="*/ 53537 w 239"/>
                <a:gd name="T93" fmla="*/ 6463 h 56"/>
                <a:gd name="T94" fmla="*/ 52673 w 239"/>
                <a:gd name="T95" fmla="*/ 8618 h 56"/>
                <a:gd name="T96" fmla="*/ 52242 w 239"/>
                <a:gd name="T97" fmla="*/ 10772 h 56"/>
                <a:gd name="T98" fmla="*/ 51810 w 239"/>
                <a:gd name="T99" fmla="*/ 14004 h 56"/>
                <a:gd name="T100" fmla="*/ 43175 w 239"/>
                <a:gd name="T101" fmla="*/ 8618 h 56"/>
                <a:gd name="T102" fmla="*/ 34540 w 239"/>
                <a:gd name="T103" fmla="*/ 4309 h 56"/>
                <a:gd name="T104" fmla="*/ 26337 w 239"/>
                <a:gd name="T105" fmla="*/ 1077 h 56"/>
                <a:gd name="T106" fmla="*/ 17702 w 239"/>
                <a:gd name="T107" fmla="*/ 0 h 5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9" h="56">
                  <a:moveTo>
                    <a:pt x="41" y="0"/>
                  </a:moveTo>
                  <a:lnTo>
                    <a:pt x="30" y="3"/>
                  </a:lnTo>
                  <a:lnTo>
                    <a:pt x="23" y="5"/>
                  </a:lnTo>
                  <a:lnTo>
                    <a:pt x="19" y="7"/>
                  </a:lnTo>
                  <a:lnTo>
                    <a:pt x="15" y="9"/>
                  </a:lnTo>
                  <a:lnTo>
                    <a:pt x="13" y="13"/>
                  </a:lnTo>
                  <a:lnTo>
                    <a:pt x="10" y="15"/>
                  </a:lnTo>
                  <a:lnTo>
                    <a:pt x="7" y="17"/>
                  </a:lnTo>
                  <a:lnTo>
                    <a:pt x="0" y="19"/>
                  </a:lnTo>
                  <a:lnTo>
                    <a:pt x="2" y="24"/>
                  </a:lnTo>
                  <a:lnTo>
                    <a:pt x="5" y="27"/>
                  </a:lnTo>
                  <a:lnTo>
                    <a:pt x="7" y="30"/>
                  </a:lnTo>
                  <a:lnTo>
                    <a:pt x="10" y="33"/>
                  </a:lnTo>
                  <a:lnTo>
                    <a:pt x="17" y="36"/>
                  </a:lnTo>
                  <a:lnTo>
                    <a:pt x="24" y="38"/>
                  </a:lnTo>
                  <a:lnTo>
                    <a:pt x="41" y="38"/>
                  </a:lnTo>
                  <a:lnTo>
                    <a:pt x="54" y="38"/>
                  </a:lnTo>
                  <a:lnTo>
                    <a:pt x="153" y="38"/>
                  </a:lnTo>
                  <a:lnTo>
                    <a:pt x="155" y="41"/>
                  </a:lnTo>
                  <a:lnTo>
                    <a:pt x="156" y="44"/>
                  </a:lnTo>
                  <a:lnTo>
                    <a:pt x="159" y="46"/>
                  </a:lnTo>
                  <a:lnTo>
                    <a:pt x="162" y="48"/>
                  </a:lnTo>
                  <a:lnTo>
                    <a:pt x="167" y="51"/>
                  </a:lnTo>
                  <a:lnTo>
                    <a:pt x="174" y="54"/>
                  </a:lnTo>
                  <a:lnTo>
                    <a:pt x="188" y="56"/>
                  </a:lnTo>
                  <a:lnTo>
                    <a:pt x="200" y="56"/>
                  </a:lnTo>
                  <a:lnTo>
                    <a:pt x="204" y="55"/>
                  </a:lnTo>
                  <a:lnTo>
                    <a:pt x="210" y="54"/>
                  </a:lnTo>
                  <a:lnTo>
                    <a:pt x="214" y="52"/>
                  </a:lnTo>
                  <a:lnTo>
                    <a:pt x="220" y="49"/>
                  </a:lnTo>
                  <a:lnTo>
                    <a:pt x="230" y="43"/>
                  </a:lnTo>
                  <a:lnTo>
                    <a:pt x="239" y="38"/>
                  </a:lnTo>
                  <a:lnTo>
                    <a:pt x="232" y="37"/>
                  </a:lnTo>
                  <a:lnTo>
                    <a:pt x="225" y="36"/>
                  </a:lnTo>
                  <a:lnTo>
                    <a:pt x="219" y="34"/>
                  </a:lnTo>
                  <a:lnTo>
                    <a:pt x="213" y="32"/>
                  </a:lnTo>
                  <a:lnTo>
                    <a:pt x="201" y="26"/>
                  </a:lnTo>
                  <a:lnTo>
                    <a:pt x="190" y="19"/>
                  </a:lnTo>
                  <a:lnTo>
                    <a:pt x="178" y="13"/>
                  </a:lnTo>
                  <a:lnTo>
                    <a:pt x="167" y="6"/>
                  </a:lnTo>
                  <a:lnTo>
                    <a:pt x="160" y="4"/>
                  </a:lnTo>
                  <a:lnTo>
                    <a:pt x="154" y="2"/>
                  </a:lnTo>
                  <a:lnTo>
                    <a:pt x="147" y="1"/>
                  </a:lnTo>
                  <a:lnTo>
                    <a:pt x="140" y="0"/>
                  </a:lnTo>
                  <a:lnTo>
                    <a:pt x="134" y="1"/>
                  </a:lnTo>
                  <a:lnTo>
                    <a:pt x="127" y="4"/>
                  </a:lnTo>
                  <a:lnTo>
                    <a:pt x="124" y="6"/>
                  </a:lnTo>
                  <a:lnTo>
                    <a:pt x="122" y="8"/>
                  </a:lnTo>
                  <a:lnTo>
                    <a:pt x="121" y="10"/>
                  </a:lnTo>
                  <a:lnTo>
                    <a:pt x="120" y="13"/>
                  </a:lnTo>
                  <a:lnTo>
                    <a:pt x="100" y="8"/>
                  </a:lnTo>
                  <a:lnTo>
                    <a:pt x="80" y="4"/>
                  </a:lnTo>
                  <a:lnTo>
                    <a:pt x="61" y="1"/>
                  </a:lnTo>
                  <a:lnTo>
                    <a:pt x="41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936" name="Freeform 495"/>
            <p:cNvSpPr>
              <a:spLocks/>
            </p:cNvSpPr>
            <p:nvPr>
              <p:custDataLst>
                <p:tags r:id="rId328"/>
              </p:custDataLst>
            </p:nvPr>
          </p:nvSpPr>
          <p:spPr bwMode="auto">
            <a:xfrm>
              <a:off x="7622381" y="1224953"/>
              <a:ext cx="98415" cy="68630"/>
            </a:xfrm>
            <a:custGeom>
              <a:avLst/>
              <a:gdLst>
                <a:gd name="T0" fmla="*/ 6180 w 187"/>
                <a:gd name="T1" fmla="*/ 13573 h 80"/>
                <a:gd name="T2" fmla="*/ 18099 w 187"/>
                <a:gd name="T3" fmla="*/ 0 h 80"/>
                <a:gd name="T4" fmla="*/ 19424 w 187"/>
                <a:gd name="T5" fmla="*/ 2143 h 80"/>
                <a:gd name="T6" fmla="*/ 22072 w 187"/>
                <a:gd name="T7" fmla="*/ 4286 h 80"/>
                <a:gd name="T8" fmla="*/ 25604 w 187"/>
                <a:gd name="T9" fmla="*/ 6429 h 80"/>
                <a:gd name="T10" fmla="*/ 29577 w 187"/>
                <a:gd name="T11" fmla="*/ 8573 h 80"/>
                <a:gd name="T12" fmla="*/ 39289 w 187"/>
                <a:gd name="T13" fmla="*/ 13573 h 80"/>
                <a:gd name="T14" fmla="*/ 50325 w 187"/>
                <a:gd name="T15" fmla="*/ 18574 h 80"/>
                <a:gd name="T16" fmla="*/ 61361 w 187"/>
                <a:gd name="T17" fmla="*/ 23574 h 80"/>
                <a:gd name="T18" fmla="*/ 71072 w 187"/>
                <a:gd name="T19" fmla="*/ 27146 h 80"/>
                <a:gd name="T20" fmla="*/ 78136 w 187"/>
                <a:gd name="T21" fmla="*/ 30004 h 80"/>
                <a:gd name="T22" fmla="*/ 82550 w 187"/>
                <a:gd name="T23" fmla="*/ 30718 h 80"/>
                <a:gd name="T24" fmla="*/ 82550 w 187"/>
                <a:gd name="T25" fmla="*/ 40005 h 80"/>
                <a:gd name="T26" fmla="*/ 82550 w 187"/>
                <a:gd name="T27" fmla="*/ 48578 h 80"/>
                <a:gd name="T28" fmla="*/ 75045 w 187"/>
                <a:gd name="T29" fmla="*/ 50006 h 80"/>
                <a:gd name="T30" fmla="*/ 66658 w 187"/>
                <a:gd name="T31" fmla="*/ 50721 h 80"/>
                <a:gd name="T32" fmla="*/ 58712 w 187"/>
                <a:gd name="T33" fmla="*/ 50721 h 80"/>
                <a:gd name="T34" fmla="*/ 51207 w 187"/>
                <a:gd name="T35" fmla="*/ 50006 h 80"/>
                <a:gd name="T36" fmla="*/ 37523 w 187"/>
                <a:gd name="T37" fmla="*/ 49292 h 80"/>
                <a:gd name="T38" fmla="*/ 26928 w 187"/>
                <a:gd name="T39" fmla="*/ 48578 h 80"/>
                <a:gd name="T40" fmla="*/ 24279 w 187"/>
                <a:gd name="T41" fmla="*/ 49292 h 80"/>
                <a:gd name="T42" fmla="*/ 22514 w 187"/>
                <a:gd name="T43" fmla="*/ 50006 h 80"/>
                <a:gd name="T44" fmla="*/ 19865 w 187"/>
                <a:gd name="T45" fmla="*/ 51435 h 80"/>
                <a:gd name="T46" fmla="*/ 18099 w 187"/>
                <a:gd name="T47" fmla="*/ 52864 h 80"/>
                <a:gd name="T48" fmla="*/ 14568 w 187"/>
                <a:gd name="T49" fmla="*/ 55721 h 80"/>
                <a:gd name="T50" fmla="*/ 12360 w 187"/>
                <a:gd name="T51" fmla="*/ 57150 h 80"/>
                <a:gd name="T52" fmla="*/ 9712 w 187"/>
                <a:gd name="T53" fmla="*/ 56436 h 80"/>
                <a:gd name="T54" fmla="*/ 7946 w 187"/>
                <a:gd name="T55" fmla="*/ 54293 h 80"/>
                <a:gd name="T56" fmla="*/ 6180 w 187"/>
                <a:gd name="T57" fmla="*/ 51435 h 80"/>
                <a:gd name="T58" fmla="*/ 3973 w 187"/>
                <a:gd name="T59" fmla="*/ 47863 h 80"/>
                <a:gd name="T60" fmla="*/ 2649 w 187"/>
                <a:gd name="T61" fmla="*/ 44291 h 80"/>
                <a:gd name="T62" fmla="*/ 1324 w 187"/>
                <a:gd name="T63" fmla="*/ 40719 h 80"/>
                <a:gd name="T64" fmla="*/ 883 w 187"/>
                <a:gd name="T65" fmla="*/ 37862 h 80"/>
                <a:gd name="T66" fmla="*/ 0 w 187"/>
                <a:gd name="T67" fmla="*/ 35719 h 80"/>
                <a:gd name="T68" fmla="*/ 883 w 187"/>
                <a:gd name="T69" fmla="*/ 31433 h 80"/>
                <a:gd name="T70" fmla="*/ 1324 w 187"/>
                <a:gd name="T71" fmla="*/ 28575 h 80"/>
                <a:gd name="T72" fmla="*/ 2207 w 187"/>
                <a:gd name="T73" fmla="*/ 25718 h 80"/>
                <a:gd name="T74" fmla="*/ 3090 w 187"/>
                <a:gd name="T75" fmla="*/ 22146 h 80"/>
                <a:gd name="T76" fmla="*/ 5739 w 187"/>
                <a:gd name="T77" fmla="*/ 17145 h 80"/>
                <a:gd name="T78" fmla="*/ 6180 w 187"/>
                <a:gd name="T79" fmla="*/ 13573 h 8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187" h="80">
                  <a:moveTo>
                    <a:pt x="14" y="19"/>
                  </a:moveTo>
                  <a:lnTo>
                    <a:pt x="41" y="0"/>
                  </a:lnTo>
                  <a:lnTo>
                    <a:pt x="44" y="3"/>
                  </a:lnTo>
                  <a:lnTo>
                    <a:pt x="50" y="6"/>
                  </a:lnTo>
                  <a:lnTo>
                    <a:pt x="58" y="9"/>
                  </a:lnTo>
                  <a:lnTo>
                    <a:pt x="67" y="12"/>
                  </a:lnTo>
                  <a:lnTo>
                    <a:pt x="89" y="19"/>
                  </a:lnTo>
                  <a:lnTo>
                    <a:pt x="114" y="26"/>
                  </a:lnTo>
                  <a:lnTo>
                    <a:pt x="139" y="33"/>
                  </a:lnTo>
                  <a:lnTo>
                    <a:pt x="161" y="38"/>
                  </a:lnTo>
                  <a:lnTo>
                    <a:pt x="177" y="42"/>
                  </a:lnTo>
                  <a:lnTo>
                    <a:pt x="187" y="43"/>
                  </a:lnTo>
                  <a:lnTo>
                    <a:pt x="187" y="56"/>
                  </a:lnTo>
                  <a:lnTo>
                    <a:pt x="187" y="68"/>
                  </a:lnTo>
                  <a:lnTo>
                    <a:pt x="170" y="70"/>
                  </a:lnTo>
                  <a:lnTo>
                    <a:pt x="151" y="71"/>
                  </a:lnTo>
                  <a:lnTo>
                    <a:pt x="133" y="71"/>
                  </a:lnTo>
                  <a:lnTo>
                    <a:pt x="116" y="70"/>
                  </a:lnTo>
                  <a:lnTo>
                    <a:pt x="85" y="69"/>
                  </a:lnTo>
                  <a:lnTo>
                    <a:pt x="61" y="68"/>
                  </a:lnTo>
                  <a:lnTo>
                    <a:pt x="55" y="69"/>
                  </a:lnTo>
                  <a:lnTo>
                    <a:pt x="51" y="70"/>
                  </a:lnTo>
                  <a:lnTo>
                    <a:pt x="45" y="72"/>
                  </a:lnTo>
                  <a:lnTo>
                    <a:pt x="41" y="74"/>
                  </a:lnTo>
                  <a:lnTo>
                    <a:pt x="33" y="78"/>
                  </a:lnTo>
                  <a:lnTo>
                    <a:pt x="28" y="80"/>
                  </a:lnTo>
                  <a:lnTo>
                    <a:pt x="22" y="79"/>
                  </a:lnTo>
                  <a:lnTo>
                    <a:pt x="18" y="76"/>
                  </a:lnTo>
                  <a:lnTo>
                    <a:pt x="14" y="72"/>
                  </a:lnTo>
                  <a:lnTo>
                    <a:pt x="9" y="67"/>
                  </a:lnTo>
                  <a:lnTo>
                    <a:pt x="6" y="62"/>
                  </a:lnTo>
                  <a:lnTo>
                    <a:pt x="3" y="57"/>
                  </a:lnTo>
                  <a:lnTo>
                    <a:pt x="2" y="53"/>
                  </a:lnTo>
                  <a:lnTo>
                    <a:pt x="0" y="50"/>
                  </a:lnTo>
                  <a:lnTo>
                    <a:pt x="2" y="44"/>
                  </a:lnTo>
                  <a:lnTo>
                    <a:pt x="3" y="40"/>
                  </a:lnTo>
                  <a:lnTo>
                    <a:pt x="5" y="36"/>
                  </a:lnTo>
                  <a:lnTo>
                    <a:pt x="7" y="31"/>
                  </a:lnTo>
                  <a:lnTo>
                    <a:pt x="13" y="24"/>
                  </a:lnTo>
                  <a:lnTo>
                    <a:pt x="14" y="1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937" name="Freeform 496"/>
            <p:cNvSpPr>
              <a:spLocks/>
            </p:cNvSpPr>
            <p:nvPr>
              <p:custDataLst>
                <p:tags r:id="rId329"/>
              </p:custDataLst>
            </p:nvPr>
          </p:nvSpPr>
          <p:spPr bwMode="auto">
            <a:xfrm>
              <a:off x="8250725" y="1375556"/>
              <a:ext cx="94630" cy="70537"/>
            </a:xfrm>
            <a:custGeom>
              <a:avLst/>
              <a:gdLst>
                <a:gd name="T0" fmla="*/ 21687 w 183"/>
                <a:gd name="T1" fmla="*/ 0 h 73"/>
                <a:gd name="T2" fmla="*/ 27326 w 183"/>
                <a:gd name="T3" fmla="*/ 0 h 73"/>
                <a:gd name="T4" fmla="*/ 32531 w 183"/>
                <a:gd name="T5" fmla="*/ 805 h 73"/>
                <a:gd name="T6" fmla="*/ 37302 w 183"/>
                <a:gd name="T7" fmla="*/ 3219 h 73"/>
                <a:gd name="T8" fmla="*/ 42073 w 183"/>
                <a:gd name="T9" fmla="*/ 5632 h 73"/>
                <a:gd name="T10" fmla="*/ 45977 w 183"/>
                <a:gd name="T11" fmla="*/ 8046 h 73"/>
                <a:gd name="T12" fmla="*/ 50314 w 183"/>
                <a:gd name="T13" fmla="*/ 12069 h 73"/>
                <a:gd name="T14" fmla="*/ 53784 w 183"/>
                <a:gd name="T15" fmla="*/ 15288 h 73"/>
                <a:gd name="T16" fmla="*/ 56820 w 183"/>
                <a:gd name="T17" fmla="*/ 20116 h 73"/>
                <a:gd name="T18" fmla="*/ 68965 w 183"/>
                <a:gd name="T19" fmla="*/ 39427 h 73"/>
                <a:gd name="T20" fmla="*/ 79375 w 183"/>
                <a:gd name="T21" fmla="*/ 58738 h 73"/>
                <a:gd name="T22" fmla="*/ 59423 w 183"/>
                <a:gd name="T23" fmla="*/ 58738 h 73"/>
                <a:gd name="T24" fmla="*/ 55519 w 183"/>
                <a:gd name="T25" fmla="*/ 57933 h 73"/>
                <a:gd name="T26" fmla="*/ 50748 w 183"/>
                <a:gd name="T27" fmla="*/ 56324 h 73"/>
                <a:gd name="T28" fmla="*/ 45109 w 183"/>
                <a:gd name="T29" fmla="*/ 53106 h 73"/>
                <a:gd name="T30" fmla="*/ 39037 w 183"/>
                <a:gd name="T31" fmla="*/ 49887 h 73"/>
                <a:gd name="T32" fmla="*/ 31663 w 183"/>
                <a:gd name="T33" fmla="*/ 45059 h 73"/>
                <a:gd name="T34" fmla="*/ 25157 w 183"/>
                <a:gd name="T35" fmla="*/ 40232 h 73"/>
                <a:gd name="T36" fmla="*/ 18217 w 183"/>
                <a:gd name="T37" fmla="*/ 35404 h 73"/>
                <a:gd name="T38" fmla="*/ 12145 w 183"/>
                <a:gd name="T39" fmla="*/ 29771 h 73"/>
                <a:gd name="T40" fmla="*/ 6940 w 183"/>
                <a:gd name="T41" fmla="*/ 24139 h 73"/>
                <a:gd name="T42" fmla="*/ 3036 w 183"/>
                <a:gd name="T43" fmla="*/ 18506 h 73"/>
                <a:gd name="T44" fmla="*/ 1735 w 183"/>
                <a:gd name="T45" fmla="*/ 15288 h 73"/>
                <a:gd name="T46" fmla="*/ 867 w 183"/>
                <a:gd name="T47" fmla="*/ 12874 h 73"/>
                <a:gd name="T48" fmla="*/ 434 w 183"/>
                <a:gd name="T49" fmla="*/ 11265 h 73"/>
                <a:gd name="T50" fmla="*/ 0 w 183"/>
                <a:gd name="T51" fmla="*/ 8851 h 73"/>
                <a:gd name="T52" fmla="*/ 434 w 183"/>
                <a:gd name="T53" fmla="*/ 6437 h 73"/>
                <a:gd name="T54" fmla="*/ 1301 w 183"/>
                <a:gd name="T55" fmla="*/ 4828 h 73"/>
                <a:gd name="T56" fmla="*/ 3036 w 183"/>
                <a:gd name="T57" fmla="*/ 3219 h 73"/>
                <a:gd name="T58" fmla="*/ 5639 w 183"/>
                <a:gd name="T59" fmla="*/ 2414 h 73"/>
                <a:gd name="T60" fmla="*/ 8241 w 183"/>
                <a:gd name="T61" fmla="*/ 805 h 73"/>
                <a:gd name="T62" fmla="*/ 12145 w 183"/>
                <a:gd name="T63" fmla="*/ 0 h 73"/>
                <a:gd name="T64" fmla="*/ 16482 w 183"/>
                <a:gd name="T65" fmla="*/ 0 h 73"/>
                <a:gd name="T66" fmla="*/ 21687 w 183"/>
                <a:gd name="T67" fmla="*/ 0 h 73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183" h="73">
                  <a:moveTo>
                    <a:pt x="50" y="0"/>
                  </a:moveTo>
                  <a:lnTo>
                    <a:pt x="63" y="0"/>
                  </a:lnTo>
                  <a:lnTo>
                    <a:pt x="75" y="1"/>
                  </a:lnTo>
                  <a:lnTo>
                    <a:pt x="86" y="4"/>
                  </a:lnTo>
                  <a:lnTo>
                    <a:pt x="97" y="7"/>
                  </a:lnTo>
                  <a:lnTo>
                    <a:pt x="106" y="10"/>
                  </a:lnTo>
                  <a:lnTo>
                    <a:pt x="116" y="15"/>
                  </a:lnTo>
                  <a:lnTo>
                    <a:pt x="124" y="19"/>
                  </a:lnTo>
                  <a:lnTo>
                    <a:pt x="131" y="25"/>
                  </a:lnTo>
                  <a:lnTo>
                    <a:pt x="159" y="49"/>
                  </a:lnTo>
                  <a:lnTo>
                    <a:pt x="183" y="73"/>
                  </a:lnTo>
                  <a:lnTo>
                    <a:pt x="137" y="73"/>
                  </a:lnTo>
                  <a:lnTo>
                    <a:pt x="128" y="72"/>
                  </a:lnTo>
                  <a:lnTo>
                    <a:pt x="117" y="70"/>
                  </a:lnTo>
                  <a:lnTo>
                    <a:pt x="104" y="66"/>
                  </a:lnTo>
                  <a:lnTo>
                    <a:pt x="90" y="62"/>
                  </a:lnTo>
                  <a:lnTo>
                    <a:pt x="73" y="56"/>
                  </a:lnTo>
                  <a:lnTo>
                    <a:pt x="58" y="50"/>
                  </a:lnTo>
                  <a:lnTo>
                    <a:pt x="42" y="44"/>
                  </a:lnTo>
                  <a:lnTo>
                    <a:pt x="28" y="37"/>
                  </a:lnTo>
                  <a:lnTo>
                    <a:pt x="16" y="30"/>
                  </a:lnTo>
                  <a:lnTo>
                    <a:pt x="7" y="23"/>
                  </a:lnTo>
                  <a:lnTo>
                    <a:pt x="4" y="19"/>
                  </a:lnTo>
                  <a:lnTo>
                    <a:pt x="2" y="16"/>
                  </a:lnTo>
                  <a:lnTo>
                    <a:pt x="1" y="14"/>
                  </a:lnTo>
                  <a:lnTo>
                    <a:pt x="0" y="11"/>
                  </a:lnTo>
                  <a:lnTo>
                    <a:pt x="1" y="8"/>
                  </a:lnTo>
                  <a:lnTo>
                    <a:pt x="3" y="6"/>
                  </a:lnTo>
                  <a:lnTo>
                    <a:pt x="7" y="4"/>
                  </a:lnTo>
                  <a:lnTo>
                    <a:pt x="13" y="3"/>
                  </a:lnTo>
                  <a:lnTo>
                    <a:pt x="19" y="1"/>
                  </a:lnTo>
                  <a:lnTo>
                    <a:pt x="28" y="0"/>
                  </a:lnTo>
                  <a:lnTo>
                    <a:pt x="38" y="0"/>
                  </a:lnTo>
                  <a:lnTo>
                    <a:pt x="5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938" name="Freeform 497"/>
            <p:cNvSpPr>
              <a:spLocks/>
            </p:cNvSpPr>
            <p:nvPr>
              <p:custDataLst>
                <p:tags r:id="rId330"/>
              </p:custDataLst>
            </p:nvPr>
          </p:nvSpPr>
          <p:spPr bwMode="auto">
            <a:xfrm>
              <a:off x="8330213" y="1396527"/>
              <a:ext cx="39745" cy="68630"/>
            </a:xfrm>
            <a:custGeom>
              <a:avLst/>
              <a:gdLst>
                <a:gd name="T0" fmla="*/ 0 w 79"/>
                <a:gd name="T1" fmla="*/ 8164 h 42"/>
                <a:gd name="T2" fmla="*/ 9706 w 79"/>
                <a:gd name="T3" fmla="*/ 2721 h 42"/>
                <a:gd name="T4" fmla="*/ 17302 w 79"/>
                <a:gd name="T5" fmla="*/ 1361 h 42"/>
                <a:gd name="T6" fmla="*/ 25320 w 79"/>
                <a:gd name="T7" fmla="*/ 0 h 42"/>
                <a:gd name="T8" fmla="*/ 33338 w 79"/>
                <a:gd name="T9" fmla="*/ 0 h 42"/>
                <a:gd name="T10" fmla="*/ 33338 w 79"/>
                <a:gd name="T11" fmla="*/ 12246 h 42"/>
                <a:gd name="T12" fmla="*/ 33338 w 79"/>
                <a:gd name="T13" fmla="*/ 24493 h 42"/>
                <a:gd name="T14" fmla="*/ 33338 w 79"/>
                <a:gd name="T15" fmla="*/ 29936 h 42"/>
                <a:gd name="T16" fmla="*/ 31650 w 79"/>
                <a:gd name="T17" fmla="*/ 36739 h 42"/>
                <a:gd name="T18" fmla="*/ 30384 w 79"/>
                <a:gd name="T19" fmla="*/ 42182 h 42"/>
                <a:gd name="T20" fmla="*/ 28696 w 79"/>
                <a:gd name="T21" fmla="*/ 47625 h 42"/>
                <a:gd name="T22" fmla="*/ 26164 w 79"/>
                <a:gd name="T23" fmla="*/ 51707 h 42"/>
                <a:gd name="T24" fmla="*/ 24054 w 79"/>
                <a:gd name="T25" fmla="*/ 54429 h 42"/>
                <a:gd name="T26" fmla="*/ 21522 w 79"/>
                <a:gd name="T27" fmla="*/ 57150 h 42"/>
                <a:gd name="T28" fmla="*/ 19412 w 79"/>
                <a:gd name="T29" fmla="*/ 57150 h 42"/>
                <a:gd name="T30" fmla="*/ 16880 w 79"/>
                <a:gd name="T31" fmla="*/ 57150 h 42"/>
                <a:gd name="T32" fmla="*/ 14770 w 79"/>
                <a:gd name="T33" fmla="*/ 55789 h 42"/>
                <a:gd name="T34" fmla="*/ 12238 w 79"/>
                <a:gd name="T35" fmla="*/ 53068 h 42"/>
                <a:gd name="T36" fmla="*/ 10550 w 79"/>
                <a:gd name="T37" fmla="*/ 50346 h 42"/>
                <a:gd name="T38" fmla="*/ 6752 w 79"/>
                <a:gd name="T39" fmla="*/ 43543 h 42"/>
                <a:gd name="T40" fmla="*/ 4642 w 79"/>
                <a:gd name="T41" fmla="*/ 35379 h 42"/>
                <a:gd name="T42" fmla="*/ 2110 w 79"/>
                <a:gd name="T43" fmla="*/ 27214 h 42"/>
                <a:gd name="T44" fmla="*/ 844 w 79"/>
                <a:gd name="T45" fmla="*/ 19050 h 42"/>
                <a:gd name="T46" fmla="*/ 0 w 79"/>
                <a:gd name="T47" fmla="*/ 12246 h 42"/>
                <a:gd name="T48" fmla="*/ 0 w 79"/>
                <a:gd name="T49" fmla="*/ 8164 h 4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79" h="42">
                  <a:moveTo>
                    <a:pt x="0" y="6"/>
                  </a:moveTo>
                  <a:lnTo>
                    <a:pt x="23" y="2"/>
                  </a:lnTo>
                  <a:lnTo>
                    <a:pt x="41" y="1"/>
                  </a:lnTo>
                  <a:lnTo>
                    <a:pt x="60" y="0"/>
                  </a:lnTo>
                  <a:lnTo>
                    <a:pt x="79" y="0"/>
                  </a:lnTo>
                  <a:lnTo>
                    <a:pt x="79" y="9"/>
                  </a:lnTo>
                  <a:lnTo>
                    <a:pt x="79" y="18"/>
                  </a:lnTo>
                  <a:lnTo>
                    <a:pt x="79" y="22"/>
                  </a:lnTo>
                  <a:lnTo>
                    <a:pt x="75" y="27"/>
                  </a:lnTo>
                  <a:lnTo>
                    <a:pt x="72" y="31"/>
                  </a:lnTo>
                  <a:lnTo>
                    <a:pt x="68" y="35"/>
                  </a:lnTo>
                  <a:lnTo>
                    <a:pt x="62" y="38"/>
                  </a:lnTo>
                  <a:lnTo>
                    <a:pt x="57" y="40"/>
                  </a:lnTo>
                  <a:lnTo>
                    <a:pt x="51" y="42"/>
                  </a:lnTo>
                  <a:lnTo>
                    <a:pt x="46" y="42"/>
                  </a:lnTo>
                  <a:lnTo>
                    <a:pt x="40" y="42"/>
                  </a:lnTo>
                  <a:lnTo>
                    <a:pt x="35" y="41"/>
                  </a:lnTo>
                  <a:lnTo>
                    <a:pt x="29" y="39"/>
                  </a:lnTo>
                  <a:lnTo>
                    <a:pt x="25" y="37"/>
                  </a:lnTo>
                  <a:lnTo>
                    <a:pt x="16" y="32"/>
                  </a:lnTo>
                  <a:lnTo>
                    <a:pt x="11" y="26"/>
                  </a:lnTo>
                  <a:lnTo>
                    <a:pt x="5" y="20"/>
                  </a:lnTo>
                  <a:lnTo>
                    <a:pt x="2" y="14"/>
                  </a:lnTo>
                  <a:lnTo>
                    <a:pt x="0" y="9"/>
                  </a:lnTo>
                  <a:lnTo>
                    <a:pt x="0" y="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939" name="Freeform 498"/>
            <p:cNvSpPr>
              <a:spLocks/>
            </p:cNvSpPr>
            <p:nvPr>
              <p:custDataLst>
                <p:tags r:id="rId331"/>
              </p:custDataLst>
            </p:nvPr>
          </p:nvSpPr>
          <p:spPr bwMode="auto">
            <a:xfrm>
              <a:off x="8366175" y="1409871"/>
              <a:ext cx="62455" cy="70537"/>
            </a:xfrm>
            <a:custGeom>
              <a:avLst/>
              <a:gdLst>
                <a:gd name="T0" fmla="*/ 52387 w 113"/>
                <a:gd name="T1" fmla="*/ 44054 h 52"/>
                <a:gd name="T2" fmla="*/ 51923 w 113"/>
                <a:gd name="T3" fmla="*/ 47442 h 52"/>
                <a:gd name="T4" fmla="*/ 50533 w 113"/>
                <a:gd name="T5" fmla="*/ 50831 h 52"/>
                <a:gd name="T6" fmla="*/ 49142 w 113"/>
                <a:gd name="T7" fmla="*/ 53090 h 52"/>
                <a:gd name="T8" fmla="*/ 47751 w 113"/>
                <a:gd name="T9" fmla="*/ 55349 h 52"/>
                <a:gd name="T10" fmla="*/ 43579 w 113"/>
                <a:gd name="T11" fmla="*/ 57608 h 52"/>
                <a:gd name="T12" fmla="*/ 39406 w 113"/>
                <a:gd name="T13" fmla="*/ 58738 h 52"/>
                <a:gd name="T14" fmla="*/ 30598 w 113"/>
                <a:gd name="T15" fmla="*/ 58738 h 52"/>
                <a:gd name="T16" fmla="*/ 24571 w 113"/>
                <a:gd name="T17" fmla="*/ 57608 h 52"/>
                <a:gd name="T18" fmla="*/ 21789 w 113"/>
                <a:gd name="T19" fmla="*/ 57608 h 52"/>
                <a:gd name="T20" fmla="*/ 18080 w 113"/>
                <a:gd name="T21" fmla="*/ 54220 h 52"/>
                <a:gd name="T22" fmla="*/ 13908 w 113"/>
                <a:gd name="T23" fmla="*/ 50831 h 52"/>
                <a:gd name="T24" fmla="*/ 9736 w 113"/>
                <a:gd name="T25" fmla="*/ 46313 h 52"/>
                <a:gd name="T26" fmla="*/ 6027 w 113"/>
                <a:gd name="T27" fmla="*/ 40665 h 52"/>
                <a:gd name="T28" fmla="*/ 2782 w 113"/>
                <a:gd name="T29" fmla="*/ 35017 h 52"/>
                <a:gd name="T30" fmla="*/ 1854 w 113"/>
                <a:gd name="T31" fmla="*/ 31628 h 52"/>
                <a:gd name="T32" fmla="*/ 927 w 113"/>
                <a:gd name="T33" fmla="*/ 28239 h 52"/>
                <a:gd name="T34" fmla="*/ 464 w 113"/>
                <a:gd name="T35" fmla="*/ 24851 h 52"/>
                <a:gd name="T36" fmla="*/ 0 w 113"/>
                <a:gd name="T37" fmla="*/ 22592 h 52"/>
                <a:gd name="T38" fmla="*/ 464 w 113"/>
                <a:gd name="T39" fmla="*/ 16944 h 52"/>
                <a:gd name="T40" fmla="*/ 464 w 113"/>
                <a:gd name="T41" fmla="*/ 12425 h 52"/>
                <a:gd name="T42" fmla="*/ 1391 w 113"/>
                <a:gd name="T43" fmla="*/ 9037 h 52"/>
                <a:gd name="T44" fmla="*/ 2318 w 113"/>
                <a:gd name="T45" fmla="*/ 5648 h 52"/>
                <a:gd name="T46" fmla="*/ 3245 w 113"/>
                <a:gd name="T47" fmla="*/ 3389 h 52"/>
                <a:gd name="T48" fmla="*/ 4636 w 113"/>
                <a:gd name="T49" fmla="*/ 2259 h 52"/>
                <a:gd name="T50" fmla="*/ 6490 w 113"/>
                <a:gd name="T51" fmla="*/ 1130 h 52"/>
                <a:gd name="T52" fmla="*/ 7881 w 113"/>
                <a:gd name="T53" fmla="*/ 0 h 52"/>
                <a:gd name="T54" fmla="*/ 12054 w 113"/>
                <a:gd name="T55" fmla="*/ 0 h 52"/>
                <a:gd name="T56" fmla="*/ 16690 w 113"/>
                <a:gd name="T57" fmla="*/ 2259 h 52"/>
                <a:gd name="T58" fmla="*/ 21326 w 113"/>
                <a:gd name="T59" fmla="*/ 5648 h 52"/>
                <a:gd name="T60" fmla="*/ 26425 w 113"/>
                <a:gd name="T61" fmla="*/ 10166 h 52"/>
                <a:gd name="T62" fmla="*/ 35697 w 113"/>
                <a:gd name="T63" fmla="*/ 20332 h 52"/>
                <a:gd name="T64" fmla="*/ 44042 w 113"/>
                <a:gd name="T65" fmla="*/ 32758 h 52"/>
                <a:gd name="T66" fmla="*/ 50069 w 113"/>
                <a:gd name="T67" fmla="*/ 40665 h 52"/>
                <a:gd name="T68" fmla="*/ 52387 w 113"/>
                <a:gd name="T69" fmla="*/ 44054 h 5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13" h="52">
                  <a:moveTo>
                    <a:pt x="113" y="39"/>
                  </a:moveTo>
                  <a:lnTo>
                    <a:pt x="112" y="42"/>
                  </a:lnTo>
                  <a:lnTo>
                    <a:pt x="109" y="45"/>
                  </a:lnTo>
                  <a:lnTo>
                    <a:pt x="106" y="47"/>
                  </a:lnTo>
                  <a:lnTo>
                    <a:pt x="103" y="49"/>
                  </a:lnTo>
                  <a:lnTo>
                    <a:pt x="94" y="51"/>
                  </a:lnTo>
                  <a:lnTo>
                    <a:pt x="85" y="52"/>
                  </a:lnTo>
                  <a:lnTo>
                    <a:pt x="66" y="52"/>
                  </a:lnTo>
                  <a:lnTo>
                    <a:pt x="53" y="51"/>
                  </a:lnTo>
                  <a:lnTo>
                    <a:pt x="47" y="51"/>
                  </a:lnTo>
                  <a:lnTo>
                    <a:pt x="39" y="48"/>
                  </a:lnTo>
                  <a:lnTo>
                    <a:pt x="30" y="45"/>
                  </a:lnTo>
                  <a:lnTo>
                    <a:pt x="21" y="41"/>
                  </a:lnTo>
                  <a:lnTo>
                    <a:pt x="13" y="36"/>
                  </a:lnTo>
                  <a:lnTo>
                    <a:pt x="6" y="31"/>
                  </a:lnTo>
                  <a:lnTo>
                    <a:pt x="4" y="28"/>
                  </a:lnTo>
                  <a:lnTo>
                    <a:pt x="2" y="25"/>
                  </a:lnTo>
                  <a:lnTo>
                    <a:pt x="1" y="22"/>
                  </a:lnTo>
                  <a:lnTo>
                    <a:pt x="0" y="20"/>
                  </a:lnTo>
                  <a:lnTo>
                    <a:pt x="1" y="15"/>
                  </a:lnTo>
                  <a:lnTo>
                    <a:pt x="1" y="11"/>
                  </a:lnTo>
                  <a:lnTo>
                    <a:pt x="3" y="8"/>
                  </a:lnTo>
                  <a:lnTo>
                    <a:pt x="5" y="5"/>
                  </a:lnTo>
                  <a:lnTo>
                    <a:pt x="7" y="3"/>
                  </a:lnTo>
                  <a:lnTo>
                    <a:pt x="10" y="2"/>
                  </a:lnTo>
                  <a:lnTo>
                    <a:pt x="14" y="1"/>
                  </a:lnTo>
                  <a:lnTo>
                    <a:pt x="17" y="0"/>
                  </a:lnTo>
                  <a:lnTo>
                    <a:pt x="26" y="0"/>
                  </a:lnTo>
                  <a:lnTo>
                    <a:pt x="36" y="2"/>
                  </a:lnTo>
                  <a:lnTo>
                    <a:pt x="46" y="5"/>
                  </a:lnTo>
                  <a:lnTo>
                    <a:pt x="57" y="9"/>
                  </a:lnTo>
                  <a:lnTo>
                    <a:pt x="77" y="18"/>
                  </a:lnTo>
                  <a:lnTo>
                    <a:pt x="95" y="29"/>
                  </a:lnTo>
                  <a:lnTo>
                    <a:pt x="108" y="36"/>
                  </a:lnTo>
                  <a:lnTo>
                    <a:pt x="113" y="3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940" name="Freeform 499"/>
            <p:cNvSpPr>
              <a:spLocks/>
            </p:cNvSpPr>
            <p:nvPr>
              <p:custDataLst>
                <p:tags r:id="rId332"/>
              </p:custDataLst>
            </p:nvPr>
          </p:nvSpPr>
          <p:spPr bwMode="auto">
            <a:xfrm>
              <a:off x="8093639" y="1377464"/>
              <a:ext cx="73811" cy="70535"/>
            </a:xfrm>
            <a:custGeom>
              <a:avLst/>
              <a:gdLst>
                <a:gd name="T0" fmla="*/ 0 w 139"/>
                <a:gd name="T1" fmla="*/ 11747 h 40"/>
                <a:gd name="T2" fmla="*/ 3563 w 139"/>
                <a:gd name="T3" fmla="*/ 13216 h 40"/>
                <a:gd name="T4" fmla="*/ 8463 w 139"/>
                <a:gd name="T5" fmla="*/ 11747 h 40"/>
                <a:gd name="T6" fmla="*/ 13362 w 139"/>
                <a:gd name="T7" fmla="*/ 10279 h 40"/>
                <a:gd name="T8" fmla="*/ 18707 w 139"/>
                <a:gd name="T9" fmla="*/ 7342 h 40"/>
                <a:gd name="T10" fmla="*/ 23607 w 139"/>
                <a:gd name="T11" fmla="*/ 2937 h 40"/>
                <a:gd name="T12" fmla="*/ 28506 w 139"/>
                <a:gd name="T13" fmla="*/ 1468 h 40"/>
                <a:gd name="T14" fmla="*/ 32515 w 139"/>
                <a:gd name="T15" fmla="*/ 0 h 40"/>
                <a:gd name="T16" fmla="*/ 35633 w 139"/>
                <a:gd name="T17" fmla="*/ 2937 h 40"/>
                <a:gd name="T18" fmla="*/ 61912 w 139"/>
                <a:gd name="T19" fmla="*/ 57269 h 40"/>
                <a:gd name="T20" fmla="*/ 59240 w 139"/>
                <a:gd name="T21" fmla="*/ 58737 h 40"/>
                <a:gd name="T22" fmla="*/ 55676 w 139"/>
                <a:gd name="T23" fmla="*/ 57269 h 40"/>
                <a:gd name="T24" fmla="*/ 51668 w 139"/>
                <a:gd name="T25" fmla="*/ 55800 h 40"/>
                <a:gd name="T26" fmla="*/ 47213 w 139"/>
                <a:gd name="T27" fmla="*/ 52863 h 40"/>
                <a:gd name="T28" fmla="*/ 38305 w 139"/>
                <a:gd name="T29" fmla="*/ 44053 h 40"/>
                <a:gd name="T30" fmla="*/ 28506 w 139"/>
                <a:gd name="T31" fmla="*/ 35242 h 40"/>
                <a:gd name="T32" fmla="*/ 19598 w 139"/>
                <a:gd name="T33" fmla="*/ 23495 h 40"/>
                <a:gd name="T34" fmla="*/ 11581 w 139"/>
                <a:gd name="T35" fmla="*/ 16153 h 40"/>
                <a:gd name="T36" fmla="*/ 7572 w 139"/>
                <a:gd name="T37" fmla="*/ 13216 h 40"/>
                <a:gd name="T38" fmla="*/ 4900 w 139"/>
                <a:gd name="T39" fmla="*/ 10279 h 40"/>
                <a:gd name="T40" fmla="*/ 1782 w 139"/>
                <a:gd name="T41" fmla="*/ 10279 h 40"/>
                <a:gd name="T42" fmla="*/ 0 w 139"/>
                <a:gd name="T43" fmla="*/ 11747 h 4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139" h="40">
                  <a:moveTo>
                    <a:pt x="0" y="8"/>
                  </a:moveTo>
                  <a:lnTo>
                    <a:pt x="8" y="9"/>
                  </a:lnTo>
                  <a:lnTo>
                    <a:pt x="19" y="8"/>
                  </a:lnTo>
                  <a:lnTo>
                    <a:pt x="30" y="7"/>
                  </a:lnTo>
                  <a:lnTo>
                    <a:pt x="42" y="5"/>
                  </a:lnTo>
                  <a:lnTo>
                    <a:pt x="53" y="2"/>
                  </a:lnTo>
                  <a:lnTo>
                    <a:pt x="64" y="1"/>
                  </a:lnTo>
                  <a:lnTo>
                    <a:pt x="73" y="0"/>
                  </a:lnTo>
                  <a:lnTo>
                    <a:pt x="80" y="2"/>
                  </a:lnTo>
                  <a:lnTo>
                    <a:pt x="139" y="39"/>
                  </a:lnTo>
                  <a:lnTo>
                    <a:pt x="133" y="40"/>
                  </a:lnTo>
                  <a:lnTo>
                    <a:pt x="125" y="39"/>
                  </a:lnTo>
                  <a:lnTo>
                    <a:pt x="116" y="38"/>
                  </a:lnTo>
                  <a:lnTo>
                    <a:pt x="106" y="36"/>
                  </a:lnTo>
                  <a:lnTo>
                    <a:pt x="86" y="30"/>
                  </a:lnTo>
                  <a:lnTo>
                    <a:pt x="64" y="24"/>
                  </a:lnTo>
                  <a:lnTo>
                    <a:pt x="44" y="16"/>
                  </a:lnTo>
                  <a:lnTo>
                    <a:pt x="26" y="11"/>
                  </a:lnTo>
                  <a:lnTo>
                    <a:pt x="17" y="9"/>
                  </a:lnTo>
                  <a:lnTo>
                    <a:pt x="11" y="7"/>
                  </a:lnTo>
                  <a:lnTo>
                    <a:pt x="4" y="7"/>
                  </a:lnTo>
                  <a:lnTo>
                    <a:pt x="0" y="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941" name="Freeform 500"/>
            <p:cNvSpPr>
              <a:spLocks/>
            </p:cNvSpPr>
            <p:nvPr>
              <p:custDataLst>
                <p:tags r:id="rId333"/>
              </p:custDataLst>
            </p:nvPr>
          </p:nvSpPr>
          <p:spPr bwMode="auto">
            <a:xfrm>
              <a:off x="8451340" y="1306926"/>
              <a:ext cx="166549" cy="68630"/>
            </a:xfrm>
            <a:custGeom>
              <a:avLst/>
              <a:gdLst>
                <a:gd name="T0" fmla="*/ 4298 w 325"/>
                <a:gd name="T1" fmla="*/ 5635 h 71"/>
                <a:gd name="T2" fmla="*/ 13325 w 325"/>
                <a:gd name="T3" fmla="*/ 805 h 71"/>
                <a:gd name="T4" fmla="*/ 22782 w 325"/>
                <a:gd name="T5" fmla="*/ 0 h 71"/>
                <a:gd name="T6" fmla="*/ 31379 w 325"/>
                <a:gd name="T7" fmla="*/ 3220 h 71"/>
                <a:gd name="T8" fmla="*/ 39546 w 325"/>
                <a:gd name="T9" fmla="*/ 8049 h 71"/>
                <a:gd name="T10" fmla="*/ 47283 w 325"/>
                <a:gd name="T11" fmla="*/ 14489 h 71"/>
                <a:gd name="T12" fmla="*/ 52441 w 325"/>
                <a:gd name="T13" fmla="*/ 23343 h 71"/>
                <a:gd name="T14" fmla="*/ 55880 w 325"/>
                <a:gd name="T15" fmla="*/ 30587 h 71"/>
                <a:gd name="T16" fmla="*/ 58459 w 325"/>
                <a:gd name="T17" fmla="*/ 27368 h 71"/>
                <a:gd name="T18" fmla="*/ 59749 w 325"/>
                <a:gd name="T19" fmla="*/ 12074 h 71"/>
                <a:gd name="T20" fmla="*/ 69205 w 325"/>
                <a:gd name="T21" fmla="*/ 5635 h 71"/>
                <a:gd name="T22" fmla="*/ 92847 w 325"/>
                <a:gd name="T23" fmla="*/ 10464 h 71"/>
                <a:gd name="T24" fmla="*/ 110900 w 325"/>
                <a:gd name="T25" fmla="*/ 18513 h 71"/>
                <a:gd name="T26" fmla="*/ 121646 w 325"/>
                <a:gd name="T27" fmla="*/ 25758 h 71"/>
                <a:gd name="T28" fmla="*/ 131103 w 325"/>
                <a:gd name="T29" fmla="*/ 34612 h 71"/>
                <a:gd name="T30" fmla="*/ 137551 w 325"/>
                <a:gd name="T31" fmla="*/ 44271 h 71"/>
                <a:gd name="T32" fmla="*/ 135831 w 325"/>
                <a:gd name="T33" fmla="*/ 51515 h 71"/>
                <a:gd name="T34" fmla="*/ 126375 w 325"/>
                <a:gd name="T35" fmla="*/ 54735 h 71"/>
                <a:gd name="T36" fmla="*/ 111330 w 325"/>
                <a:gd name="T37" fmla="*/ 57150 h 71"/>
                <a:gd name="T38" fmla="*/ 90268 w 325"/>
                <a:gd name="T39" fmla="*/ 56345 h 71"/>
                <a:gd name="T40" fmla="*/ 71784 w 325"/>
                <a:gd name="T41" fmla="*/ 54735 h 71"/>
                <a:gd name="T42" fmla="*/ 57170 w 325"/>
                <a:gd name="T43" fmla="*/ 55540 h 71"/>
                <a:gd name="T44" fmla="*/ 38686 w 325"/>
                <a:gd name="T45" fmla="*/ 57150 h 71"/>
                <a:gd name="T46" fmla="*/ 30949 w 325"/>
                <a:gd name="T47" fmla="*/ 54735 h 71"/>
                <a:gd name="T48" fmla="*/ 28800 w 325"/>
                <a:gd name="T49" fmla="*/ 51515 h 71"/>
                <a:gd name="T50" fmla="*/ 24931 w 325"/>
                <a:gd name="T51" fmla="*/ 49101 h 71"/>
                <a:gd name="T52" fmla="*/ 19773 w 325"/>
                <a:gd name="T53" fmla="*/ 47491 h 71"/>
                <a:gd name="T54" fmla="*/ 15045 w 325"/>
                <a:gd name="T55" fmla="*/ 42661 h 71"/>
                <a:gd name="T56" fmla="*/ 10746 w 325"/>
                <a:gd name="T57" fmla="*/ 36222 h 71"/>
                <a:gd name="T58" fmla="*/ 6878 w 325"/>
                <a:gd name="T59" fmla="*/ 31392 h 71"/>
                <a:gd name="T60" fmla="*/ 2579 w 325"/>
                <a:gd name="T61" fmla="*/ 29782 h 71"/>
                <a:gd name="T62" fmla="*/ 0 w 325"/>
                <a:gd name="T63" fmla="*/ 17708 h 7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325" h="71">
                  <a:moveTo>
                    <a:pt x="0" y="12"/>
                  </a:moveTo>
                  <a:lnTo>
                    <a:pt x="10" y="7"/>
                  </a:lnTo>
                  <a:lnTo>
                    <a:pt x="20" y="3"/>
                  </a:lnTo>
                  <a:lnTo>
                    <a:pt x="31" y="1"/>
                  </a:lnTo>
                  <a:lnTo>
                    <a:pt x="42" y="0"/>
                  </a:lnTo>
                  <a:lnTo>
                    <a:pt x="53" y="0"/>
                  </a:lnTo>
                  <a:lnTo>
                    <a:pt x="62" y="2"/>
                  </a:lnTo>
                  <a:lnTo>
                    <a:pt x="73" y="4"/>
                  </a:lnTo>
                  <a:lnTo>
                    <a:pt x="83" y="6"/>
                  </a:lnTo>
                  <a:lnTo>
                    <a:pt x="92" y="10"/>
                  </a:lnTo>
                  <a:lnTo>
                    <a:pt x="101" y="14"/>
                  </a:lnTo>
                  <a:lnTo>
                    <a:pt x="110" y="18"/>
                  </a:lnTo>
                  <a:lnTo>
                    <a:pt x="116" y="23"/>
                  </a:lnTo>
                  <a:lnTo>
                    <a:pt x="122" y="29"/>
                  </a:lnTo>
                  <a:lnTo>
                    <a:pt x="127" y="33"/>
                  </a:lnTo>
                  <a:lnTo>
                    <a:pt x="130" y="38"/>
                  </a:lnTo>
                  <a:lnTo>
                    <a:pt x="133" y="43"/>
                  </a:lnTo>
                  <a:lnTo>
                    <a:pt x="136" y="34"/>
                  </a:lnTo>
                  <a:lnTo>
                    <a:pt x="138" y="25"/>
                  </a:lnTo>
                  <a:lnTo>
                    <a:pt x="139" y="15"/>
                  </a:lnTo>
                  <a:lnTo>
                    <a:pt x="139" y="6"/>
                  </a:lnTo>
                  <a:lnTo>
                    <a:pt x="161" y="7"/>
                  </a:lnTo>
                  <a:lnTo>
                    <a:pt x="188" y="9"/>
                  </a:lnTo>
                  <a:lnTo>
                    <a:pt x="216" y="13"/>
                  </a:lnTo>
                  <a:lnTo>
                    <a:pt x="245" y="19"/>
                  </a:lnTo>
                  <a:lnTo>
                    <a:pt x="258" y="23"/>
                  </a:lnTo>
                  <a:lnTo>
                    <a:pt x="271" y="28"/>
                  </a:lnTo>
                  <a:lnTo>
                    <a:pt x="283" y="32"/>
                  </a:lnTo>
                  <a:lnTo>
                    <a:pt x="295" y="37"/>
                  </a:lnTo>
                  <a:lnTo>
                    <a:pt x="305" y="43"/>
                  </a:lnTo>
                  <a:lnTo>
                    <a:pt x="314" y="48"/>
                  </a:lnTo>
                  <a:lnTo>
                    <a:pt x="320" y="55"/>
                  </a:lnTo>
                  <a:lnTo>
                    <a:pt x="325" y="61"/>
                  </a:lnTo>
                  <a:lnTo>
                    <a:pt x="316" y="64"/>
                  </a:lnTo>
                  <a:lnTo>
                    <a:pt x="305" y="67"/>
                  </a:lnTo>
                  <a:lnTo>
                    <a:pt x="294" y="68"/>
                  </a:lnTo>
                  <a:lnTo>
                    <a:pt x="283" y="70"/>
                  </a:lnTo>
                  <a:lnTo>
                    <a:pt x="259" y="71"/>
                  </a:lnTo>
                  <a:lnTo>
                    <a:pt x="234" y="71"/>
                  </a:lnTo>
                  <a:lnTo>
                    <a:pt x="210" y="70"/>
                  </a:lnTo>
                  <a:lnTo>
                    <a:pt x="186" y="69"/>
                  </a:lnTo>
                  <a:lnTo>
                    <a:pt x="167" y="68"/>
                  </a:lnTo>
                  <a:lnTo>
                    <a:pt x="152" y="67"/>
                  </a:lnTo>
                  <a:lnTo>
                    <a:pt x="133" y="69"/>
                  </a:lnTo>
                  <a:lnTo>
                    <a:pt x="104" y="71"/>
                  </a:lnTo>
                  <a:lnTo>
                    <a:pt x="90" y="71"/>
                  </a:lnTo>
                  <a:lnTo>
                    <a:pt x="78" y="70"/>
                  </a:lnTo>
                  <a:lnTo>
                    <a:pt x="72" y="68"/>
                  </a:lnTo>
                  <a:lnTo>
                    <a:pt x="69" y="67"/>
                  </a:lnTo>
                  <a:lnTo>
                    <a:pt x="67" y="64"/>
                  </a:lnTo>
                  <a:lnTo>
                    <a:pt x="66" y="61"/>
                  </a:lnTo>
                  <a:lnTo>
                    <a:pt x="58" y="61"/>
                  </a:lnTo>
                  <a:lnTo>
                    <a:pt x="51" y="60"/>
                  </a:lnTo>
                  <a:lnTo>
                    <a:pt x="46" y="59"/>
                  </a:lnTo>
                  <a:lnTo>
                    <a:pt x="42" y="57"/>
                  </a:lnTo>
                  <a:lnTo>
                    <a:pt x="35" y="53"/>
                  </a:lnTo>
                  <a:lnTo>
                    <a:pt x="31" y="49"/>
                  </a:lnTo>
                  <a:lnTo>
                    <a:pt x="25" y="45"/>
                  </a:lnTo>
                  <a:lnTo>
                    <a:pt x="20" y="41"/>
                  </a:lnTo>
                  <a:lnTo>
                    <a:pt x="16" y="39"/>
                  </a:lnTo>
                  <a:lnTo>
                    <a:pt x="12" y="38"/>
                  </a:lnTo>
                  <a:lnTo>
                    <a:pt x="6" y="37"/>
                  </a:lnTo>
                  <a:lnTo>
                    <a:pt x="0" y="37"/>
                  </a:lnTo>
                  <a:lnTo>
                    <a:pt x="0" y="22"/>
                  </a:lnTo>
                  <a:lnTo>
                    <a:pt x="0" y="1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942" name="Freeform 501"/>
            <p:cNvSpPr>
              <a:spLocks/>
            </p:cNvSpPr>
            <p:nvPr>
              <p:custDataLst>
                <p:tags r:id="rId334"/>
              </p:custDataLst>
            </p:nvPr>
          </p:nvSpPr>
          <p:spPr bwMode="auto">
            <a:xfrm>
              <a:off x="8642493" y="1316459"/>
              <a:ext cx="113556" cy="68630"/>
            </a:xfrm>
            <a:custGeom>
              <a:avLst/>
              <a:gdLst>
                <a:gd name="T0" fmla="*/ 37667 w 220"/>
                <a:gd name="T1" fmla="*/ 19844 h 72"/>
                <a:gd name="T2" fmla="*/ 39832 w 220"/>
                <a:gd name="T3" fmla="*/ 20638 h 72"/>
                <a:gd name="T4" fmla="*/ 42430 w 220"/>
                <a:gd name="T5" fmla="*/ 21431 h 72"/>
                <a:gd name="T6" fmla="*/ 43728 w 220"/>
                <a:gd name="T7" fmla="*/ 22225 h 72"/>
                <a:gd name="T8" fmla="*/ 45027 w 220"/>
                <a:gd name="T9" fmla="*/ 21431 h 72"/>
                <a:gd name="T10" fmla="*/ 47192 w 220"/>
                <a:gd name="T11" fmla="*/ 21431 h 72"/>
                <a:gd name="T12" fmla="*/ 48924 w 220"/>
                <a:gd name="T13" fmla="*/ 19844 h 72"/>
                <a:gd name="T14" fmla="*/ 49357 w 220"/>
                <a:gd name="T15" fmla="*/ 20638 h 72"/>
                <a:gd name="T16" fmla="*/ 49790 w 220"/>
                <a:gd name="T17" fmla="*/ 20638 h 72"/>
                <a:gd name="T18" fmla="*/ 50223 w 220"/>
                <a:gd name="T19" fmla="*/ 19844 h 72"/>
                <a:gd name="T20" fmla="*/ 50656 w 220"/>
                <a:gd name="T21" fmla="*/ 19844 h 72"/>
                <a:gd name="T22" fmla="*/ 51522 w 220"/>
                <a:gd name="T23" fmla="*/ 17463 h 72"/>
                <a:gd name="T24" fmla="*/ 51955 w 220"/>
                <a:gd name="T25" fmla="*/ 13494 h 72"/>
                <a:gd name="T26" fmla="*/ 51955 w 220"/>
                <a:gd name="T27" fmla="*/ 5556 h 72"/>
                <a:gd name="T28" fmla="*/ 51955 w 220"/>
                <a:gd name="T29" fmla="*/ 0 h 72"/>
                <a:gd name="T30" fmla="*/ 54119 w 220"/>
                <a:gd name="T31" fmla="*/ 3969 h 72"/>
                <a:gd name="T32" fmla="*/ 56717 w 220"/>
                <a:gd name="T33" fmla="*/ 7938 h 72"/>
                <a:gd name="T34" fmla="*/ 59315 w 220"/>
                <a:gd name="T35" fmla="*/ 11906 h 72"/>
                <a:gd name="T36" fmla="*/ 61913 w 220"/>
                <a:gd name="T37" fmla="*/ 15081 h 72"/>
                <a:gd name="T38" fmla="*/ 67541 w 220"/>
                <a:gd name="T39" fmla="*/ 19844 h 72"/>
                <a:gd name="T40" fmla="*/ 73602 w 220"/>
                <a:gd name="T41" fmla="*/ 23813 h 72"/>
                <a:gd name="T42" fmla="*/ 79231 w 220"/>
                <a:gd name="T43" fmla="*/ 27781 h 72"/>
                <a:gd name="T44" fmla="*/ 84859 w 220"/>
                <a:gd name="T45" fmla="*/ 32544 h 72"/>
                <a:gd name="T46" fmla="*/ 87890 w 220"/>
                <a:gd name="T47" fmla="*/ 34925 h 72"/>
                <a:gd name="T48" fmla="*/ 90488 w 220"/>
                <a:gd name="T49" fmla="*/ 37306 h 72"/>
                <a:gd name="T50" fmla="*/ 92652 w 220"/>
                <a:gd name="T51" fmla="*/ 40481 h 72"/>
                <a:gd name="T52" fmla="*/ 95250 w 220"/>
                <a:gd name="T53" fmla="*/ 43656 h 72"/>
                <a:gd name="T54" fmla="*/ 89189 w 220"/>
                <a:gd name="T55" fmla="*/ 44450 h 72"/>
                <a:gd name="T56" fmla="*/ 83993 w 220"/>
                <a:gd name="T57" fmla="*/ 45244 h 72"/>
                <a:gd name="T58" fmla="*/ 78798 w 220"/>
                <a:gd name="T59" fmla="*/ 46038 h 72"/>
                <a:gd name="T60" fmla="*/ 74035 w 220"/>
                <a:gd name="T61" fmla="*/ 47625 h 72"/>
                <a:gd name="T62" fmla="*/ 65376 w 220"/>
                <a:gd name="T63" fmla="*/ 51594 h 72"/>
                <a:gd name="T64" fmla="*/ 58016 w 220"/>
                <a:gd name="T65" fmla="*/ 55563 h 72"/>
                <a:gd name="T66" fmla="*/ 54552 w 220"/>
                <a:gd name="T67" fmla="*/ 56356 h 72"/>
                <a:gd name="T68" fmla="*/ 50656 w 220"/>
                <a:gd name="T69" fmla="*/ 57150 h 72"/>
                <a:gd name="T70" fmla="*/ 47625 w 220"/>
                <a:gd name="T71" fmla="*/ 57150 h 72"/>
                <a:gd name="T72" fmla="*/ 44594 w 220"/>
                <a:gd name="T73" fmla="*/ 57150 h 72"/>
                <a:gd name="T74" fmla="*/ 41131 w 220"/>
                <a:gd name="T75" fmla="*/ 55563 h 72"/>
                <a:gd name="T76" fmla="*/ 38100 w 220"/>
                <a:gd name="T77" fmla="*/ 52388 h 72"/>
                <a:gd name="T78" fmla="*/ 35069 w 220"/>
                <a:gd name="T79" fmla="*/ 48419 h 72"/>
                <a:gd name="T80" fmla="*/ 32039 w 220"/>
                <a:gd name="T81" fmla="*/ 43656 h 72"/>
                <a:gd name="T82" fmla="*/ 25544 w 220"/>
                <a:gd name="T83" fmla="*/ 42069 h 72"/>
                <a:gd name="T84" fmla="*/ 19483 w 220"/>
                <a:gd name="T85" fmla="*/ 39688 h 72"/>
                <a:gd name="T86" fmla="*/ 14288 w 220"/>
                <a:gd name="T87" fmla="*/ 37306 h 72"/>
                <a:gd name="T88" fmla="*/ 9525 w 220"/>
                <a:gd name="T89" fmla="*/ 34131 h 72"/>
                <a:gd name="T90" fmla="*/ 7793 w 220"/>
                <a:gd name="T91" fmla="*/ 32544 h 72"/>
                <a:gd name="T92" fmla="*/ 5628 w 220"/>
                <a:gd name="T93" fmla="*/ 30163 h 72"/>
                <a:gd name="T94" fmla="*/ 3897 w 220"/>
                <a:gd name="T95" fmla="*/ 27781 h 72"/>
                <a:gd name="T96" fmla="*/ 3031 w 220"/>
                <a:gd name="T97" fmla="*/ 24606 h 72"/>
                <a:gd name="T98" fmla="*/ 1299 w 220"/>
                <a:gd name="T99" fmla="*/ 21431 h 72"/>
                <a:gd name="T100" fmla="*/ 866 w 220"/>
                <a:gd name="T101" fmla="*/ 18256 h 72"/>
                <a:gd name="T102" fmla="*/ 433 w 220"/>
                <a:gd name="T103" fmla="*/ 14288 h 72"/>
                <a:gd name="T104" fmla="*/ 0 w 220"/>
                <a:gd name="T105" fmla="*/ 10319 h 72"/>
                <a:gd name="T106" fmla="*/ 9958 w 220"/>
                <a:gd name="T107" fmla="*/ 13494 h 72"/>
                <a:gd name="T108" fmla="*/ 19050 w 220"/>
                <a:gd name="T109" fmla="*/ 16669 h 72"/>
                <a:gd name="T110" fmla="*/ 27709 w 220"/>
                <a:gd name="T111" fmla="*/ 19050 h 72"/>
                <a:gd name="T112" fmla="*/ 37667 w 220"/>
                <a:gd name="T113" fmla="*/ 19844 h 7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220" h="72">
                  <a:moveTo>
                    <a:pt x="87" y="25"/>
                  </a:moveTo>
                  <a:lnTo>
                    <a:pt x="92" y="26"/>
                  </a:lnTo>
                  <a:lnTo>
                    <a:pt x="98" y="27"/>
                  </a:lnTo>
                  <a:lnTo>
                    <a:pt x="101" y="28"/>
                  </a:lnTo>
                  <a:lnTo>
                    <a:pt x="104" y="27"/>
                  </a:lnTo>
                  <a:lnTo>
                    <a:pt x="109" y="27"/>
                  </a:lnTo>
                  <a:lnTo>
                    <a:pt x="113" y="25"/>
                  </a:lnTo>
                  <a:lnTo>
                    <a:pt x="114" y="26"/>
                  </a:lnTo>
                  <a:lnTo>
                    <a:pt x="115" y="26"/>
                  </a:lnTo>
                  <a:lnTo>
                    <a:pt x="116" y="25"/>
                  </a:lnTo>
                  <a:lnTo>
                    <a:pt x="117" y="25"/>
                  </a:lnTo>
                  <a:lnTo>
                    <a:pt x="119" y="22"/>
                  </a:lnTo>
                  <a:lnTo>
                    <a:pt x="120" y="17"/>
                  </a:lnTo>
                  <a:lnTo>
                    <a:pt x="120" y="7"/>
                  </a:lnTo>
                  <a:lnTo>
                    <a:pt x="120" y="0"/>
                  </a:lnTo>
                  <a:lnTo>
                    <a:pt x="125" y="5"/>
                  </a:lnTo>
                  <a:lnTo>
                    <a:pt x="131" y="10"/>
                  </a:lnTo>
                  <a:lnTo>
                    <a:pt x="137" y="15"/>
                  </a:lnTo>
                  <a:lnTo>
                    <a:pt x="143" y="19"/>
                  </a:lnTo>
                  <a:lnTo>
                    <a:pt x="156" y="25"/>
                  </a:lnTo>
                  <a:lnTo>
                    <a:pt x="170" y="30"/>
                  </a:lnTo>
                  <a:lnTo>
                    <a:pt x="183" y="35"/>
                  </a:lnTo>
                  <a:lnTo>
                    <a:pt x="196" y="41"/>
                  </a:lnTo>
                  <a:lnTo>
                    <a:pt x="203" y="44"/>
                  </a:lnTo>
                  <a:lnTo>
                    <a:pt x="209" y="47"/>
                  </a:lnTo>
                  <a:lnTo>
                    <a:pt x="214" y="51"/>
                  </a:lnTo>
                  <a:lnTo>
                    <a:pt x="220" y="55"/>
                  </a:lnTo>
                  <a:lnTo>
                    <a:pt x="206" y="56"/>
                  </a:lnTo>
                  <a:lnTo>
                    <a:pt x="194" y="57"/>
                  </a:lnTo>
                  <a:lnTo>
                    <a:pt x="182" y="58"/>
                  </a:lnTo>
                  <a:lnTo>
                    <a:pt x="171" y="60"/>
                  </a:lnTo>
                  <a:lnTo>
                    <a:pt x="151" y="65"/>
                  </a:lnTo>
                  <a:lnTo>
                    <a:pt x="134" y="70"/>
                  </a:lnTo>
                  <a:lnTo>
                    <a:pt x="126" y="71"/>
                  </a:lnTo>
                  <a:lnTo>
                    <a:pt x="117" y="72"/>
                  </a:lnTo>
                  <a:lnTo>
                    <a:pt x="110" y="72"/>
                  </a:lnTo>
                  <a:lnTo>
                    <a:pt x="103" y="72"/>
                  </a:lnTo>
                  <a:lnTo>
                    <a:pt x="95" y="70"/>
                  </a:lnTo>
                  <a:lnTo>
                    <a:pt x="88" y="66"/>
                  </a:lnTo>
                  <a:lnTo>
                    <a:pt x="81" y="61"/>
                  </a:lnTo>
                  <a:lnTo>
                    <a:pt x="74" y="55"/>
                  </a:lnTo>
                  <a:lnTo>
                    <a:pt x="59" y="53"/>
                  </a:lnTo>
                  <a:lnTo>
                    <a:pt x="45" y="50"/>
                  </a:lnTo>
                  <a:lnTo>
                    <a:pt x="33" y="47"/>
                  </a:lnTo>
                  <a:lnTo>
                    <a:pt x="22" y="43"/>
                  </a:lnTo>
                  <a:lnTo>
                    <a:pt x="18" y="41"/>
                  </a:lnTo>
                  <a:lnTo>
                    <a:pt x="13" y="38"/>
                  </a:lnTo>
                  <a:lnTo>
                    <a:pt x="9" y="35"/>
                  </a:lnTo>
                  <a:lnTo>
                    <a:pt x="7" y="31"/>
                  </a:lnTo>
                  <a:lnTo>
                    <a:pt x="3" y="27"/>
                  </a:lnTo>
                  <a:lnTo>
                    <a:pt x="2" y="23"/>
                  </a:lnTo>
                  <a:lnTo>
                    <a:pt x="1" y="18"/>
                  </a:lnTo>
                  <a:lnTo>
                    <a:pt x="0" y="13"/>
                  </a:lnTo>
                  <a:lnTo>
                    <a:pt x="23" y="17"/>
                  </a:lnTo>
                  <a:lnTo>
                    <a:pt x="44" y="21"/>
                  </a:lnTo>
                  <a:lnTo>
                    <a:pt x="64" y="24"/>
                  </a:lnTo>
                  <a:lnTo>
                    <a:pt x="87" y="2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943" name="Freeform 502"/>
            <p:cNvSpPr>
              <a:spLocks/>
            </p:cNvSpPr>
            <p:nvPr>
              <p:custDataLst>
                <p:tags r:id="rId335"/>
              </p:custDataLst>
            </p:nvPr>
          </p:nvSpPr>
          <p:spPr bwMode="auto">
            <a:xfrm>
              <a:off x="8595178" y="1373651"/>
              <a:ext cx="75704" cy="70535"/>
            </a:xfrm>
            <a:custGeom>
              <a:avLst/>
              <a:gdLst>
                <a:gd name="T0" fmla="*/ 63500 w 146"/>
                <a:gd name="T1" fmla="*/ 48948 h 30"/>
                <a:gd name="T2" fmla="*/ 60890 w 146"/>
                <a:gd name="T3" fmla="*/ 31326 h 30"/>
                <a:gd name="T4" fmla="*/ 59586 w 146"/>
                <a:gd name="T5" fmla="*/ 17621 h 30"/>
                <a:gd name="T6" fmla="*/ 57846 w 146"/>
                <a:gd name="T7" fmla="*/ 7832 h 30"/>
                <a:gd name="T8" fmla="*/ 55671 w 146"/>
                <a:gd name="T9" fmla="*/ 1958 h 30"/>
                <a:gd name="T10" fmla="*/ 54801 w 146"/>
                <a:gd name="T11" fmla="*/ 1958 h 30"/>
                <a:gd name="T12" fmla="*/ 53932 w 146"/>
                <a:gd name="T13" fmla="*/ 1958 h 30"/>
                <a:gd name="T14" fmla="*/ 52192 w 146"/>
                <a:gd name="T15" fmla="*/ 3916 h 30"/>
                <a:gd name="T16" fmla="*/ 51322 w 146"/>
                <a:gd name="T17" fmla="*/ 5874 h 30"/>
                <a:gd name="T18" fmla="*/ 49147 w 146"/>
                <a:gd name="T19" fmla="*/ 17621 h 30"/>
                <a:gd name="T20" fmla="*/ 45668 w 146"/>
                <a:gd name="T21" fmla="*/ 37200 h 30"/>
                <a:gd name="T22" fmla="*/ 31315 w 146"/>
                <a:gd name="T23" fmla="*/ 37200 h 30"/>
                <a:gd name="T24" fmla="*/ 27401 w 146"/>
                <a:gd name="T25" fmla="*/ 35242 h 30"/>
                <a:gd name="T26" fmla="*/ 23921 w 146"/>
                <a:gd name="T27" fmla="*/ 33284 h 30"/>
                <a:gd name="T28" fmla="*/ 20442 w 146"/>
                <a:gd name="T29" fmla="*/ 27411 h 30"/>
                <a:gd name="T30" fmla="*/ 17397 w 146"/>
                <a:gd name="T31" fmla="*/ 23495 h 30"/>
                <a:gd name="T32" fmla="*/ 12613 w 146"/>
                <a:gd name="T33" fmla="*/ 11747 h 30"/>
                <a:gd name="T34" fmla="*/ 8264 w 146"/>
                <a:gd name="T35" fmla="*/ 0 h 30"/>
                <a:gd name="T36" fmla="*/ 6089 w 146"/>
                <a:gd name="T37" fmla="*/ 17621 h 30"/>
                <a:gd name="T38" fmla="*/ 4349 w 146"/>
                <a:gd name="T39" fmla="*/ 29369 h 30"/>
                <a:gd name="T40" fmla="*/ 1740 w 146"/>
                <a:gd name="T41" fmla="*/ 39158 h 30"/>
                <a:gd name="T42" fmla="*/ 0 w 146"/>
                <a:gd name="T43" fmla="*/ 48948 h 30"/>
                <a:gd name="T44" fmla="*/ 14353 w 146"/>
                <a:gd name="T45" fmla="*/ 48948 h 30"/>
                <a:gd name="T46" fmla="*/ 24791 w 146"/>
                <a:gd name="T47" fmla="*/ 48948 h 30"/>
                <a:gd name="T48" fmla="*/ 33490 w 146"/>
                <a:gd name="T49" fmla="*/ 48948 h 30"/>
                <a:gd name="T50" fmla="*/ 43058 w 146"/>
                <a:gd name="T51" fmla="*/ 48948 h 30"/>
                <a:gd name="T52" fmla="*/ 47842 w 146"/>
                <a:gd name="T53" fmla="*/ 50905 h 30"/>
                <a:gd name="T54" fmla="*/ 53497 w 146"/>
                <a:gd name="T55" fmla="*/ 56779 h 30"/>
                <a:gd name="T56" fmla="*/ 55671 w 146"/>
                <a:gd name="T57" fmla="*/ 58737 h 30"/>
                <a:gd name="T58" fmla="*/ 58716 w 146"/>
                <a:gd name="T59" fmla="*/ 58737 h 30"/>
                <a:gd name="T60" fmla="*/ 60890 w 146"/>
                <a:gd name="T61" fmla="*/ 54821 h 30"/>
                <a:gd name="T62" fmla="*/ 63500 w 146"/>
                <a:gd name="T63" fmla="*/ 48948 h 3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46" h="30">
                  <a:moveTo>
                    <a:pt x="146" y="25"/>
                  </a:moveTo>
                  <a:lnTo>
                    <a:pt x="140" y="16"/>
                  </a:lnTo>
                  <a:lnTo>
                    <a:pt x="137" y="9"/>
                  </a:lnTo>
                  <a:lnTo>
                    <a:pt x="133" y="4"/>
                  </a:lnTo>
                  <a:lnTo>
                    <a:pt x="128" y="1"/>
                  </a:lnTo>
                  <a:lnTo>
                    <a:pt x="126" y="1"/>
                  </a:lnTo>
                  <a:lnTo>
                    <a:pt x="124" y="1"/>
                  </a:lnTo>
                  <a:lnTo>
                    <a:pt x="120" y="2"/>
                  </a:lnTo>
                  <a:lnTo>
                    <a:pt x="118" y="3"/>
                  </a:lnTo>
                  <a:lnTo>
                    <a:pt x="113" y="9"/>
                  </a:lnTo>
                  <a:lnTo>
                    <a:pt x="105" y="19"/>
                  </a:lnTo>
                  <a:lnTo>
                    <a:pt x="72" y="19"/>
                  </a:lnTo>
                  <a:lnTo>
                    <a:pt x="63" y="18"/>
                  </a:lnTo>
                  <a:lnTo>
                    <a:pt x="55" y="17"/>
                  </a:lnTo>
                  <a:lnTo>
                    <a:pt x="47" y="14"/>
                  </a:lnTo>
                  <a:lnTo>
                    <a:pt x="40" y="12"/>
                  </a:lnTo>
                  <a:lnTo>
                    <a:pt x="29" y="6"/>
                  </a:lnTo>
                  <a:lnTo>
                    <a:pt x="19" y="0"/>
                  </a:lnTo>
                  <a:lnTo>
                    <a:pt x="14" y="9"/>
                  </a:lnTo>
                  <a:lnTo>
                    <a:pt x="10" y="15"/>
                  </a:lnTo>
                  <a:lnTo>
                    <a:pt x="4" y="20"/>
                  </a:lnTo>
                  <a:lnTo>
                    <a:pt x="0" y="25"/>
                  </a:lnTo>
                  <a:lnTo>
                    <a:pt x="33" y="25"/>
                  </a:lnTo>
                  <a:lnTo>
                    <a:pt x="57" y="25"/>
                  </a:lnTo>
                  <a:lnTo>
                    <a:pt x="77" y="25"/>
                  </a:lnTo>
                  <a:lnTo>
                    <a:pt x="99" y="25"/>
                  </a:lnTo>
                  <a:lnTo>
                    <a:pt x="110" y="26"/>
                  </a:lnTo>
                  <a:lnTo>
                    <a:pt x="123" y="29"/>
                  </a:lnTo>
                  <a:lnTo>
                    <a:pt x="128" y="30"/>
                  </a:lnTo>
                  <a:lnTo>
                    <a:pt x="135" y="30"/>
                  </a:lnTo>
                  <a:lnTo>
                    <a:pt x="140" y="28"/>
                  </a:lnTo>
                  <a:lnTo>
                    <a:pt x="146" y="2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944" name="Freeform 503"/>
            <p:cNvSpPr>
              <a:spLocks/>
            </p:cNvSpPr>
            <p:nvPr>
              <p:custDataLst>
                <p:tags r:id="rId336"/>
              </p:custDataLst>
            </p:nvPr>
          </p:nvSpPr>
          <p:spPr bwMode="auto">
            <a:xfrm>
              <a:off x="8570576" y="1369839"/>
              <a:ext cx="24603" cy="70535"/>
            </a:xfrm>
            <a:custGeom>
              <a:avLst/>
              <a:gdLst>
                <a:gd name="T0" fmla="*/ 0 w 53"/>
                <a:gd name="T1" fmla="*/ 58737 h 9"/>
                <a:gd name="T2" fmla="*/ 6619 w 53"/>
                <a:gd name="T3" fmla="*/ 58737 h 9"/>
                <a:gd name="T4" fmla="*/ 11292 w 53"/>
                <a:gd name="T5" fmla="*/ 58737 h 9"/>
                <a:gd name="T6" fmla="*/ 15575 w 53"/>
                <a:gd name="T7" fmla="*/ 58737 h 9"/>
                <a:gd name="T8" fmla="*/ 20637 w 53"/>
                <a:gd name="T9" fmla="*/ 58737 h 9"/>
                <a:gd name="T10" fmla="*/ 17911 w 53"/>
                <a:gd name="T11" fmla="*/ 39158 h 9"/>
                <a:gd name="T12" fmla="*/ 14796 w 53"/>
                <a:gd name="T13" fmla="*/ 19579 h 9"/>
                <a:gd name="T14" fmla="*/ 12071 w 53"/>
                <a:gd name="T15" fmla="*/ 6526 h 9"/>
                <a:gd name="T16" fmla="*/ 9734 w 53"/>
                <a:gd name="T17" fmla="*/ 0 h 9"/>
                <a:gd name="T18" fmla="*/ 7398 w 53"/>
                <a:gd name="T19" fmla="*/ 0 h 9"/>
                <a:gd name="T20" fmla="*/ 5451 w 53"/>
                <a:gd name="T21" fmla="*/ 0 h 9"/>
                <a:gd name="T22" fmla="*/ 3504 w 53"/>
                <a:gd name="T23" fmla="*/ 6526 h 9"/>
                <a:gd name="T24" fmla="*/ 2336 w 53"/>
                <a:gd name="T25" fmla="*/ 19579 h 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3" h="9">
                  <a:moveTo>
                    <a:pt x="0" y="9"/>
                  </a:moveTo>
                  <a:lnTo>
                    <a:pt x="17" y="9"/>
                  </a:lnTo>
                  <a:lnTo>
                    <a:pt x="29" y="9"/>
                  </a:lnTo>
                  <a:lnTo>
                    <a:pt x="40" y="9"/>
                  </a:lnTo>
                  <a:lnTo>
                    <a:pt x="53" y="9"/>
                  </a:lnTo>
                  <a:lnTo>
                    <a:pt x="46" y="6"/>
                  </a:lnTo>
                  <a:lnTo>
                    <a:pt x="38" y="3"/>
                  </a:lnTo>
                  <a:lnTo>
                    <a:pt x="31" y="1"/>
                  </a:lnTo>
                  <a:lnTo>
                    <a:pt x="25" y="0"/>
                  </a:lnTo>
                  <a:lnTo>
                    <a:pt x="19" y="0"/>
                  </a:lnTo>
                  <a:lnTo>
                    <a:pt x="14" y="0"/>
                  </a:lnTo>
                  <a:lnTo>
                    <a:pt x="9" y="1"/>
                  </a:lnTo>
                  <a:lnTo>
                    <a:pt x="6" y="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945" name="Line 504"/>
            <p:cNvSpPr>
              <a:spLocks noChangeShapeType="1"/>
            </p:cNvSpPr>
            <p:nvPr>
              <p:custDataLst>
                <p:tags r:id="rId337"/>
              </p:custDataLst>
            </p:nvPr>
          </p:nvSpPr>
          <p:spPr bwMode="auto">
            <a:xfrm flipV="1">
              <a:off x="8572466" y="1367930"/>
              <a:ext cx="0" cy="1907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946" name="Freeform 505"/>
            <p:cNvSpPr>
              <a:spLocks/>
            </p:cNvSpPr>
            <p:nvPr>
              <p:custDataLst>
                <p:tags r:id="rId338"/>
              </p:custDataLst>
            </p:nvPr>
          </p:nvSpPr>
          <p:spPr bwMode="auto">
            <a:xfrm>
              <a:off x="7582637" y="1282144"/>
              <a:ext cx="13248" cy="66723"/>
            </a:xfrm>
            <a:custGeom>
              <a:avLst/>
              <a:gdLst>
                <a:gd name="T0" fmla="*/ 0 w 26"/>
                <a:gd name="T1" fmla="*/ 55562 h 25"/>
                <a:gd name="T2" fmla="*/ 2137 w 26"/>
                <a:gd name="T3" fmla="*/ 37782 h 25"/>
                <a:gd name="T4" fmla="*/ 5556 w 26"/>
                <a:gd name="T5" fmla="*/ 17780 h 25"/>
                <a:gd name="T6" fmla="*/ 6838 w 26"/>
                <a:gd name="T7" fmla="*/ 11112 h 25"/>
                <a:gd name="T8" fmla="*/ 8548 w 26"/>
                <a:gd name="T9" fmla="*/ 4445 h 25"/>
                <a:gd name="T10" fmla="*/ 9830 w 26"/>
                <a:gd name="T11" fmla="*/ 2222 h 25"/>
                <a:gd name="T12" fmla="*/ 11112 w 26"/>
                <a:gd name="T13" fmla="*/ 0 h 25"/>
                <a:gd name="T14" fmla="*/ 11112 w 26"/>
                <a:gd name="T15" fmla="*/ 55562 h 25"/>
                <a:gd name="T16" fmla="*/ 8548 w 26"/>
                <a:gd name="T17" fmla="*/ 55562 h 25"/>
                <a:gd name="T18" fmla="*/ 5556 w 26"/>
                <a:gd name="T19" fmla="*/ 55562 h 25"/>
                <a:gd name="T20" fmla="*/ 0 w 26"/>
                <a:gd name="T21" fmla="*/ 55562 h 2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6" h="25">
                  <a:moveTo>
                    <a:pt x="0" y="25"/>
                  </a:moveTo>
                  <a:lnTo>
                    <a:pt x="5" y="17"/>
                  </a:lnTo>
                  <a:lnTo>
                    <a:pt x="13" y="8"/>
                  </a:lnTo>
                  <a:lnTo>
                    <a:pt x="16" y="5"/>
                  </a:lnTo>
                  <a:lnTo>
                    <a:pt x="20" y="2"/>
                  </a:lnTo>
                  <a:lnTo>
                    <a:pt x="23" y="1"/>
                  </a:lnTo>
                  <a:lnTo>
                    <a:pt x="26" y="0"/>
                  </a:lnTo>
                  <a:lnTo>
                    <a:pt x="26" y="25"/>
                  </a:lnTo>
                  <a:lnTo>
                    <a:pt x="20" y="25"/>
                  </a:lnTo>
                  <a:lnTo>
                    <a:pt x="13" y="25"/>
                  </a:lnTo>
                  <a:lnTo>
                    <a:pt x="0" y="2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947" name="Freeform 506"/>
            <p:cNvSpPr>
              <a:spLocks/>
            </p:cNvSpPr>
            <p:nvPr>
              <p:custDataLst>
                <p:tags r:id="rId339"/>
              </p:custDataLst>
            </p:nvPr>
          </p:nvSpPr>
          <p:spPr bwMode="auto">
            <a:xfrm>
              <a:off x="8475946" y="1367930"/>
              <a:ext cx="11356" cy="68630"/>
            </a:xfrm>
            <a:custGeom>
              <a:avLst/>
              <a:gdLst>
                <a:gd name="T0" fmla="*/ 9525 w 33"/>
                <a:gd name="T1" fmla="*/ 57150 h 25"/>
                <a:gd name="T2" fmla="*/ 9525 w 33"/>
                <a:gd name="T3" fmla="*/ 27432 h 25"/>
                <a:gd name="T4" fmla="*/ 9525 w 33"/>
                <a:gd name="T5" fmla="*/ 0 h 25"/>
                <a:gd name="T6" fmla="*/ 0 w 33"/>
                <a:gd name="T7" fmla="*/ 0 h 25"/>
                <a:gd name="T8" fmla="*/ 2598 w 33"/>
                <a:gd name="T9" fmla="*/ 20574 h 25"/>
                <a:gd name="T10" fmla="*/ 4618 w 33"/>
                <a:gd name="T11" fmla="*/ 38862 h 25"/>
                <a:gd name="T12" fmla="*/ 5773 w 33"/>
                <a:gd name="T13" fmla="*/ 45720 h 25"/>
                <a:gd name="T14" fmla="*/ 6927 w 33"/>
                <a:gd name="T15" fmla="*/ 52578 h 25"/>
                <a:gd name="T16" fmla="*/ 8082 w 33"/>
                <a:gd name="T17" fmla="*/ 54864 h 25"/>
                <a:gd name="T18" fmla="*/ 9525 w 33"/>
                <a:gd name="T19" fmla="*/ 57150 h 2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33" h="25">
                  <a:moveTo>
                    <a:pt x="33" y="25"/>
                  </a:moveTo>
                  <a:lnTo>
                    <a:pt x="33" y="12"/>
                  </a:lnTo>
                  <a:lnTo>
                    <a:pt x="33" y="0"/>
                  </a:lnTo>
                  <a:lnTo>
                    <a:pt x="0" y="0"/>
                  </a:lnTo>
                  <a:lnTo>
                    <a:pt x="9" y="9"/>
                  </a:lnTo>
                  <a:lnTo>
                    <a:pt x="16" y="17"/>
                  </a:lnTo>
                  <a:lnTo>
                    <a:pt x="20" y="20"/>
                  </a:lnTo>
                  <a:lnTo>
                    <a:pt x="24" y="23"/>
                  </a:lnTo>
                  <a:lnTo>
                    <a:pt x="28" y="24"/>
                  </a:lnTo>
                  <a:lnTo>
                    <a:pt x="33" y="2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948" name="Freeform 507"/>
            <p:cNvSpPr>
              <a:spLocks/>
            </p:cNvSpPr>
            <p:nvPr>
              <p:custDataLst>
                <p:tags r:id="rId340"/>
              </p:custDataLst>
            </p:nvPr>
          </p:nvSpPr>
          <p:spPr bwMode="auto">
            <a:xfrm>
              <a:off x="8421059" y="1324084"/>
              <a:ext cx="11356" cy="68630"/>
            </a:xfrm>
            <a:custGeom>
              <a:avLst/>
              <a:gdLst>
                <a:gd name="T0" fmla="*/ 0 w 20"/>
                <a:gd name="T1" fmla="*/ 0 h 18"/>
                <a:gd name="T2" fmla="*/ 6191 w 20"/>
                <a:gd name="T3" fmla="*/ 57150 h 18"/>
                <a:gd name="T4" fmla="*/ 7620 w 20"/>
                <a:gd name="T5" fmla="*/ 34925 h 18"/>
                <a:gd name="T6" fmla="*/ 9525 w 20"/>
                <a:gd name="T7" fmla="*/ 0 h 18"/>
                <a:gd name="T8" fmla="*/ 0 w 20"/>
                <a:gd name="T9" fmla="*/ 0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13" y="18"/>
                  </a:lnTo>
                  <a:lnTo>
                    <a:pt x="16" y="11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949" name="Freeform 508"/>
            <p:cNvSpPr>
              <a:spLocks/>
            </p:cNvSpPr>
            <p:nvPr>
              <p:custDataLst>
                <p:tags r:id="rId341"/>
              </p:custDataLst>
            </p:nvPr>
          </p:nvSpPr>
          <p:spPr bwMode="auto">
            <a:xfrm>
              <a:off x="9017228" y="2008473"/>
              <a:ext cx="15141" cy="70537"/>
            </a:xfrm>
            <a:custGeom>
              <a:avLst/>
              <a:gdLst>
                <a:gd name="T0" fmla="*/ 0 w 33"/>
                <a:gd name="T1" fmla="*/ 58738 h 31"/>
                <a:gd name="T2" fmla="*/ 0 w 33"/>
                <a:gd name="T3" fmla="*/ 0 h 31"/>
                <a:gd name="T4" fmla="*/ 3464 w 33"/>
                <a:gd name="T5" fmla="*/ 0 h 31"/>
                <a:gd name="T6" fmla="*/ 6158 w 33"/>
                <a:gd name="T7" fmla="*/ 0 h 31"/>
                <a:gd name="T8" fmla="*/ 9236 w 33"/>
                <a:gd name="T9" fmla="*/ 0 h 31"/>
                <a:gd name="T10" fmla="*/ 12700 w 33"/>
                <a:gd name="T11" fmla="*/ 0 h 31"/>
                <a:gd name="T12" fmla="*/ 11545 w 33"/>
                <a:gd name="T13" fmla="*/ 3790 h 31"/>
                <a:gd name="T14" fmla="*/ 11161 w 33"/>
                <a:gd name="T15" fmla="*/ 9474 h 31"/>
                <a:gd name="T16" fmla="*/ 10776 w 33"/>
                <a:gd name="T17" fmla="*/ 17053 h 31"/>
                <a:gd name="T18" fmla="*/ 10776 w 33"/>
                <a:gd name="T19" fmla="*/ 24632 h 31"/>
                <a:gd name="T20" fmla="*/ 10776 w 33"/>
                <a:gd name="T21" fmla="*/ 32211 h 31"/>
                <a:gd name="T22" fmla="*/ 11161 w 33"/>
                <a:gd name="T23" fmla="*/ 39790 h 31"/>
                <a:gd name="T24" fmla="*/ 11545 w 33"/>
                <a:gd name="T25" fmla="*/ 49264 h 31"/>
                <a:gd name="T26" fmla="*/ 12700 w 33"/>
                <a:gd name="T27" fmla="*/ 58738 h 31"/>
                <a:gd name="T28" fmla="*/ 0 w 33"/>
                <a:gd name="T29" fmla="*/ 58738 h 3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33" h="31">
                  <a:moveTo>
                    <a:pt x="0" y="31"/>
                  </a:moveTo>
                  <a:lnTo>
                    <a:pt x="0" y="0"/>
                  </a:lnTo>
                  <a:lnTo>
                    <a:pt x="9" y="0"/>
                  </a:lnTo>
                  <a:lnTo>
                    <a:pt x="16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0" y="2"/>
                  </a:lnTo>
                  <a:lnTo>
                    <a:pt x="29" y="5"/>
                  </a:lnTo>
                  <a:lnTo>
                    <a:pt x="28" y="9"/>
                  </a:lnTo>
                  <a:lnTo>
                    <a:pt x="28" y="13"/>
                  </a:lnTo>
                  <a:lnTo>
                    <a:pt x="28" y="17"/>
                  </a:lnTo>
                  <a:lnTo>
                    <a:pt x="29" y="21"/>
                  </a:lnTo>
                  <a:lnTo>
                    <a:pt x="30" y="26"/>
                  </a:lnTo>
                  <a:lnTo>
                    <a:pt x="33" y="31"/>
                  </a:lnTo>
                  <a:lnTo>
                    <a:pt x="0" y="3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950" name="Freeform 509"/>
            <p:cNvSpPr>
              <a:spLocks/>
            </p:cNvSpPr>
            <p:nvPr>
              <p:custDataLst>
                <p:tags r:id="rId342"/>
              </p:custDataLst>
            </p:nvPr>
          </p:nvSpPr>
          <p:spPr bwMode="auto">
            <a:xfrm>
              <a:off x="9367360" y="1434655"/>
              <a:ext cx="66242" cy="70535"/>
            </a:xfrm>
            <a:custGeom>
              <a:avLst/>
              <a:gdLst>
                <a:gd name="T0" fmla="*/ 1292 w 129"/>
                <a:gd name="T1" fmla="*/ 46151 h 56"/>
                <a:gd name="T2" fmla="*/ 431 w 129"/>
                <a:gd name="T3" fmla="*/ 44053 h 56"/>
                <a:gd name="T4" fmla="*/ 431 w 129"/>
                <a:gd name="T5" fmla="*/ 41955 h 56"/>
                <a:gd name="T6" fmla="*/ 0 w 129"/>
                <a:gd name="T7" fmla="*/ 38808 h 56"/>
                <a:gd name="T8" fmla="*/ 431 w 129"/>
                <a:gd name="T9" fmla="*/ 34613 h 56"/>
                <a:gd name="T10" fmla="*/ 861 w 129"/>
                <a:gd name="T11" fmla="*/ 26222 h 56"/>
                <a:gd name="T12" fmla="*/ 1292 w 129"/>
                <a:gd name="T13" fmla="*/ 18880 h 56"/>
                <a:gd name="T14" fmla="*/ 3876 w 129"/>
                <a:gd name="T15" fmla="*/ 13635 h 56"/>
                <a:gd name="T16" fmla="*/ 6892 w 129"/>
                <a:gd name="T17" fmla="*/ 9440 h 56"/>
                <a:gd name="T18" fmla="*/ 9045 w 129"/>
                <a:gd name="T19" fmla="*/ 6293 h 56"/>
                <a:gd name="T20" fmla="*/ 11629 w 129"/>
                <a:gd name="T21" fmla="*/ 5244 h 56"/>
                <a:gd name="T22" fmla="*/ 16798 w 129"/>
                <a:gd name="T23" fmla="*/ 3147 h 56"/>
                <a:gd name="T24" fmla="*/ 24551 w 129"/>
                <a:gd name="T25" fmla="*/ 0 h 56"/>
                <a:gd name="T26" fmla="*/ 25843 w 129"/>
                <a:gd name="T27" fmla="*/ 5244 h 56"/>
                <a:gd name="T28" fmla="*/ 27566 w 129"/>
                <a:gd name="T29" fmla="*/ 8391 h 56"/>
                <a:gd name="T30" fmla="*/ 29720 w 129"/>
                <a:gd name="T31" fmla="*/ 11538 h 56"/>
                <a:gd name="T32" fmla="*/ 31443 w 129"/>
                <a:gd name="T33" fmla="*/ 14684 h 56"/>
                <a:gd name="T34" fmla="*/ 35750 w 129"/>
                <a:gd name="T35" fmla="*/ 18880 h 56"/>
                <a:gd name="T36" fmla="*/ 40057 w 129"/>
                <a:gd name="T37" fmla="*/ 22026 h 56"/>
                <a:gd name="T38" fmla="*/ 44364 w 129"/>
                <a:gd name="T39" fmla="*/ 26222 h 56"/>
                <a:gd name="T40" fmla="*/ 48671 w 129"/>
                <a:gd name="T41" fmla="*/ 30417 h 56"/>
                <a:gd name="T42" fmla="*/ 50394 w 129"/>
                <a:gd name="T43" fmla="*/ 33564 h 56"/>
                <a:gd name="T44" fmla="*/ 52117 w 129"/>
                <a:gd name="T45" fmla="*/ 36711 h 56"/>
                <a:gd name="T46" fmla="*/ 54271 w 129"/>
                <a:gd name="T47" fmla="*/ 39857 h 56"/>
                <a:gd name="T48" fmla="*/ 55563 w 129"/>
                <a:gd name="T49" fmla="*/ 46151 h 56"/>
                <a:gd name="T50" fmla="*/ 51256 w 129"/>
                <a:gd name="T51" fmla="*/ 50346 h 56"/>
                <a:gd name="T52" fmla="*/ 46949 w 129"/>
                <a:gd name="T53" fmla="*/ 53493 h 56"/>
                <a:gd name="T54" fmla="*/ 42641 w 129"/>
                <a:gd name="T55" fmla="*/ 55590 h 56"/>
                <a:gd name="T56" fmla="*/ 38765 w 129"/>
                <a:gd name="T57" fmla="*/ 56639 h 56"/>
                <a:gd name="T58" fmla="*/ 30150 w 129"/>
                <a:gd name="T59" fmla="*/ 58737 h 56"/>
                <a:gd name="T60" fmla="*/ 21105 w 129"/>
                <a:gd name="T61" fmla="*/ 58737 h 56"/>
                <a:gd name="T62" fmla="*/ 17229 w 129"/>
                <a:gd name="T63" fmla="*/ 57688 h 56"/>
                <a:gd name="T64" fmla="*/ 13352 w 129"/>
                <a:gd name="T65" fmla="*/ 56639 h 56"/>
                <a:gd name="T66" fmla="*/ 9907 w 129"/>
                <a:gd name="T67" fmla="*/ 54542 h 56"/>
                <a:gd name="T68" fmla="*/ 6892 w 129"/>
                <a:gd name="T69" fmla="*/ 52444 h 56"/>
                <a:gd name="T70" fmla="*/ 2584 w 129"/>
                <a:gd name="T71" fmla="*/ 48248 h 56"/>
                <a:gd name="T72" fmla="*/ 1292 w 129"/>
                <a:gd name="T73" fmla="*/ 46151 h 5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29" h="56">
                  <a:moveTo>
                    <a:pt x="3" y="44"/>
                  </a:moveTo>
                  <a:lnTo>
                    <a:pt x="1" y="42"/>
                  </a:lnTo>
                  <a:lnTo>
                    <a:pt x="1" y="40"/>
                  </a:lnTo>
                  <a:lnTo>
                    <a:pt x="0" y="37"/>
                  </a:lnTo>
                  <a:lnTo>
                    <a:pt x="1" y="33"/>
                  </a:lnTo>
                  <a:lnTo>
                    <a:pt x="2" y="25"/>
                  </a:lnTo>
                  <a:lnTo>
                    <a:pt x="3" y="18"/>
                  </a:lnTo>
                  <a:lnTo>
                    <a:pt x="9" y="13"/>
                  </a:lnTo>
                  <a:lnTo>
                    <a:pt x="16" y="9"/>
                  </a:lnTo>
                  <a:lnTo>
                    <a:pt x="21" y="6"/>
                  </a:lnTo>
                  <a:lnTo>
                    <a:pt x="27" y="5"/>
                  </a:lnTo>
                  <a:lnTo>
                    <a:pt x="39" y="3"/>
                  </a:lnTo>
                  <a:lnTo>
                    <a:pt x="57" y="0"/>
                  </a:lnTo>
                  <a:lnTo>
                    <a:pt x="60" y="5"/>
                  </a:lnTo>
                  <a:lnTo>
                    <a:pt x="64" y="8"/>
                  </a:lnTo>
                  <a:lnTo>
                    <a:pt x="69" y="11"/>
                  </a:lnTo>
                  <a:lnTo>
                    <a:pt x="73" y="14"/>
                  </a:lnTo>
                  <a:lnTo>
                    <a:pt x="83" y="18"/>
                  </a:lnTo>
                  <a:lnTo>
                    <a:pt x="93" y="21"/>
                  </a:lnTo>
                  <a:lnTo>
                    <a:pt x="103" y="25"/>
                  </a:lnTo>
                  <a:lnTo>
                    <a:pt x="113" y="29"/>
                  </a:lnTo>
                  <a:lnTo>
                    <a:pt x="117" y="32"/>
                  </a:lnTo>
                  <a:lnTo>
                    <a:pt x="121" y="35"/>
                  </a:lnTo>
                  <a:lnTo>
                    <a:pt x="126" y="38"/>
                  </a:lnTo>
                  <a:lnTo>
                    <a:pt x="129" y="44"/>
                  </a:lnTo>
                  <a:lnTo>
                    <a:pt x="119" y="48"/>
                  </a:lnTo>
                  <a:lnTo>
                    <a:pt x="109" y="51"/>
                  </a:lnTo>
                  <a:lnTo>
                    <a:pt x="99" y="53"/>
                  </a:lnTo>
                  <a:lnTo>
                    <a:pt x="90" y="54"/>
                  </a:lnTo>
                  <a:lnTo>
                    <a:pt x="70" y="56"/>
                  </a:lnTo>
                  <a:lnTo>
                    <a:pt x="49" y="56"/>
                  </a:lnTo>
                  <a:lnTo>
                    <a:pt x="40" y="55"/>
                  </a:lnTo>
                  <a:lnTo>
                    <a:pt x="31" y="54"/>
                  </a:lnTo>
                  <a:lnTo>
                    <a:pt x="23" y="52"/>
                  </a:lnTo>
                  <a:lnTo>
                    <a:pt x="16" y="50"/>
                  </a:lnTo>
                  <a:lnTo>
                    <a:pt x="6" y="46"/>
                  </a:lnTo>
                  <a:lnTo>
                    <a:pt x="3" y="4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951" name="Freeform 510"/>
            <p:cNvSpPr>
              <a:spLocks/>
            </p:cNvSpPr>
            <p:nvPr>
              <p:custDataLst>
                <p:tags r:id="rId343"/>
              </p:custDataLst>
            </p:nvPr>
          </p:nvSpPr>
          <p:spPr bwMode="auto">
            <a:xfrm>
              <a:off x="9530122" y="1857870"/>
              <a:ext cx="17034" cy="68630"/>
            </a:xfrm>
            <a:custGeom>
              <a:avLst/>
              <a:gdLst>
                <a:gd name="T0" fmla="*/ 7318 w 41"/>
                <a:gd name="T1" fmla="*/ 57150 h 42"/>
                <a:gd name="T2" fmla="*/ 0 w 41"/>
                <a:gd name="T3" fmla="*/ 40821 h 42"/>
                <a:gd name="T4" fmla="*/ 0 w 41"/>
                <a:gd name="T5" fmla="*/ 8164 h 42"/>
                <a:gd name="T6" fmla="*/ 2439 w 41"/>
                <a:gd name="T7" fmla="*/ 6804 h 42"/>
                <a:gd name="T8" fmla="*/ 4879 w 41"/>
                <a:gd name="T9" fmla="*/ 4082 h 42"/>
                <a:gd name="T10" fmla="*/ 8364 w 41"/>
                <a:gd name="T11" fmla="*/ 1361 h 42"/>
                <a:gd name="T12" fmla="*/ 11849 w 41"/>
                <a:gd name="T13" fmla="*/ 0 h 42"/>
                <a:gd name="T14" fmla="*/ 11849 w 41"/>
                <a:gd name="T15" fmla="*/ 24493 h 42"/>
                <a:gd name="T16" fmla="*/ 14288 w 41"/>
                <a:gd name="T17" fmla="*/ 24493 h 42"/>
                <a:gd name="T18" fmla="*/ 7318 w 41"/>
                <a:gd name="T19" fmla="*/ 57150 h 4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1" h="42">
                  <a:moveTo>
                    <a:pt x="21" y="42"/>
                  </a:moveTo>
                  <a:lnTo>
                    <a:pt x="0" y="30"/>
                  </a:lnTo>
                  <a:lnTo>
                    <a:pt x="0" y="6"/>
                  </a:lnTo>
                  <a:lnTo>
                    <a:pt x="7" y="5"/>
                  </a:lnTo>
                  <a:lnTo>
                    <a:pt x="14" y="3"/>
                  </a:lnTo>
                  <a:lnTo>
                    <a:pt x="24" y="1"/>
                  </a:lnTo>
                  <a:lnTo>
                    <a:pt x="34" y="0"/>
                  </a:lnTo>
                  <a:lnTo>
                    <a:pt x="34" y="18"/>
                  </a:lnTo>
                  <a:lnTo>
                    <a:pt x="41" y="18"/>
                  </a:lnTo>
                  <a:lnTo>
                    <a:pt x="21" y="4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952" name="Freeform 511"/>
            <p:cNvSpPr>
              <a:spLocks/>
            </p:cNvSpPr>
            <p:nvPr>
              <p:custDataLst>
                <p:tags r:id="rId344"/>
              </p:custDataLst>
            </p:nvPr>
          </p:nvSpPr>
          <p:spPr bwMode="auto">
            <a:xfrm>
              <a:off x="9708028" y="1993224"/>
              <a:ext cx="51101" cy="72442"/>
            </a:xfrm>
            <a:custGeom>
              <a:avLst/>
              <a:gdLst>
                <a:gd name="T0" fmla="*/ 27654 w 93"/>
                <a:gd name="T1" fmla="*/ 13921 h 39"/>
                <a:gd name="T2" fmla="*/ 30880 w 93"/>
                <a:gd name="T3" fmla="*/ 27842 h 39"/>
                <a:gd name="T4" fmla="*/ 35489 w 93"/>
                <a:gd name="T5" fmla="*/ 43310 h 39"/>
                <a:gd name="T6" fmla="*/ 37332 w 93"/>
                <a:gd name="T7" fmla="*/ 51044 h 39"/>
                <a:gd name="T8" fmla="*/ 39637 w 93"/>
                <a:gd name="T9" fmla="*/ 55685 h 39"/>
                <a:gd name="T10" fmla="*/ 41480 w 93"/>
                <a:gd name="T11" fmla="*/ 58778 h 39"/>
                <a:gd name="T12" fmla="*/ 42863 w 93"/>
                <a:gd name="T13" fmla="*/ 60325 h 39"/>
                <a:gd name="T14" fmla="*/ 27654 w 93"/>
                <a:gd name="T15" fmla="*/ 60325 h 39"/>
                <a:gd name="T16" fmla="*/ 23045 w 93"/>
                <a:gd name="T17" fmla="*/ 55685 h 39"/>
                <a:gd name="T18" fmla="*/ 19818 w 93"/>
                <a:gd name="T19" fmla="*/ 49497 h 39"/>
                <a:gd name="T20" fmla="*/ 16592 w 93"/>
                <a:gd name="T21" fmla="*/ 43310 h 39"/>
                <a:gd name="T22" fmla="*/ 13827 w 93"/>
                <a:gd name="T23" fmla="*/ 35576 h 39"/>
                <a:gd name="T24" fmla="*/ 11061 w 93"/>
                <a:gd name="T25" fmla="*/ 27842 h 39"/>
                <a:gd name="T26" fmla="*/ 7374 w 93"/>
                <a:gd name="T27" fmla="*/ 20108 h 39"/>
                <a:gd name="T28" fmla="*/ 4148 w 93"/>
                <a:gd name="T29" fmla="*/ 10828 h 39"/>
                <a:gd name="T30" fmla="*/ 0 w 93"/>
                <a:gd name="T31" fmla="*/ 4640 h 39"/>
                <a:gd name="T32" fmla="*/ 5070 w 93"/>
                <a:gd name="T33" fmla="*/ 1547 h 39"/>
                <a:gd name="T34" fmla="*/ 9218 w 93"/>
                <a:gd name="T35" fmla="*/ 0 h 39"/>
                <a:gd name="T36" fmla="*/ 11983 w 93"/>
                <a:gd name="T37" fmla="*/ 0 h 39"/>
                <a:gd name="T38" fmla="*/ 15209 w 93"/>
                <a:gd name="T39" fmla="*/ 1547 h 39"/>
                <a:gd name="T40" fmla="*/ 20279 w 93"/>
                <a:gd name="T41" fmla="*/ 6187 h 39"/>
                <a:gd name="T42" fmla="*/ 27654 w 93"/>
                <a:gd name="T43" fmla="*/ 13921 h 39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93" h="39">
                  <a:moveTo>
                    <a:pt x="60" y="9"/>
                  </a:moveTo>
                  <a:lnTo>
                    <a:pt x="67" y="18"/>
                  </a:lnTo>
                  <a:lnTo>
                    <a:pt x="77" y="28"/>
                  </a:lnTo>
                  <a:lnTo>
                    <a:pt x="81" y="33"/>
                  </a:lnTo>
                  <a:lnTo>
                    <a:pt x="86" y="36"/>
                  </a:lnTo>
                  <a:lnTo>
                    <a:pt x="90" y="38"/>
                  </a:lnTo>
                  <a:lnTo>
                    <a:pt x="93" y="39"/>
                  </a:lnTo>
                  <a:lnTo>
                    <a:pt x="60" y="39"/>
                  </a:lnTo>
                  <a:lnTo>
                    <a:pt x="50" y="36"/>
                  </a:lnTo>
                  <a:lnTo>
                    <a:pt x="43" y="32"/>
                  </a:lnTo>
                  <a:lnTo>
                    <a:pt x="36" y="28"/>
                  </a:lnTo>
                  <a:lnTo>
                    <a:pt x="30" y="23"/>
                  </a:lnTo>
                  <a:lnTo>
                    <a:pt x="24" y="18"/>
                  </a:lnTo>
                  <a:lnTo>
                    <a:pt x="16" y="13"/>
                  </a:lnTo>
                  <a:lnTo>
                    <a:pt x="9" y="7"/>
                  </a:lnTo>
                  <a:lnTo>
                    <a:pt x="0" y="3"/>
                  </a:lnTo>
                  <a:lnTo>
                    <a:pt x="11" y="1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3" y="1"/>
                  </a:lnTo>
                  <a:lnTo>
                    <a:pt x="44" y="4"/>
                  </a:lnTo>
                  <a:lnTo>
                    <a:pt x="60" y="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953" name="Freeform 512"/>
            <p:cNvSpPr>
              <a:spLocks/>
            </p:cNvSpPr>
            <p:nvPr>
              <p:custDataLst>
                <p:tags r:id="rId345"/>
              </p:custDataLst>
            </p:nvPr>
          </p:nvSpPr>
          <p:spPr bwMode="auto">
            <a:xfrm>
              <a:off x="9768590" y="2012286"/>
              <a:ext cx="22711" cy="70537"/>
            </a:xfrm>
            <a:custGeom>
              <a:avLst/>
              <a:gdLst>
                <a:gd name="T0" fmla="*/ 19050 w 39"/>
                <a:gd name="T1" fmla="*/ 58738 h 19"/>
                <a:gd name="T2" fmla="*/ 6350 w 39"/>
                <a:gd name="T3" fmla="*/ 58738 h 19"/>
                <a:gd name="T4" fmla="*/ 3908 w 39"/>
                <a:gd name="T5" fmla="*/ 58738 h 19"/>
                <a:gd name="T6" fmla="*/ 2442 w 39"/>
                <a:gd name="T7" fmla="*/ 52555 h 19"/>
                <a:gd name="T8" fmla="*/ 1465 w 39"/>
                <a:gd name="T9" fmla="*/ 43281 h 19"/>
                <a:gd name="T10" fmla="*/ 977 w 39"/>
                <a:gd name="T11" fmla="*/ 34006 h 19"/>
                <a:gd name="T12" fmla="*/ 0 w 39"/>
                <a:gd name="T13" fmla="*/ 15457 h 19"/>
                <a:gd name="T14" fmla="*/ 0 w 39"/>
                <a:gd name="T15" fmla="*/ 0 h 19"/>
                <a:gd name="T16" fmla="*/ 6350 w 39"/>
                <a:gd name="T17" fmla="*/ 12366 h 19"/>
                <a:gd name="T18" fmla="*/ 10746 w 39"/>
                <a:gd name="T19" fmla="*/ 27823 h 19"/>
                <a:gd name="T20" fmla="*/ 14654 w 39"/>
                <a:gd name="T21" fmla="*/ 43281 h 19"/>
                <a:gd name="T22" fmla="*/ 19050 w 39"/>
                <a:gd name="T23" fmla="*/ 58738 h 1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9" h="19">
                  <a:moveTo>
                    <a:pt x="39" y="19"/>
                  </a:moveTo>
                  <a:lnTo>
                    <a:pt x="13" y="19"/>
                  </a:lnTo>
                  <a:lnTo>
                    <a:pt x="8" y="19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2" y="11"/>
                  </a:lnTo>
                  <a:lnTo>
                    <a:pt x="0" y="5"/>
                  </a:lnTo>
                  <a:lnTo>
                    <a:pt x="0" y="0"/>
                  </a:lnTo>
                  <a:lnTo>
                    <a:pt x="13" y="4"/>
                  </a:lnTo>
                  <a:lnTo>
                    <a:pt x="22" y="9"/>
                  </a:lnTo>
                  <a:lnTo>
                    <a:pt x="30" y="14"/>
                  </a:lnTo>
                  <a:lnTo>
                    <a:pt x="39" y="1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954" name="Freeform 513"/>
            <p:cNvSpPr>
              <a:spLocks/>
            </p:cNvSpPr>
            <p:nvPr>
              <p:custDataLst>
                <p:tags r:id="rId346"/>
              </p:custDataLst>
            </p:nvPr>
          </p:nvSpPr>
          <p:spPr bwMode="auto">
            <a:xfrm>
              <a:off x="9607721" y="2164796"/>
              <a:ext cx="17033" cy="68630"/>
            </a:xfrm>
            <a:custGeom>
              <a:avLst/>
              <a:gdLst>
                <a:gd name="T0" fmla="*/ 0 w 26"/>
                <a:gd name="T1" fmla="*/ 57150 h 36"/>
                <a:gd name="T2" fmla="*/ 1649 w 26"/>
                <a:gd name="T3" fmla="*/ 49213 h 36"/>
                <a:gd name="T4" fmla="*/ 5495 w 26"/>
                <a:gd name="T5" fmla="*/ 31750 h 36"/>
                <a:gd name="T6" fmla="*/ 9891 w 26"/>
                <a:gd name="T7" fmla="*/ 12700 h 36"/>
                <a:gd name="T8" fmla="*/ 14287 w 26"/>
                <a:gd name="T9" fmla="*/ 0 h 36"/>
                <a:gd name="T10" fmla="*/ 14287 w 26"/>
                <a:gd name="T11" fmla="*/ 14288 h 36"/>
                <a:gd name="T12" fmla="*/ 14287 w 26"/>
                <a:gd name="T13" fmla="*/ 28575 h 36"/>
                <a:gd name="T14" fmla="*/ 13738 w 26"/>
                <a:gd name="T15" fmla="*/ 34925 h 36"/>
                <a:gd name="T16" fmla="*/ 13188 w 26"/>
                <a:gd name="T17" fmla="*/ 41275 h 36"/>
                <a:gd name="T18" fmla="*/ 11540 w 26"/>
                <a:gd name="T19" fmla="*/ 46038 h 36"/>
                <a:gd name="T20" fmla="*/ 9342 w 26"/>
                <a:gd name="T21" fmla="*/ 50800 h 36"/>
                <a:gd name="T22" fmla="*/ 7693 w 26"/>
                <a:gd name="T23" fmla="*/ 53975 h 36"/>
                <a:gd name="T24" fmla="*/ 5495 w 26"/>
                <a:gd name="T25" fmla="*/ 55563 h 36"/>
                <a:gd name="T26" fmla="*/ 2198 w 26"/>
                <a:gd name="T27" fmla="*/ 57150 h 36"/>
                <a:gd name="T28" fmla="*/ 0 w 26"/>
                <a:gd name="T29" fmla="*/ 57150 h 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6" h="36">
                  <a:moveTo>
                    <a:pt x="0" y="36"/>
                  </a:moveTo>
                  <a:lnTo>
                    <a:pt x="3" y="31"/>
                  </a:lnTo>
                  <a:lnTo>
                    <a:pt x="10" y="20"/>
                  </a:lnTo>
                  <a:lnTo>
                    <a:pt x="18" y="8"/>
                  </a:lnTo>
                  <a:lnTo>
                    <a:pt x="26" y="0"/>
                  </a:lnTo>
                  <a:lnTo>
                    <a:pt x="26" y="9"/>
                  </a:lnTo>
                  <a:lnTo>
                    <a:pt x="26" y="18"/>
                  </a:lnTo>
                  <a:lnTo>
                    <a:pt x="25" y="22"/>
                  </a:lnTo>
                  <a:lnTo>
                    <a:pt x="24" y="26"/>
                  </a:lnTo>
                  <a:lnTo>
                    <a:pt x="21" y="29"/>
                  </a:lnTo>
                  <a:lnTo>
                    <a:pt x="17" y="32"/>
                  </a:lnTo>
                  <a:lnTo>
                    <a:pt x="14" y="34"/>
                  </a:lnTo>
                  <a:lnTo>
                    <a:pt x="10" y="35"/>
                  </a:lnTo>
                  <a:lnTo>
                    <a:pt x="4" y="36"/>
                  </a:lnTo>
                  <a:lnTo>
                    <a:pt x="0" y="3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955" name="Freeform 514"/>
            <p:cNvSpPr>
              <a:spLocks/>
            </p:cNvSpPr>
            <p:nvPr>
              <p:custDataLst>
                <p:tags r:id="rId347"/>
              </p:custDataLst>
            </p:nvPr>
          </p:nvSpPr>
          <p:spPr bwMode="auto">
            <a:xfrm>
              <a:off x="9620969" y="2199112"/>
              <a:ext cx="3785" cy="72442"/>
            </a:xfrm>
            <a:custGeom>
              <a:avLst/>
              <a:gdLst>
                <a:gd name="T0" fmla="*/ 0 w 6"/>
                <a:gd name="T1" fmla="*/ 60325 h 37"/>
                <a:gd name="T2" fmla="*/ 0 w 6"/>
                <a:gd name="T3" fmla="*/ 0 h 37"/>
                <a:gd name="T4" fmla="*/ 3175 w 6"/>
                <a:gd name="T5" fmla="*/ 0 h 37"/>
                <a:gd name="T6" fmla="*/ 3175 w 6"/>
                <a:gd name="T7" fmla="*/ 50543 h 37"/>
                <a:gd name="T8" fmla="*/ 0 w 6"/>
                <a:gd name="T9" fmla="*/ 60325 h 3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" h="37">
                  <a:moveTo>
                    <a:pt x="0" y="37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31"/>
                  </a:lnTo>
                  <a:lnTo>
                    <a:pt x="0" y="3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956" name="Freeform 515"/>
            <p:cNvSpPr>
              <a:spLocks/>
            </p:cNvSpPr>
            <p:nvPr>
              <p:custDataLst>
                <p:tags r:id="rId348"/>
              </p:custDataLst>
            </p:nvPr>
          </p:nvSpPr>
          <p:spPr bwMode="auto">
            <a:xfrm>
              <a:off x="9605828" y="2298244"/>
              <a:ext cx="11356" cy="66724"/>
            </a:xfrm>
            <a:custGeom>
              <a:avLst/>
              <a:gdLst>
                <a:gd name="T0" fmla="*/ 0 w 20"/>
                <a:gd name="T1" fmla="*/ 40057 h 43"/>
                <a:gd name="T2" fmla="*/ 0 w 20"/>
                <a:gd name="T3" fmla="*/ 32304 h 43"/>
                <a:gd name="T4" fmla="*/ 0 w 20"/>
                <a:gd name="T5" fmla="*/ 23259 h 43"/>
                <a:gd name="T6" fmla="*/ 953 w 20"/>
                <a:gd name="T7" fmla="*/ 11629 h 43"/>
                <a:gd name="T8" fmla="*/ 3334 w 20"/>
                <a:gd name="T9" fmla="*/ 0 h 43"/>
                <a:gd name="T10" fmla="*/ 5239 w 20"/>
                <a:gd name="T11" fmla="*/ 9045 h 43"/>
                <a:gd name="T12" fmla="*/ 7620 w 20"/>
                <a:gd name="T13" fmla="*/ 15506 h 43"/>
                <a:gd name="T14" fmla="*/ 8096 w 20"/>
                <a:gd name="T15" fmla="*/ 18090 h 43"/>
                <a:gd name="T16" fmla="*/ 9049 w 20"/>
                <a:gd name="T17" fmla="*/ 23259 h 43"/>
                <a:gd name="T18" fmla="*/ 9049 w 20"/>
                <a:gd name="T19" fmla="*/ 27135 h 43"/>
                <a:gd name="T20" fmla="*/ 9525 w 20"/>
                <a:gd name="T21" fmla="*/ 32304 h 43"/>
                <a:gd name="T22" fmla="*/ 9049 w 20"/>
                <a:gd name="T23" fmla="*/ 34888 h 43"/>
                <a:gd name="T24" fmla="*/ 8573 w 20"/>
                <a:gd name="T25" fmla="*/ 38765 h 43"/>
                <a:gd name="T26" fmla="*/ 7620 w 20"/>
                <a:gd name="T27" fmla="*/ 42641 h 43"/>
                <a:gd name="T28" fmla="*/ 5715 w 20"/>
                <a:gd name="T29" fmla="*/ 46518 h 43"/>
                <a:gd name="T30" fmla="*/ 4286 w 20"/>
                <a:gd name="T31" fmla="*/ 50394 h 43"/>
                <a:gd name="T32" fmla="*/ 2858 w 20"/>
                <a:gd name="T33" fmla="*/ 52979 h 43"/>
                <a:gd name="T34" fmla="*/ 953 w 20"/>
                <a:gd name="T35" fmla="*/ 54271 h 43"/>
                <a:gd name="T36" fmla="*/ 0 w 20"/>
                <a:gd name="T37" fmla="*/ 55563 h 43"/>
                <a:gd name="T38" fmla="*/ 0 w 20"/>
                <a:gd name="T39" fmla="*/ 40057 h 4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20" h="43">
                  <a:moveTo>
                    <a:pt x="0" y="31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2" y="9"/>
                  </a:lnTo>
                  <a:lnTo>
                    <a:pt x="7" y="0"/>
                  </a:lnTo>
                  <a:lnTo>
                    <a:pt x="11" y="7"/>
                  </a:lnTo>
                  <a:lnTo>
                    <a:pt x="16" y="12"/>
                  </a:lnTo>
                  <a:lnTo>
                    <a:pt x="17" y="14"/>
                  </a:lnTo>
                  <a:lnTo>
                    <a:pt x="19" y="18"/>
                  </a:lnTo>
                  <a:lnTo>
                    <a:pt x="19" y="21"/>
                  </a:lnTo>
                  <a:lnTo>
                    <a:pt x="20" y="25"/>
                  </a:lnTo>
                  <a:lnTo>
                    <a:pt x="19" y="27"/>
                  </a:lnTo>
                  <a:lnTo>
                    <a:pt x="18" y="30"/>
                  </a:lnTo>
                  <a:lnTo>
                    <a:pt x="16" y="33"/>
                  </a:lnTo>
                  <a:lnTo>
                    <a:pt x="12" y="36"/>
                  </a:lnTo>
                  <a:lnTo>
                    <a:pt x="9" y="39"/>
                  </a:lnTo>
                  <a:lnTo>
                    <a:pt x="6" y="41"/>
                  </a:lnTo>
                  <a:lnTo>
                    <a:pt x="2" y="42"/>
                  </a:lnTo>
                  <a:lnTo>
                    <a:pt x="0" y="43"/>
                  </a:lnTo>
                  <a:lnTo>
                    <a:pt x="0" y="3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957" name="Freeform 516"/>
            <p:cNvSpPr>
              <a:spLocks/>
            </p:cNvSpPr>
            <p:nvPr>
              <p:custDataLst>
                <p:tags r:id="rId349"/>
              </p:custDataLst>
            </p:nvPr>
          </p:nvSpPr>
          <p:spPr bwMode="auto">
            <a:xfrm>
              <a:off x="9579330" y="2340183"/>
              <a:ext cx="0" cy="70537"/>
            </a:xfrm>
            <a:custGeom>
              <a:avLst/>
              <a:gdLst>
                <a:gd name="T0" fmla="*/ 58738 h 30"/>
                <a:gd name="T1" fmla="*/ 48948 h 30"/>
                <a:gd name="T2" fmla="*/ 35243 h 30"/>
                <a:gd name="T3" fmla="*/ 17621 h 30"/>
                <a:gd name="T4" fmla="*/ 0 h 30"/>
                <a:gd name="T5" fmla="*/ 0 60000 65536"/>
                <a:gd name="T6" fmla="*/ 0 60000 65536"/>
                <a:gd name="T7" fmla="*/ 0 60000 65536"/>
                <a:gd name="T8" fmla="*/ 0 60000 65536"/>
                <a:gd name="T9" fmla="*/ 0 60000 65536"/>
              </a:gdLst>
              <a:ahLst/>
              <a:cxnLst>
                <a:cxn ang="T5">
                  <a:pos x="0" y="T0"/>
                </a:cxn>
                <a:cxn ang="T6">
                  <a:pos x="0" y="T1"/>
                </a:cxn>
                <a:cxn ang="T7">
                  <a:pos x="0" y="T2"/>
                </a:cxn>
                <a:cxn ang="T8">
                  <a:pos x="0" y="T3"/>
                </a:cxn>
                <a:cxn ang="T9">
                  <a:pos x="0" y="T4"/>
                </a:cxn>
              </a:cxnLst>
              <a:rect l="0" t="0" r="r" b="b"/>
              <a:pathLst>
                <a:path h="30">
                  <a:moveTo>
                    <a:pt x="0" y="30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958" name="Freeform 517"/>
            <p:cNvSpPr>
              <a:spLocks/>
            </p:cNvSpPr>
            <p:nvPr>
              <p:custDataLst>
                <p:tags r:id="rId350"/>
              </p:custDataLst>
            </p:nvPr>
          </p:nvSpPr>
          <p:spPr bwMode="auto">
            <a:xfrm>
              <a:off x="9579330" y="2340183"/>
              <a:ext cx="9464" cy="70537"/>
            </a:xfrm>
            <a:custGeom>
              <a:avLst/>
              <a:gdLst>
                <a:gd name="T0" fmla="*/ 0 w 20"/>
                <a:gd name="T1" fmla="*/ 0 h 24"/>
                <a:gd name="T2" fmla="*/ 7938 w 20"/>
                <a:gd name="T3" fmla="*/ 0 h 24"/>
                <a:gd name="T4" fmla="*/ 0 w 20"/>
                <a:gd name="T5" fmla="*/ 58738 h 24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0" h="24">
                  <a:moveTo>
                    <a:pt x="0" y="0"/>
                  </a:moveTo>
                  <a:lnTo>
                    <a:pt x="20" y="0"/>
                  </a:lnTo>
                  <a:lnTo>
                    <a:pt x="0" y="2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959" name="Freeform 518"/>
            <p:cNvSpPr>
              <a:spLocks/>
            </p:cNvSpPr>
            <p:nvPr>
              <p:custDataLst>
                <p:tags r:id="rId351"/>
              </p:custDataLst>
            </p:nvPr>
          </p:nvSpPr>
          <p:spPr bwMode="auto">
            <a:xfrm>
              <a:off x="9285978" y="1844526"/>
              <a:ext cx="20818" cy="72442"/>
            </a:xfrm>
            <a:custGeom>
              <a:avLst/>
              <a:gdLst>
                <a:gd name="T0" fmla="*/ 0 w 46"/>
                <a:gd name="T1" fmla="*/ 0 h 19"/>
                <a:gd name="T2" fmla="*/ 3416 w 46"/>
                <a:gd name="T3" fmla="*/ 9525 h 19"/>
                <a:gd name="T4" fmla="*/ 5315 w 46"/>
                <a:gd name="T5" fmla="*/ 15875 h 19"/>
                <a:gd name="T6" fmla="*/ 7213 w 46"/>
                <a:gd name="T7" fmla="*/ 25400 h 19"/>
                <a:gd name="T8" fmla="*/ 8731 w 46"/>
                <a:gd name="T9" fmla="*/ 31750 h 19"/>
                <a:gd name="T10" fmla="*/ 9870 w 46"/>
                <a:gd name="T11" fmla="*/ 38100 h 19"/>
                <a:gd name="T12" fmla="*/ 12147 w 46"/>
                <a:gd name="T13" fmla="*/ 44450 h 19"/>
                <a:gd name="T14" fmla="*/ 14046 w 46"/>
                <a:gd name="T15" fmla="*/ 53975 h 19"/>
                <a:gd name="T16" fmla="*/ 17462 w 46"/>
                <a:gd name="T17" fmla="*/ 60325 h 19"/>
                <a:gd name="T18" fmla="*/ 12527 w 46"/>
                <a:gd name="T19" fmla="*/ 60325 h 19"/>
                <a:gd name="T20" fmla="*/ 9111 w 46"/>
                <a:gd name="T21" fmla="*/ 60325 h 19"/>
                <a:gd name="T22" fmla="*/ 6833 w 46"/>
                <a:gd name="T23" fmla="*/ 57150 h 19"/>
                <a:gd name="T24" fmla="*/ 4935 w 46"/>
                <a:gd name="T25" fmla="*/ 53975 h 19"/>
                <a:gd name="T26" fmla="*/ 3796 w 46"/>
                <a:gd name="T27" fmla="*/ 44450 h 19"/>
                <a:gd name="T28" fmla="*/ 2657 w 46"/>
                <a:gd name="T29" fmla="*/ 34925 h 19"/>
                <a:gd name="T30" fmla="*/ 1518 w 46"/>
                <a:gd name="T31" fmla="*/ 22225 h 19"/>
                <a:gd name="T32" fmla="*/ 0 w 46"/>
                <a:gd name="T33" fmla="*/ 0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46" h="19">
                  <a:moveTo>
                    <a:pt x="0" y="0"/>
                  </a:moveTo>
                  <a:lnTo>
                    <a:pt x="9" y="3"/>
                  </a:lnTo>
                  <a:lnTo>
                    <a:pt x="14" y="5"/>
                  </a:lnTo>
                  <a:lnTo>
                    <a:pt x="19" y="8"/>
                  </a:lnTo>
                  <a:lnTo>
                    <a:pt x="23" y="10"/>
                  </a:lnTo>
                  <a:lnTo>
                    <a:pt x="26" y="12"/>
                  </a:lnTo>
                  <a:lnTo>
                    <a:pt x="32" y="14"/>
                  </a:lnTo>
                  <a:lnTo>
                    <a:pt x="37" y="17"/>
                  </a:lnTo>
                  <a:lnTo>
                    <a:pt x="46" y="19"/>
                  </a:lnTo>
                  <a:lnTo>
                    <a:pt x="33" y="19"/>
                  </a:lnTo>
                  <a:lnTo>
                    <a:pt x="24" y="19"/>
                  </a:lnTo>
                  <a:lnTo>
                    <a:pt x="18" y="18"/>
                  </a:lnTo>
                  <a:lnTo>
                    <a:pt x="13" y="17"/>
                  </a:lnTo>
                  <a:lnTo>
                    <a:pt x="10" y="14"/>
                  </a:lnTo>
                  <a:lnTo>
                    <a:pt x="7" y="11"/>
                  </a:lnTo>
                  <a:lnTo>
                    <a:pt x="4" y="7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960" name="Freeform 519"/>
            <p:cNvSpPr>
              <a:spLocks/>
            </p:cNvSpPr>
            <p:nvPr>
              <p:custDataLst>
                <p:tags r:id="rId352"/>
              </p:custDataLst>
            </p:nvPr>
          </p:nvSpPr>
          <p:spPr bwMode="auto">
            <a:xfrm>
              <a:off x="6085590" y="2012286"/>
              <a:ext cx="56778" cy="70537"/>
            </a:xfrm>
            <a:custGeom>
              <a:avLst/>
              <a:gdLst>
                <a:gd name="T0" fmla="*/ 15716 w 100"/>
                <a:gd name="T1" fmla="*/ 0 h 55"/>
                <a:gd name="T2" fmla="*/ 47625 w 100"/>
                <a:gd name="T3" fmla="*/ 12816 h 55"/>
                <a:gd name="T4" fmla="*/ 47625 w 100"/>
                <a:gd name="T5" fmla="*/ 58738 h 55"/>
                <a:gd name="T6" fmla="*/ 6191 w 100"/>
                <a:gd name="T7" fmla="*/ 58738 h 55"/>
                <a:gd name="T8" fmla="*/ 0 w 100"/>
                <a:gd name="T9" fmla="*/ 45922 h 55"/>
                <a:gd name="T10" fmla="*/ 476 w 100"/>
                <a:gd name="T11" fmla="*/ 40583 h 55"/>
                <a:gd name="T12" fmla="*/ 1905 w 100"/>
                <a:gd name="T13" fmla="*/ 34175 h 55"/>
                <a:gd name="T14" fmla="*/ 4763 w 100"/>
                <a:gd name="T15" fmla="*/ 26699 h 55"/>
                <a:gd name="T16" fmla="*/ 7620 w 100"/>
                <a:gd name="T17" fmla="*/ 19223 h 55"/>
                <a:gd name="T18" fmla="*/ 12859 w 100"/>
                <a:gd name="T19" fmla="*/ 5340 h 55"/>
                <a:gd name="T20" fmla="*/ 15716 w 100"/>
                <a:gd name="T21" fmla="*/ 0 h 5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00" h="55">
                  <a:moveTo>
                    <a:pt x="33" y="0"/>
                  </a:moveTo>
                  <a:lnTo>
                    <a:pt x="100" y="12"/>
                  </a:lnTo>
                  <a:lnTo>
                    <a:pt x="100" y="55"/>
                  </a:lnTo>
                  <a:lnTo>
                    <a:pt x="13" y="55"/>
                  </a:lnTo>
                  <a:lnTo>
                    <a:pt x="0" y="43"/>
                  </a:lnTo>
                  <a:lnTo>
                    <a:pt x="1" y="38"/>
                  </a:lnTo>
                  <a:lnTo>
                    <a:pt x="4" y="32"/>
                  </a:lnTo>
                  <a:lnTo>
                    <a:pt x="10" y="25"/>
                  </a:lnTo>
                  <a:lnTo>
                    <a:pt x="16" y="18"/>
                  </a:lnTo>
                  <a:lnTo>
                    <a:pt x="27" y="5"/>
                  </a:lnTo>
                  <a:lnTo>
                    <a:pt x="3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961" name="Freeform 520"/>
            <p:cNvSpPr>
              <a:spLocks/>
            </p:cNvSpPr>
            <p:nvPr>
              <p:custDataLst>
                <p:tags r:id="rId353"/>
              </p:custDataLst>
            </p:nvPr>
          </p:nvSpPr>
          <p:spPr bwMode="auto">
            <a:xfrm>
              <a:off x="6621195" y="1522349"/>
              <a:ext cx="51100" cy="70535"/>
            </a:xfrm>
            <a:custGeom>
              <a:avLst/>
              <a:gdLst>
                <a:gd name="T0" fmla="*/ 22946 w 99"/>
                <a:gd name="T1" fmla="*/ 2303 h 51"/>
                <a:gd name="T2" fmla="*/ 25111 w 99"/>
                <a:gd name="T3" fmla="*/ 1152 h 51"/>
                <a:gd name="T4" fmla="*/ 26843 w 99"/>
                <a:gd name="T5" fmla="*/ 0 h 51"/>
                <a:gd name="T6" fmla="*/ 28142 w 99"/>
                <a:gd name="T7" fmla="*/ 0 h 51"/>
                <a:gd name="T8" fmla="*/ 29874 w 99"/>
                <a:gd name="T9" fmla="*/ 1152 h 51"/>
                <a:gd name="T10" fmla="*/ 32038 w 99"/>
                <a:gd name="T11" fmla="*/ 5759 h 51"/>
                <a:gd name="T12" fmla="*/ 34203 w 99"/>
                <a:gd name="T13" fmla="*/ 12669 h 51"/>
                <a:gd name="T14" fmla="*/ 35935 w 99"/>
                <a:gd name="T15" fmla="*/ 20731 h 51"/>
                <a:gd name="T16" fmla="*/ 37667 w 99"/>
                <a:gd name="T17" fmla="*/ 28793 h 51"/>
                <a:gd name="T18" fmla="*/ 39398 w 99"/>
                <a:gd name="T19" fmla="*/ 32248 h 51"/>
                <a:gd name="T20" fmla="*/ 40264 w 99"/>
                <a:gd name="T21" fmla="*/ 34551 h 51"/>
                <a:gd name="T22" fmla="*/ 41563 w 99"/>
                <a:gd name="T23" fmla="*/ 36855 h 51"/>
                <a:gd name="T24" fmla="*/ 42862 w 99"/>
                <a:gd name="T25" fmla="*/ 39158 h 51"/>
                <a:gd name="T26" fmla="*/ 42862 w 99"/>
                <a:gd name="T27" fmla="*/ 42613 h 51"/>
                <a:gd name="T28" fmla="*/ 41996 w 99"/>
                <a:gd name="T29" fmla="*/ 46068 h 51"/>
                <a:gd name="T30" fmla="*/ 41130 w 99"/>
                <a:gd name="T31" fmla="*/ 49523 h 51"/>
                <a:gd name="T32" fmla="*/ 39398 w 99"/>
                <a:gd name="T33" fmla="*/ 51827 h 51"/>
                <a:gd name="T34" fmla="*/ 37234 w 99"/>
                <a:gd name="T35" fmla="*/ 54130 h 51"/>
                <a:gd name="T36" fmla="*/ 35069 w 99"/>
                <a:gd name="T37" fmla="*/ 55282 h 51"/>
                <a:gd name="T38" fmla="*/ 32038 w 99"/>
                <a:gd name="T39" fmla="*/ 57585 h 51"/>
                <a:gd name="T40" fmla="*/ 29441 w 99"/>
                <a:gd name="T41" fmla="*/ 57585 h 51"/>
                <a:gd name="T42" fmla="*/ 22513 w 99"/>
                <a:gd name="T43" fmla="*/ 58737 h 51"/>
                <a:gd name="T44" fmla="*/ 15586 w 99"/>
                <a:gd name="T45" fmla="*/ 56434 h 51"/>
                <a:gd name="T46" fmla="*/ 11690 w 99"/>
                <a:gd name="T47" fmla="*/ 55282 h 51"/>
                <a:gd name="T48" fmla="*/ 7793 w 99"/>
                <a:gd name="T49" fmla="*/ 51827 h 51"/>
                <a:gd name="T50" fmla="*/ 3897 w 99"/>
                <a:gd name="T51" fmla="*/ 49523 h 51"/>
                <a:gd name="T52" fmla="*/ 433 w 99"/>
                <a:gd name="T53" fmla="*/ 46068 h 51"/>
                <a:gd name="T54" fmla="*/ 0 w 99"/>
                <a:gd name="T55" fmla="*/ 44917 h 51"/>
                <a:gd name="T56" fmla="*/ 433 w 99"/>
                <a:gd name="T57" fmla="*/ 42613 h 51"/>
                <a:gd name="T58" fmla="*/ 1299 w 99"/>
                <a:gd name="T59" fmla="*/ 40310 h 51"/>
                <a:gd name="T60" fmla="*/ 2598 w 99"/>
                <a:gd name="T61" fmla="*/ 38006 h 51"/>
                <a:gd name="T62" fmla="*/ 6061 w 99"/>
                <a:gd name="T63" fmla="*/ 33399 h 51"/>
                <a:gd name="T64" fmla="*/ 10824 w 99"/>
                <a:gd name="T65" fmla="*/ 27641 h 51"/>
                <a:gd name="T66" fmla="*/ 15153 w 99"/>
                <a:gd name="T67" fmla="*/ 21882 h 51"/>
                <a:gd name="T68" fmla="*/ 19483 w 99"/>
                <a:gd name="T69" fmla="*/ 13820 h 51"/>
                <a:gd name="T70" fmla="*/ 20782 w 99"/>
                <a:gd name="T71" fmla="*/ 11517 h 51"/>
                <a:gd name="T72" fmla="*/ 22080 w 99"/>
                <a:gd name="T73" fmla="*/ 8062 h 51"/>
                <a:gd name="T74" fmla="*/ 22513 w 99"/>
                <a:gd name="T75" fmla="*/ 5759 h 51"/>
                <a:gd name="T76" fmla="*/ 22946 w 99"/>
                <a:gd name="T77" fmla="*/ 2303 h 5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99" h="51">
                  <a:moveTo>
                    <a:pt x="53" y="2"/>
                  </a:moveTo>
                  <a:lnTo>
                    <a:pt x="58" y="1"/>
                  </a:lnTo>
                  <a:lnTo>
                    <a:pt x="62" y="0"/>
                  </a:lnTo>
                  <a:lnTo>
                    <a:pt x="65" y="0"/>
                  </a:lnTo>
                  <a:lnTo>
                    <a:pt x="69" y="1"/>
                  </a:lnTo>
                  <a:lnTo>
                    <a:pt x="74" y="5"/>
                  </a:lnTo>
                  <a:lnTo>
                    <a:pt x="79" y="11"/>
                  </a:lnTo>
                  <a:lnTo>
                    <a:pt x="83" y="18"/>
                  </a:lnTo>
                  <a:lnTo>
                    <a:pt x="87" y="25"/>
                  </a:lnTo>
                  <a:lnTo>
                    <a:pt x="91" y="28"/>
                  </a:lnTo>
                  <a:lnTo>
                    <a:pt x="93" y="30"/>
                  </a:lnTo>
                  <a:lnTo>
                    <a:pt x="96" y="32"/>
                  </a:lnTo>
                  <a:lnTo>
                    <a:pt x="99" y="34"/>
                  </a:lnTo>
                  <a:lnTo>
                    <a:pt x="99" y="37"/>
                  </a:lnTo>
                  <a:lnTo>
                    <a:pt x="97" y="40"/>
                  </a:lnTo>
                  <a:lnTo>
                    <a:pt x="95" y="43"/>
                  </a:lnTo>
                  <a:lnTo>
                    <a:pt x="91" y="45"/>
                  </a:lnTo>
                  <a:lnTo>
                    <a:pt x="86" y="47"/>
                  </a:lnTo>
                  <a:lnTo>
                    <a:pt x="81" y="48"/>
                  </a:lnTo>
                  <a:lnTo>
                    <a:pt x="74" y="50"/>
                  </a:lnTo>
                  <a:lnTo>
                    <a:pt x="68" y="50"/>
                  </a:lnTo>
                  <a:lnTo>
                    <a:pt x="52" y="51"/>
                  </a:lnTo>
                  <a:lnTo>
                    <a:pt x="36" y="49"/>
                  </a:lnTo>
                  <a:lnTo>
                    <a:pt x="27" y="48"/>
                  </a:lnTo>
                  <a:lnTo>
                    <a:pt x="18" y="45"/>
                  </a:lnTo>
                  <a:lnTo>
                    <a:pt x="9" y="43"/>
                  </a:lnTo>
                  <a:lnTo>
                    <a:pt x="1" y="40"/>
                  </a:lnTo>
                  <a:lnTo>
                    <a:pt x="0" y="39"/>
                  </a:lnTo>
                  <a:lnTo>
                    <a:pt x="1" y="37"/>
                  </a:lnTo>
                  <a:lnTo>
                    <a:pt x="3" y="35"/>
                  </a:lnTo>
                  <a:lnTo>
                    <a:pt x="6" y="33"/>
                  </a:lnTo>
                  <a:lnTo>
                    <a:pt x="14" y="29"/>
                  </a:lnTo>
                  <a:lnTo>
                    <a:pt x="25" y="24"/>
                  </a:lnTo>
                  <a:lnTo>
                    <a:pt x="35" y="19"/>
                  </a:lnTo>
                  <a:lnTo>
                    <a:pt x="45" y="12"/>
                  </a:lnTo>
                  <a:lnTo>
                    <a:pt x="48" y="10"/>
                  </a:lnTo>
                  <a:lnTo>
                    <a:pt x="51" y="7"/>
                  </a:lnTo>
                  <a:lnTo>
                    <a:pt x="52" y="5"/>
                  </a:lnTo>
                  <a:lnTo>
                    <a:pt x="53" y="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962" name="Freeform 521"/>
            <p:cNvSpPr>
              <a:spLocks/>
            </p:cNvSpPr>
            <p:nvPr>
              <p:custDataLst>
                <p:tags r:id="rId354"/>
              </p:custDataLst>
            </p:nvPr>
          </p:nvSpPr>
          <p:spPr bwMode="auto">
            <a:xfrm>
              <a:off x="6662833" y="1297395"/>
              <a:ext cx="272535" cy="196356"/>
            </a:xfrm>
            <a:custGeom>
              <a:avLst/>
              <a:gdLst>
                <a:gd name="T0" fmla="*/ 137160 w 525"/>
                <a:gd name="T1" fmla="*/ 14196 h 311"/>
                <a:gd name="T2" fmla="*/ 148917 w 525"/>
                <a:gd name="T3" fmla="*/ 11041 h 311"/>
                <a:gd name="T4" fmla="*/ 167640 w 525"/>
                <a:gd name="T5" fmla="*/ 10515 h 311"/>
                <a:gd name="T6" fmla="*/ 177655 w 525"/>
                <a:gd name="T7" fmla="*/ 8938 h 311"/>
                <a:gd name="T8" fmla="*/ 185928 w 525"/>
                <a:gd name="T9" fmla="*/ 3680 h 311"/>
                <a:gd name="T10" fmla="*/ 223810 w 525"/>
                <a:gd name="T11" fmla="*/ 3155 h 311"/>
                <a:gd name="T12" fmla="*/ 228600 w 525"/>
                <a:gd name="T13" fmla="*/ 9989 h 311"/>
                <a:gd name="T14" fmla="*/ 203781 w 525"/>
                <a:gd name="T15" fmla="*/ 24711 h 311"/>
                <a:gd name="T16" fmla="*/ 170688 w 525"/>
                <a:gd name="T17" fmla="*/ 38381 h 311"/>
                <a:gd name="T18" fmla="*/ 155013 w 525"/>
                <a:gd name="T19" fmla="*/ 42061 h 311"/>
                <a:gd name="T20" fmla="*/ 139773 w 525"/>
                <a:gd name="T21" fmla="*/ 43638 h 311"/>
                <a:gd name="T22" fmla="*/ 121485 w 525"/>
                <a:gd name="T23" fmla="*/ 53102 h 311"/>
                <a:gd name="T24" fmla="*/ 106245 w 525"/>
                <a:gd name="T25" fmla="*/ 63617 h 311"/>
                <a:gd name="T26" fmla="*/ 94923 w 525"/>
                <a:gd name="T27" fmla="*/ 67823 h 311"/>
                <a:gd name="T28" fmla="*/ 81425 w 525"/>
                <a:gd name="T29" fmla="*/ 64669 h 311"/>
                <a:gd name="T30" fmla="*/ 77506 w 525"/>
                <a:gd name="T31" fmla="*/ 72029 h 311"/>
                <a:gd name="T32" fmla="*/ 76200 w 525"/>
                <a:gd name="T33" fmla="*/ 76235 h 311"/>
                <a:gd name="T34" fmla="*/ 80554 w 525"/>
                <a:gd name="T35" fmla="*/ 77813 h 311"/>
                <a:gd name="T36" fmla="*/ 80119 w 525"/>
                <a:gd name="T37" fmla="*/ 82545 h 311"/>
                <a:gd name="T38" fmla="*/ 76635 w 525"/>
                <a:gd name="T39" fmla="*/ 87802 h 311"/>
                <a:gd name="T40" fmla="*/ 78377 w 525"/>
                <a:gd name="T41" fmla="*/ 94111 h 311"/>
                <a:gd name="T42" fmla="*/ 70539 w 525"/>
                <a:gd name="T43" fmla="*/ 101998 h 311"/>
                <a:gd name="T44" fmla="*/ 62702 w 525"/>
                <a:gd name="T45" fmla="*/ 107255 h 311"/>
                <a:gd name="T46" fmla="*/ 61395 w 525"/>
                <a:gd name="T47" fmla="*/ 111987 h 311"/>
                <a:gd name="T48" fmla="*/ 62702 w 525"/>
                <a:gd name="T49" fmla="*/ 119874 h 311"/>
                <a:gd name="T50" fmla="*/ 70975 w 525"/>
                <a:gd name="T51" fmla="*/ 129863 h 311"/>
                <a:gd name="T52" fmla="*/ 83167 w 525"/>
                <a:gd name="T53" fmla="*/ 140378 h 311"/>
                <a:gd name="T54" fmla="*/ 111470 w 525"/>
                <a:gd name="T55" fmla="*/ 157729 h 311"/>
                <a:gd name="T56" fmla="*/ 105809 w 525"/>
                <a:gd name="T57" fmla="*/ 163512 h 311"/>
                <a:gd name="T58" fmla="*/ 82296 w 525"/>
                <a:gd name="T59" fmla="*/ 162460 h 311"/>
                <a:gd name="T60" fmla="*/ 63137 w 525"/>
                <a:gd name="T61" fmla="*/ 161935 h 311"/>
                <a:gd name="T62" fmla="*/ 56170 w 525"/>
                <a:gd name="T63" fmla="*/ 159832 h 311"/>
                <a:gd name="T64" fmla="*/ 53558 w 525"/>
                <a:gd name="T65" fmla="*/ 156677 h 311"/>
                <a:gd name="T66" fmla="*/ 52251 w 525"/>
                <a:gd name="T67" fmla="*/ 148265 h 311"/>
                <a:gd name="T68" fmla="*/ 50510 w 525"/>
                <a:gd name="T69" fmla="*/ 146162 h 311"/>
                <a:gd name="T70" fmla="*/ 41366 w 525"/>
                <a:gd name="T71" fmla="*/ 145636 h 311"/>
                <a:gd name="T72" fmla="*/ 34834 w 525"/>
                <a:gd name="T73" fmla="*/ 155626 h 311"/>
                <a:gd name="T74" fmla="*/ 19159 w 525"/>
                <a:gd name="T75" fmla="*/ 148265 h 311"/>
                <a:gd name="T76" fmla="*/ 0 w 525"/>
                <a:gd name="T77" fmla="*/ 129337 h 311"/>
                <a:gd name="T78" fmla="*/ 7838 w 525"/>
                <a:gd name="T79" fmla="*/ 125657 h 311"/>
                <a:gd name="T80" fmla="*/ 14805 w 525"/>
                <a:gd name="T81" fmla="*/ 116719 h 311"/>
                <a:gd name="T82" fmla="*/ 12192 w 525"/>
                <a:gd name="T83" fmla="*/ 111987 h 311"/>
                <a:gd name="T84" fmla="*/ 14805 w 525"/>
                <a:gd name="T85" fmla="*/ 105152 h 311"/>
                <a:gd name="T86" fmla="*/ 17417 w 525"/>
                <a:gd name="T87" fmla="*/ 98843 h 311"/>
                <a:gd name="T88" fmla="*/ 14805 w 525"/>
                <a:gd name="T89" fmla="*/ 94111 h 311"/>
                <a:gd name="T90" fmla="*/ 58347 w 525"/>
                <a:gd name="T91" fmla="*/ 94111 h 311"/>
                <a:gd name="T92" fmla="*/ 57041 w 525"/>
                <a:gd name="T93" fmla="*/ 93060 h 311"/>
                <a:gd name="T94" fmla="*/ 39189 w 525"/>
                <a:gd name="T95" fmla="*/ 87277 h 311"/>
                <a:gd name="T96" fmla="*/ 23513 w 525"/>
                <a:gd name="T97" fmla="*/ 77813 h 311"/>
                <a:gd name="T98" fmla="*/ 36576 w 525"/>
                <a:gd name="T99" fmla="*/ 70452 h 311"/>
                <a:gd name="T100" fmla="*/ 52251 w 525"/>
                <a:gd name="T101" fmla="*/ 58360 h 311"/>
                <a:gd name="T102" fmla="*/ 48333 w 525"/>
                <a:gd name="T103" fmla="*/ 54153 h 311"/>
                <a:gd name="T104" fmla="*/ 43543 w 525"/>
                <a:gd name="T105" fmla="*/ 42061 h 311"/>
                <a:gd name="T106" fmla="*/ 55299 w 525"/>
                <a:gd name="T107" fmla="*/ 39958 h 311"/>
                <a:gd name="T108" fmla="*/ 80119 w 525"/>
                <a:gd name="T109" fmla="*/ 30494 h 311"/>
                <a:gd name="T110" fmla="*/ 110599 w 525"/>
                <a:gd name="T111" fmla="*/ 18402 h 311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525" h="311">
                  <a:moveTo>
                    <a:pt x="273" y="31"/>
                  </a:moveTo>
                  <a:lnTo>
                    <a:pt x="307" y="31"/>
                  </a:lnTo>
                  <a:lnTo>
                    <a:pt x="315" y="27"/>
                  </a:lnTo>
                  <a:lnTo>
                    <a:pt x="324" y="24"/>
                  </a:lnTo>
                  <a:lnTo>
                    <a:pt x="333" y="22"/>
                  </a:lnTo>
                  <a:lnTo>
                    <a:pt x="342" y="21"/>
                  </a:lnTo>
                  <a:lnTo>
                    <a:pt x="359" y="20"/>
                  </a:lnTo>
                  <a:lnTo>
                    <a:pt x="377" y="20"/>
                  </a:lnTo>
                  <a:lnTo>
                    <a:pt x="385" y="20"/>
                  </a:lnTo>
                  <a:lnTo>
                    <a:pt x="393" y="20"/>
                  </a:lnTo>
                  <a:lnTo>
                    <a:pt x="401" y="19"/>
                  </a:lnTo>
                  <a:lnTo>
                    <a:pt x="408" y="17"/>
                  </a:lnTo>
                  <a:lnTo>
                    <a:pt x="415" y="15"/>
                  </a:lnTo>
                  <a:lnTo>
                    <a:pt x="421" y="11"/>
                  </a:lnTo>
                  <a:lnTo>
                    <a:pt x="427" y="7"/>
                  </a:lnTo>
                  <a:lnTo>
                    <a:pt x="433" y="0"/>
                  </a:lnTo>
                  <a:lnTo>
                    <a:pt x="512" y="0"/>
                  </a:lnTo>
                  <a:lnTo>
                    <a:pt x="514" y="6"/>
                  </a:lnTo>
                  <a:lnTo>
                    <a:pt x="519" y="12"/>
                  </a:lnTo>
                  <a:lnTo>
                    <a:pt x="523" y="17"/>
                  </a:lnTo>
                  <a:lnTo>
                    <a:pt x="525" y="19"/>
                  </a:lnTo>
                  <a:lnTo>
                    <a:pt x="511" y="26"/>
                  </a:lnTo>
                  <a:lnTo>
                    <a:pt x="491" y="36"/>
                  </a:lnTo>
                  <a:lnTo>
                    <a:pt x="468" y="47"/>
                  </a:lnTo>
                  <a:lnTo>
                    <a:pt x="443" y="57"/>
                  </a:lnTo>
                  <a:lnTo>
                    <a:pt x="418" y="66"/>
                  </a:lnTo>
                  <a:lnTo>
                    <a:pt x="392" y="73"/>
                  </a:lnTo>
                  <a:lnTo>
                    <a:pt x="379" y="76"/>
                  </a:lnTo>
                  <a:lnTo>
                    <a:pt x="368" y="78"/>
                  </a:lnTo>
                  <a:lnTo>
                    <a:pt x="356" y="80"/>
                  </a:lnTo>
                  <a:lnTo>
                    <a:pt x="346" y="80"/>
                  </a:lnTo>
                  <a:lnTo>
                    <a:pt x="333" y="81"/>
                  </a:lnTo>
                  <a:lnTo>
                    <a:pt x="321" y="83"/>
                  </a:lnTo>
                  <a:lnTo>
                    <a:pt x="309" y="86"/>
                  </a:lnTo>
                  <a:lnTo>
                    <a:pt x="299" y="90"/>
                  </a:lnTo>
                  <a:lnTo>
                    <a:pt x="279" y="101"/>
                  </a:lnTo>
                  <a:lnTo>
                    <a:pt x="262" y="111"/>
                  </a:lnTo>
                  <a:lnTo>
                    <a:pt x="253" y="116"/>
                  </a:lnTo>
                  <a:lnTo>
                    <a:pt x="244" y="121"/>
                  </a:lnTo>
                  <a:lnTo>
                    <a:pt x="235" y="124"/>
                  </a:lnTo>
                  <a:lnTo>
                    <a:pt x="226" y="127"/>
                  </a:lnTo>
                  <a:lnTo>
                    <a:pt x="218" y="129"/>
                  </a:lnTo>
                  <a:lnTo>
                    <a:pt x="208" y="129"/>
                  </a:lnTo>
                  <a:lnTo>
                    <a:pt x="198" y="127"/>
                  </a:lnTo>
                  <a:lnTo>
                    <a:pt x="187" y="123"/>
                  </a:lnTo>
                  <a:lnTo>
                    <a:pt x="186" y="128"/>
                  </a:lnTo>
                  <a:lnTo>
                    <a:pt x="183" y="133"/>
                  </a:lnTo>
                  <a:lnTo>
                    <a:pt x="178" y="137"/>
                  </a:lnTo>
                  <a:lnTo>
                    <a:pt x="174" y="142"/>
                  </a:lnTo>
                  <a:lnTo>
                    <a:pt x="174" y="144"/>
                  </a:lnTo>
                  <a:lnTo>
                    <a:pt x="175" y="145"/>
                  </a:lnTo>
                  <a:lnTo>
                    <a:pt x="177" y="146"/>
                  </a:lnTo>
                  <a:lnTo>
                    <a:pt x="180" y="147"/>
                  </a:lnTo>
                  <a:lnTo>
                    <a:pt x="185" y="148"/>
                  </a:lnTo>
                  <a:lnTo>
                    <a:pt x="187" y="148"/>
                  </a:lnTo>
                  <a:lnTo>
                    <a:pt x="186" y="152"/>
                  </a:lnTo>
                  <a:lnTo>
                    <a:pt x="184" y="157"/>
                  </a:lnTo>
                  <a:lnTo>
                    <a:pt x="181" y="160"/>
                  </a:lnTo>
                  <a:lnTo>
                    <a:pt x="178" y="164"/>
                  </a:lnTo>
                  <a:lnTo>
                    <a:pt x="176" y="167"/>
                  </a:lnTo>
                  <a:lnTo>
                    <a:pt x="175" y="171"/>
                  </a:lnTo>
                  <a:lnTo>
                    <a:pt x="176" y="175"/>
                  </a:lnTo>
                  <a:lnTo>
                    <a:pt x="180" y="179"/>
                  </a:lnTo>
                  <a:lnTo>
                    <a:pt x="175" y="185"/>
                  </a:lnTo>
                  <a:lnTo>
                    <a:pt x="168" y="190"/>
                  </a:lnTo>
                  <a:lnTo>
                    <a:pt x="162" y="194"/>
                  </a:lnTo>
                  <a:lnTo>
                    <a:pt x="155" y="197"/>
                  </a:lnTo>
                  <a:lnTo>
                    <a:pt x="150" y="201"/>
                  </a:lnTo>
                  <a:lnTo>
                    <a:pt x="144" y="204"/>
                  </a:lnTo>
                  <a:lnTo>
                    <a:pt x="143" y="207"/>
                  </a:lnTo>
                  <a:lnTo>
                    <a:pt x="141" y="209"/>
                  </a:lnTo>
                  <a:lnTo>
                    <a:pt x="141" y="213"/>
                  </a:lnTo>
                  <a:lnTo>
                    <a:pt x="140" y="216"/>
                  </a:lnTo>
                  <a:lnTo>
                    <a:pt x="141" y="222"/>
                  </a:lnTo>
                  <a:lnTo>
                    <a:pt x="144" y="228"/>
                  </a:lnTo>
                  <a:lnTo>
                    <a:pt x="149" y="234"/>
                  </a:lnTo>
                  <a:lnTo>
                    <a:pt x="155" y="241"/>
                  </a:lnTo>
                  <a:lnTo>
                    <a:pt x="163" y="247"/>
                  </a:lnTo>
                  <a:lnTo>
                    <a:pt x="172" y="254"/>
                  </a:lnTo>
                  <a:lnTo>
                    <a:pt x="181" y="260"/>
                  </a:lnTo>
                  <a:lnTo>
                    <a:pt x="191" y="267"/>
                  </a:lnTo>
                  <a:lnTo>
                    <a:pt x="213" y="279"/>
                  </a:lnTo>
                  <a:lnTo>
                    <a:pt x="235" y="290"/>
                  </a:lnTo>
                  <a:lnTo>
                    <a:pt x="256" y="300"/>
                  </a:lnTo>
                  <a:lnTo>
                    <a:pt x="273" y="308"/>
                  </a:lnTo>
                  <a:lnTo>
                    <a:pt x="258" y="310"/>
                  </a:lnTo>
                  <a:lnTo>
                    <a:pt x="243" y="311"/>
                  </a:lnTo>
                  <a:lnTo>
                    <a:pt x="229" y="311"/>
                  </a:lnTo>
                  <a:lnTo>
                    <a:pt x="214" y="310"/>
                  </a:lnTo>
                  <a:lnTo>
                    <a:pt x="189" y="309"/>
                  </a:lnTo>
                  <a:lnTo>
                    <a:pt x="167" y="308"/>
                  </a:lnTo>
                  <a:lnTo>
                    <a:pt x="155" y="308"/>
                  </a:lnTo>
                  <a:lnTo>
                    <a:pt x="145" y="308"/>
                  </a:lnTo>
                  <a:lnTo>
                    <a:pt x="138" y="307"/>
                  </a:lnTo>
                  <a:lnTo>
                    <a:pt x="131" y="305"/>
                  </a:lnTo>
                  <a:lnTo>
                    <a:pt x="129" y="304"/>
                  </a:lnTo>
                  <a:lnTo>
                    <a:pt x="127" y="302"/>
                  </a:lnTo>
                  <a:lnTo>
                    <a:pt x="124" y="300"/>
                  </a:lnTo>
                  <a:lnTo>
                    <a:pt x="123" y="298"/>
                  </a:lnTo>
                  <a:lnTo>
                    <a:pt x="121" y="292"/>
                  </a:lnTo>
                  <a:lnTo>
                    <a:pt x="120" y="284"/>
                  </a:lnTo>
                  <a:lnTo>
                    <a:pt x="120" y="282"/>
                  </a:lnTo>
                  <a:lnTo>
                    <a:pt x="119" y="280"/>
                  </a:lnTo>
                  <a:lnTo>
                    <a:pt x="118" y="279"/>
                  </a:lnTo>
                  <a:lnTo>
                    <a:pt x="116" y="278"/>
                  </a:lnTo>
                  <a:lnTo>
                    <a:pt x="111" y="277"/>
                  </a:lnTo>
                  <a:lnTo>
                    <a:pt x="106" y="276"/>
                  </a:lnTo>
                  <a:lnTo>
                    <a:pt x="95" y="277"/>
                  </a:lnTo>
                  <a:lnTo>
                    <a:pt x="87" y="278"/>
                  </a:lnTo>
                  <a:lnTo>
                    <a:pt x="84" y="287"/>
                  </a:lnTo>
                  <a:lnTo>
                    <a:pt x="80" y="296"/>
                  </a:lnTo>
                  <a:lnTo>
                    <a:pt x="66" y="291"/>
                  </a:lnTo>
                  <a:lnTo>
                    <a:pt x="55" y="287"/>
                  </a:lnTo>
                  <a:lnTo>
                    <a:pt x="44" y="282"/>
                  </a:lnTo>
                  <a:lnTo>
                    <a:pt x="35" y="276"/>
                  </a:lnTo>
                  <a:lnTo>
                    <a:pt x="19" y="263"/>
                  </a:lnTo>
                  <a:lnTo>
                    <a:pt x="0" y="246"/>
                  </a:lnTo>
                  <a:lnTo>
                    <a:pt x="8" y="244"/>
                  </a:lnTo>
                  <a:lnTo>
                    <a:pt x="13" y="242"/>
                  </a:lnTo>
                  <a:lnTo>
                    <a:pt x="18" y="239"/>
                  </a:lnTo>
                  <a:lnTo>
                    <a:pt x="22" y="237"/>
                  </a:lnTo>
                  <a:lnTo>
                    <a:pt x="29" y="230"/>
                  </a:lnTo>
                  <a:lnTo>
                    <a:pt x="34" y="222"/>
                  </a:lnTo>
                  <a:lnTo>
                    <a:pt x="31" y="219"/>
                  </a:lnTo>
                  <a:lnTo>
                    <a:pt x="29" y="216"/>
                  </a:lnTo>
                  <a:lnTo>
                    <a:pt x="28" y="213"/>
                  </a:lnTo>
                  <a:lnTo>
                    <a:pt x="28" y="211"/>
                  </a:lnTo>
                  <a:lnTo>
                    <a:pt x="30" y="205"/>
                  </a:lnTo>
                  <a:lnTo>
                    <a:pt x="34" y="200"/>
                  </a:lnTo>
                  <a:lnTo>
                    <a:pt x="38" y="196"/>
                  </a:lnTo>
                  <a:lnTo>
                    <a:pt x="40" y="191"/>
                  </a:lnTo>
                  <a:lnTo>
                    <a:pt x="40" y="188"/>
                  </a:lnTo>
                  <a:lnTo>
                    <a:pt x="39" y="185"/>
                  </a:lnTo>
                  <a:lnTo>
                    <a:pt x="37" y="182"/>
                  </a:lnTo>
                  <a:lnTo>
                    <a:pt x="34" y="179"/>
                  </a:lnTo>
                  <a:lnTo>
                    <a:pt x="73" y="179"/>
                  </a:lnTo>
                  <a:lnTo>
                    <a:pt x="106" y="179"/>
                  </a:lnTo>
                  <a:lnTo>
                    <a:pt x="134" y="179"/>
                  </a:lnTo>
                  <a:lnTo>
                    <a:pt x="167" y="179"/>
                  </a:lnTo>
                  <a:lnTo>
                    <a:pt x="147" y="178"/>
                  </a:lnTo>
                  <a:lnTo>
                    <a:pt x="131" y="177"/>
                  </a:lnTo>
                  <a:lnTo>
                    <a:pt x="117" y="174"/>
                  </a:lnTo>
                  <a:lnTo>
                    <a:pt x="102" y="171"/>
                  </a:lnTo>
                  <a:lnTo>
                    <a:pt x="90" y="166"/>
                  </a:lnTo>
                  <a:lnTo>
                    <a:pt x="78" y="161"/>
                  </a:lnTo>
                  <a:lnTo>
                    <a:pt x="66" y="155"/>
                  </a:lnTo>
                  <a:lnTo>
                    <a:pt x="54" y="148"/>
                  </a:lnTo>
                  <a:lnTo>
                    <a:pt x="65" y="143"/>
                  </a:lnTo>
                  <a:lnTo>
                    <a:pt x="75" y="139"/>
                  </a:lnTo>
                  <a:lnTo>
                    <a:pt x="84" y="134"/>
                  </a:lnTo>
                  <a:lnTo>
                    <a:pt x="91" y="130"/>
                  </a:lnTo>
                  <a:lnTo>
                    <a:pt x="106" y="120"/>
                  </a:lnTo>
                  <a:lnTo>
                    <a:pt x="120" y="111"/>
                  </a:lnTo>
                  <a:lnTo>
                    <a:pt x="118" y="110"/>
                  </a:lnTo>
                  <a:lnTo>
                    <a:pt x="115" y="108"/>
                  </a:lnTo>
                  <a:lnTo>
                    <a:pt x="111" y="103"/>
                  </a:lnTo>
                  <a:lnTo>
                    <a:pt x="108" y="99"/>
                  </a:lnTo>
                  <a:lnTo>
                    <a:pt x="102" y="87"/>
                  </a:lnTo>
                  <a:lnTo>
                    <a:pt x="100" y="80"/>
                  </a:lnTo>
                  <a:lnTo>
                    <a:pt x="108" y="80"/>
                  </a:lnTo>
                  <a:lnTo>
                    <a:pt x="117" y="78"/>
                  </a:lnTo>
                  <a:lnTo>
                    <a:pt x="127" y="76"/>
                  </a:lnTo>
                  <a:lnTo>
                    <a:pt x="138" y="73"/>
                  </a:lnTo>
                  <a:lnTo>
                    <a:pt x="161" y="66"/>
                  </a:lnTo>
                  <a:lnTo>
                    <a:pt x="184" y="58"/>
                  </a:lnTo>
                  <a:lnTo>
                    <a:pt x="209" y="50"/>
                  </a:lnTo>
                  <a:lnTo>
                    <a:pt x="232" y="41"/>
                  </a:lnTo>
                  <a:lnTo>
                    <a:pt x="254" y="35"/>
                  </a:lnTo>
                  <a:lnTo>
                    <a:pt x="273" y="3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963" name="Freeform 522"/>
            <p:cNvSpPr>
              <a:spLocks/>
            </p:cNvSpPr>
            <p:nvPr>
              <p:custDataLst>
                <p:tags r:id="rId355"/>
              </p:custDataLst>
            </p:nvPr>
          </p:nvSpPr>
          <p:spPr bwMode="auto">
            <a:xfrm>
              <a:off x="6414901" y="1671045"/>
              <a:ext cx="37852" cy="66723"/>
            </a:xfrm>
            <a:custGeom>
              <a:avLst/>
              <a:gdLst>
                <a:gd name="T0" fmla="*/ 18487 w 79"/>
                <a:gd name="T1" fmla="*/ 0 h 38"/>
                <a:gd name="T2" fmla="*/ 21703 w 79"/>
                <a:gd name="T3" fmla="*/ 1462 h 38"/>
                <a:gd name="T4" fmla="*/ 24918 w 79"/>
                <a:gd name="T5" fmla="*/ 4386 h 38"/>
                <a:gd name="T6" fmla="*/ 27329 w 79"/>
                <a:gd name="T7" fmla="*/ 10235 h 38"/>
                <a:gd name="T8" fmla="*/ 28937 w 79"/>
                <a:gd name="T9" fmla="*/ 17546 h 38"/>
                <a:gd name="T10" fmla="*/ 30142 w 79"/>
                <a:gd name="T11" fmla="*/ 24857 h 38"/>
                <a:gd name="T12" fmla="*/ 30946 w 79"/>
                <a:gd name="T13" fmla="*/ 32167 h 38"/>
                <a:gd name="T14" fmla="*/ 31750 w 79"/>
                <a:gd name="T15" fmla="*/ 39478 h 38"/>
                <a:gd name="T16" fmla="*/ 31750 w 79"/>
                <a:gd name="T17" fmla="*/ 46789 h 38"/>
                <a:gd name="T18" fmla="*/ 30946 w 79"/>
                <a:gd name="T19" fmla="*/ 49713 h 38"/>
                <a:gd name="T20" fmla="*/ 30142 w 79"/>
                <a:gd name="T21" fmla="*/ 51176 h 38"/>
                <a:gd name="T22" fmla="*/ 28937 w 79"/>
                <a:gd name="T23" fmla="*/ 52638 h 38"/>
                <a:gd name="T24" fmla="*/ 27329 w 79"/>
                <a:gd name="T25" fmla="*/ 54100 h 38"/>
                <a:gd name="T26" fmla="*/ 22908 w 79"/>
                <a:gd name="T27" fmla="*/ 55562 h 38"/>
                <a:gd name="T28" fmla="*/ 18487 w 79"/>
                <a:gd name="T29" fmla="*/ 55562 h 38"/>
                <a:gd name="T30" fmla="*/ 15272 w 79"/>
                <a:gd name="T31" fmla="*/ 54100 h 38"/>
                <a:gd name="T32" fmla="*/ 12057 w 79"/>
                <a:gd name="T33" fmla="*/ 52638 h 38"/>
                <a:gd name="T34" fmla="*/ 8440 w 79"/>
                <a:gd name="T35" fmla="*/ 51176 h 38"/>
                <a:gd name="T36" fmla="*/ 6028 w 79"/>
                <a:gd name="T37" fmla="*/ 46789 h 38"/>
                <a:gd name="T38" fmla="*/ 3215 w 79"/>
                <a:gd name="T39" fmla="*/ 42403 h 38"/>
                <a:gd name="T40" fmla="*/ 1608 w 79"/>
                <a:gd name="T41" fmla="*/ 36554 h 38"/>
                <a:gd name="T42" fmla="*/ 804 w 79"/>
                <a:gd name="T43" fmla="*/ 32167 h 38"/>
                <a:gd name="T44" fmla="*/ 402 w 79"/>
                <a:gd name="T45" fmla="*/ 29243 h 38"/>
                <a:gd name="T46" fmla="*/ 0 w 79"/>
                <a:gd name="T47" fmla="*/ 24857 h 38"/>
                <a:gd name="T48" fmla="*/ 0 w 79"/>
                <a:gd name="T49" fmla="*/ 19008 h 38"/>
                <a:gd name="T50" fmla="*/ 402 w 79"/>
                <a:gd name="T51" fmla="*/ 16084 h 38"/>
                <a:gd name="T52" fmla="*/ 1608 w 79"/>
                <a:gd name="T53" fmla="*/ 13159 h 38"/>
                <a:gd name="T54" fmla="*/ 4019 w 79"/>
                <a:gd name="T55" fmla="*/ 8773 h 38"/>
                <a:gd name="T56" fmla="*/ 6832 w 79"/>
                <a:gd name="T57" fmla="*/ 5849 h 38"/>
                <a:gd name="T58" fmla="*/ 12861 w 79"/>
                <a:gd name="T59" fmla="*/ 1462 h 38"/>
                <a:gd name="T60" fmla="*/ 18487 w 79"/>
                <a:gd name="T61" fmla="*/ 0 h 38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79" h="38">
                  <a:moveTo>
                    <a:pt x="46" y="0"/>
                  </a:moveTo>
                  <a:lnTo>
                    <a:pt x="54" y="1"/>
                  </a:lnTo>
                  <a:lnTo>
                    <a:pt x="62" y="3"/>
                  </a:lnTo>
                  <a:lnTo>
                    <a:pt x="68" y="7"/>
                  </a:lnTo>
                  <a:lnTo>
                    <a:pt x="72" y="12"/>
                  </a:lnTo>
                  <a:lnTo>
                    <a:pt x="75" y="17"/>
                  </a:lnTo>
                  <a:lnTo>
                    <a:pt x="77" y="22"/>
                  </a:lnTo>
                  <a:lnTo>
                    <a:pt x="79" y="27"/>
                  </a:lnTo>
                  <a:lnTo>
                    <a:pt x="79" y="32"/>
                  </a:lnTo>
                  <a:lnTo>
                    <a:pt x="77" y="34"/>
                  </a:lnTo>
                  <a:lnTo>
                    <a:pt x="75" y="35"/>
                  </a:lnTo>
                  <a:lnTo>
                    <a:pt x="72" y="36"/>
                  </a:lnTo>
                  <a:lnTo>
                    <a:pt x="68" y="37"/>
                  </a:lnTo>
                  <a:lnTo>
                    <a:pt x="57" y="38"/>
                  </a:lnTo>
                  <a:lnTo>
                    <a:pt x="46" y="38"/>
                  </a:lnTo>
                  <a:lnTo>
                    <a:pt x="38" y="37"/>
                  </a:lnTo>
                  <a:lnTo>
                    <a:pt x="30" y="36"/>
                  </a:lnTo>
                  <a:lnTo>
                    <a:pt x="21" y="35"/>
                  </a:lnTo>
                  <a:lnTo>
                    <a:pt x="15" y="32"/>
                  </a:lnTo>
                  <a:lnTo>
                    <a:pt x="8" y="29"/>
                  </a:lnTo>
                  <a:lnTo>
                    <a:pt x="4" y="25"/>
                  </a:lnTo>
                  <a:lnTo>
                    <a:pt x="2" y="22"/>
                  </a:lnTo>
                  <a:lnTo>
                    <a:pt x="1" y="20"/>
                  </a:lnTo>
                  <a:lnTo>
                    <a:pt x="0" y="17"/>
                  </a:lnTo>
                  <a:lnTo>
                    <a:pt x="0" y="13"/>
                  </a:lnTo>
                  <a:lnTo>
                    <a:pt x="1" y="11"/>
                  </a:lnTo>
                  <a:lnTo>
                    <a:pt x="4" y="9"/>
                  </a:lnTo>
                  <a:lnTo>
                    <a:pt x="10" y="6"/>
                  </a:lnTo>
                  <a:lnTo>
                    <a:pt x="17" y="4"/>
                  </a:lnTo>
                  <a:lnTo>
                    <a:pt x="32" y="1"/>
                  </a:lnTo>
                  <a:lnTo>
                    <a:pt x="46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964" name="Freeform 523"/>
            <p:cNvSpPr>
              <a:spLocks/>
            </p:cNvSpPr>
            <p:nvPr>
              <p:custDataLst>
                <p:tags r:id="rId356"/>
              </p:custDataLst>
            </p:nvPr>
          </p:nvSpPr>
          <p:spPr bwMode="auto">
            <a:xfrm>
              <a:off x="9162958" y="2027537"/>
              <a:ext cx="234683" cy="322178"/>
            </a:xfrm>
            <a:custGeom>
              <a:avLst/>
              <a:gdLst>
                <a:gd name="T0" fmla="*/ 11151 w 459"/>
                <a:gd name="T1" fmla="*/ 23626 h 511"/>
                <a:gd name="T2" fmla="*/ 5146 w 459"/>
                <a:gd name="T3" fmla="*/ 13126 h 511"/>
                <a:gd name="T4" fmla="*/ 0 w 459"/>
                <a:gd name="T5" fmla="*/ 0 h 511"/>
                <a:gd name="T6" fmla="*/ 9435 w 459"/>
                <a:gd name="T7" fmla="*/ 3675 h 511"/>
                <a:gd name="T8" fmla="*/ 14153 w 459"/>
                <a:gd name="T9" fmla="*/ 3150 h 511"/>
                <a:gd name="T10" fmla="*/ 40742 w 459"/>
                <a:gd name="T11" fmla="*/ 35177 h 511"/>
                <a:gd name="T12" fmla="*/ 62615 w 459"/>
                <a:gd name="T13" fmla="*/ 64578 h 511"/>
                <a:gd name="T14" fmla="*/ 92635 w 459"/>
                <a:gd name="T15" fmla="*/ 103955 h 511"/>
                <a:gd name="T16" fmla="*/ 110648 w 459"/>
                <a:gd name="T17" fmla="*/ 124431 h 511"/>
                <a:gd name="T18" fmla="*/ 129947 w 459"/>
                <a:gd name="T19" fmla="*/ 139657 h 511"/>
                <a:gd name="T20" fmla="*/ 159539 w 459"/>
                <a:gd name="T21" fmla="*/ 163283 h 511"/>
                <a:gd name="T22" fmla="*/ 170689 w 459"/>
                <a:gd name="T23" fmla="*/ 176409 h 511"/>
                <a:gd name="T24" fmla="*/ 156536 w 459"/>
                <a:gd name="T25" fmla="*/ 168008 h 511"/>
                <a:gd name="T26" fmla="*/ 138953 w 459"/>
                <a:gd name="T27" fmla="*/ 155408 h 511"/>
                <a:gd name="T28" fmla="*/ 134664 w 459"/>
                <a:gd name="T29" fmla="*/ 156458 h 511"/>
                <a:gd name="T30" fmla="*/ 134235 w 459"/>
                <a:gd name="T31" fmla="*/ 163283 h 511"/>
                <a:gd name="T32" fmla="*/ 135951 w 459"/>
                <a:gd name="T33" fmla="*/ 176934 h 511"/>
                <a:gd name="T34" fmla="*/ 139811 w 459"/>
                <a:gd name="T35" fmla="*/ 187959 h 511"/>
                <a:gd name="T36" fmla="*/ 149246 w 459"/>
                <a:gd name="T37" fmla="*/ 203185 h 511"/>
                <a:gd name="T38" fmla="*/ 168974 w 459"/>
                <a:gd name="T39" fmla="*/ 221036 h 511"/>
                <a:gd name="T40" fmla="*/ 188702 w 459"/>
                <a:gd name="T41" fmla="*/ 240462 h 511"/>
                <a:gd name="T42" fmla="*/ 192132 w 459"/>
                <a:gd name="T43" fmla="*/ 249912 h 511"/>
                <a:gd name="T44" fmla="*/ 183555 w 459"/>
                <a:gd name="T45" fmla="*/ 246237 h 511"/>
                <a:gd name="T46" fmla="*/ 168116 w 459"/>
                <a:gd name="T47" fmla="*/ 242562 h 511"/>
                <a:gd name="T48" fmla="*/ 168545 w 459"/>
                <a:gd name="T49" fmla="*/ 259363 h 511"/>
                <a:gd name="T50" fmla="*/ 170689 w 459"/>
                <a:gd name="T51" fmla="*/ 268288 h 511"/>
                <a:gd name="T52" fmla="*/ 166400 w 459"/>
                <a:gd name="T53" fmla="*/ 258313 h 511"/>
                <a:gd name="T54" fmla="*/ 155679 w 459"/>
                <a:gd name="T55" fmla="*/ 244662 h 511"/>
                <a:gd name="T56" fmla="*/ 147101 w 459"/>
                <a:gd name="T57" fmla="*/ 233636 h 511"/>
                <a:gd name="T58" fmla="*/ 145386 w 459"/>
                <a:gd name="T59" fmla="*/ 226286 h 511"/>
                <a:gd name="T60" fmla="*/ 140668 w 459"/>
                <a:gd name="T61" fmla="*/ 215785 h 511"/>
                <a:gd name="T62" fmla="*/ 132949 w 459"/>
                <a:gd name="T63" fmla="*/ 201610 h 511"/>
                <a:gd name="T64" fmla="*/ 127802 w 459"/>
                <a:gd name="T65" fmla="*/ 192684 h 511"/>
                <a:gd name="T66" fmla="*/ 120083 w 459"/>
                <a:gd name="T67" fmla="*/ 187959 h 511"/>
                <a:gd name="T68" fmla="*/ 113221 w 459"/>
                <a:gd name="T69" fmla="*/ 180084 h 511"/>
                <a:gd name="T70" fmla="*/ 106788 w 459"/>
                <a:gd name="T71" fmla="*/ 164858 h 511"/>
                <a:gd name="T72" fmla="*/ 105072 w 459"/>
                <a:gd name="T73" fmla="*/ 153832 h 511"/>
                <a:gd name="T74" fmla="*/ 100355 w 459"/>
                <a:gd name="T75" fmla="*/ 147532 h 511"/>
                <a:gd name="T76" fmla="*/ 83200 w 459"/>
                <a:gd name="T77" fmla="*/ 128106 h 511"/>
                <a:gd name="T78" fmla="*/ 73336 w 459"/>
                <a:gd name="T79" fmla="*/ 115506 h 511"/>
                <a:gd name="T80" fmla="*/ 69905 w 459"/>
                <a:gd name="T81" fmla="*/ 106580 h 511"/>
                <a:gd name="T82" fmla="*/ 66046 w 459"/>
                <a:gd name="T83" fmla="*/ 98180 h 511"/>
                <a:gd name="T84" fmla="*/ 49320 w 459"/>
                <a:gd name="T85" fmla="*/ 81379 h 511"/>
                <a:gd name="T86" fmla="*/ 30021 w 459"/>
                <a:gd name="T87" fmla="*/ 68253 h 511"/>
                <a:gd name="T88" fmla="*/ 20157 w 459"/>
                <a:gd name="T89" fmla="*/ 57753 h 511"/>
                <a:gd name="T90" fmla="*/ 16297 w 459"/>
                <a:gd name="T91" fmla="*/ 48827 h 511"/>
                <a:gd name="T92" fmla="*/ 14581 w 459"/>
                <a:gd name="T93" fmla="*/ 39377 h 511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459" h="511">
                  <a:moveTo>
                    <a:pt x="33" y="68"/>
                  </a:moveTo>
                  <a:lnTo>
                    <a:pt x="29" y="56"/>
                  </a:lnTo>
                  <a:lnTo>
                    <a:pt x="26" y="45"/>
                  </a:lnTo>
                  <a:lnTo>
                    <a:pt x="22" y="38"/>
                  </a:lnTo>
                  <a:lnTo>
                    <a:pt x="16" y="31"/>
                  </a:lnTo>
                  <a:lnTo>
                    <a:pt x="12" y="25"/>
                  </a:lnTo>
                  <a:lnTo>
                    <a:pt x="6" y="18"/>
                  </a:lnTo>
                  <a:lnTo>
                    <a:pt x="3" y="10"/>
                  </a:lnTo>
                  <a:lnTo>
                    <a:pt x="0" y="0"/>
                  </a:lnTo>
                  <a:lnTo>
                    <a:pt x="6" y="2"/>
                  </a:lnTo>
                  <a:lnTo>
                    <a:pt x="16" y="5"/>
                  </a:lnTo>
                  <a:lnTo>
                    <a:pt x="22" y="7"/>
                  </a:lnTo>
                  <a:lnTo>
                    <a:pt x="26" y="8"/>
                  </a:lnTo>
                  <a:lnTo>
                    <a:pt x="29" y="8"/>
                  </a:lnTo>
                  <a:lnTo>
                    <a:pt x="33" y="6"/>
                  </a:lnTo>
                  <a:lnTo>
                    <a:pt x="59" y="31"/>
                  </a:lnTo>
                  <a:lnTo>
                    <a:pt x="80" y="50"/>
                  </a:lnTo>
                  <a:lnTo>
                    <a:pt x="95" y="67"/>
                  </a:lnTo>
                  <a:lnTo>
                    <a:pt x="107" y="80"/>
                  </a:lnTo>
                  <a:lnTo>
                    <a:pt x="125" y="102"/>
                  </a:lnTo>
                  <a:lnTo>
                    <a:pt x="146" y="123"/>
                  </a:lnTo>
                  <a:lnTo>
                    <a:pt x="172" y="149"/>
                  </a:lnTo>
                  <a:lnTo>
                    <a:pt x="195" y="175"/>
                  </a:lnTo>
                  <a:lnTo>
                    <a:pt x="216" y="198"/>
                  </a:lnTo>
                  <a:lnTo>
                    <a:pt x="239" y="222"/>
                  </a:lnTo>
                  <a:lnTo>
                    <a:pt x="248" y="230"/>
                  </a:lnTo>
                  <a:lnTo>
                    <a:pt x="258" y="237"/>
                  </a:lnTo>
                  <a:lnTo>
                    <a:pt x="269" y="245"/>
                  </a:lnTo>
                  <a:lnTo>
                    <a:pt x="280" y="252"/>
                  </a:lnTo>
                  <a:lnTo>
                    <a:pt x="303" y="266"/>
                  </a:lnTo>
                  <a:lnTo>
                    <a:pt x="327" y="281"/>
                  </a:lnTo>
                  <a:lnTo>
                    <a:pt x="350" y="295"/>
                  </a:lnTo>
                  <a:lnTo>
                    <a:pt x="372" y="311"/>
                  </a:lnTo>
                  <a:lnTo>
                    <a:pt x="382" y="318"/>
                  </a:lnTo>
                  <a:lnTo>
                    <a:pt x="391" y="327"/>
                  </a:lnTo>
                  <a:lnTo>
                    <a:pt x="398" y="336"/>
                  </a:lnTo>
                  <a:lnTo>
                    <a:pt x="405" y="345"/>
                  </a:lnTo>
                  <a:lnTo>
                    <a:pt x="387" y="334"/>
                  </a:lnTo>
                  <a:lnTo>
                    <a:pt x="365" y="320"/>
                  </a:lnTo>
                  <a:lnTo>
                    <a:pt x="343" y="306"/>
                  </a:lnTo>
                  <a:lnTo>
                    <a:pt x="326" y="295"/>
                  </a:lnTo>
                  <a:lnTo>
                    <a:pt x="324" y="296"/>
                  </a:lnTo>
                  <a:lnTo>
                    <a:pt x="318" y="296"/>
                  </a:lnTo>
                  <a:lnTo>
                    <a:pt x="316" y="297"/>
                  </a:lnTo>
                  <a:lnTo>
                    <a:pt x="314" y="298"/>
                  </a:lnTo>
                  <a:lnTo>
                    <a:pt x="313" y="300"/>
                  </a:lnTo>
                  <a:lnTo>
                    <a:pt x="311" y="301"/>
                  </a:lnTo>
                  <a:lnTo>
                    <a:pt x="313" y="311"/>
                  </a:lnTo>
                  <a:lnTo>
                    <a:pt x="313" y="320"/>
                  </a:lnTo>
                  <a:lnTo>
                    <a:pt x="315" y="328"/>
                  </a:lnTo>
                  <a:lnTo>
                    <a:pt x="317" y="337"/>
                  </a:lnTo>
                  <a:lnTo>
                    <a:pt x="319" y="344"/>
                  </a:lnTo>
                  <a:lnTo>
                    <a:pt x="322" y="351"/>
                  </a:lnTo>
                  <a:lnTo>
                    <a:pt x="326" y="358"/>
                  </a:lnTo>
                  <a:lnTo>
                    <a:pt x="329" y="364"/>
                  </a:lnTo>
                  <a:lnTo>
                    <a:pt x="338" y="375"/>
                  </a:lnTo>
                  <a:lnTo>
                    <a:pt x="348" y="387"/>
                  </a:lnTo>
                  <a:lnTo>
                    <a:pt x="359" y="396"/>
                  </a:lnTo>
                  <a:lnTo>
                    <a:pt x="370" y="405"/>
                  </a:lnTo>
                  <a:lnTo>
                    <a:pt x="394" y="421"/>
                  </a:lnTo>
                  <a:lnTo>
                    <a:pt x="418" y="438"/>
                  </a:lnTo>
                  <a:lnTo>
                    <a:pt x="430" y="448"/>
                  </a:lnTo>
                  <a:lnTo>
                    <a:pt x="440" y="458"/>
                  </a:lnTo>
                  <a:lnTo>
                    <a:pt x="450" y="468"/>
                  </a:lnTo>
                  <a:lnTo>
                    <a:pt x="459" y="480"/>
                  </a:lnTo>
                  <a:lnTo>
                    <a:pt x="448" y="476"/>
                  </a:lnTo>
                  <a:lnTo>
                    <a:pt x="437" y="473"/>
                  </a:lnTo>
                  <a:lnTo>
                    <a:pt x="432" y="471"/>
                  </a:lnTo>
                  <a:lnTo>
                    <a:pt x="428" y="469"/>
                  </a:lnTo>
                  <a:lnTo>
                    <a:pt x="426" y="466"/>
                  </a:lnTo>
                  <a:lnTo>
                    <a:pt x="425" y="462"/>
                  </a:lnTo>
                  <a:lnTo>
                    <a:pt x="392" y="462"/>
                  </a:lnTo>
                  <a:lnTo>
                    <a:pt x="392" y="475"/>
                  </a:lnTo>
                  <a:lnTo>
                    <a:pt x="393" y="488"/>
                  </a:lnTo>
                  <a:lnTo>
                    <a:pt x="393" y="494"/>
                  </a:lnTo>
                  <a:lnTo>
                    <a:pt x="395" y="501"/>
                  </a:lnTo>
                  <a:lnTo>
                    <a:pt x="396" y="506"/>
                  </a:lnTo>
                  <a:lnTo>
                    <a:pt x="398" y="511"/>
                  </a:lnTo>
                  <a:lnTo>
                    <a:pt x="395" y="505"/>
                  </a:lnTo>
                  <a:lnTo>
                    <a:pt x="392" y="498"/>
                  </a:lnTo>
                  <a:lnTo>
                    <a:pt x="388" y="492"/>
                  </a:lnTo>
                  <a:lnTo>
                    <a:pt x="383" y="486"/>
                  </a:lnTo>
                  <a:lnTo>
                    <a:pt x="374" y="476"/>
                  </a:lnTo>
                  <a:lnTo>
                    <a:pt x="363" y="466"/>
                  </a:lnTo>
                  <a:lnTo>
                    <a:pt x="354" y="458"/>
                  </a:lnTo>
                  <a:lnTo>
                    <a:pt x="346" y="449"/>
                  </a:lnTo>
                  <a:lnTo>
                    <a:pt x="343" y="445"/>
                  </a:lnTo>
                  <a:lnTo>
                    <a:pt x="340" y="439"/>
                  </a:lnTo>
                  <a:lnTo>
                    <a:pt x="339" y="435"/>
                  </a:lnTo>
                  <a:lnTo>
                    <a:pt x="339" y="431"/>
                  </a:lnTo>
                  <a:lnTo>
                    <a:pt x="337" y="425"/>
                  </a:lnTo>
                  <a:lnTo>
                    <a:pt x="333" y="419"/>
                  </a:lnTo>
                  <a:lnTo>
                    <a:pt x="328" y="411"/>
                  </a:lnTo>
                  <a:lnTo>
                    <a:pt x="321" y="403"/>
                  </a:lnTo>
                  <a:lnTo>
                    <a:pt x="316" y="394"/>
                  </a:lnTo>
                  <a:lnTo>
                    <a:pt x="310" y="384"/>
                  </a:lnTo>
                  <a:lnTo>
                    <a:pt x="307" y="376"/>
                  </a:lnTo>
                  <a:lnTo>
                    <a:pt x="305" y="369"/>
                  </a:lnTo>
                  <a:lnTo>
                    <a:pt x="298" y="367"/>
                  </a:lnTo>
                  <a:lnTo>
                    <a:pt x="292" y="365"/>
                  </a:lnTo>
                  <a:lnTo>
                    <a:pt x="285" y="362"/>
                  </a:lnTo>
                  <a:lnTo>
                    <a:pt x="280" y="358"/>
                  </a:lnTo>
                  <a:lnTo>
                    <a:pt x="274" y="353"/>
                  </a:lnTo>
                  <a:lnTo>
                    <a:pt x="269" y="348"/>
                  </a:lnTo>
                  <a:lnTo>
                    <a:pt x="264" y="343"/>
                  </a:lnTo>
                  <a:lnTo>
                    <a:pt x="261" y="337"/>
                  </a:lnTo>
                  <a:lnTo>
                    <a:pt x="254" y="325"/>
                  </a:lnTo>
                  <a:lnTo>
                    <a:pt x="249" y="314"/>
                  </a:lnTo>
                  <a:lnTo>
                    <a:pt x="247" y="304"/>
                  </a:lnTo>
                  <a:lnTo>
                    <a:pt x="246" y="295"/>
                  </a:lnTo>
                  <a:lnTo>
                    <a:pt x="245" y="293"/>
                  </a:lnTo>
                  <a:lnTo>
                    <a:pt x="242" y="289"/>
                  </a:lnTo>
                  <a:lnTo>
                    <a:pt x="239" y="285"/>
                  </a:lnTo>
                  <a:lnTo>
                    <a:pt x="234" y="281"/>
                  </a:lnTo>
                  <a:lnTo>
                    <a:pt x="221" y="269"/>
                  </a:lnTo>
                  <a:lnTo>
                    <a:pt x="208" y="257"/>
                  </a:lnTo>
                  <a:lnTo>
                    <a:pt x="194" y="244"/>
                  </a:lnTo>
                  <a:lnTo>
                    <a:pt x="181" y="232"/>
                  </a:lnTo>
                  <a:lnTo>
                    <a:pt x="175" y="226"/>
                  </a:lnTo>
                  <a:lnTo>
                    <a:pt x="171" y="220"/>
                  </a:lnTo>
                  <a:lnTo>
                    <a:pt x="168" y="214"/>
                  </a:lnTo>
                  <a:lnTo>
                    <a:pt x="165" y="209"/>
                  </a:lnTo>
                  <a:lnTo>
                    <a:pt x="163" y="203"/>
                  </a:lnTo>
                  <a:lnTo>
                    <a:pt x="161" y="197"/>
                  </a:lnTo>
                  <a:lnTo>
                    <a:pt x="158" y="192"/>
                  </a:lnTo>
                  <a:lnTo>
                    <a:pt x="154" y="187"/>
                  </a:lnTo>
                  <a:lnTo>
                    <a:pt x="146" y="178"/>
                  </a:lnTo>
                  <a:lnTo>
                    <a:pt x="137" y="170"/>
                  </a:lnTo>
                  <a:lnTo>
                    <a:pt x="115" y="155"/>
                  </a:lnTo>
                  <a:lnTo>
                    <a:pt x="92" y="143"/>
                  </a:lnTo>
                  <a:lnTo>
                    <a:pt x="81" y="136"/>
                  </a:lnTo>
                  <a:lnTo>
                    <a:pt x="70" y="130"/>
                  </a:lnTo>
                  <a:lnTo>
                    <a:pt x="60" y="122"/>
                  </a:lnTo>
                  <a:lnTo>
                    <a:pt x="51" y="114"/>
                  </a:lnTo>
                  <a:lnTo>
                    <a:pt x="47" y="110"/>
                  </a:lnTo>
                  <a:lnTo>
                    <a:pt x="44" y="104"/>
                  </a:lnTo>
                  <a:lnTo>
                    <a:pt x="40" y="99"/>
                  </a:lnTo>
                  <a:lnTo>
                    <a:pt x="38" y="93"/>
                  </a:lnTo>
                  <a:lnTo>
                    <a:pt x="36" y="88"/>
                  </a:lnTo>
                  <a:lnTo>
                    <a:pt x="34" y="81"/>
                  </a:lnTo>
                  <a:lnTo>
                    <a:pt x="34" y="75"/>
                  </a:lnTo>
                  <a:lnTo>
                    <a:pt x="33" y="6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grpSp>
          <p:nvGrpSpPr>
            <p:cNvPr id="965" name="Group 524"/>
            <p:cNvGrpSpPr>
              <a:grpSpLocks/>
            </p:cNvGrpSpPr>
            <p:nvPr>
              <p:custDataLst>
                <p:tags r:id="rId357"/>
              </p:custDataLst>
            </p:nvPr>
          </p:nvGrpSpPr>
          <p:grpSpPr bwMode="auto">
            <a:xfrm>
              <a:off x="7720797" y="1974160"/>
              <a:ext cx="800571" cy="461343"/>
              <a:chOff x="4115" y="1551"/>
              <a:chExt cx="504" cy="244"/>
            </a:xfrm>
            <a:grpFill/>
          </p:grpSpPr>
          <p:sp>
            <p:nvSpPr>
              <p:cNvPr id="991" name="Freeform 525"/>
              <p:cNvSpPr>
                <a:spLocks/>
              </p:cNvSpPr>
              <p:nvPr/>
            </p:nvSpPr>
            <p:spPr bwMode="auto">
              <a:xfrm>
                <a:off x="4540" y="1551"/>
                <a:ext cx="79" cy="86"/>
              </a:xfrm>
              <a:custGeom>
                <a:avLst/>
                <a:gdLst>
                  <a:gd name="T0" fmla="*/ 4 w 240"/>
                  <a:gd name="T1" fmla="*/ 82 h 259"/>
                  <a:gd name="T2" fmla="*/ 26 w 240"/>
                  <a:gd name="T3" fmla="*/ 86 h 259"/>
                  <a:gd name="T4" fmla="*/ 40 w 240"/>
                  <a:gd name="T5" fmla="*/ 80 h 259"/>
                  <a:gd name="T6" fmla="*/ 44 w 240"/>
                  <a:gd name="T7" fmla="*/ 70 h 259"/>
                  <a:gd name="T8" fmla="*/ 63 w 240"/>
                  <a:gd name="T9" fmla="*/ 53 h 259"/>
                  <a:gd name="T10" fmla="*/ 70 w 240"/>
                  <a:gd name="T11" fmla="*/ 37 h 259"/>
                  <a:gd name="T12" fmla="*/ 79 w 240"/>
                  <a:gd name="T13" fmla="*/ 9 h 259"/>
                  <a:gd name="T14" fmla="*/ 70 w 240"/>
                  <a:gd name="T15" fmla="*/ 0 h 259"/>
                  <a:gd name="T16" fmla="*/ 68 w 240"/>
                  <a:gd name="T17" fmla="*/ 11 h 259"/>
                  <a:gd name="T18" fmla="*/ 66 w 240"/>
                  <a:gd name="T19" fmla="*/ 25 h 259"/>
                  <a:gd name="T20" fmla="*/ 55 w 240"/>
                  <a:gd name="T21" fmla="*/ 35 h 259"/>
                  <a:gd name="T22" fmla="*/ 44 w 240"/>
                  <a:gd name="T23" fmla="*/ 49 h 259"/>
                  <a:gd name="T24" fmla="*/ 37 w 240"/>
                  <a:gd name="T25" fmla="*/ 59 h 259"/>
                  <a:gd name="T26" fmla="*/ 31 w 240"/>
                  <a:gd name="T27" fmla="*/ 72 h 259"/>
                  <a:gd name="T28" fmla="*/ 7 w 240"/>
                  <a:gd name="T29" fmla="*/ 74 h 259"/>
                  <a:gd name="T30" fmla="*/ 0 w 240"/>
                  <a:gd name="T31" fmla="*/ 74 h 259"/>
                  <a:gd name="T32" fmla="*/ 4 w 240"/>
                  <a:gd name="T33" fmla="*/ 82 h 25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240" h="259">
                    <a:moveTo>
                      <a:pt x="13" y="247"/>
                    </a:moveTo>
                    <a:lnTo>
                      <a:pt x="79" y="259"/>
                    </a:lnTo>
                    <a:lnTo>
                      <a:pt x="120" y="240"/>
                    </a:lnTo>
                    <a:lnTo>
                      <a:pt x="133" y="210"/>
                    </a:lnTo>
                    <a:lnTo>
                      <a:pt x="192" y="161"/>
                    </a:lnTo>
                    <a:lnTo>
                      <a:pt x="212" y="111"/>
                    </a:lnTo>
                    <a:lnTo>
                      <a:pt x="240" y="26"/>
                    </a:lnTo>
                    <a:lnTo>
                      <a:pt x="212" y="0"/>
                    </a:lnTo>
                    <a:lnTo>
                      <a:pt x="206" y="32"/>
                    </a:lnTo>
                    <a:lnTo>
                      <a:pt x="199" y="74"/>
                    </a:lnTo>
                    <a:lnTo>
                      <a:pt x="166" y="105"/>
                    </a:lnTo>
                    <a:lnTo>
                      <a:pt x="133" y="149"/>
                    </a:lnTo>
                    <a:lnTo>
                      <a:pt x="113" y="179"/>
                    </a:lnTo>
                    <a:lnTo>
                      <a:pt x="93" y="216"/>
                    </a:lnTo>
                    <a:lnTo>
                      <a:pt x="20" y="222"/>
                    </a:lnTo>
                    <a:lnTo>
                      <a:pt x="0" y="222"/>
                    </a:lnTo>
                    <a:lnTo>
                      <a:pt x="13" y="247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992" name="Freeform 526"/>
              <p:cNvSpPr>
                <a:spLocks/>
              </p:cNvSpPr>
              <p:nvPr/>
            </p:nvSpPr>
            <p:spPr bwMode="auto">
              <a:xfrm>
                <a:off x="4115" y="1761"/>
                <a:ext cx="84" cy="34"/>
              </a:xfrm>
              <a:custGeom>
                <a:avLst/>
                <a:gdLst>
                  <a:gd name="T0" fmla="*/ 11 w 259"/>
                  <a:gd name="T1" fmla="*/ 34 h 104"/>
                  <a:gd name="T2" fmla="*/ 8 w 259"/>
                  <a:gd name="T3" fmla="*/ 28 h 104"/>
                  <a:gd name="T4" fmla="*/ 17 w 259"/>
                  <a:gd name="T5" fmla="*/ 20 h 104"/>
                  <a:gd name="T6" fmla="*/ 23 w 259"/>
                  <a:gd name="T7" fmla="*/ 16 h 104"/>
                  <a:gd name="T8" fmla="*/ 41 w 259"/>
                  <a:gd name="T9" fmla="*/ 14 h 104"/>
                  <a:gd name="T10" fmla="*/ 56 w 259"/>
                  <a:gd name="T11" fmla="*/ 14 h 104"/>
                  <a:gd name="T12" fmla="*/ 80 w 259"/>
                  <a:gd name="T13" fmla="*/ 10 h 104"/>
                  <a:gd name="T14" fmla="*/ 84 w 259"/>
                  <a:gd name="T15" fmla="*/ 2 h 104"/>
                  <a:gd name="T16" fmla="*/ 80 w 259"/>
                  <a:gd name="T17" fmla="*/ 0 h 104"/>
                  <a:gd name="T18" fmla="*/ 66 w 259"/>
                  <a:gd name="T19" fmla="*/ 4 h 104"/>
                  <a:gd name="T20" fmla="*/ 49 w 259"/>
                  <a:gd name="T21" fmla="*/ 2 h 104"/>
                  <a:gd name="T22" fmla="*/ 34 w 259"/>
                  <a:gd name="T23" fmla="*/ 4 h 104"/>
                  <a:gd name="T24" fmla="*/ 17 w 259"/>
                  <a:gd name="T25" fmla="*/ 6 h 104"/>
                  <a:gd name="T26" fmla="*/ 8 w 259"/>
                  <a:gd name="T27" fmla="*/ 14 h 104"/>
                  <a:gd name="T28" fmla="*/ 0 w 259"/>
                  <a:gd name="T29" fmla="*/ 22 h 104"/>
                  <a:gd name="T30" fmla="*/ 0 w 259"/>
                  <a:gd name="T31" fmla="*/ 34 h 104"/>
                  <a:gd name="T32" fmla="*/ 11 w 259"/>
                  <a:gd name="T33" fmla="*/ 34 h 104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259" h="104">
                    <a:moveTo>
                      <a:pt x="33" y="104"/>
                    </a:moveTo>
                    <a:lnTo>
                      <a:pt x="26" y="86"/>
                    </a:lnTo>
                    <a:lnTo>
                      <a:pt x="52" y="62"/>
                    </a:lnTo>
                    <a:lnTo>
                      <a:pt x="72" y="49"/>
                    </a:lnTo>
                    <a:lnTo>
                      <a:pt x="126" y="43"/>
                    </a:lnTo>
                    <a:lnTo>
                      <a:pt x="172" y="43"/>
                    </a:lnTo>
                    <a:lnTo>
                      <a:pt x="246" y="31"/>
                    </a:lnTo>
                    <a:lnTo>
                      <a:pt x="259" y="7"/>
                    </a:lnTo>
                    <a:lnTo>
                      <a:pt x="246" y="0"/>
                    </a:lnTo>
                    <a:lnTo>
                      <a:pt x="205" y="13"/>
                    </a:lnTo>
                    <a:lnTo>
                      <a:pt x="152" y="7"/>
                    </a:lnTo>
                    <a:lnTo>
                      <a:pt x="106" y="13"/>
                    </a:lnTo>
                    <a:lnTo>
                      <a:pt x="52" y="19"/>
                    </a:lnTo>
                    <a:lnTo>
                      <a:pt x="26" y="43"/>
                    </a:lnTo>
                    <a:lnTo>
                      <a:pt x="0" y="68"/>
                    </a:lnTo>
                    <a:lnTo>
                      <a:pt x="0" y="104"/>
                    </a:lnTo>
                    <a:lnTo>
                      <a:pt x="33" y="104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966" name="Freeform 527"/>
            <p:cNvSpPr>
              <a:spLocks/>
            </p:cNvSpPr>
            <p:nvPr>
              <p:custDataLst>
                <p:tags r:id="rId358"/>
              </p:custDataLst>
            </p:nvPr>
          </p:nvSpPr>
          <p:spPr bwMode="auto">
            <a:xfrm>
              <a:off x="6596592" y="2873970"/>
              <a:ext cx="632129" cy="613854"/>
            </a:xfrm>
            <a:custGeom>
              <a:avLst/>
              <a:gdLst>
                <a:gd name="T0" fmla="*/ 402746 w 1227"/>
                <a:gd name="T1" fmla="*/ 243317 h 979"/>
                <a:gd name="T2" fmla="*/ 402746 w 1227"/>
                <a:gd name="T3" fmla="*/ 230786 h 979"/>
                <a:gd name="T4" fmla="*/ 401882 w 1227"/>
                <a:gd name="T5" fmla="*/ 215122 h 979"/>
                <a:gd name="T6" fmla="*/ 392375 w 1227"/>
                <a:gd name="T7" fmla="*/ 201024 h 979"/>
                <a:gd name="T8" fmla="*/ 388486 w 1227"/>
                <a:gd name="T9" fmla="*/ 191625 h 979"/>
                <a:gd name="T10" fmla="*/ 353051 w 1227"/>
                <a:gd name="T11" fmla="*/ 162908 h 979"/>
                <a:gd name="T12" fmla="*/ 327988 w 1227"/>
                <a:gd name="T13" fmla="*/ 137323 h 979"/>
                <a:gd name="T14" fmla="*/ 324963 w 1227"/>
                <a:gd name="T15" fmla="*/ 119570 h 979"/>
                <a:gd name="T16" fmla="*/ 313727 w 1227"/>
                <a:gd name="T17" fmla="*/ 113827 h 979"/>
                <a:gd name="T18" fmla="*/ 300331 w 1227"/>
                <a:gd name="T19" fmla="*/ 108083 h 979"/>
                <a:gd name="T20" fmla="*/ 275700 w 1227"/>
                <a:gd name="T21" fmla="*/ 102339 h 979"/>
                <a:gd name="T22" fmla="*/ 257550 w 1227"/>
                <a:gd name="T23" fmla="*/ 104950 h 979"/>
                <a:gd name="T24" fmla="*/ 246315 w 1227"/>
                <a:gd name="T25" fmla="*/ 106517 h 979"/>
                <a:gd name="T26" fmla="*/ 229030 w 1227"/>
                <a:gd name="T27" fmla="*/ 101817 h 979"/>
                <a:gd name="T28" fmla="*/ 218226 w 1227"/>
                <a:gd name="T29" fmla="*/ 93463 h 979"/>
                <a:gd name="T30" fmla="*/ 208719 w 1227"/>
                <a:gd name="T31" fmla="*/ 66834 h 979"/>
                <a:gd name="T32" fmla="*/ 200941 w 1227"/>
                <a:gd name="T33" fmla="*/ 53780 h 979"/>
                <a:gd name="T34" fmla="*/ 186681 w 1227"/>
                <a:gd name="T35" fmla="*/ 42293 h 979"/>
                <a:gd name="T36" fmla="*/ 157728 w 1227"/>
                <a:gd name="T37" fmla="*/ 31851 h 979"/>
                <a:gd name="T38" fmla="*/ 130936 w 1227"/>
                <a:gd name="T39" fmla="*/ 16708 h 979"/>
                <a:gd name="T40" fmla="*/ 92476 w 1227"/>
                <a:gd name="T41" fmla="*/ 5221 h 979"/>
                <a:gd name="T42" fmla="*/ 71734 w 1227"/>
                <a:gd name="T43" fmla="*/ 19841 h 979"/>
                <a:gd name="T44" fmla="*/ 65252 w 1227"/>
                <a:gd name="T45" fmla="*/ 31851 h 979"/>
                <a:gd name="T46" fmla="*/ 66116 w 1227"/>
                <a:gd name="T47" fmla="*/ 46993 h 979"/>
                <a:gd name="T48" fmla="*/ 73030 w 1227"/>
                <a:gd name="T49" fmla="*/ 61613 h 979"/>
                <a:gd name="T50" fmla="*/ 65252 w 1227"/>
                <a:gd name="T51" fmla="*/ 78321 h 979"/>
                <a:gd name="T52" fmla="*/ 41052 w 1227"/>
                <a:gd name="T53" fmla="*/ 97118 h 979"/>
                <a:gd name="T54" fmla="*/ 23335 w 1227"/>
                <a:gd name="T55" fmla="*/ 99207 h 979"/>
                <a:gd name="T56" fmla="*/ 3889 w 1227"/>
                <a:gd name="T57" fmla="*/ 95552 h 979"/>
                <a:gd name="T58" fmla="*/ 0 w 1227"/>
                <a:gd name="T59" fmla="*/ 123225 h 979"/>
                <a:gd name="T60" fmla="*/ 3889 w 1227"/>
                <a:gd name="T61" fmla="*/ 140456 h 979"/>
                <a:gd name="T62" fmla="*/ 10803 w 1227"/>
                <a:gd name="T63" fmla="*/ 147243 h 979"/>
                <a:gd name="T64" fmla="*/ 17285 w 1227"/>
                <a:gd name="T65" fmla="*/ 160297 h 979"/>
                <a:gd name="T66" fmla="*/ 35867 w 1227"/>
                <a:gd name="T67" fmla="*/ 190059 h 979"/>
                <a:gd name="T68" fmla="*/ 44077 w 1227"/>
                <a:gd name="T69" fmla="*/ 216166 h 979"/>
                <a:gd name="T70" fmla="*/ 52288 w 1227"/>
                <a:gd name="T71" fmla="*/ 222954 h 979"/>
                <a:gd name="T72" fmla="*/ 57473 w 1227"/>
                <a:gd name="T73" fmla="*/ 228697 h 979"/>
                <a:gd name="T74" fmla="*/ 63955 w 1227"/>
                <a:gd name="T75" fmla="*/ 244884 h 979"/>
                <a:gd name="T76" fmla="*/ 96797 w 1227"/>
                <a:gd name="T77" fmla="*/ 285088 h 979"/>
                <a:gd name="T78" fmla="*/ 107601 w 1227"/>
                <a:gd name="T79" fmla="*/ 305452 h 979"/>
                <a:gd name="T80" fmla="*/ 110626 w 1227"/>
                <a:gd name="T81" fmla="*/ 325815 h 979"/>
                <a:gd name="T82" fmla="*/ 114947 w 1227"/>
                <a:gd name="T83" fmla="*/ 344090 h 979"/>
                <a:gd name="T84" fmla="*/ 129207 w 1227"/>
                <a:gd name="T85" fmla="*/ 366020 h 979"/>
                <a:gd name="T86" fmla="*/ 155999 w 1227"/>
                <a:gd name="T87" fmla="*/ 397348 h 979"/>
                <a:gd name="T88" fmla="*/ 167667 w 1227"/>
                <a:gd name="T89" fmla="*/ 425022 h 979"/>
                <a:gd name="T90" fmla="*/ 183656 w 1227"/>
                <a:gd name="T91" fmla="*/ 452695 h 979"/>
                <a:gd name="T92" fmla="*/ 208719 w 1227"/>
                <a:gd name="T93" fmla="*/ 489767 h 979"/>
                <a:gd name="T94" fmla="*/ 228165 w 1227"/>
                <a:gd name="T95" fmla="*/ 511175 h 979"/>
                <a:gd name="T96" fmla="*/ 234647 w 1227"/>
                <a:gd name="T97" fmla="*/ 497599 h 979"/>
                <a:gd name="T98" fmla="*/ 235944 w 1227"/>
                <a:gd name="T99" fmla="*/ 474625 h 979"/>
                <a:gd name="T100" fmla="*/ 246315 w 1227"/>
                <a:gd name="T101" fmla="*/ 467837 h 979"/>
                <a:gd name="T102" fmla="*/ 261439 w 1227"/>
                <a:gd name="T103" fmla="*/ 467315 h 979"/>
                <a:gd name="T104" fmla="*/ 285207 w 1227"/>
                <a:gd name="T105" fmla="*/ 474625 h 979"/>
                <a:gd name="T106" fmla="*/ 305949 w 1227"/>
                <a:gd name="T107" fmla="*/ 492378 h 979"/>
                <a:gd name="T108" fmla="*/ 340087 w 1227"/>
                <a:gd name="T109" fmla="*/ 437553 h 979"/>
                <a:gd name="T110" fmla="*/ 518125 w 1227"/>
                <a:gd name="T111" fmla="*/ 296053 h 979"/>
                <a:gd name="T112" fmla="*/ 406203 w 1227"/>
                <a:gd name="T113" fmla="*/ 244361 h 979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227" h="979">
                  <a:moveTo>
                    <a:pt x="940" y="468"/>
                  </a:moveTo>
                  <a:lnTo>
                    <a:pt x="937" y="468"/>
                  </a:lnTo>
                  <a:lnTo>
                    <a:pt x="935" y="467"/>
                  </a:lnTo>
                  <a:lnTo>
                    <a:pt x="932" y="466"/>
                  </a:lnTo>
                  <a:lnTo>
                    <a:pt x="931" y="465"/>
                  </a:lnTo>
                  <a:lnTo>
                    <a:pt x="930" y="461"/>
                  </a:lnTo>
                  <a:lnTo>
                    <a:pt x="930" y="456"/>
                  </a:lnTo>
                  <a:lnTo>
                    <a:pt x="932" y="442"/>
                  </a:lnTo>
                  <a:lnTo>
                    <a:pt x="933" y="425"/>
                  </a:lnTo>
                  <a:lnTo>
                    <a:pt x="933" y="420"/>
                  </a:lnTo>
                  <a:lnTo>
                    <a:pt x="932" y="416"/>
                  </a:lnTo>
                  <a:lnTo>
                    <a:pt x="930" y="412"/>
                  </a:lnTo>
                  <a:lnTo>
                    <a:pt x="928" y="407"/>
                  </a:lnTo>
                  <a:lnTo>
                    <a:pt x="921" y="400"/>
                  </a:lnTo>
                  <a:lnTo>
                    <a:pt x="915" y="392"/>
                  </a:lnTo>
                  <a:lnTo>
                    <a:pt x="908" y="385"/>
                  </a:lnTo>
                  <a:lnTo>
                    <a:pt x="903" y="378"/>
                  </a:lnTo>
                  <a:lnTo>
                    <a:pt x="902" y="373"/>
                  </a:lnTo>
                  <a:lnTo>
                    <a:pt x="901" y="370"/>
                  </a:lnTo>
                  <a:lnTo>
                    <a:pt x="899" y="367"/>
                  </a:lnTo>
                  <a:lnTo>
                    <a:pt x="901" y="363"/>
                  </a:lnTo>
                  <a:lnTo>
                    <a:pt x="865" y="344"/>
                  </a:lnTo>
                  <a:lnTo>
                    <a:pt x="838" y="328"/>
                  </a:lnTo>
                  <a:lnTo>
                    <a:pt x="817" y="312"/>
                  </a:lnTo>
                  <a:lnTo>
                    <a:pt x="801" y="300"/>
                  </a:lnTo>
                  <a:lnTo>
                    <a:pt x="779" y="280"/>
                  </a:lnTo>
                  <a:lnTo>
                    <a:pt x="761" y="264"/>
                  </a:lnTo>
                  <a:lnTo>
                    <a:pt x="759" y="263"/>
                  </a:lnTo>
                  <a:lnTo>
                    <a:pt x="757" y="258"/>
                  </a:lnTo>
                  <a:lnTo>
                    <a:pt x="756" y="252"/>
                  </a:lnTo>
                  <a:lnTo>
                    <a:pt x="754" y="245"/>
                  </a:lnTo>
                  <a:lnTo>
                    <a:pt x="752" y="229"/>
                  </a:lnTo>
                  <a:lnTo>
                    <a:pt x="748" y="216"/>
                  </a:lnTo>
                  <a:lnTo>
                    <a:pt x="740" y="218"/>
                  </a:lnTo>
                  <a:lnTo>
                    <a:pt x="733" y="218"/>
                  </a:lnTo>
                  <a:lnTo>
                    <a:pt x="726" y="218"/>
                  </a:lnTo>
                  <a:lnTo>
                    <a:pt x="718" y="217"/>
                  </a:lnTo>
                  <a:lnTo>
                    <a:pt x="711" y="215"/>
                  </a:lnTo>
                  <a:lnTo>
                    <a:pt x="703" y="212"/>
                  </a:lnTo>
                  <a:lnTo>
                    <a:pt x="695" y="207"/>
                  </a:lnTo>
                  <a:lnTo>
                    <a:pt x="688" y="203"/>
                  </a:lnTo>
                  <a:lnTo>
                    <a:pt x="667" y="199"/>
                  </a:lnTo>
                  <a:lnTo>
                    <a:pt x="650" y="197"/>
                  </a:lnTo>
                  <a:lnTo>
                    <a:pt x="638" y="196"/>
                  </a:lnTo>
                  <a:lnTo>
                    <a:pt x="630" y="196"/>
                  </a:lnTo>
                  <a:lnTo>
                    <a:pt x="617" y="199"/>
                  </a:lnTo>
                  <a:lnTo>
                    <a:pt x="602" y="203"/>
                  </a:lnTo>
                  <a:lnTo>
                    <a:pt x="596" y="201"/>
                  </a:lnTo>
                  <a:lnTo>
                    <a:pt x="591" y="201"/>
                  </a:lnTo>
                  <a:lnTo>
                    <a:pt x="584" y="202"/>
                  </a:lnTo>
                  <a:lnTo>
                    <a:pt x="578" y="203"/>
                  </a:lnTo>
                  <a:lnTo>
                    <a:pt x="570" y="204"/>
                  </a:lnTo>
                  <a:lnTo>
                    <a:pt x="563" y="205"/>
                  </a:lnTo>
                  <a:lnTo>
                    <a:pt x="556" y="204"/>
                  </a:lnTo>
                  <a:lnTo>
                    <a:pt x="548" y="203"/>
                  </a:lnTo>
                  <a:lnTo>
                    <a:pt x="530" y="195"/>
                  </a:lnTo>
                  <a:lnTo>
                    <a:pt x="517" y="190"/>
                  </a:lnTo>
                  <a:lnTo>
                    <a:pt x="513" y="187"/>
                  </a:lnTo>
                  <a:lnTo>
                    <a:pt x="509" y="183"/>
                  </a:lnTo>
                  <a:lnTo>
                    <a:pt x="505" y="179"/>
                  </a:lnTo>
                  <a:lnTo>
                    <a:pt x="502" y="173"/>
                  </a:lnTo>
                  <a:lnTo>
                    <a:pt x="493" y="152"/>
                  </a:lnTo>
                  <a:lnTo>
                    <a:pt x="487" y="136"/>
                  </a:lnTo>
                  <a:lnTo>
                    <a:pt x="483" y="128"/>
                  </a:lnTo>
                  <a:lnTo>
                    <a:pt x="479" y="121"/>
                  </a:lnTo>
                  <a:lnTo>
                    <a:pt x="476" y="115"/>
                  </a:lnTo>
                  <a:lnTo>
                    <a:pt x="470" y="109"/>
                  </a:lnTo>
                  <a:lnTo>
                    <a:pt x="465" y="103"/>
                  </a:lnTo>
                  <a:lnTo>
                    <a:pt x="459" y="96"/>
                  </a:lnTo>
                  <a:lnTo>
                    <a:pt x="451" y="91"/>
                  </a:lnTo>
                  <a:lnTo>
                    <a:pt x="443" y="86"/>
                  </a:lnTo>
                  <a:lnTo>
                    <a:pt x="432" y="81"/>
                  </a:lnTo>
                  <a:lnTo>
                    <a:pt x="420" y="77"/>
                  </a:lnTo>
                  <a:lnTo>
                    <a:pt x="405" y="72"/>
                  </a:lnTo>
                  <a:lnTo>
                    <a:pt x="389" y="68"/>
                  </a:lnTo>
                  <a:lnTo>
                    <a:pt x="365" y="61"/>
                  </a:lnTo>
                  <a:lnTo>
                    <a:pt x="346" y="55"/>
                  </a:lnTo>
                  <a:lnTo>
                    <a:pt x="332" y="48"/>
                  </a:lnTo>
                  <a:lnTo>
                    <a:pt x="317" y="40"/>
                  </a:lnTo>
                  <a:lnTo>
                    <a:pt x="303" y="32"/>
                  </a:lnTo>
                  <a:lnTo>
                    <a:pt x="287" y="23"/>
                  </a:lnTo>
                  <a:lnTo>
                    <a:pt x="265" y="13"/>
                  </a:lnTo>
                  <a:lnTo>
                    <a:pt x="236" y="0"/>
                  </a:lnTo>
                  <a:lnTo>
                    <a:pt x="214" y="10"/>
                  </a:lnTo>
                  <a:lnTo>
                    <a:pt x="186" y="24"/>
                  </a:lnTo>
                  <a:lnTo>
                    <a:pt x="178" y="28"/>
                  </a:lnTo>
                  <a:lnTo>
                    <a:pt x="171" y="33"/>
                  </a:lnTo>
                  <a:lnTo>
                    <a:pt x="166" y="38"/>
                  </a:lnTo>
                  <a:lnTo>
                    <a:pt x="160" y="44"/>
                  </a:lnTo>
                  <a:lnTo>
                    <a:pt x="156" y="49"/>
                  </a:lnTo>
                  <a:lnTo>
                    <a:pt x="153" y="55"/>
                  </a:lnTo>
                  <a:lnTo>
                    <a:pt x="151" y="61"/>
                  </a:lnTo>
                  <a:lnTo>
                    <a:pt x="149" y="68"/>
                  </a:lnTo>
                  <a:lnTo>
                    <a:pt x="151" y="75"/>
                  </a:lnTo>
                  <a:lnTo>
                    <a:pt x="152" y="82"/>
                  </a:lnTo>
                  <a:lnTo>
                    <a:pt x="153" y="90"/>
                  </a:lnTo>
                  <a:lnTo>
                    <a:pt x="156" y="97"/>
                  </a:lnTo>
                  <a:lnTo>
                    <a:pt x="159" y="105"/>
                  </a:lnTo>
                  <a:lnTo>
                    <a:pt x="164" y="112"/>
                  </a:lnTo>
                  <a:lnTo>
                    <a:pt x="169" y="118"/>
                  </a:lnTo>
                  <a:lnTo>
                    <a:pt x="177" y="123"/>
                  </a:lnTo>
                  <a:lnTo>
                    <a:pt x="171" y="129"/>
                  </a:lnTo>
                  <a:lnTo>
                    <a:pt x="163" y="139"/>
                  </a:lnTo>
                  <a:lnTo>
                    <a:pt x="151" y="150"/>
                  </a:lnTo>
                  <a:lnTo>
                    <a:pt x="136" y="162"/>
                  </a:lnTo>
                  <a:lnTo>
                    <a:pt x="120" y="173"/>
                  </a:lnTo>
                  <a:lnTo>
                    <a:pt x="102" y="182"/>
                  </a:lnTo>
                  <a:lnTo>
                    <a:pt x="95" y="186"/>
                  </a:lnTo>
                  <a:lnTo>
                    <a:pt x="86" y="188"/>
                  </a:lnTo>
                  <a:lnTo>
                    <a:pt x="78" y="190"/>
                  </a:lnTo>
                  <a:lnTo>
                    <a:pt x="70" y="191"/>
                  </a:lnTo>
                  <a:lnTo>
                    <a:pt x="54" y="190"/>
                  </a:lnTo>
                  <a:lnTo>
                    <a:pt x="37" y="187"/>
                  </a:lnTo>
                  <a:lnTo>
                    <a:pt x="22" y="183"/>
                  </a:lnTo>
                  <a:lnTo>
                    <a:pt x="10" y="179"/>
                  </a:lnTo>
                  <a:lnTo>
                    <a:pt x="9" y="183"/>
                  </a:lnTo>
                  <a:lnTo>
                    <a:pt x="6" y="193"/>
                  </a:lnTo>
                  <a:lnTo>
                    <a:pt x="2" y="208"/>
                  </a:lnTo>
                  <a:lnTo>
                    <a:pt x="0" y="226"/>
                  </a:lnTo>
                  <a:lnTo>
                    <a:pt x="0" y="236"/>
                  </a:lnTo>
                  <a:lnTo>
                    <a:pt x="0" y="245"/>
                  </a:lnTo>
                  <a:lnTo>
                    <a:pt x="2" y="253"/>
                  </a:lnTo>
                  <a:lnTo>
                    <a:pt x="5" y="261"/>
                  </a:lnTo>
                  <a:lnTo>
                    <a:pt x="9" y="269"/>
                  </a:lnTo>
                  <a:lnTo>
                    <a:pt x="14" y="276"/>
                  </a:lnTo>
                  <a:lnTo>
                    <a:pt x="18" y="278"/>
                  </a:lnTo>
                  <a:lnTo>
                    <a:pt x="21" y="280"/>
                  </a:lnTo>
                  <a:lnTo>
                    <a:pt x="25" y="282"/>
                  </a:lnTo>
                  <a:lnTo>
                    <a:pt x="30" y="283"/>
                  </a:lnTo>
                  <a:lnTo>
                    <a:pt x="32" y="291"/>
                  </a:lnTo>
                  <a:lnTo>
                    <a:pt x="35" y="299"/>
                  </a:lnTo>
                  <a:lnTo>
                    <a:pt x="40" y="307"/>
                  </a:lnTo>
                  <a:lnTo>
                    <a:pt x="44" y="315"/>
                  </a:lnTo>
                  <a:lnTo>
                    <a:pt x="56" y="331"/>
                  </a:lnTo>
                  <a:lnTo>
                    <a:pt x="69" y="347"/>
                  </a:lnTo>
                  <a:lnTo>
                    <a:pt x="83" y="364"/>
                  </a:lnTo>
                  <a:lnTo>
                    <a:pt x="92" y="383"/>
                  </a:lnTo>
                  <a:lnTo>
                    <a:pt x="97" y="393"/>
                  </a:lnTo>
                  <a:lnTo>
                    <a:pt x="100" y="403"/>
                  </a:lnTo>
                  <a:lnTo>
                    <a:pt x="102" y="414"/>
                  </a:lnTo>
                  <a:lnTo>
                    <a:pt x="103" y="425"/>
                  </a:lnTo>
                  <a:lnTo>
                    <a:pt x="110" y="425"/>
                  </a:lnTo>
                  <a:lnTo>
                    <a:pt x="117" y="426"/>
                  </a:lnTo>
                  <a:lnTo>
                    <a:pt x="121" y="427"/>
                  </a:lnTo>
                  <a:lnTo>
                    <a:pt x="124" y="429"/>
                  </a:lnTo>
                  <a:lnTo>
                    <a:pt x="128" y="431"/>
                  </a:lnTo>
                  <a:lnTo>
                    <a:pt x="131" y="435"/>
                  </a:lnTo>
                  <a:lnTo>
                    <a:pt x="133" y="438"/>
                  </a:lnTo>
                  <a:lnTo>
                    <a:pt x="135" y="441"/>
                  </a:lnTo>
                  <a:lnTo>
                    <a:pt x="139" y="450"/>
                  </a:lnTo>
                  <a:lnTo>
                    <a:pt x="143" y="459"/>
                  </a:lnTo>
                  <a:lnTo>
                    <a:pt x="148" y="469"/>
                  </a:lnTo>
                  <a:lnTo>
                    <a:pt x="156" y="480"/>
                  </a:lnTo>
                  <a:lnTo>
                    <a:pt x="184" y="504"/>
                  </a:lnTo>
                  <a:lnTo>
                    <a:pt x="216" y="536"/>
                  </a:lnTo>
                  <a:lnTo>
                    <a:pt x="224" y="546"/>
                  </a:lnTo>
                  <a:lnTo>
                    <a:pt x="232" y="556"/>
                  </a:lnTo>
                  <a:lnTo>
                    <a:pt x="238" y="565"/>
                  </a:lnTo>
                  <a:lnTo>
                    <a:pt x="244" y="575"/>
                  </a:lnTo>
                  <a:lnTo>
                    <a:pt x="249" y="585"/>
                  </a:lnTo>
                  <a:lnTo>
                    <a:pt x="253" y="595"/>
                  </a:lnTo>
                  <a:lnTo>
                    <a:pt x="255" y="606"/>
                  </a:lnTo>
                  <a:lnTo>
                    <a:pt x="256" y="616"/>
                  </a:lnTo>
                  <a:lnTo>
                    <a:pt x="256" y="624"/>
                  </a:lnTo>
                  <a:lnTo>
                    <a:pt x="257" y="631"/>
                  </a:lnTo>
                  <a:lnTo>
                    <a:pt x="258" y="638"/>
                  </a:lnTo>
                  <a:lnTo>
                    <a:pt x="260" y="645"/>
                  </a:lnTo>
                  <a:lnTo>
                    <a:pt x="266" y="659"/>
                  </a:lnTo>
                  <a:lnTo>
                    <a:pt x="272" y="670"/>
                  </a:lnTo>
                  <a:lnTo>
                    <a:pt x="280" y="681"/>
                  </a:lnTo>
                  <a:lnTo>
                    <a:pt x="289" y="691"/>
                  </a:lnTo>
                  <a:lnTo>
                    <a:pt x="299" y="701"/>
                  </a:lnTo>
                  <a:lnTo>
                    <a:pt x="310" y="710"/>
                  </a:lnTo>
                  <a:lnTo>
                    <a:pt x="331" y="730"/>
                  </a:lnTo>
                  <a:lnTo>
                    <a:pt x="352" y="750"/>
                  </a:lnTo>
                  <a:lnTo>
                    <a:pt x="361" y="761"/>
                  </a:lnTo>
                  <a:lnTo>
                    <a:pt x="369" y="774"/>
                  </a:lnTo>
                  <a:lnTo>
                    <a:pt x="377" y="787"/>
                  </a:lnTo>
                  <a:lnTo>
                    <a:pt x="382" y="801"/>
                  </a:lnTo>
                  <a:lnTo>
                    <a:pt x="388" y="814"/>
                  </a:lnTo>
                  <a:lnTo>
                    <a:pt x="394" y="827"/>
                  </a:lnTo>
                  <a:lnTo>
                    <a:pt x="401" y="838"/>
                  </a:lnTo>
                  <a:lnTo>
                    <a:pt x="409" y="848"/>
                  </a:lnTo>
                  <a:lnTo>
                    <a:pt x="425" y="867"/>
                  </a:lnTo>
                  <a:lnTo>
                    <a:pt x="443" y="886"/>
                  </a:lnTo>
                  <a:lnTo>
                    <a:pt x="459" y="905"/>
                  </a:lnTo>
                  <a:lnTo>
                    <a:pt x="476" y="925"/>
                  </a:lnTo>
                  <a:lnTo>
                    <a:pt x="483" y="938"/>
                  </a:lnTo>
                  <a:lnTo>
                    <a:pt x="490" y="950"/>
                  </a:lnTo>
                  <a:lnTo>
                    <a:pt x="496" y="964"/>
                  </a:lnTo>
                  <a:lnTo>
                    <a:pt x="502" y="979"/>
                  </a:lnTo>
                  <a:lnTo>
                    <a:pt x="528" y="979"/>
                  </a:lnTo>
                  <a:lnTo>
                    <a:pt x="535" y="973"/>
                  </a:lnTo>
                  <a:lnTo>
                    <a:pt x="539" y="966"/>
                  </a:lnTo>
                  <a:lnTo>
                    <a:pt x="541" y="960"/>
                  </a:lnTo>
                  <a:lnTo>
                    <a:pt x="543" y="953"/>
                  </a:lnTo>
                  <a:lnTo>
                    <a:pt x="543" y="938"/>
                  </a:lnTo>
                  <a:lnTo>
                    <a:pt x="541" y="918"/>
                  </a:lnTo>
                  <a:lnTo>
                    <a:pt x="543" y="913"/>
                  </a:lnTo>
                  <a:lnTo>
                    <a:pt x="546" y="909"/>
                  </a:lnTo>
                  <a:lnTo>
                    <a:pt x="551" y="905"/>
                  </a:lnTo>
                  <a:lnTo>
                    <a:pt x="557" y="901"/>
                  </a:lnTo>
                  <a:lnTo>
                    <a:pt x="563" y="898"/>
                  </a:lnTo>
                  <a:lnTo>
                    <a:pt x="570" y="896"/>
                  </a:lnTo>
                  <a:lnTo>
                    <a:pt x="577" y="894"/>
                  </a:lnTo>
                  <a:lnTo>
                    <a:pt x="582" y="893"/>
                  </a:lnTo>
                  <a:lnTo>
                    <a:pt x="594" y="894"/>
                  </a:lnTo>
                  <a:lnTo>
                    <a:pt x="605" y="895"/>
                  </a:lnTo>
                  <a:lnTo>
                    <a:pt x="616" y="896"/>
                  </a:lnTo>
                  <a:lnTo>
                    <a:pt x="626" y="898"/>
                  </a:lnTo>
                  <a:lnTo>
                    <a:pt x="644" y="902"/>
                  </a:lnTo>
                  <a:lnTo>
                    <a:pt x="660" y="909"/>
                  </a:lnTo>
                  <a:lnTo>
                    <a:pt x="674" y="916"/>
                  </a:lnTo>
                  <a:lnTo>
                    <a:pt x="686" y="924"/>
                  </a:lnTo>
                  <a:lnTo>
                    <a:pt x="697" y="934"/>
                  </a:lnTo>
                  <a:lnTo>
                    <a:pt x="708" y="943"/>
                  </a:lnTo>
                  <a:lnTo>
                    <a:pt x="729" y="916"/>
                  </a:lnTo>
                  <a:lnTo>
                    <a:pt x="756" y="881"/>
                  </a:lnTo>
                  <a:lnTo>
                    <a:pt x="778" y="851"/>
                  </a:lnTo>
                  <a:lnTo>
                    <a:pt x="787" y="838"/>
                  </a:lnTo>
                  <a:lnTo>
                    <a:pt x="1033" y="789"/>
                  </a:lnTo>
                  <a:lnTo>
                    <a:pt x="1146" y="763"/>
                  </a:lnTo>
                  <a:lnTo>
                    <a:pt x="1227" y="616"/>
                  </a:lnTo>
                  <a:lnTo>
                    <a:pt x="1199" y="567"/>
                  </a:lnTo>
                  <a:lnTo>
                    <a:pt x="1173" y="591"/>
                  </a:lnTo>
                  <a:lnTo>
                    <a:pt x="1000" y="573"/>
                  </a:lnTo>
                  <a:lnTo>
                    <a:pt x="940" y="480"/>
                  </a:lnTo>
                  <a:lnTo>
                    <a:pt x="940" y="46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967" name="Freeform 528"/>
            <p:cNvSpPr>
              <a:spLocks/>
            </p:cNvSpPr>
            <p:nvPr>
              <p:custDataLst>
                <p:tags r:id="rId359"/>
              </p:custDataLst>
            </p:nvPr>
          </p:nvSpPr>
          <p:spPr bwMode="auto">
            <a:xfrm>
              <a:off x="5970141" y="2326839"/>
              <a:ext cx="68134" cy="68630"/>
            </a:xfrm>
            <a:custGeom>
              <a:avLst/>
              <a:gdLst>
                <a:gd name="T0" fmla="*/ 57150 w 146"/>
                <a:gd name="T1" fmla="*/ 12700 h 81"/>
                <a:gd name="T2" fmla="*/ 54018 w 146"/>
                <a:gd name="T3" fmla="*/ 16933 h 81"/>
                <a:gd name="T4" fmla="*/ 50887 w 146"/>
                <a:gd name="T5" fmla="*/ 20461 h 81"/>
                <a:gd name="T6" fmla="*/ 48147 w 146"/>
                <a:gd name="T7" fmla="*/ 24694 h 81"/>
                <a:gd name="T8" fmla="*/ 46190 w 146"/>
                <a:gd name="T9" fmla="*/ 28928 h 81"/>
                <a:gd name="T10" fmla="*/ 42275 w 146"/>
                <a:gd name="T11" fmla="*/ 37394 h 81"/>
                <a:gd name="T12" fmla="*/ 38361 w 146"/>
                <a:gd name="T13" fmla="*/ 45156 h 81"/>
                <a:gd name="T14" fmla="*/ 36404 w 146"/>
                <a:gd name="T15" fmla="*/ 48683 h 81"/>
                <a:gd name="T16" fmla="*/ 33272 w 146"/>
                <a:gd name="T17" fmla="*/ 51506 h 81"/>
                <a:gd name="T18" fmla="*/ 29749 w 146"/>
                <a:gd name="T19" fmla="*/ 54328 h 81"/>
                <a:gd name="T20" fmla="*/ 25835 w 146"/>
                <a:gd name="T21" fmla="*/ 56444 h 81"/>
                <a:gd name="T22" fmla="*/ 20746 w 146"/>
                <a:gd name="T23" fmla="*/ 57150 h 81"/>
                <a:gd name="T24" fmla="*/ 15266 w 146"/>
                <a:gd name="T25" fmla="*/ 56444 h 81"/>
                <a:gd name="T26" fmla="*/ 8220 w 146"/>
                <a:gd name="T27" fmla="*/ 54328 h 81"/>
                <a:gd name="T28" fmla="*/ 0 w 146"/>
                <a:gd name="T29" fmla="*/ 52211 h 81"/>
                <a:gd name="T30" fmla="*/ 0 w 146"/>
                <a:gd name="T31" fmla="*/ 43744 h 81"/>
                <a:gd name="T32" fmla="*/ 0 w 146"/>
                <a:gd name="T33" fmla="*/ 34572 h 81"/>
                <a:gd name="T34" fmla="*/ 0 w 146"/>
                <a:gd name="T35" fmla="*/ 23989 h 81"/>
                <a:gd name="T36" fmla="*/ 0 w 146"/>
                <a:gd name="T37" fmla="*/ 12700 h 81"/>
                <a:gd name="T38" fmla="*/ 5480 w 146"/>
                <a:gd name="T39" fmla="*/ 12700 h 81"/>
                <a:gd name="T40" fmla="*/ 8612 w 146"/>
                <a:gd name="T41" fmla="*/ 12700 h 81"/>
                <a:gd name="T42" fmla="*/ 12135 w 146"/>
                <a:gd name="T43" fmla="*/ 12700 h 81"/>
                <a:gd name="T44" fmla="*/ 15658 w 146"/>
                <a:gd name="T45" fmla="*/ 12700 h 81"/>
                <a:gd name="T46" fmla="*/ 20355 w 146"/>
                <a:gd name="T47" fmla="*/ 12700 h 81"/>
                <a:gd name="T48" fmla="*/ 24661 w 146"/>
                <a:gd name="T49" fmla="*/ 11289 h 81"/>
                <a:gd name="T50" fmla="*/ 28575 w 146"/>
                <a:gd name="T51" fmla="*/ 9878 h 81"/>
                <a:gd name="T52" fmla="*/ 32489 w 146"/>
                <a:gd name="T53" fmla="*/ 7761 h 81"/>
                <a:gd name="T54" fmla="*/ 39535 w 146"/>
                <a:gd name="T55" fmla="*/ 3528 h 81"/>
                <a:gd name="T56" fmla="*/ 46973 w 146"/>
                <a:gd name="T57" fmla="*/ 0 h 81"/>
                <a:gd name="T58" fmla="*/ 50496 w 146"/>
                <a:gd name="T59" fmla="*/ 2822 h 81"/>
                <a:gd name="T60" fmla="*/ 52844 w 146"/>
                <a:gd name="T61" fmla="*/ 6350 h 81"/>
                <a:gd name="T62" fmla="*/ 55193 w 146"/>
                <a:gd name="T63" fmla="*/ 9878 h 81"/>
                <a:gd name="T64" fmla="*/ 57150 w 146"/>
                <a:gd name="T65" fmla="*/ 12700 h 8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46" h="81">
                  <a:moveTo>
                    <a:pt x="146" y="18"/>
                  </a:moveTo>
                  <a:lnTo>
                    <a:pt x="138" y="24"/>
                  </a:lnTo>
                  <a:lnTo>
                    <a:pt x="130" y="29"/>
                  </a:lnTo>
                  <a:lnTo>
                    <a:pt x="123" y="35"/>
                  </a:lnTo>
                  <a:lnTo>
                    <a:pt x="118" y="41"/>
                  </a:lnTo>
                  <a:lnTo>
                    <a:pt x="108" y="53"/>
                  </a:lnTo>
                  <a:lnTo>
                    <a:pt x="98" y="64"/>
                  </a:lnTo>
                  <a:lnTo>
                    <a:pt x="93" y="69"/>
                  </a:lnTo>
                  <a:lnTo>
                    <a:pt x="85" y="73"/>
                  </a:lnTo>
                  <a:lnTo>
                    <a:pt x="76" y="77"/>
                  </a:lnTo>
                  <a:lnTo>
                    <a:pt x="66" y="80"/>
                  </a:lnTo>
                  <a:lnTo>
                    <a:pt x="53" y="81"/>
                  </a:lnTo>
                  <a:lnTo>
                    <a:pt x="39" y="80"/>
                  </a:lnTo>
                  <a:lnTo>
                    <a:pt x="21" y="77"/>
                  </a:lnTo>
                  <a:lnTo>
                    <a:pt x="0" y="74"/>
                  </a:lnTo>
                  <a:lnTo>
                    <a:pt x="0" y="62"/>
                  </a:lnTo>
                  <a:lnTo>
                    <a:pt x="0" y="49"/>
                  </a:lnTo>
                  <a:lnTo>
                    <a:pt x="0" y="34"/>
                  </a:lnTo>
                  <a:lnTo>
                    <a:pt x="0" y="18"/>
                  </a:lnTo>
                  <a:lnTo>
                    <a:pt x="14" y="18"/>
                  </a:lnTo>
                  <a:lnTo>
                    <a:pt x="22" y="18"/>
                  </a:lnTo>
                  <a:lnTo>
                    <a:pt x="31" y="18"/>
                  </a:lnTo>
                  <a:lnTo>
                    <a:pt x="40" y="18"/>
                  </a:lnTo>
                  <a:lnTo>
                    <a:pt x="52" y="18"/>
                  </a:lnTo>
                  <a:lnTo>
                    <a:pt x="63" y="16"/>
                  </a:lnTo>
                  <a:lnTo>
                    <a:pt x="73" y="14"/>
                  </a:lnTo>
                  <a:lnTo>
                    <a:pt x="83" y="11"/>
                  </a:lnTo>
                  <a:lnTo>
                    <a:pt x="101" y="5"/>
                  </a:lnTo>
                  <a:lnTo>
                    <a:pt x="120" y="0"/>
                  </a:lnTo>
                  <a:lnTo>
                    <a:pt x="129" y="4"/>
                  </a:lnTo>
                  <a:lnTo>
                    <a:pt x="135" y="9"/>
                  </a:lnTo>
                  <a:lnTo>
                    <a:pt x="141" y="14"/>
                  </a:lnTo>
                  <a:lnTo>
                    <a:pt x="146" y="1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968" name="Freeform 529"/>
            <p:cNvSpPr>
              <a:spLocks/>
            </p:cNvSpPr>
            <p:nvPr>
              <p:custDataLst>
                <p:tags r:id="rId360"/>
              </p:custDataLst>
            </p:nvPr>
          </p:nvSpPr>
          <p:spPr bwMode="auto">
            <a:xfrm>
              <a:off x="5659755" y="2582294"/>
              <a:ext cx="18926" cy="68630"/>
            </a:xfrm>
            <a:custGeom>
              <a:avLst/>
              <a:gdLst>
                <a:gd name="T0" fmla="*/ 15875 w 34"/>
                <a:gd name="T1" fmla="*/ 57150 h 49"/>
                <a:gd name="T2" fmla="*/ 15875 w 34"/>
                <a:gd name="T3" fmla="*/ 39655 h 49"/>
                <a:gd name="T4" fmla="*/ 15875 w 34"/>
                <a:gd name="T5" fmla="*/ 29158 h 49"/>
                <a:gd name="T6" fmla="*/ 15408 w 34"/>
                <a:gd name="T7" fmla="*/ 24493 h 49"/>
                <a:gd name="T8" fmla="*/ 15408 w 34"/>
                <a:gd name="T9" fmla="*/ 19828 h 49"/>
                <a:gd name="T10" fmla="*/ 14474 w 34"/>
                <a:gd name="T11" fmla="*/ 17495 h 49"/>
                <a:gd name="T12" fmla="*/ 14007 w 34"/>
                <a:gd name="T13" fmla="*/ 13996 h 49"/>
                <a:gd name="T14" fmla="*/ 11673 w 34"/>
                <a:gd name="T15" fmla="*/ 9331 h 49"/>
                <a:gd name="T16" fmla="*/ 9805 w 34"/>
                <a:gd name="T17" fmla="*/ 0 h 49"/>
                <a:gd name="T18" fmla="*/ 3735 w 34"/>
                <a:gd name="T19" fmla="*/ 0 h 49"/>
                <a:gd name="T20" fmla="*/ 0 w 34"/>
                <a:gd name="T21" fmla="*/ 0 h 49"/>
                <a:gd name="T22" fmla="*/ 1401 w 34"/>
                <a:gd name="T23" fmla="*/ 12830 h 49"/>
                <a:gd name="T24" fmla="*/ 3268 w 34"/>
                <a:gd name="T25" fmla="*/ 23327 h 49"/>
                <a:gd name="T26" fmla="*/ 4669 w 34"/>
                <a:gd name="T27" fmla="*/ 31491 h 49"/>
                <a:gd name="T28" fmla="*/ 6537 w 34"/>
                <a:gd name="T29" fmla="*/ 39655 h 49"/>
                <a:gd name="T30" fmla="*/ 8871 w 34"/>
                <a:gd name="T31" fmla="*/ 45487 h 49"/>
                <a:gd name="T32" fmla="*/ 11206 w 34"/>
                <a:gd name="T33" fmla="*/ 50152 h 49"/>
                <a:gd name="T34" fmla="*/ 13540 w 34"/>
                <a:gd name="T35" fmla="*/ 53651 h 49"/>
                <a:gd name="T36" fmla="*/ 15875 w 34"/>
                <a:gd name="T37" fmla="*/ 57150 h 4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34" h="49">
                  <a:moveTo>
                    <a:pt x="34" y="49"/>
                  </a:moveTo>
                  <a:lnTo>
                    <a:pt x="34" y="34"/>
                  </a:lnTo>
                  <a:lnTo>
                    <a:pt x="34" y="25"/>
                  </a:lnTo>
                  <a:lnTo>
                    <a:pt x="33" y="21"/>
                  </a:lnTo>
                  <a:lnTo>
                    <a:pt x="33" y="17"/>
                  </a:lnTo>
                  <a:lnTo>
                    <a:pt x="31" y="15"/>
                  </a:lnTo>
                  <a:lnTo>
                    <a:pt x="30" y="12"/>
                  </a:lnTo>
                  <a:lnTo>
                    <a:pt x="25" y="8"/>
                  </a:lnTo>
                  <a:lnTo>
                    <a:pt x="21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3" y="11"/>
                  </a:lnTo>
                  <a:lnTo>
                    <a:pt x="7" y="20"/>
                  </a:lnTo>
                  <a:lnTo>
                    <a:pt x="10" y="27"/>
                  </a:lnTo>
                  <a:lnTo>
                    <a:pt x="14" y="34"/>
                  </a:lnTo>
                  <a:lnTo>
                    <a:pt x="19" y="39"/>
                  </a:lnTo>
                  <a:lnTo>
                    <a:pt x="24" y="43"/>
                  </a:lnTo>
                  <a:lnTo>
                    <a:pt x="29" y="46"/>
                  </a:lnTo>
                  <a:lnTo>
                    <a:pt x="34" y="4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969" name="Freeform 530"/>
            <p:cNvSpPr>
              <a:spLocks/>
            </p:cNvSpPr>
            <p:nvPr>
              <p:custDataLst>
                <p:tags r:id="rId361"/>
              </p:custDataLst>
            </p:nvPr>
          </p:nvSpPr>
          <p:spPr bwMode="auto">
            <a:xfrm>
              <a:off x="5173356" y="2997884"/>
              <a:ext cx="34067" cy="68630"/>
            </a:xfrm>
            <a:custGeom>
              <a:avLst/>
              <a:gdLst>
                <a:gd name="T0" fmla="*/ 28575 w 60"/>
                <a:gd name="T1" fmla="*/ 0 h 74"/>
                <a:gd name="T2" fmla="*/ 26670 w 60"/>
                <a:gd name="T3" fmla="*/ 3089 h 74"/>
                <a:gd name="T4" fmla="*/ 24289 w 60"/>
                <a:gd name="T5" fmla="*/ 7723 h 74"/>
                <a:gd name="T6" fmla="*/ 22860 w 60"/>
                <a:gd name="T7" fmla="*/ 11584 h 74"/>
                <a:gd name="T8" fmla="*/ 21908 w 60"/>
                <a:gd name="T9" fmla="*/ 16218 h 74"/>
                <a:gd name="T10" fmla="*/ 19526 w 60"/>
                <a:gd name="T11" fmla="*/ 23941 h 74"/>
                <a:gd name="T12" fmla="*/ 17621 w 60"/>
                <a:gd name="T13" fmla="*/ 32436 h 74"/>
                <a:gd name="T14" fmla="*/ 16669 w 60"/>
                <a:gd name="T15" fmla="*/ 36298 h 74"/>
                <a:gd name="T16" fmla="*/ 15240 w 60"/>
                <a:gd name="T17" fmla="*/ 39387 h 74"/>
                <a:gd name="T18" fmla="*/ 13811 w 60"/>
                <a:gd name="T19" fmla="*/ 43249 h 74"/>
                <a:gd name="T20" fmla="*/ 11906 w 60"/>
                <a:gd name="T21" fmla="*/ 46338 h 74"/>
                <a:gd name="T22" fmla="*/ 9525 w 60"/>
                <a:gd name="T23" fmla="*/ 50199 h 74"/>
                <a:gd name="T24" fmla="*/ 7144 w 60"/>
                <a:gd name="T25" fmla="*/ 53289 h 74"/>
                <a:gd name="T26" fmla="*/ 3810 w 60"/>
                <a:gd name="T27" fmla="*/ 55605 h 74"/>
                <a:gd name="T28" fmla="*/ 0 w 60"/>
                <a:gd name="T29" fmla="*/ 57150 h 74"/>
                <a:gd name="T30" fmla="*/ 2381 w 60"/>
                <a:gd name="T31" fmla="*/ 46338 h 74"/>
                <a:gd name="T32" fmla="*/ 5715 w 60"/>
                <a:gd name="T33" fmla="*/ 36298 h 74"/>
                <a:gd name="T34" fmla="*/ 9049 w 60"/>
                <a:gd name="T35" fmla="*/ 26258 h 74"/>
                <a:gd name="T36" fmla="*/ 12859 w 60"/>
                <a:gd name="T37" fmla="*/ 17763 h 74"/>
                <a:gd name="T38" fmla="*/ 17145 w 60"/>
                <a:gd name="T39" fmla="*/ 10812 h 74"/>
                <a:gd name="T40" fmla="*/ 20479 w 60"/>
                <a:gd name="T41" fmla="*/ 4634 h 74"/>
                <a:gd name="T42" fmla="*/ 22860 w 60"/>
                <a:gd name="T43" fmla="*/ 2317 h 74"/>
                <a:gd name="T44" fmla="*/ 24765 w 60"/>
                <a:gd name="T45" fmla="*/ 772 h 74"/>
                <a:gd name="T46" fmla="*/ 26670 w 60"/>
                <a:gd name="T47" fmla="*/ 0 h 74"/>
                <a:gd name="T48" fmla="*/ 28575 w 60"/>
                <a:gd name="T49" fmla="*/ 0 h 7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0" h="74">
                  <a:moveTo>
                    <a:pt x="60" y="0"/>
                  </a:moveTo>
                  <a:lnTo>
                    <a:pt x="56" y="4"/>
                  </a:lnTo>
                  <a:lnTo>
                    <a:pt x="51" y="10"/>
                  </a:lnTo>
                  <a:lnTo>
                    <a:pt x="48" y="15"/>
                  </a:lnTo>
                  <a:lnTo>
                    <a:pt x="46" y="21"/>
                  </a:lnTo>
                  <a:lnTo>
                    <a:pt x="41" y="31"/>
                  </a:lnTo>
                  <a:lnTo>
                    <a:pt x="37" y="42"/>
                  </a:lnTo>
                  <a:lnTo>
                    <a:pt x="35" y="47"/>
                  </a:lnTo>
                  <a:lnTo>
                    <a:pt x="32" y="51"/>
                  </a:lnTo>
                  <a:lnTo>
                    <a:pt x="29" y="56"/>
                  </a:lnTo>
                  <a:lnTo>
                    <a:pt x="25" y="60"/>
                  </a:lnTo>
                  <a:lnTo>
                    <a:pt x="20" y="65"/>
                  </a:lnTo>
                  <a:lnTo>
                    <a:pt x="15" y="69"/>
                  </a:lnTo>
                  <a:lnTo>
                    <a:pt x="8" y="72"/>
                  </a:lnTo>
                  <a:lnTo>
                    <a:pt x="0" y="74"/>
                  </a:lnTo>
                  <a:lnTo>
                    <a:pt x="5" y="60"/>
                  </a:lnTo>
                  <a:lnTo>
                    <a:pt x="12" y="47"/>
                  </a:lnTo>
                  <a:lnTo>
                    <a:pt x="19" y="34"/>
                  </a:lnTo>
                  <a:lnTo>
                    <a:pt x="27" y="23"/>
                  </a:lnTo>
                  <a:lnTo>
                    <a:pt x="36" y="14"/>
                  </a:lnTo>
                  <a:lnTo>
                    <a:pt x="43" y="6"/>
                  </a:lnTo>
                  <a:lnTo>
                    <a:pt x="48" y="3"/>
                  </a:lnTo>
                  <a:lnTo>
                    <a:pt x="52" y="1"/>
                  </a:lnTo>
                  <a:lnTo>
                    <a:pt x="56" y="0"/>
                  </a:lnTo>
                  <a:lnTo>
                    <a:pt x="6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970" name="Freeform 531"/>
            <p:cNvSpPr>
              <a:spLocks/>
            </p:cNvSpPr>
            <p:nvPr>
              <p:custDataLst>
                <p:tags r:id="rId362"/>
              </p:custDataLst>
            </p:nvPr>
          </p:nvSpPr>
          <p:spPr bwMode="auto">
            <a:xfrm>
              <a:off x="5103329" y="3016949"/>
              <a:ext cx="28388" cy="72442"/>
            </a:xfrm>
            <a:custGeom>
              <a:avLst/>
              <a:gdLst>
                <a:gd name="T0" fmla="*/ 6586 w 47"/>
                <a:gd name="T1" fmla="*/ 10724 h 45"/>
                <a:gd name="T2" fmla="*/ 11146 w 47"/>
                <a:gd name="T3" fmla="*/ 10724 h 45"/>
                <a:gd name="T4" fmla="*/ 14186 w 47"/>
                <a:gd name="T5" fmla="*/ 8043 h 45"/>
                <a:gd name="T6" fmla="*/ 16212 w 47"/>
                <a:gd name="T7" fmla="*/ 6703 h 45"/>
                <a:gd name="T8" fmla="*/ 17732 w 47"/>
                <a:gd name="T9" fmla="*/ 4022 h 45"/>
                <a:gd name="T10" fmla="*/ 18746 w 47"/>
                <a:gd name="T11" fmla="*/ 1341 h 45"/>
                <a:gd name="T12" fmla="*/ 19759 w 47"/>
                <a:gd name="T13" fmla="*/ 0 h 45"/>
                <a:gd name="T14" fmla="*/ 21785 w 47"/>
                <a:gd name="T15" fmla="*/ 1341 h 45"/>
                <a:gd name="T16" fmla="*/ 23812 w 47"/>
                <a:gd name="T17" fmla="*/ 2681 h 45"/>
                <a:gd name="T18" fmla="*/ 23305 w 47"/>
                <a:gd name="T19" fmla="*/ 9384 h 45"/>
                <a:gd name="T20" fmla="*/ 23305 w 47"/>
                <a:gd name="T21" fmla="*/ 14746 h 45"/>
                <a:gd name="T22" fmla="*/ 22292 w 47"/>
                <a:gd name="T23" fmla="*/ 20108 h 45"/>
                <a:gd name="T24" fmla="*/ 21785 w 47"/>
                <a:gd name="T25" fmla="*/ 25471 h 45"/>
                <a:gd name="T26" fmla="*/ 18746 w 47"/>
                <a:gd name="T27" fmla="*/ 34854 h 45"/>
                <a:gd name="T28" fmla="*/ 15199 w 47"/>
                <a:gd name="T29" fmla="*/ 42898 h 45"/>
                <a:gd name="T30" fmla="*/ 12159 w 47"/>
                <a:gd name="T31" fmla="*/ 50941 h 45"/>
                <a:gd name="T32" fmla="*/ 8106 w 47"/>
                <a:gd name="T33" fmla="*/ 56303 h 45"/>
                <a:gd name="T34" fmla="*/ 3546 w 47"/>
                <a:gd name="T35" fmla="*/ 60325 h 45"/>
                <a:gd name="T36" fmla="*/ 0 w 47"/>
                <a:gd name="T37" fmla="*/ 60325 h 45"/>
                <a:gd name="T38" fmla="*/ 1013 w 47"/>
                <a:gd name="T39" fmla="*/ 50941 h 45"/>
                <a:gd name="T40" fmla="*/ 3040 w 47"/>
                <a:gd name="T41" fmla="*/ 34854 h 45"/>
                <a:gd name="T42" fmla="*/ 5573 w 47"/>
                <a:gd name="T43" fmla="*/ 20108 h 45"/>
                <a:gd name="T44" fmla="*/ 6586 w 47"/>
                <a:gd name="T45" fmla="*/ 10724 h 45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47" h="45">
                  <a:moveTo>
                    <a:pt x="13" y="8"/>
                  </a:moveTo>
                  <a:lnTo>
                    <a:pt x="22" y="8"/>
                  </a:lnTo>
                  <a:lnTo>
                    <a:pt x="28" y="6"/>
                  </a:lnTo>
                  <a:lnTo>
                    <a:pt x="32" y="5"/>
                  </a:lnTo>
                  <a:lnTo>
                    <a:pt x="35" y="3"/>
                  </a:lnTo>
                  <a:lnTo>
                    <a:pt x="37" y="1"/>
                  </a:lnTo>
                  <a:lnTo>
                    <a:pt x="39" y="0"/>
                  </a:lnTo>
                  <a:lnTo>
                    <a:pt x="43" y="1"/>
                  </a:lnTo>
                  <a:lnTo>
                    <a:pt x="47" y="2"/>
                  </a:lnTo>
                  <a:lnTo>
                    <a:pt x="46" y="7"/>
                  </a:lnTo>
                  <a:lnTo>
                    <a:pt x="46" y="11"/>
                  </a:lnTo>
                  <a:lnTo>
                    <a:pt x="44" y="15"/>
                  </a:lnTo>
                  <a:lnTo>
                    <a:pt x="43" y="19"/>
                  </a:lnTo>
                  <a:lnTo>
                    <a:pt x="37" y="26"/>
                  </a:lnTo>
                  <a:lnTo>
                    <a:pt x="30" y="32"/>
                  </a:lnTo>
                  <a:lnTo>
                    <a:pt x="24" y="38"/>
                  </a:lnTo>
                  <a:lnTo>
                    <a:pt x="16" y="42"/>
                  </a:lnTo>
                  <a:lnTo>
                    <a:pt x="7" y="45"/>
                  </a:lnTo>
                  <a:lnTo>
                    <a:pt x="0" y="45"/>
                  </a:lnTo>
                  <a:lnTo>
                    <a:pt x="2" y="38"/>
                  </a:lnTo>
                  <a:lnTo>
                    <a:pt x="6" y="26"/>
                  </a:lnTo>
                  <a:lnTo>
                    <a:pt x="11" y="15"/>
                  </a:lnTo>
                  <a:lnTo>
                    <a:pt x="13" y="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971" name="Freeform 532"/>
            <p:cNvSpPr>
              <a:spLocks/>
            </p:cNvSpPr>
            <p:nvPr>
              <p:custDataLst>
                <p:tags r:id="rId363"/>
              </p:custDataLst>
            </p:nvPr>
          </p:nvSpPr>
          <p:spPr bwMode="auto">
            <a:xfrm>
              <a:off x="5073048" y="3009323"/>
              <a:ext cx="7570" cy="68630"/>
            </a:xfrm>
            <a:custGeom>
              <a:avLst/>
              <a:gdLst>
                <a:gd name="T0" fmla="*/ 1465 w 26"/>
                <a:gd name="T1" fmla="*/ 57150 h 36"/>
                <a:gd name="T2" fmla="*/ 1221 w 26"/>
                <a:gd name="T3" fmla="*/ 47625 h 36"/>
                <a:gd name="T4" fmla="*/ 733 w 26"/>
                <a:gd name="T5" fmla="*/ 31750 h 36"/>
                <a:gd name="T6" fmla="*/ 244 w 26"/>
                <a:gd name="T7" fmla="*/ 15875 h 36"/>
                <a:gd name="T8" fmla="*/ 0 w 26"/>
                <a:gd name="T9" fmla="*/ 0 h 36"/>
                <a:gd name="T10" fmla="*/ 6350 w 26"/>
                <a:gd name="T11" fmla="*/ 0 h 36"/>
                <a:gd name="T12" fmla="*/ 6106 w 26"/>
                <a:gd name="T13" fmla="*/ 19050 h 36"/>
                <a:gd name="T14" fmla="*/ 5862 w 26"/>
                <a:gd name="T15" fmla="*/ 36513 h 36"/>
                <a:gd name="T16" fmla="*/ 5617 w 26"/>
                <a:gd name="T17" fmla="*/ 42863 h 36"/>
                <a:gd name="T18" fmla="*/ 5617 w 26"/>
                <a:gd name="T19" fmla="*/ 49213 h 36"/>
                <a:gd name="T20" fmla="*/ 5862 w 26"/>
                <a:gd name="T21" fmla="*/ 53975 h 36"/>
                <a:gd name="T22" fmla="*/ 6350 w 26"/>
                <a:gd name="T23" fmla="*/ 57150 h 36"/>
                <a:gd name="T24" fmla="*/ 1465 w 26"/>
                <a:gd name="T25" fmla="*/ 57150 h 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6" h="36">
                  <a:moveTo>
                    <a:pt x="6" y="36"/>
                  </a:moveTo>
                  <a:lnTo>
                    <a:pt x="5" y="30"/>
                  </a:lnTo>
                  <a:lnTo>
                    <a:pt x="3" y="20"/>
                  </a:lnTo>
                  <a:lnTo>
                    <a:pt x="1" y="10"/>
                  </a:lnTo>
                  <a:lnTo>
                    <a:pt x="0" y="0"/>
                  </a:lnTo>
                  <a:lnTo>
                    <a:pt x="26" y="0"/>
                  </a:lnTo>
                  <a:lnTo>
                    <a:pt x="25" y="12"/>
                  </a:lnTo>
                  <a:lnTo>
                    <a:pt x="24" y="23"/>
                  </a:lnTo>
                  <a:lnTo>
                    <a:pt x="23" y="27"/>
                  </a:lnTo>
                  <a:lnTo>
                    <a:pt x="23" y="31"/>
                  </a:lnTo>
                  <a:lnTo>
                    <a:pt x="24" y="34"/>
                  </a:lnTo>
                  <a:lnTo>
                    <a:pt x="26" y="36"/>
                  </a:lnTo>
                  <a:lnTo>
                    <a:pt x="6" y="3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972" name="Freeform 533"/>
            <p:cNvSpPr>
              <a:spLocks/>
            </p:cNvSpPr>
            <p:nvPr>
              <p:custDataLst>
                <p:tags r:id="rId364"/>
              </p:custDataLst>
            </p:nvPr>
          </p:nvSpPr>
          <p:spPr bwMode="auto">
            <a:xfrm>
              <a:off x="6589022" y="2683331"/>
              <a:ext cx="208186" cy="190638"/>
            </a:xfrm>
            <a:custGeom>
              <a:avLst/>
              <a:gdLst>
                <a:gd name="T0" fmla="*/ 11210 w 405"/>
                <a:gd name="T1" fmla="*/ 85157 h 302"/>
                <a:gd name="T2" fmla="*/ 12073 w 405"/>
                <a:gd name="T3" fmla="*/ 82003 h 302"/>
                <a:gd name="T4" fmla="*/ 12935 w 405"/>
                <a:gd name="T5" fmla="*/ 80952 h 302"/>
                <a:gd name="T6" fmla="*/ 12073 w 405"/>
                <a:gd name="T7" fmla="*/ 79375 h 302"/>
                <a:gd name="T8" fmla="*/ 7761 w 405"/>
                <a:gd name="T9" fmla="*/ 75170 h 302"/>
                <a:gd name="T10" fmla="*/ 2587 w 405"/>
                <a:gd name="T11" fmla="*/ 66759 h 302"/>
                <a:gd name="T12" fmla="*/ 862 w 405"/>
                <a:gd name="T13" fmla="*/ 60977 h 302"/>
                <a:gd name="T14" fmla="*/ 2156 w 405"/>
                <a:gd name="T15" fmla="*/ 58874 h 302"/>
                <a:gd name="T16" fmla="*/ 2587 w 405"/>
                <a:gd name="T17" fmla="*/ 54669 h 302"/>
                <a:gd name="T18" fmla="*/ 7330 w 405"/>
                <a:gd name="T19" fmla="*/ 50989 h 302"/>
                <a:gd name="T20" fmla="*/ 14660 w 405"/>
                <a:gd name="T21" fmla="*/ 48887 h 302"/>
                <a:gd name="T22" fmla="*/ 20265 w 405"/>
                <a:gd name="T23" fmla="*/ 46258 h 302"/>
                <a:gd name="T24" fmla="*/ 24577 w 405"/>
                <a:gd name="T25" fmla="*/ 43104 h 302"/>
                <a:gd name="T26" fmla="*/ 28889 w 405"/>
                <a:gd name="T27" fmla="*/ 36796 h 302"/>
                <a:gd name="T28" fmla="*/ 32338 w 405"/>
                <a:gd name="T29" fmla="*/ 27334 h 302"/>
                <a:gd name="T30" fmla="*/ 36219 w 405"/>
                <a:gd name="T31" fmla="*/ 24706 h 302"/>
                <a:gd name="T32" fmla="*/ 40961 w 405"/>
                <a:gd name="T33" fmla="*/ 27334 h 302"/>
                <a:gd name="T34" fmla="*/ 50447 w 405"/>
                <a:gd name="T35" fmla="*/ 28386 h 302"/>
                <a:gd name="T36" fmla="*/ 72868 w 405"/>
                <a:gd name="T37" fmla="*/ 24180 h 302"/>
                <a:gd name="T38" fmla="*/ 91409 w 405"/>
                <a:gd name="T39" fmla="*/ 22603 h 302"/>
                <a:gd name="T40" fmla="*/ 100894 w 405"/>
                <a:gd name="T41" fmla="*/ 21552 h 302"/>
                <a:gd name="T42" fmla="*/ 113830 w 405"/>
                <a:gd name="T43" fmla="*/ 18398 h 302"/>
                <a:gd name="T44" fmla="*/ 137113 w 405"/>
                <a:gd name="T45" fmla="*/ 8936 h 302"/>
                <a:gd name="T46" fmla="*/ 154791 w 405"/>
                <a:gd name="T47" fmla="*/ 2103 h 302"/>
                <a:gd name="T48" fmla="*/ 160396 w 405"/>
                <a:gd name="T49" fmla="*/ 1577 h 302"/>
                <a:gd name="T50" fmla="*/ 166002 w 405"/>
                <a:gd name="T51" fmla="*/ 1577 h 302"/>
                <a:gd name="T52" fmla="*/ 171607 w 405"/>
                <a:gd name="T53" fmla="*/ 526 h 302"/>
                <a:gd name="T54" fmla="*/ 170313 w 405"/>
                <a:gd name="T55" fmla="*/ 4205 h 302"/>
                <a:gd name="T56" fmla="*/ 155222 w 405"/>
                <a:gd name="T57" fmla="*/ 21552 h 302"/>
                <a:gd name="T58" fmla="*/ 148323 w 405"/>
                <a:gd name="T59" fmla="*/ 29963 h 302"/>
                <a:gd name="T60" fmla="*/ 146168 w 405"/>
                <a:gd name="T61" fmla="*/ 33642 h 302"/>
                <a:gd name="T62" fmla="*/ 146168 w 405"/>
                <a:gd name="T63" fmla="*/ 50464 h 302"/>
                <a:gd name="T64" fmla="*/ 145305 w 405"/>
                <a:gd name="T65" fmla="*/ 78324 h 302"/>
                <a:gd name="T66" fmla="*/ 144443 w 405"/>
                <a:gd name="T67" fmla="*/ 94619 h 302"/>
                <a:gd name="T68" fmla="*/ 140562 w 405"/>
                <a:gd name="T69" fmla="*/ 104081 h 302"/>
                <a:gd name="T70" fmla="*/ 131508 w 405"/>
                <a:gd name="T71" fmla="*/ 110389 h 302"/>
                <a:gd name="T72" fmla="*/ 114261 w 405"/>
                <a:gd name="T73" fmla="*/ 119325 h 302"/>
                <a:gd name="T74" fmla="*/ 45704 w 405"/>
                <a:gd name="T75" fmla="*/ 158750 h 302"/>
                <a:gd name="T76" fmla="*/ 24577 w 405"/>
                <a:gd name="T77" fmla="*/ 136672 h 302"/>
                <a:gd name="T78" fmla="*/ 30182 w 405"/>
                <a:gd name="T79" fmla="*/ 119851 h 302"/>
                <a:gd name="T80" fmla="*/ 34925 w 405"/>
                <a:gd name="T81" fmla="*/ 109863 h 302"/>
                <a:gd name="T82" fmla="*/ 37081 w 405"/>
                <a:gd name="T83" fmla="*/ 90414 h 302"/>
                <a:gd name="T84" fmla="*/ 30613 w 405"/>
                <a:gd name="T85" fmla="*/ 90940 h 302"/>
                <a:gd name="T86" fmla="*/ 24577 w 405"/>
                <a:gd name="T87" fmla="*/ 88837 h 302"/>
                <a:gd name="T88" fmla="*/ 17678 w 405"/>
                <a:gd name="T89" fmla="*/ 86734 h 302"/>
                <a:gd name="T90" fmla="*/ 11210 w 405"/>
                <a:gd name="T91" fmla="*/ 87260 h 30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405" h="302">
                  <a:moveTo>
                    <a:pt x="26" y="166"/>
                  </a:moveTo>
                  <a:lnTo>
                    <a:pt x="26" y="162"/>
                  </a:lnTo>
                  <a:lnTo>
                    <a:pt x="27" y="158"/>
                  </a:lnTo>
                  <a:lnTo>
                    <a:pt x="28" y="156"/>
                  </a:lnTo>
                  <a:lnTo>
                    <a:pt x="29" y="155"/>
                  </a:lnTo>
                  <a:lnTo>
                    <a:pt x="30" y="154"/>
                  </a:lnTo>
                  <a:lnTo>
                    <a:pt x="33" y="154"/>
                  </a:lnTo>
                  <a:lnTo>
                    <a:pt x="28" y="151"/>
                  </a:lnTo>
                  <a:lnTo>
                    <a:pt x="23" y="147"/>
                  </a:lnTo>
                  <a:lnTo>
                    <a:pt x="18" y="143"/>
                  </a:lnTo>
                  <a:lnTo>
                    <a:pt x="14" y="138"/>
                  </a:lnTo>
                  <a:lnTo>
                    <a:pt x="6" y="127"/>
                  </a:lnTo>
                  <a:lnTo>
                    <a:pt x="0" y="117"/>
                  </a:lnTo>
                  <a:lnTo>
                    <a:pt x="2" y="116"/>
                  </a:lnTo>
                  <a:lnTo>
                    <a:pt x="4" y="115"/>
                  </a:lnTo>
                  <a:lnTo>
                    <a:pt x="5" y="112"/>
                  </a:lnTo>
                  <a:lnTo>
                    <a:pt x="5" y="110"/>
                  </a:lnTo>
                  <a:lnTo>
                    <a:pt x="6" y="104"/>
                  </a:lnTo>
                  <a:lnTo>
                    <a:pt x="6" y="98"/>
                  </a:lnTo>
                  <a:lnTo>
                    <a:pt x="17" y="97"/>
                  </a:lnTo>
                  <a:lnTo>
                    <a:pt x="26" y="95"/>
                  </a:lnTo>
                  <a:lnTo>
                    <a:pt x="34" y="93"/>
                  </a:lnTo>
                  <a:lnTo>
                    <a:pt x="41" y="91"/>
                  </a:lnTo>
                  <a:lnTo>
                    <a:pt x="47" y="88"/>
                  </a:lnTo>
                  <a:lnTo>
                    <a:pt x="52" y="85"/>
                  </a:lnTo>
                  <a:lnTo>
                    <a:pt x="57" y="82"/>
                  </a:lnTo>
                  <a:lnTo>
                    <a:pt x="60" y="78"/>
                  </a:lnTo>
                  <a:lnTo>
                    <a:pt x="67" y="70"/>
                  </a:lnTo>
                  <a:lnTo>
                    <a:pt x="71" y="61"/>
                  </a:lnTo>
                  <a:lnTo>
                    <a:pt x="75" y="52"/>
                  </a:lnTo>
                  <a:lnTo>
                    <a:pt x="80" y="43"/>
                  </a:lnTo>
                  <a:lnTo>
                    <a:pt x="84" y="47"/>
                  </a:lnTo>
                  <a:lnTo>
                    <a:pt x="89" y="50"/>
                  </a:lnTo>
                  <a:lnTo>
                    <a:pt x="95" y="52"/>
                  </a:lnTo>
                  <a:lnTo>
                    <a:pt x="102" y="53"/>
                  </a:lnTo>
                  <a:lnTo>
                    <a:pt x="117" y="54"/>
                  </a:lnTo>
                  <a:lnTo>
                    <a:pt x="135" y="52"/>
                  </a:lnTo>
                  <a:lnTo>
                    <a:pt x="169" y="46"/>
                  </a:lnTo>
                  <a:lnTo>
                    <a:pt x="200" y="43"/>
                  </a:lnTo>
                  <a:lnTo>
                    <a:pt x="212" y="43"/>
                  </a:lnTo>
                  <a:lnTo>
                    <a:pt x="223" y="42"/>
                  </a:lnTo>
                  <a:lnTo>
                    <a:pt x="234" y="41"/>
                  </a:lnTo>
                  <a:lnTo>
                    <a:pt x="245" y="39"/>
                  </a:lnTo>
                  <a:lnTo>
                    <a:pt x="264" y="35"/>
                  </a:lnTo>
                  <a:lnTo>
                    <a:pt x="283" y="29"/>
                  </a:lnTo>
                  <a:lnTo>
                    <a:pt x="318" y="17"/>
                  </a:lnTo>
                  <a:lnTo>
                    <a:pt x="352" y="6"/>
                  </a:lnTo>
                  <a:lnTo>
                    <a:pt x="359" y="4"/>
                  </a:lnTo>
                  <a:lnTo>
                    <a:pt x="365" y="3"/>
                  </a:lnTo>
                  <a:lnTo>
                    <a:pt x="372" y="3"/>
                  </a:lnTo>
                  <a:lnTo>
                    <a:pt x="378" y="3"/>
                  </a:lnTo>
                  <a:lnTo>
                    <a:pt x="385" y="3"/>
                  </a:lnTo>
                  <a:lnTo>
                    <a:pt x="392" y="2"/>
                  </a:lnTo>
                  <a:lnTo>
                    <a:pt x="398" y="1"/>
                  </a:lnTo>
                  <a:lnTo>
                    <a:pt x="405" y="0"/>
                  </a:lnTo>
                  <a:lnTo>
                    <a:pt x="395" y="8"/>
                  </a:lnTo>
                  <a:lnTo>
                    <a:pt x="372" y="29"/>
                  </a:lnTo>
                  <a:lnTo>
                    <a:pt x="360" y="41"/>
                  </a:lnTo>
                  <a:lnTo>
                    <a:pt x="349" y="52"/>
                  </a:lnTo>
                  <a:lnTo>
                    <a:pt x="344" y="57"/>
                  </a:lnTo>
                  <a:lnTo>
                    <a:pt x="341" y="61"/>
                  </a:lnTo>
                  <a:lnTo>
                    <a:pt x="339" y="64"/>
                  </a:lnTo>
                  <a:lnTo>
                    <a:pt x="339" y="68"/>
                  </a:lnTo>
                  <a:lnTo>
                    <a:pt x="339" y="96"/>
                  </a:lnTo>
                  <a:lnTo>
                    <a:pt x="338" y="132"/>
                  </a:lnTo>
                  <a:lnTo>
                    <a:pt x="337" y="149"/>
                  </a:lnTo>
                  <a:lnTo>
                    <a:pt x="336" y="165"/>
                  </a:lnTo>
                  <a:lnTo>
                    <a:pt x="335" y="180"/>
                  </a:lnTo>
                  <a:lnTo>
                    <a:pt x="332" y="191"/>
                  </a:lnTo>
                  <a:lnTo>
                    <a:pt x="326" y="198"/>
                  </a:lnTo>
                  <a:lnTo>
                    <a:pt x="317" y="204"/>
                  </a:lnTo>
                  <a:lnTo>
                    <a:pt x="305" y="210"/>
                  </a:lnTo>
                  <a:lnTo>
                    <a:pt x="293" y="215"/>
                  </a:lnTo>
                  <a:lnTo>
                    <a:pt x="265" y="227"/>
                  </a:lnTo>
                  <a:lnTo>
                    <a:pt x="239" y="241"/>
                  </a:lnTo>
                  <a:lnTo>
                    <a:pt x="106" y="302"/>
                  </a:lnTo>
                  <a:lnTo>
                    <a:pt x="53" y="271"/>
                  </a:lnTo>
                  <a:lnTo>
                    <a:pt x="57" y="260"/>
                  </a:lnTo>
                  <a:lnTo>
                    <a:pt x="64" y="240"/>
                  </a:lnTo>
                  <a:lnTo>
                    <a:pt x="70" y="228"/>
                  </a:lnTo>
                  <a:lnTo>
                    <a:pt x="75" y="218"/>
                  </a:lnTo>
                  <a:lnTo>
                    <a:pt x="81" y="209"/>
                  </a:lnTo>
                  <a:lnTo>
                    <a:pt x="86" y="203"/>
                  </a:lnTo>
                  <a:lnTo>
                    <a:pt x="86" y="172"/>
                  </a:lnTo>
                  <a:lnTo>
                    <a:pt x="79" y="173"/>
                  </a:lnTo>
                  <a:lnTo>
                    <a:pt x="71" y="173"/>
                  </a:lnTo>
                  <a:lnTo>
                    <a:pt x="63" y="171"/>
                  </a:lnTo>
                  <a:lnTo>
                    <a:pt x="57" y="169"/>
                  </a:lnTo>
                  <a:lnTo>
                    <a:pt x="49" y="167"/>
                  </a:lnTo>
                  <a:lnTo>
                    <a:pt x="41" y="165"/>
                  </a:lnTo>
                  <a:lnTo>
                    <a:pt x="34" y="165"/>
                  </a:lnTo>
                  <a:lnTo>
                    <a:pt x="26" y="16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973" name="Freeform 534"/>
            <p:cNvSpPr>
              <a:spLocks/>
            </p:cNvSpPr>
            <p:nvPr>
              <p:custDataLst>
                <p:tags r:id="rId365"/>
              </p:custDataLst>
            </p:nvPr>
          </p:nvSpPr>
          <p:spPr bwMode="auto">
            <a:xfrm>
              <a:off x="9085362" y="3140863"/>
              <a:ext cx="51100" cy="95319"/>
            </a:xfrm>
            <a:custGeom>
              <a:avLst/>
              <a:gdLst>
                <a:gd name="T0" fmla="*/ 42862 w 100"/>
                <a:gd name="T1" fmla="*/ 512 h 155"/>
                <a:gd name="T2" fmla="*/ 42862 w 100"/>
                <a:gd name="T3" fmla="*/ 15363 h 155"/>
                <a:gd name="T4" fmla="*/ 42862 w 100"/>
                <a:gd name="T5" fmla="*/ 28165 h 155"/>
                <a:gd name="T6" fmla="*/ 42862 w 100"/>
                <a:gd name="T7" fmla="*/ 39944 h 155"/>
                <a:gd name="T8" fmla="*/ 42862 w 100"/>
                <a:gd name="T9" fmla="*/ 50698 h 155"/>
                <a:gd name="T10" fmla="*/ 42005 w 100"/>
                <a:gd name="T11" fmla="*/ 55819 h 155"/>
                <a:gd name="T12" fmla="*/ 40290 w 100"/>
                <a:gd name="T13" fmla="*/ 60427 h 155"/>
                <a:gd name="T14" fmla="*/ 38147 w 100"/>
                <a:gd name="T15" fmla="*/ 65548 h 155"/>
                <a:gd name="T16" fmla="*/ 35147 w 100"/>
                <a:gd name="T17" fmla="*/ 70157 h 155"/>
                <a:gd name="T18" fmla="*/ 31289 w 100"/>
                <a:gd name="T19" fmla="*/ 73742 h 155"/>
                <a:gd name="T20" fmla="*/ 26574 w 100"/>
                <a:gd name="T21" fmla="*/ 76815 h 155"/>
                <a:gd name="T22" fmla="*/ 24431 w 100"/>
                <a:gd name="T23" fmla="*/ 77839 h 155"/>
                <a:gd name="T24" fmla="*/ 21860 w 100"/>
                <a:gd name="T25" fmla="*/ 78863 h 155"/>
                <a:gd name="T26" fmla="*/ 19717 w 100"/>
                <a:gd name="T27" fmla="*/ 79375 h 155"/>
                <a:gd name="T28" fmla="*/ 16716 w 100"/>
                <a:gd name="T29" fmla="*/ 79375 h 155"/>
                <a:gd name="T30" fmla="*/ 15002 w 100"/>
                <a:gd name="T31" fmla="*/ 78863 h 155"/>
                <a:gd name="T32" fmla="*/ 12859 w 100"/>
                <a:gd name="T33" fmla="*/ 78351 h 155"/>
                <a:gd name="T34" fmla="*/ 11144 w 100"/>
                <a:gd name="T35" fmla="*/ 77327 h 155"/>
                <a:gd name="T36" fmla="*/ 9430 w 100"/>
                <a:gd name="T37" fmla="*/ 76302 h 155"/>
                <a:gd name="T38" fmla="*/ 6429 w 100"/>
                <a:gd name="T39" fmla="*/ 72718 h 155"/>
                <a:gd name="T40" fmla="*/ 3858 w 100"/>
                <a:gd name="T41" fmla="*/ 68621 h 155"/>
                <a:gd name="T42" fmla="*/ 2143 w 100"/>
                <a:gd name="T43" fmla="*/ 63500 h 155"/>
                <a:gd name="T44" fmla="*/ 857 w 100"/>
                <a:gd name="T45" fmla="*/ 57867 h 155"/>
                <a:gd name="T46" fmla="*/ 0 w 100"/>
                <a:gd name="T47" fmla="*/ 52746 h 155"/>
                <a:gd name="T48" fmla="*/ 0 w 100"/>
                <a:gd name="T49" fmla="*/ 47625 h 155"/>
                <a:gd name="T50" fmla="*/ 0 w 100"/>
                <a:gd name="T51" fmla="*/ 39431 h 155"/>
                <a:gd name="T52" fmla="*/ 0 w 100"/>
                <a:gd name="T53" fmla="*/ 33286 h 155"/>
                <a:gd name="T54" fmla="*/ 0 w 100"/>
                <a:gd name="T55" fmla="*/ 28677 h 155"/>
                <a:gd name="T56" fmla="*/ 0 w 100"/>
                <a:gd name="T57" fmla="*/ 25605 h 155"/>
                <a:gd name="T58" fmla="*/ 6429 w 100"/>
                <a:gd name="T59" fmla="*/ 25605 h 155"/>
                <a:gd name="T60" fmla="*/ 11144 w 100"/>
                <a:gd name="T61" fmla="*/ 25605 h 155"/>
                <a:gd name="T62" fmla="*/ 11144 w 100"/>
                <a:gd name="T63" fmla="*/ 20484 h 155"/>
                <a:gd name="T64" fmla="*/ 11573 w 100"/>
                <a:gd name="T65" fmla="*/ 15875 h 155"/>
                <a:gd name="T66" fmla="*/ 12430 w 100"/>
                <a:gd name="T67" fmla="*/ 11778 h 155"/>
                <a:gd name="T68" fmla="*/ 13287 w 100"/>
                <a:gd name="T69" fmla="*/ 8706 h 155"/>
                <a:gd name="T70" fmla="*/ 15002 w 100"/>
                <a:gd name="T71" fmla="*/ 6145 h 155"/>
                <a:gd name="T72" fmla="*/ 16716 w 100"/>
                <a:gd name="T73" fmla="*/ 3585 h 155"/>
                <a:gd name="T74" fmla="*/ 18002 w 100"/>
                <a:gd name="T75" fmla="*/ 2048 h 155"/>
                <a:gd name="T76" fmla="*/ 20574 w 100"/>
                <a:gd name="T77" fmla="*/ 1024 h 155"/>
                <a:gd name="T78" fmla="*/ 25289 w 100"/>
                <a:gd name="T79" fmla="*/ 0 h 155"/>
                <a:gd name="T80" fmla="*/ 30432 w 100"/>
                <a:gd name="T81" fmla="*/ 0 h 155"/>
                <a:gd name="T82" fmla="*/ 36004 w 100"/>
                <a:gd name="T83" fmla="*/ 0 h 155"/>
                <a:gd name="T84" fmla="*/ 42862 w 100"/>
                <a:gd name="T85" fmla="*/ 512 h 15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00" h="155">
                  <a:moveTo>
                    <a:pt x="100" y="1"/>
                  </a:moveTo>
                  <a:lnTo>
                    <a:pt x="100" y="30"/>
                  </a:lnTo>
                  <a:lnTo>
                    <a:pt x="100" y="55"/>
                  </a:lnTo>
                  <a:lnTo>
                    <a:pt x="100" y="78"/>
                  </a:lnTo>
                  <a:lnTo>
                    <a:pt x="100" y="99"/>
                  </a:lnTo>
                  <a:lnTo>
                    <a:pt x="98" y="109"/>
                  </a:lnTo>
                  <a:lnTo>
                    <a:pt x="94" y="118"/>
                  </a:lnTo>
                  <a:lnTo>
                    <a:pt x="89" y="128"/>
                  </a:lnTo>
                  <a:lnTo>
                    <a:pt x="82" y="137"/>
                  </a:lnTo>
                  <a:lnTo>
                    <a:pt x="73" y="144"/>
                  </a:lnTo>
                  <a:lnTo>
                    <a:pt x="62" y="150"/>
                  </a:lnTo>
                  <a:lnTo>
                    <a:pt x="57" y="152"/>
                  </a:lnTo>
                  <a:lnTo>
                    <a:pt x="51" y="154"/>
                  </a:lnTo>
                  <a:lnTo>
                    <a:pt x="46" y="155"/>
                  </a:lnTo>
                  <a:lnTo>
                    <a:pt x="39" y="155"/>
                  </a:lnTo>
                  <a:lnTo>
                    <a:pt x="35" y="154"/>
                  </a:lnTo>
                  <a:lnTo>
                    <a:pt x="30" y="153"/>
                  </a:lnTo>
                  <a:lnTo>
                    <a:pt x="26" y="151"/>
                  </a:lnTo>
                  <a:lnTo>
                    <a:pt x="22" y="149"/>
                  </a:lnTo>
                  <a:lnTo>
                    <a:pt x="15" y="142"/>
                  </a:lnTo>
                  <a:lnTo>
                    <a:pt x="9" y="134"/>
                  </a:lnTo>
                  <a:lnTo>
                    <a:pt x="5" y="124"/>
                  </a:lnTo>
                  <a:lnTo>
                    <a:pt x="2" y="113"/>
                  </a:lnTo>
                  <a:lnTo>
                    <a:pt x="0" y="103"/>
                  </a:lnTo>
                  <a:lnTo>
                    <a:pt x="0" y="93"/>
                  </a:lnTo>
                  <a:lnTo>
                    <a:pt x="0" y="77"/>
                  </a:lnTo>
                  <a:lnTo>
                    <a:pt x="0" y="65"/>
                  </a:lnTo>
                  <a:lnTo>
                    <a:pt x="0" y="56"/>
                  </a:lnTo>
                  <a:lnTo>
                    <a:pt x="0" y="50"/>
                  </a:lnTo>
                  <a:lnTo>
                    <a:pt x="15" y="50"/>
                  </a:lnTo>
                  <a:lnTo>
                    <a:pt x="26" y="50"/>
                  </a:lnTo>
                  <a:lnTo>
                    <a:pt x="26" y="40"/>
                  </a:lnTo>
                  <a:lnTo>
                    <a:pt x="27" y="31"/>
                  </a:lnTo>
                  <a:lnTo>
                    <a:pt x="29" y="23"/>
                  </a:lnTo>
                  <a:lnTo>
                    <a:pt x="31" y="17"/>
                  </a:lnTo>
                  <a:lnTo>
                    <a:pt x="35" y="12"/>
                  </a:lnTo>
                  <a:lnTo>
                    <a:pt x="39" y="7"/>
                  </a:lnTo>
                  <a:lnTo>
                    <a:pt x="42" y="4"/>
                  </a:lnTo>
                  <a:lnTo>
                    <a:pt x="48" y="2"/>
                  </a:lnTo>
                  <a:lnTo>
                    <a:pt x="59" y="0"/>
                  </a:lnTo>
                  <a:lnTo>
                    <a:pt x="71" y="0"/>
                  </a:lnTo>
                  <a:lnTo>
                    <a:pt x="84" y="0"/>
                  </a:lnTo>
                  <a:lnTo>
                    <a:pt x="100" y="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grpSp>
          <p:nvGrpSpPr>
            <p:cNvPr id="974" name="Group 535"/>
            <p:cNvGrpSpPr>
              <a:grpSpLocks/>
            </p:cNvGrpSpPr>
            <p:nvPr>
              <p:custDataLst>
                <p:tags r:id="rId366"/>
              </p:custDataLst>
            </p:nvPr>
          </p:nvGrpSpPr>
          <p:grpSpPr bwMode="auto">
            <a:xfrm>
              <a:off x="6280527" y="2502226"/>
              <a:ext cx="575351" cy="242109"/>
              <a:chOff x="3289" y="1830"/>
              <a:chExt cx="363" cy="128"/>
            </a:xfrm>
            <a:grpFill/>
          </p:grpSpPr>
          <p:sp>
            <p:nvSpPr>
              <p:cNvPr id="986" name="Freeform 536"/>
              <p:cNvSpPr>
                <a:spLocks/>
              </p:cNvSpPr>
              <p:nvPr/>
            </p:nvSpPr>
            <p:spPr bwMode="auto">
              <a:xfrm>
                <a:off x="3289" y="1871"/>
                <a:ext cx="4" cy="3"/>
              </a:xfrm>
              <a:custGeom>
                <a:avLst/>
                <a:gdLst>
                  <a:gd name="T0" fmla="*/ 4 w 13"/>
                  <a:gd name="T1" fmla="*/ 0 h 7"/>
                  <a:gd name="T2" fmla="*/ 4 w 13"/>
                  <a:gd name="T3" fmla="*/ 0 h 7"/>
                  <a:gd name="T4" fmla="*/ 3 w 13"/>
                  <a:gd name="T5" fmla="*/ 1 h 7"/>
                  <a:gd name="T6" fmla="*/ 1 w 13"/>
                  <a:gd name="T7" fmla="*/ 2 h 7"/>
                  <a:gd name="T8" fmla="*/ 0 w 13"/>
                  <a:gd name="T9" fmla="*/ 3 h 7"/>
                  <a:gd name="T10" fmla="*/ 2 w 13"/>
                  <a:gd name="T11" fmla="*/ 1 h 7"/>
                  <a:gd name="T12" fmla="*/ 4 w 13"/>
                  <a:gd name="T13" fmla="*/ 0 h 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3" h="7">
                    <a:moveTo>
                      <a:pt x="13" y="0"/>
                    </a:moveTo>
                    <a:lnTo>
                      <a:pt x="12" y="1"/>
                    </a:lnTo>
                    <a:lnTo>
                      <a:pt x="9" y="3"/>
                    </a:lnTo>
                    <a:lnTo>
                      <a:pt x="4" y="5"/>
                    </a:lnTo>
                    <a:lnTo>
                      <a:pt x="0" y="7"/>
                    </a:lnTo>
                    <a:lnTo>
                      <a:pt x="7" y="3"/>
                    </a:lnTo>
                    <a:lnTo>
                      <a:pt x="1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987" name="Freeform 537"/>
              <p:cNvSpPr>
                <a:spLocks/>
              </p:cNvSpPr>
              <p:nvPr/>
            </p:nvSpPr>
            <p:spPr bwMode="auto">
              <a:xfrm>
                <a:off x="3324" y="1937"/>
                <a:ext cx="10" cy="3"/>
              </a:xfrm>
              <a:custGeom>
                <a:avLst/>
                <a:gdLst>
                  <a:gd name="T0" fmla="*/ 0 w 34"/>
                  <a:gd name="T1" fmla="*/ 2 h 8"/>
                  <a:gd name="T2" fmla="*/ 2 w 34"/>
                  <a:gd name="T3" fmla="*/ 2 h 8"/>
                  <a:gd name="T4" fmla="*/ 4 w 34"/>
                  <a:gd name="T5" fmla="*/ 1 h 8"/>
                  <a:gd name="T6" fmla="*/ 7 w 34"/>
                  <a:gd name="T7" fmla="*/ 0 h 8"/>
                  <a:gd name="T8" fmla="*/ 10 w 34"/>
                  <a:gd name="T9" fmla="*/ 0 h 8"/>
                  <a:gd name="T10" fmla="*/ 9 w 34"/>
                  <a:gd name="T11" fmla="*/ 1 h 8"/>
                  <a:gd name="T12" fmla="*/ 8 w 34"/>
                  <a:gd name="T13" fmla="*/ 2 h 8"/>
                  <a:gd name="T14" fmla="*/ 6 w 34"/>
                  <a:gd name="T15" fmla="*/ 2 h 8"/>
                  <a:gd name="T16" fmla="*/ 5 w 34"/>
                  <a:gd name="T17" fmla="*/ 3 h 8"/>
                  <a:gd name="T18" fmla="*/ 4 w 34"/>
                  <a:gd name="T19" fmla="*/ 3 h 8"/>
                  <a:gd name="T20" fmla="*/ 2 w 34"/>
                  <a:gd name="T21" fmla="*/ 3 h 8"/>
                  <a:gd name="T22" fmla="*/ 1 w 34"/>
                  <a:gd name="T23" fmla="*/ 3 h 8"/>
                  <a:gd name="T24" fmla="*/ 0 w 34"/>
                  <a:gd name="T25" fmla="*/ 2 h 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4" h="8">
                    <a:moveTo>
                      <a:pt x="0" y="6"/>
                    </a:moveTo>
                    <a:lnTo>
                      <a:pt x="7" y="5"/>
                    </a:lnTo>
                    <a:lnTo>
                      <a:pt x="15" y="3"/>
                    </a:lnTo>
                    <a:lnTo>
                      <a:pt x="25" y="1"/>
                    </a:lnTo>
                    <a:lnTo>
                      <a:pt x="34" y="0"/>
                    </a:lnTo>
                    <a:lnTo>
                      <a:pt x="31" y="2"/>
                    </a:lnTo>
                    <a:lnTo>
                      <a:pt x="27" y="4"/>
                    </a:lnTo>
                    <a:lnTo>
                      <a:pt x="22" y="6"/>
                    </a:lnTo>
                    <a:lnTo>
                      <a:pt x="18" y="7"/>
                    </a:lnTo>
                    <a:lnTo>
                      <a:pt x="12" y="8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0" y="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988" name="Freeform 538"/>
              <p:cNvSpPr>
                <a:spLocks/>
              </p:cNvSpPr>
              <p:nvPr/>
            </p:nvSpPr>
            <p:spPr bwMode="auto">
              <a:xfrm>
                <a:off x="3343" y="1948"/>
                <a:ext cx="4" cy="8"/>
              </a:xfrm>
              <a:custGeom>
                <a:avLst/>
                <a:gdLst>
                  <a:gd name="T0" fmla="*/ 0 w 13"/>
                  <a:gd name="T1" fmla="*/ 8 h 24"/>
                  <a:gd name="T2" fmla="*/ 0 w 13"/>
                  <a:gd name="T3" fmla="*/ 0 h 24"/>
                  <a:gd name="T4" fmla="*/ 4 w 13"/>
                  <a:gd name="T5" fmla="*/ 4 h 24"/>
                  <a:gd name="T6" fmla="*/ 0 w 13"/>
                  <a:gd name="T7" fmla="*/ 8 h 24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3" h="24">
                    <a:moveTo>
                      <a:pt x="0" y="24"/>
                    </a:moveTo>
                    <a:lnTo>
                      <a:pt x="0" y="0"/>
                    </a:lnTo>
                    <a:lnTo>
                      <a:pt x="13" y="12"/>
                    </a:lnTo>
                    <a:lnTo>
                      <a:pt x="0" y="24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989" name="Freeform 539"/>
              <p:cNvSpPr>
                <a:spLocks/>
              </p:cNvSpPr>
              <p:nvPr/>
            </p:nvSpPr>
            <p:spPr bwMode="auto">
              <a:xfrm>
                <a:off x="3313" y="1834"/>
                <a:ext cx="34" cy="23"/>
              </a:xfrm>
              <a:custGeom>
                <a:avLst/>
                <a:gdLst>
                  <a:gd name="T0" fmla="*/ 0 w 107"/>
                  <a:gd name="T1" fmla="*/ 4 h 69"/>
                  <a:gd name="T2" fmla="*/ 0 w 107"/>
                  <a:gd name="T3" fmla="*/ 9 h 69"/>
                  <a:gd name="T4" fmla="*/ 0 w 107"/>
                  <a:gd name="T5" fmla="*/ 15 h 69"/>
                  <a:gd name="T6" fmla="*/ 0 w 107"/>
                  <a:gd name="T7" fmla="*/ 21 h 69"/>
                  <a:gd name="T8" fmla="*/ 0 w 107"/>
                  <a:gd name="T9" fmla="*/ 23 h 69"/>
                  <a:gd name="T10" fmla="*/ 5 w 107"/>
                  <a:gd name="T11" fmla="*/ 22 h 69"/>
                  <a:gd name="T12" fmla="*/ 16 w 107"/>
                  <a:gd name="T13" fmla="*/ 19 h 69"/>
                  <a:gd name="T14" fmla="*/ 27 w 107"/>
                  <a:gd name="T15" fmla="*/ 17 h 69"/>
                  <a:gd name="T16" fmla="*/ 34 w 107"/>
                  <a:gd name="T17" fmla="*/ 15 h 69"/>
                  <a:gd name="T18" fmla="*/ 32 w 107"/>
                  <a:gd name="T19" fmla="*/ 13 h 69"/>
                  <a:gd name="T20" fmla="*/ 30 w 107"/>
                  <a:gd name="T21" fmla="*/ 11 h 69"/>
                  <a:gd name="T22" fmla="*/ 27 w 107"/>
                  <a:gd name="T23" fmla="*/ 10 h 69"/>
                  <a:gd name="T24" fmla="*/ 25 w 107"/>
                  <a:gd name="T25" fmla="*/ 9 h 69"/>
                  <a:gd name="T26" fmla="*/ 23 w 107"/>
                  <a:gd name="T27" fmla="*/ 8 h 69"/>
                  <a:gd name="T28" fmla="*/ 21 w 107"/>
                  <a:gd name="T29" fmla="*/ 6 h 69"/>
                  <a:gd name="T30" fmla="*/ 20 w 107"/>
                  <a:gd name="T31" fmla="*/ 5 h 69"/>
                  <a:gd name="T32" fmla="*/ 20 w 107"/>
                  <a:gd name="T33" fmla="*/ 4 h 69"/>
                  <a:gd name="T34" fmla="*/ 19 w 107"/>
                  <a:gd name="T35" fmla="*/ 2 h 69"/>
                  <a:gd name="T36" fmla="*/ 19 w 107"/>
                  <a:gd name="T37" fmla="*/ 0 h 69"/>
                  <a:gd name="T38" fmla="*/ 17 w 107"/>
                  <a:gd name="T39" fmla="*/ 0 h 69"/>
                  <a:gd name="T40" fmla="*/ 12 w 107"/>
                  <a:gd name="T41" fmla="*/ 1 h 69"/>
                  <a:gd name="T42" fmla="*/ 6 w 107"/>
                  <a:gd name="T43" fmla="*/ 3 h 69"/>
                  <a:gd name="T44" fmla="*/ 0 w 107"/>
                  <a:gd name="T45" fmla="*/ 4 h 69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107" h="69">
                    <a:moveTo>
                      <a:pt x="0" y="13"/>
                    </a:moveTo>
                    <a:lnTo>
                      <a:pt x="0" y="27"/>
                    </a:lnTo>
                    <a:lnTo>
                      <a:pt x="0" y="45"/>
                    </a:lnTo>
                    <a:lnTo>
                      <a:pt x="0" y="62"/>
                    </a:lnTo>
                    <a:lnTo>
                      <a:pt x="0" y="69"/>
                    </a:lnTo>
                    <a:lnTo>
                      <a:pt x="16" y="66"/>
                    </a:lnTo>
                    <a:lnTo>
                      <a:pt x="49" y="58"/>
                    </a:lnTo>
                    <a:lnTo>
                      <a:pt x="85" y="50"/>
                    </a:lnTo>
                    <a:lnTo>
                      <a:pt x="107" y="44"/>
                    </a:lnTo>
                    <a:lnTo>
                      <a:pt x="101" y="38"/>
                    </a:lnTo>
                    <a:lnTo>
                      <a:pt x="94" y="34"/>
                    </a:lnTo>
                    <a:lnTo>
                      <a:pt x="86" y="30"/>
                    </a:lnTo>
                    <a:lnTo>
                      <a:pt x="78" y="27"/>
                    </a:lnTo>
                    <a:lnTo>
                      <a:pt x="72" y="23"/>
                    </a:lnTo>
                    <a:lnTo>
                      <a:pt x="65" y="18"/>
                    </a:lnTo>
                    <a:lnTo>
                      <a:pt x="63" y="15"/>
                    </a:lnTo>
                    <a:lnTo>
                      <a:pt x="62" y="11"/>
                    </a:lnTo>
                    <a:lnTo>
                      <a:pt x="61" y="7"/>
                    </a:lnTo>
                    <a:lnTo>
                      <a:pt x="61" y="0"/>
                    </a:lnTo>
                    <a:lnTo>
                      <a:pt x="54" y="1"/>
                    </a:lnTo>
                    <a:lnTo>
                      <a:pt x="38" y="4"/>
                    </a:lnTo>
                    <a:lnTo>
                      <a:pt x="18" y="9"/>
                    </a:lnTo>
                    <a:lnTo>
                      <a:pt x="0" y="1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  <p:sp>
            <p:nvSpPr>
              <p:cNvPr id="990" name="Freeform 540"/>
              <p:cNvSpPr>
                <a:spLocks/>
              </p:cNvSpPr>
              <p:nvPr/>
            </p:nvSpPr>
            <p:spPr bwMode="auto">
              <a:xfrm>
                <a:off x="3302" y="1830"/>
                <a:ext cx="350" cy="128"/>
              </a:xfrm>
              <a:custGeom>
                <a:avLst/>
                <a:gdLst>
                  <a:gd name="T0" fmla="*/ 324 w 1070"/>
                  <a:gd name="T1" fmla="*/ 42 h 382"/>
                  <a:gd name="T2" fmla="*/ 317 w 1070"/>
                  <a:gd name="T3" fmla="*/ 35 h 382"/>
                  <a:gd name="T4" fmla="*/ 315 w 1070"/>
                  <a:gd name="T5" fmla="*/ 19 h 382"/>
                  <a:gd name="T6" fmla="*/ 306 w 1070"/>
                  <a:gd name="T7" fmla="*/ 12 h 382"/>
                  <a:gd name="T8" fmla="*/ 267 w 1070"/>
                  <a:gd name="T9" fmla="*/ 6 h 382"/>
                  <a:gd name="T10" fmla="*/ 237 w 1070"/>
                  <a:gd name="T11" fmla="*/ 19 h 382"/>
                  <a:gd name="T12" fmla="*/ 222 w 1070"/>
                  <a:gd name="T13" fmla="*/ 22 h 382"/>
                  <a:gd name="T14" fmla="*/ 207 w 1070"/>
                  <a:gd name="T15" fmla="*/ 22 h 382"/>
                  <a:gd name="T16" fmla="*/ 200 w 1070"/>
                  <a:gd name="T17" fmla="*/ 15 h 382"/>
                  <a:gd name="T18" fmla="*/ 183 w 1070"/>
                  <a:gd name="T19" fmla="*/ 12 h 382"/>
                  <a:gd name="T20" fmla="*/ 172 w 1070"/>
                  <a:gd name="T21" fmla="*/ 6 h 382"/>
                  <a:gd name="T22" fmla="*/ 158 w 1070"/>
                  <a:gd name="T23" fmla="*/ 7 h 382"/>
                  <a:gd name="T24" fmla="*/ 152 w 1070"/>
                  <a:gd name="T25" fmla="*/ 0 h 382"/>
                  <a:gd name="T26" fmla="*/ 128 w 1070"/>
                  <a:gd name="T27" fmla="*/ 5 h 382"/>
                  <a:gd name="T28" fmla="*/ 98 w 1070"/>
                  <a:gd name="T29" fmla="*/ 9 h 382"/>
                  <a:gd name="T30" fmla="*/ 84 w 1070"/>
                  <a:gd name="T31" fmla="*/ 15 h 382"/>
                  <a:gd name="T32" fmla="*/ 45 w 1070"/>
                  <a:gd name="T33" fmla="*/ 20 h 382"/>
                  <a:gd name="T34" fmla="*/ 57 w 1070"/>
                  <a:gd name="T35" fmla="*/ 25 h 382"/>
                  <a:gd name="T36" fmla="*/ 54 w 1070"/>
                  <a:gd name="T37" fmla="*/ 30 h 382"/>
                  <a:gd name="T38" fmla="*/ 37 w 1070"/>
                  <a:gd name="T39" fmla="*/ 31 h 382"/>
                  <a:gd name="T40" fmla="*/ 14 w 1070"/>
                  <a:gd name="T41" fmla="*/ 31 h 382"/>
                  <a:gd name="T42" fmla="*/ 3 w 1070"/>
                  <a:gd name="T43" fmla="*/ 37 h 382"/>
                  <a:gd name="T44" fmla="*/ 0 w 1070"/>
                  <a:gd name="T45" fmla="*/ 49 h 382"/>
                  <a:gd name="T46" fmla="*/ 5 w 1070"/>
                  <a:gd name="T47" fmla="*/ 56 h 382"/>
                  <a:gd name="T48" fmla="*/ 7 w 1070"/>
                  <a:gd name="T49" fmla="*/ 65 h 382"/>
                  <a:gd name="T50" fmla="*/ 7 w 1070"/>
                  <a:gd name="T51" fmla="*/ 70 h 382"/>
                  <a:gd name="T52" fmla="*/ 16 w 1070"/>
                  <a:gd name="T53" fmla="*/ 79 h 382"/>
                  <a:gd name="T54" fmla="*/ 18 w 1070"/>
                  <a:gd name="T55" fmla="*/ 87 h 382"/>
                  <a:gd name="T56" fmla="*/ 24 w 1070"/>
                  <a:gd name="T57" fmla="*/ 91 h 382"/>
                  <a:gd name="T58" fmla="*/ 31 w 1070"/>
                  <a:gd name="T59" fmla="*/ 97 h 382"/>
                  <a:gd name="T60" fmla="*/ 67 w 1070"/>
                  <a:gd name="T61" fmla="*/ 118 h 382"/>
                  <a:gd name="T62" fmla="*/ 83 w 1070"/>
                  <a:gd name="T63" fmla="*/ 124 h 382"/>
                  <a:gd name="T64" fmla="*/ 87 w 1070"/>
                  <a:gd name="T65" fmla="*/ 120 h 382"/>
                  <a:gd name="T66" fmla="*/ 91 w 1070"/>
                  <a:gd name="T67" fmla="*/ 113 h 382"/>
                  <a:gd name="T68" fmla="*/ 97 w 1070"/>
                  <a:gd name="T69" fmla="*/ 106 h 382"/>
                  <a:gd name="T70" fmla="*/ 109 w 1070"/>
                  <a:gd name="T71" fmla="*/ 108 h 382"/>
                  <a:gd name="T72" fmla="*/ 118 w 1070"/>
                  <a:gd name="T73" fmla="*/ 120 h 382"/>
                  <a:gd name="T74" fmla="*/ 131 w 1070"/>
                  <a:gd name="T75" fmla="*/ 124 h 382"/>
                  <a:gd name="T76" fmla="*/ 146 w 1070"/>
                  <a:gd name="T77" fmla="*/ 120 h 382"/>
                  <a:gd name="T78" fmla="*/ 161 w 1070"/>
                  <a:gd name="T79" fmla="*/ 112 h 382"/>
                  <a:gd name="T80" fmla="*/ 172 w 1070"/>
                  <a:gd name="T81" fmla="*/ 110 h 382"/>
                  <a:gd name="T82" fmla="*/ 184 w 1070"/>
                  <a:gd name="T83" fmla="*/ 109 h 382"/>
                  <a:gd name="T84" fmla="*/ 185 w 1070"/>
                  <a:gd name="T85" fmla="*/ 123 h 382"/>
                  <a:gd name="T86" fmla="*/ 193 w 1070"/>
                  <a:gd name="T87" fmla="*/ 126 h 382"/>
                  <a:gd name="T88" fmla="*/ 201 w 1070"/>
                  <a:gd name="T89" fmla="*/ 121 h 382"/>
                  <a:gd name="T90" fmla="*/ 212 w 1070"/>
                  <a:gd name="T91" fmla="*/ 113 h 382"/>
                  <a:gd name="T92" fmla="*/ 246 w 1070"/>
                  <a:gd name="T93" fmla="*/ 110 h 382"/>
                  <a:gd name="T94" fmla="*/ 272 w 1070"/>
                  <a:gd name="T95" fmla="*/ 106 h 382"/>
                  <a:gd name="T96" fmla="*/ 300 w 1070"/>
                  <a:gd name="T97" fmla="*/ 95 h 382"/>
                  <a:gd name="T98" fmla="*/ 316 w 1070"/>
                  <a:gd name="T99" fmla="*/ 96 h 382"/>
                  <a:gd name="T100" fmla="*/ 329 w 1070"/>
                  <a:gd name="T101" fmla="*/ 98 h 382"/>
                  <a:gd name="T102" fmla="*/ 345 w 1070"/>
                  <a:gd name="T103" fmla="*/ 103 h 382"/>
                  <a:gd name="T104" fmla="*/ 345 w 1070"/>
                  <a:gd name="T105" fmla="*/ 90 h 382"/>
                  <a:gd name="T106" fmla="*/ 336 w 1070"/>
                  <a:gd name="T107" fmla="*/ 73 h 382"/>
                  <a:gd name="T108" fmla="*/ 333 w 1070"/>
                  <a:gd name="T109" fmla="*/ 56 h 382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1070" h="382">
                    <a:moveTo>
                      <a:pt x="1011" y="142"/>
                    </a:moveTo>
                    <a:lnTo>
                      <a:pt x="1011" y="136"/>
                    </a:lnTo>
                    <a:lnTo>
                      <a:pt x="1011" y="123"/>
                    </a:lnTo>
                    <a:lnTo>
                      <a:pt x="1000" y="125"/>
                    </a:lnTo>
                    <a:lnTo>
                      <a:pt x="992" y="124"/>
                    </a:lnTo>
                    <a:lnTo>
                      <a:pt x="984" y="122"/>
                    </a:lnTo>
                    <a:lnTo>
                      <a:pt x="980" y="119"/>
                    </a:lnTo>
                    <a:lnTo>
                      <a:pt x="976" y="114"/>
                    </a:lnTo>
                    <a:lnTo>
                      <a:pt x="972" y="109"/>
                    </a:lnTo>
                    <a:lnTo>
                      <a:pt x="970" y="103"/>
                    </a:lnTo>
                    <a:lnTo>
                      <a:pt x="969" y="96"/>
                    </a:lnTo>
                    <a:lnTo>
                      <a:pt x="967" y="82"/>
                    </a:lnTo>
                    <a:lnTo>
                      <a:pt x="966" y="68"/>
                    </a:lnTo>
                    <a:lnTo>
                      <a:pt x="965" y="62"/>
                    </a:lnTo>
                    <a:lnTo>
                      <a:pt x="962" y="57"/>
                    </a:lnTo>
                    <a:lnTo>
                      <a:pt x="960" y="53"/>
                    </a:lnTo>
                    <a:lnTo>
                      <a:pt x="957" y="50"/>
                    </a:lnTo>
                    <a:lnTo>
                      <a:pt x="950" y="44"/>
                    </a:lnTo>
                    <a:lnTo>
                      <a:pt x="944" y="40"/>
                    </a:lnTo>
                    <a:lnTo>
                      <a:pt x="936" y="36"/>
                    </a:lnTo>
                    <a:lnTo>
                      <a:pt x="928" y="33"/>
                    </a:lnTo>
                    <a:lnTo>
                      <a:pt x="912" y="28"/>
                    </a:lnTo>
                    <a:lnTo>
                      <a:pt x="894" y="25"/>
                    </a:lnTo>
                    <a:lnTo>
                      <a:pt x="857" y="22"/>
                    </a:lnTo>
                    <a:lnTo>
                      <a:pt x="817" y="19"/>
                    </a:lnTo>
                    <a:lnTo>
                      <a:pt x="799" y="29"/>
                    </a:lnTo>
                    <a:lnTo>
                      <a:pt x="769" y="43"/>
                    </a:lnTo>
                    <a:lnTo>
                      <a:pt x="752" y="50"/>
                    </a:lnTo>
                    <a:lnTo>
                      <a:pt x="734" y="56"/>
                    </a:lnTo>
                    <a:lnTo>
                      <a:pt x="726" y="58"/>
                    </a:lnTo>
                    <a:lnTo>
                      <a:pt x="719" y="60"/>
                    </a:lnTo>
                    <a:lnTo>
                      <a:pt x="711" y="61"/>
                    </a:lnTo>
                    <a:lnTo>
                      <a:pt x="704" y="62"/>
                    </a:lnTo>
                    <a:lnTo>
                      <a:pt x="692" y="63"/>
                    </a:lnTo>
                    <a:lnTo>
                      <a:pt x="678" y="65"/>
                    </a:lnTo>
                    <a:lnTo>
                      <a:pt x="664" y="67"/>
                    </a:lnTo>
                    <a:lnTo>
                      <a:pt x="652" y="68"/>
                    </a:lnTo>
                    <a:lnTo>
                      <a:pt x="644" y="68"/>
                    </a:lnTo>
                    <a:lnTo>
                      <a:pt x="637" y="67"/>
                    </a:lnTo>
                    <a:lnTo>
                      <a:pt x="632" y="65"/>
                    </a:lnTo>
                    <a:lnTo>
                      <a:pt x="626" y="63"/>
                    </a:lnTo>
                    <a:lnTo>
                      <a:pt x="622" y="59"/>
                    </a:lnTo>
                    <a:lnTo>
                      <a:pt x="618" y="55"/>
                    </a:lnTo>
                    <a:lnTo>
                      <a:pt x="614" y="50"/>
                    </a:lnTo>
                    <a:lnTo>
                      <a:pt x="612" y="44"/>
                    </a:lnTo>
                    <a:lnTo>
                      <a:pt x="601" y="45"/>
                    </a:lnTo>
                    <a:lnTo>
                      <a:pt x="591" y="44"/>
                    </a:lnTo>
                    <a:lnTo>
                      <a:pt x="581" y="42"/>
                    </a:lnTo>
                    <a:lnTo>
                      <a:pt x="571" y="40"/>
                    </a:lnTo>
                    <a:lnTo>
                      <a:pt x="560" y="37"/>
                    </a:lnTo>
                    <a:lnTo>
                      <a:pt x="549" y="34"/>
                    </a:lnTo>
                    <a:lnTo>
                      <a:pt x="537" y="32"/>
                    </a:lnTo>
                    <a:lnTo>
                      <a:pt x="525" y="32"/>
                    </a:lnTo>
                    <a:lnTo>
                      <a:pt x="525" y="25"/>
                    </a:lnTo>
                    <a:lnTo>
                      <a:pt x="525" y="19"/>
                    </a:lnTo>
                    <a:lnTo>
                      <a:pt x="512" y="22"/>
                    </a:lnTo>
                    <a:lnTo>
                      <a:pt x="499" y="25"/>
                    </a:lnTo>
                    <a:lnTo>
                      <a:pt x="493" y="25"/>
                    </a:lnTo>
                    <a:lnTo>
                      <a:pt x="488" y="23"/>
                    </a:lnTo>
                    <a:lnTo>
                      <a:pt x="483" y="21"/>
                    </a:lnTo>
                    <a:lnTo>
                      <a:pt x="477" y="17"/>
                    </a:lnTo>
                    <a:lnTo>
                      <a:pt x="473" y="13"/>
                    </a:lnTo>
                    <a:lnTo>
                      <a:pt x="468" y="9"/>
                    </a:lnTo>
                    <a:lnTo>
                      <a:pt x="466" y="5"/>
                    </a:lnTo>
                    <a:lnTo>
                      <a:pt x="465" y="0"/>
                    </a:lnTo>
                    <a:lnTo>
                      <a:pt x="456" y="5"/>
                    </a:lnTo>
                    <a:lnTo>
                      <a:pt x="445" y="9"/>
                    </a:lnTo>
                    <a:lnTo>
                      <a:pt x="432" y="12"/>
                    </a:lnTo>
                    <a:lnTo>
                      <a:pt x="419" y="14"/>
                    </a:lnTo>
                    <a:lnTo>
                      <a:pt x="390" y="16"/>
                    </a:lnTo>
                    <a:lnTo>
                      <a:pt x="360" y="19"/>
                    </a:lnTo>
                    <a:lnTo>
                      <a:pt x="343" y="20"/>
                    </a:lnTo>
                    <a:lnTo>
                      <a:pt x="329" y="21"/>
                    </a:lnTo>
                    <a:lnTo>
                      <a:pt x="313" y="23"/>
                    </a:lnTo>
                    <a:lnTo>
                      <a:pt x="299" y="26"/>
                    </a:lnTo>
                    <a:lnTo>
                      <a:pt x="286" y="30"/>
                    </a:lnTo>
                    <a:lnTo>
                      <a:pt x="274" y="35"/>
                    </a:lnTo>
                    <a:lnTo>
                      <a:pt x="267" y="38"/>
                    </a:lnTo>
                    <a:lnTo>
                      <a:pt x="262" y="41"/>
                    </a:lnTo>
                    <a:lnTo>
                      <a:pt x="257" y="45"/>
                    </a:lnTo>
                    <a:lnTo>
                      <a:pt x="253" y="50"/>
                    </a:lnTo>
                    <a:lnTo>
                      <a:pt x="147" y="50"/>
                    </a:lnTo>
                    <a:lnTo>
                      <a:pt x="145" y="54"/>
                    </a:lnTo>
                    <a:lnTo>
                      <a:pt x="142" y="58"/>
                    </a:lnTo>
                    <a:lnTo>
                      <a:pt x="138" y="61"/>
                    </a:lnTo>
                    <a:lnTo>
                      <a:pt x="133" y="62"/>
                    </a:lnTo>
                    <a:lnTo>
                      <a:pt x="143" y="65"/>
                    </a:lnTo>
                    <a:lnTo>
                      <a:pt x="153" y="68"/>
                    </a:lnTo>
                    <a:lnTo>
                      <a:pt x="163" y="70"/>
                    </a:lnTo>
                    <a:lnTo>
                      <a:pt x="173" y="75"/>
                    </a:lnTo>
                    <a:lnTo>
                      <a:pt x="173" y="79"/>
                    </a:lnTo>
                    <a:lnTo>
                      <a:pt x="172" y="83"/>
                    </a:lnTo>
                    <a:lnTo>
                      <a:pt x="170" y="86"/>
                    </a:lnTo>
                    <a:lnTo>
                      <a:pt x="167" y="88"/>
                    </a:lnTo>
                    <a:lnTo>
                      <a:pt x="164" y="90"/>
                    </a:lnTo>
                    <a:lnTo>
                      <a:pt x="161" y="91"/>
                    </a:lnTo>
                    <a:lnTo>
                      <a:pt x="158" y="92"/>
                    </a:lnTo>
                    <a:lnTo>
                      <a:pt x="153" y="93"/>
                    </a:lnTo>
                    <a:lnTo>
                      <a:pt x="133" y="94"/>
                    </a:lnTo>
                    <a:lnTo>
                      <a:pt x="114" y="93"/>
                    </a:lnTo>
                    <a:lnTo>
                      <a:pt x="108" y="93"/>
                    </a:lnTo>
                    <a:lnTo>
                      <a:pt x="94" y="93"/>
                    </a:lnTo>
                    <a:lnTo>
                      <a:pt x="74" y="93"/>
                    </a:lnTo>
                    <a:lnTo>
                      <a:pt x="53" y="93"/>
                    </a:lnTo>
                    <a:lnTo>
                      <a:pt x="42" y="94"/>
                    </a:lnTo>
                    <a:lnTo>
                      <a:pt x="31" y="95"/>
                    </a:lnTo>
                    <a:lnTo>
                      <a:pt x="22" y="99"/>
                    </a:lnTo>
                    <a:lnTo>
                      <a:pt x="15" y="104"/>
                    </a:lnTo>
                    <a:lnTo>
                      <a:pt x="11" y="107"/>
                    </a:lnTo>
                    <a:lnTo>
                      <a:pt x="8" y="110"/>
                    </a:lnTo>
                    <a:lnTo>
                      <a:pt x="6" y="114"/>
                    </a:lnTo>
                    <a:lnTo>
                      <a:pt x="4" y="119"/>
                    </a:lnTo>
                    <a:lnTo>
                      <a:pt x="2" y="130"/>
                    </a:lnTo>
                    <a:lnTo>
                      <a:pt x="0" y="142"/>
                    </a:lnTo>
                    <a:lnTo>
                      <a:pt x="0" y="147"/>
                    </a:lnTo>
                    <a:lnTo>
                      <a:pt x="2" y="151"/>
                    </a:lnTo>
                    <a:lnTo>
                      <a:pt x="4" y="154"/>
                    </a:lnTo>
                    <a:lnTo>
                      <a:pt x="5" y="157"/>
                    </a:lnTo>
                    <a:lnTo>
                      <a:pt x="10" y="162"/>
                    </a:lnTo>
                    <a:lnTo>
                      <a:pt x="16" y="167"/>
                    </a:lnTo>
                    <a:lnTo>
                      <a:pt x="20" y="173"/>
                    </a:lnTo>
                    <a:lnTo>
                      <a:pt x="22" y="179"/>
                    </a:lnTo>
                    <a:lnTo>
                      <a:pt x="24" y="183"/>
                    </a:lnTo>
                    <a:lnTo>
                      <a:pt x="24" y="188"/>
                    </a:lnTo>
                    <a:lnTo>
                      <a:pt x="22" y="193"/>
                    </a:lnTo>
                    <a:lnTo>
                      <a:pt x="20" y="198"/>
                    </a:lnTo>
                    <a:lnTo>
                      <a:pt x="19" y="200"/>
                    </a:lnTo>
                    <a:lnTo>
                      <a:pt x="19" y="203"/>
                    </a:lnTo>
                    <a:lnTo>
                      <a:pt x="20" y="206"/>
                    </a:lnTo>
                    <a:lnTo>
                      <a:pt x="21" y="210"/>
                    </a:lnTo>
                    <a:lnTo>
                      <a:pt x="25" y="217"/>
                    </a:lnTo>
                    <a:lnTo>
                      <a:pt x="30" y="224"/>
                    </a:lnTo>
                    <a:lnTo>
                      <a:pt x="37" y="230"/>
                    </a:lnTo>
                    <a:lnTo>
                      <a:pt x="44" y="235"/>
                    </a:lnTo>
                    <a:lnTo>
                      <a:pt x="49" y="237"/>
                    </a:lnTo>
                    <a:lnTo>
                      <a:pt x="52" y="239"/>
                    </a:lnTo>
                    <a:lnTo>
                      <a:pt x="56" y="241"/>
                    </a:lnTo>
                    <a:lnTo>
                      <a:pt x="60" y="241"/>
                    </a:lnTo>
                    <a:lnTo>
                      <a:pt x="59" y="250"/>
                    </a:lnTo>
                    <a:lnTo>
                      <a:pt x="56" y="259"/>
                    </a:lnTo>
                    <a:lnTo>
                      <a:pt x="52" y="266"/>
                    </a:lnTo>
                    <a:lnTo>
                      <a:pt x="47" y="271"/>
                    </a:lnTo>
                    <a:lnTo>
                      <a:pt x="56" y="271"/>
                    </a:lnTo>
                    <a:lnTo>
                      <a:pt x="66" y="271"/>
                    </a:lnTo>
                    <a:lnTo>
                      <a:pt x="74" y="271"/>
                    </a:lnTo>
                    <a:lnTo>
                      <a:pt x="81" y="271"/>
                    </a:lnTo>
                    <a:lnTo>
                      <a:pt x="82" y="275"/>
                    </a:lnTo>
                    <a:lnTo>
                      <a:pt x="84" y="280"/>
                    </a:lnTo>
                    <a:lnTo>
                      <a:pt x="89" y="284"/>
                    </a:lnTo>
                    <a:lnTo>
                      <a:pt x="96" y="290"/>
                    </a:lnTo>
                    <a:lnTo>
                      <a:pt x="112" y="302"/>
                    </a:lnTo>
                    <a:lnTo>
                      <a:pt x="131" y="313"/>
                    </a:lnTo>
                    <a:lnTo>
                      <a:pt x="170" y="334"/>
                    </a:lnTo>
                    <a:lnTo>
                      <a:pt x="193" y="345"/>
                    </a:lnTo>
                    <a:lnTo>
                      <a:pt x="205" y="352"/>
                    </a:lnTo>
                    <a:lnTo>
                      <a:pt x="218" y="360"/>
                    </a:lnTo>
                    <a:lnTo>
                      <a:pt x="226" y="364"/>
                    </a:lnTo>
                    <a:lnTo>
                      <a:pt x="234" y="367"/>
                    </a:lnTo>
                    <a:lnTo>
                      <a:pt x="243" y="370"/>
                    </a:lnTo>
                    <a:lnTo>
                      <a:pt x="253" y="370"/>
                    </a:lnTo>
                    <a:lnTo>
                      <a:pt x="255" y="370"/>
                    </a:lnTo>
                    <a:lnTo>
                      <a:pt x="257" y="367"/>
                    </a:lnTo>
                    <a:lnTo>
                      <a:pt x="261" y="365"/>
                    </a:lnTo>
                    <a:lnTo>
                      <a:pt x="264" y="361"/>
                    </a:lnTo>
                    <a:lnTo>
                      <a:pt x="267" y="358"/>
                    </a:lnTo>
                    <a:lnTo>
                      <a:pt x="271" y="355"/>
                    </a:lnTo>
                    <a:lnTo>
                      <a:pt x="275" y="353"/>
                    </a:lnTo>
                    <a:lnTo>
                      <a:pt x="279" y="352"/>
                    </a:lnTo>
                    <a:lnTo>
                      <a:pt x="277" y="344"/>
                    </a:lnTo>
                    <a:lnTo>
                      <a:pt x="277" y="338"/>
                    </a:lnTo>
                    <a:lnTo>
                      <a:pt x="278" y="332"/>
                    </a:lnTo>
                    <a:lnTo>
                      <a:pt x="280" y="326"/>
                    </a:lnTo>
                    <a:lnTo>
                      <a:pt x="284" y="322"/>
                    </a:lnTo>
                    <a:lnTo>
                      <a:pt x="289" y="318"/>
                    </a:lnTo>
                    <a:lnTo>
                      <a:pt x="297" y="316"/>
                    </a:lnTo>
                    <a:lnTo>
                      <a:pt x="306" y="315"/>
                    </a:lnTo>
                    <a:lnTo>
                      <a:pt x="316" y="315"/>
                    </a:lnTo>
                    <a:lnTo>
                      <a:pt x="323" y="317"/>
                    </a:lnTo>
                    <a:lnTo>
                      <a:pt x="329" y="320"/>
                    </a:lnTo>
                    <a:lnTo>
                      <a:pt x="334" y="323"/>
                    </a:lnTo>
                    <a:lnTo>
                      <a:pt x="343" y="332"/>
                    </a:lnTo>
                    <a:lnTo>
                      <a:pt x="350" y="342"/>
                    </a:lnTo>
                    <a:lnTo>
                      <a:pt x="353" y="347"/>
                    </a:lnTo>
                    <a:lnTo>
                      <a:pt x="357" y="353"/>
                    </a:lnTo>
                    <a:lnTo>
                      <a:pt x="362" y="358"/>
                    </a:lnTo>
                    <a:lnTo>
                      <a:pt x="367" y="362"/>
                    </a:lnTo>
                    <a:lnTo>
                      <a:pt x="373" y="365"/>
                    </a:lnTo>
                    <a:lnTo>
                      <a:pt x="380" y="368"/>
                    </a:lnTo>
                    <a:lnTo>
                      <a:pt x="389" y="370"/>
                    </a:lnTo>
                    <a:lnTo>
                      <a:pt x="399" y="370"/>
                    </a:lnTo>
                    <a:lnTo>
                      <a:pt x="409" y="370"/>
                    </a:lnTo>
                    <a:lnTo>
                      <a:pt x="418" y="369"/>
                    </a:lnTo>
                    <a:lnTo>
                      <a:pt x="425" y="367"/>
                    </a:lnTo>
                    <a:lnTo>
                      <a:pt x="433" y="365"/>
                    </a:lnTo>
                    <a:lnTo>
                      <a:pt x="447" y="359"/>
                    </a:lnTo>
                    <a:lnTo>
                      <a:pt x="459" y="352"/>
                    </a:lnTo>
                    <a:lnTo>
                      <a:pt x="472" y="345"/>
                    </a:lnTo>
                    <a:lnTo>
                      <a:pt x="483" y="339"/>
                    </a:lnTo>
                    <a:lnTo>
                      <a:pt x="488" y="336"/>
                    </a:lnTo>
                    <a:lnTo>
                      <a:pt x="493" y="335"/>
                    </a:lnTo>
                    <a:lnTo>
                      <a:pt x="499" y="333"/>
                    </a:lnTo>
                    <a:lnTo>
                      <a:pt x="506" y="333"/>
                    </a:lnTo>
                    <a:lnTo>
                      <a:pt x="512" y="332"/>
                    </a:lnTo>
                    <a:lnTo>
                      <a:pt x="521" y="329"/>
                    </a:lnTo>
                    <a:lnTo>
                      <a:pt x="525" y="327"/>
                    </a:lnTo>
                    <a:lnTo>
                      <a:pt x="529" y="325"/>
                    </a:lnTo>
                    <a:lnTo>
                      <a:pt x="531" y="323"/>
                    </a:lnTo>
                    <a:lnTo>
                      <a:pt x="532" y="321"/>
                    </a:lnTo>
                    <a:lnTo>
                      <a:pt x="565" y="321"/>
                    </a:lnTo>
                    <a:lnTo>
                      <a:pt x="564" y="326"/>
                    </a:lnTo>
                    <a:lnTo>
                      <a:pt x="563" y="333"/>
                    </a:lnTo>
                    <a:lnTo>
                      <a:pt x="564" y="341"/>
                    </a:lnTo>
                    <a:lnTo>
                      <a:pt x="565" y="349"/>
                    </a:lnTo>
                    <a:lnTo>
                      <a:pt x="566" y="358"/>
                    </a:lnTo>
                    <a:lnTo>
                      <a:pt x="567" y="367"/>
                    </a:lnTo>
                    <a:lnTo>
                      <a:pt x="567" y="375"/>
                    </a:lnTo>
                    <a:lnTo>
                      <a:pt x="565" y="382"/>
                    </a:lnTo>
                    <a:lnTo>
                      <a:pt x="575" y="381"/>
                    </a:lnTo>
                    <a:lnTo>
                      <a:pt x="582" y="379"/>
                    </a:lnTo>
                    <a:lnTo>
                      <a:pt x="590" y="377"/>
                    </a:lnTo>
                    <a:lnTo>
                      <a:pt x="596" y="375"/>
                    </a:lnTo>
                    <a:lnTo>
                      <a:pt x="601" y="372"/>
                    </a:lnTo>
                    <a:lnTo>
                      <a:pt x="605" y="369"/>
                    </a:lnTo>
                    <a:lnTo>
                      <a:pt x="610" y="366"/>
                    </a:lnTo>
                    <a:lnTo>
                      <a:pt x="613" y="362"/>
                    </a:lnTo>
                    <a:lnTo>
                      <a:pt x="623" y="345"/>
                    </a:lnTo>
                    <a:lnTo>
                      <a:pt x="632" y="327"/>
                    </a:lnTo>
                    <a:lnTo>
                      <a:pt x="636" y="331"/>
                    </a:lnTo>
                    <a:lnTo>
                      <a:pt x="641" y="334"/>
                    </a:lnTo>
                    <a:lnTo>
                      <a:pt x="647" y="336"/>
                    </a:lnTo>
                    <a:lnTo>
                      <a:pt x="654" y="337"/>
                    </a:lnTo>
                    <a:lnTo>
                      <a:pt x="669" y="338"/>
                    </a:lnTo>
                    <a:lnTo>
                      <a:pt x="687" y="336"/>
                    </a:lnTo>
                    <a:lnTo>
                      <a:pt x="721" y="330"/>
                    </a:lnTo>
                    <a:lnTo>
                      <a:pt x="752" y="327"/>
                    </a:lnTo>
                    <a:lnTo>
                      <a:pt x="767" y="327"/>
                    </a:lnTo>
                    <a:lnTo>
                      <a:pt x="781" y="325"/>
                    </a:lnTo>
                    <a:lnTo>
                      <a:pt x="794" y="324"/>
                    </a:lnTo>
                    <a:lnTo>
                      <a:pt x="808" y="321"/>
                    </a:lnTo>
                    <a:lnTo>
                      <a:pt x="831" y="315"/>
                    </a:lnTo>
                    <a:lnTo>
                      <a:pt x="853" y="307"/>
                    </a:lnTo>
                    <a:lnTo>
                      <a:pt x="873" y="299"/>
                    </a:lnTo>
                    <a:lnTo>
                      <a:pt x="895" y="290"/>
                    </a:lnTo>
                    <a:lnTo>
                      <a:pt x="906" y="287"/>
                    </a:lnTo>
                    <a:lnTo>
                      <a:pt x="918" y="283"/>
                    </a:lnTo>
                    <a:lnTo>
                      <a:pt x="930" y="280"/>
                    </a:lnTo>
                    <a:lnTo>
                      <a:pt x="944" y="278"/>
                    </a:lnTo>
                    <a:lnTo>
                      <a:pt x="951" y="279"/>
                    </a:lnTo>
                    <a:lnTo>
                      <a:pt x="961" y="284"/>
                    </a:lnTo>
                    <a:lnTo>
                      <a:pt x="967" y="286"/>
                    </a:lnTo>
                    <a:lnTo>
                      <a:pt x="972" y="288"/>
                    </a:lnTo>
                    <a:lnTo>
                      <a:pt x="979" y="289"/>
                    </a:lnTo>
                    <a:lnTo>
                      <a:pt x="983" y="290"/>
                    </a:lnTo>
                    <a:lnTo>
                      <a:pt x="995" y="290"/>
                    </a:lnTo>
                    <a:lnTo>
                      <a:pt x="1005" y="293"/>
                    </a:lnTo>
                    <a:lnTo>
                      <a:pt x="1015" y="295"/>
                    </a:lnTo>
                    <a:lnTo>
                      <a:pt x="1024" y="300"/>
                    </a:lnTo>
                    <a:lnTo>
                      <a:pt x="1034" y="303"/>
                    </a:lnTo>
                    <a:lnTo>
                      <a:pt x="1045" y="306"/>
                    </a:lnTo>
                    <a:lnTo>
                      <a:pt x="1056" y="308"/>
                    </a:lnTo>
                    <a:lnTo>
                      <a:pt x="1070" y="309"/>
                    </a:lnTo>
                    <a:lnTo>
                      <a:pt x="1068" y="297"/>
                    </a:lnTo>
                    <a:lnTo>
                      <a:pt x="1063" y="286"/>
                    </a:lnTo>
                    <a:lnTo>
                      <a:pt x="1060" y="276"/>
                    </a:lnTo>
                    <a:lnTo>
                      <a:pt x="1056" y="268"/>
                    </a:lnTo>
                    <a:lnTo>
                      <a:pt x="1047" y="254"/>
                    </a:lnTo>
                    <a:lnTo>
                      <a:pt x="1038" y="241"/>
                    </a:lnTo>
                    <a:lnTo>
                      <a:pt x="1034" y="233"/>
                    </a:lnTo>
                    <a:lnTo>
                      <a:pt x="1030" y="226"/>
                    </a:lnTo>
                    <a:lnTo>
                      <a:pt x="1026" y="219"/>
                    </a:lnTo>
                    <a:lnTo>
                      <a:pt x="1024" y="211"/>
                    </a:lnTo>
                    <a:lnTo>
                      <a:pt x="1021" y="202"/>
                    </a:lnTo>
                    <a:lnTo>
                      <a:pt x="1018" y="192"/>
                    </a:lnTo>
                    <a:lnTo>
                      <a:pt x="1017" y="179"/>
                    </a:lnTo>
                    <a:lnTo>
                      <a:pt x="1017" y="167"/>
                    </a:lnTo>
                    <a:lnTo>
                      <a:pt x="1014" y="152"/>
                    </a:lnTo>
                    <a:lnTo>
                      <a:pt x="1011" y="14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s-PE" sz="1400" b="1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975" name="Freeform 541"/>
            <p:cNvSpPr>
              <a:spLocks/>
            </p:cNvSpPr>
            <p:nvPr>
              <p:custDataLst>
                <p:tags r:id="rId367"/>
              </p:custDataLst>
            </p:nvPr>
          </p:nvSpPr>
          <p:spPr bwMode="auto">
            <a:xfrm>
              <a:off x="3882602" y="3886258"/>
              <a:ext cx="119234" cy="146791"/>
            </a:xfrm>
            <a:custGeom>
              <a:avLst/>
              <a:gdLst>
                <a:gd name="T0" fmla="*/ 27880 w 226"/>
                <a:gd name="T1" fmla="*/ 121721 h 237"/>
                <a:gd name="T2" fmla="*/ 30092 w 226"/>
                <a:gd name="T3" fmla="*/ 122237 h 237"/>
                <a:gd name="T4" fmla="*/ 33190 w 226"/>
                <a:gd name="T5" fmla="*/ 121205 h 237"/>
                <a:gd name="T6" fmla="*/ 36730 w 226"/>
                <a:gd name="T7" fmla="*/ 120690 h 237"/>
                <a:gd name="T8" fmla="*/ 39386 w 226"/>
                <a:gd name="T9" fmla="*/ 118627 h 237"/>
                <a:gd name="T10" fmla="*/ 42483 w 226"/>
                <a:gd name="T11" fmla="*/ 115016 h 237"/>
                <a:gd name="T12" fmla="*/ 43811 w 226"/>
                <a:gd name="T13" fmla="*/ 110374 h 237"/>
                <a:gd name="T14" fmla="*/ 54432 w 226"/>
                <a:gd name="T15" fmla="*/ 107795 h 237"/>
                <a:gd name="T16" fmla="*/ 73461 w 226"/>
                <a:gd name="T17" fmla="*/ 105732 h 237"/>
                <a:gd name="T18" fmla="*/ 86294 w 226"/>
                <a:gd name="T19" fmla="*/ 102122 h 237"/>
                <a:gd name="T20" fmla="*/ 92490 w 226"/>
                <a:gd name="T21" fmla="*/ 98512 h 237"/>
                <a:gd name="T22" fmla="*/ 97358 w 226"/>
                <a:gd name="T23" fmla="*/ 93354 h 237"/>
                <a:gd name="T24" fmla="*/ 99570 w 226"/>
                <a:gd name="T25" fmla="*/ 86649 h 237"/>
                <a:gd name="T26" fmla="*/ 100013 w 226"/>
                <a:gd name="T27" fmla="*/ 78912 h 237"/>
                <a:gd name="T28" fmla="*/ 98685 w 226"/>
                <a:gd name="T29" fmla="*/ 72208 h 237"/>
                <a:gd name="T30" fmla="*/ 95145 w 226"/>
                <a:gd name="T31" fmla="*/ 63439 h 237"/>
                <a:gd name="T32" fmla="*/ 89835 w 226"/>
                <a:gd name="T33" fmla="*/ 51577 h 237"/>
                <a:gd name="T34" fmla="*/ 86737 w 226"/>
                <a:gd name="T35" fmla="*/ 43325 h 237"/>
                <a:gd name="T36" fmla="*/ 85409 w 226"/>
                <a:gd name="T37" fmla="*/ 38167 h 237"/>
                <a:gd name="T38" fmla="*/ 86294 w 226"/>
                <a:gd name="T39" fmla="*/ 30430 h 237"/>
                <a:gd name="T40" fmla="*/ 88507 w 226"/>
                <a:gd name="T41" fmla="*/ 22178 h 237"/>
                <a:gd name="T42" fmla="*/ 94260 w 226"/>
                <a:gd name="T43" fmla="*/ 12894 h 237"/>
                <a:gd name="T44" fmla="*/ 94260 w 226"/>
                <a:gd name="T45" fmla="*/ 7221 h 237"/>
                <a:gd name="T46" fmla="*/ 84524 w 226"/>
                <a:gd name="T47" fmla="*/ 3610 h 237"/>
                <a:gd name="T48" fmla="*/ 68150 w 226"/>
                <a:gd name="T49" fmla="*/ 1032 h 237"/>
                <a:gd name="T50" fmla="*/ 8851 w 226"/>
                <a:gd name="T51" fmla="*/ 3095 h 237"/>
                <a:gd name="T52" fmla="*/ 7966 w 226"/>
                <a:gd name="T53" fmla="*/ 15989 h 237"/>
                <a:gd name="T54" fmla="*/ 4425 w 226"/>
                <a:gd name="T55" fmla="*/ 27851 h 237"/>
                <a:gd name="T56" fmla="*/ 1328 w 226"/>
                <a:gd name="T57" fmla="*/ 40746 h 237"/>
                <a:gd name="T58" fmla="*/ 0 w 226"/>
                <a:gd name="T59" fmla="*/ 57250 h 237"/>
                <a:gd name="T60" fmla="*/ 1328 w 226"/>
                <a:gd name="T61" fmla="*/ 67050 h 237"/>
                <a:gd name="T62" fmla="*/ 4425 w 226"/>
                <a:gd name="T63" fmla="*/ 75302 h 237"/>
                <a:gd name="T64" fmla="*/ 13276 w 226"/>
                <a:gd name="T65" fmla="*/ 89228 h 237"/>
                <a:gd name="T66" fmla="*/ 22569 w 226"/>
                <a:gd name="T67" fmla="*/ 102638 h 237"/>
                <a:gd name="T68" fmla="*/ 25225 w 226"/>
                <a:gd name="T69" fmla="*/ 111406 h 237"/>
                <a:gd name="T70" fmla="*/ 26995 w 226"/>
                <a:gd name="T71" fmla="*/ 120690 h 237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26" h="237">
                  <a:moveTo>
                    <a:pt x="61" y="234"/>
                  </a:moveTo>
                  <a:lnTo>
                    <a:pt x="63" y="236"/>
                  </a:lnTo>
                  <a:lnTo>
                    <a:pt x="65" y="237"/>
                  </a:lnTo>
                  <a:lnTo>
                    <a:pt x="68" y="237"/>
                  </a:lnTo>
                  <a:lnTo>
                    <a:pt x="70" y="237"/>
                  </a:lnTo>
                  <a:lnTo>
                    <a:pt x="75" y="235"/>
                  </a:lnTo>
                  <a:lnTo>
                    <a:pt x="80" y="234"/>
                  </a:lnTo>
                  <a:lnTo>
                    <a:pt x="83" y="234"/>
                  </a:lnTo>
                  <a:lnTo>
                    <a:pt x="86" y="232"/>
                  </a:lnTo>
                  <a:lnTo>
                    <a:pt x="89" y="230"/>
                  </a:lnTo>
                  <a:lnTo>
                    <a:pt x="92" y="227"/>
                  </a:lnTo>
                  <a:lnTo>
                    <a:pt x="96" y="223"/>
                  </a:lnTo>
                  <a:lnTo>
                    <a:pt x="98" y="219"/>
                  </a:lnTo>
                  <a:lnTo>
                    <a:pt x="99" y="214"/>
                  </a:lnTo>
                  <a:lnTo>
                    <a:pt x="100" y="209"/>
                  </a:lnTo>
                  <a:lnTo>
                    <a:pt x="123" y="209"/>
                  </a:lnTo>
                  <a:lnTo>
                    <a:pt x="145" y="208"/>
                  </a:lnTo>
                  <a:lnTo>
                    <a:pt x="166" y="205"/>
                  </a:lnTo>
                  <a:lnTo>
                    <a:pt x="186" y="201"/>
                  </a:lnTo>
                  <a:lnTo>
                    <a:pt x="195" y="198"/>
                  </a:lnTo>
                  <a:lnTo>
                    <a:pt x="202" y="195"/>
                  </a:lnTo>
                  <a:lnTo>
                    <a:pt x="209" y="191"/>
                  </a:lnTo>
                  <a:lnTo>
                    <a:pt x="215" y="186"/>
                  </a:lnTo>
                  <a:lnTo>
                    <a:pt x="220" y="181"/>
                  </a:lnTo>
                  <a:lnTo>
                    <a:pt x="223" y="175"/>
                  </a:lnTo>
                  <a:lnTo>
                    <a:pt x="225" y="168"/>
                  </a:lnTo>
                  <a:lnTo>
                    <a:pt x="226" y="161"/>
                  </a:lnTo>
                  <a:lnTo>
                    <a:pt x="226" y="153"/>
                  </a:lnTo>
                  <a:lnTo>
                    <a:pt x="225" y="147"/>
                  </a:lnTo>
                  <a:lnTo>
                    <a:pt x="223" y="140"/>
                  </a:lnTo>
                  <a:lnTo>
                    <a:pt x="221" y="134"/>
                  </a:lnTo>
                  <a:lnTo>
                    <a:pt x="215" y="123"/>
                  </a:lnTo>
                  <a:lnTo>
                    <a:pt x="210" y="112"/>
                  </a:lnTo>
                  <a:lnTo>
                    <a:pt x="203" y="100"/>
                  </a:lnTo>
                  <a:lnTo>
                    <a:pt x="198" y="90"/>
                  </a:lnTo>
                  <a:lnTo>
                    <a:pt x="196" y="84"/>
                  </a:lnTo>
                  <a:lnTo>
                    <a:pt x="195" y="79"/>
                  </a:lnTo>
                  <a:lnTo>
                    <a:pt x="193" y="74"/>
                  </a:lnTo>
                  <a:lnTo>
                    <a:pt x="193" y="68"/>
                  </a:lnTo>
                  <a:lnTo>
                    <a:pt x="195" y="59"/>
                  </a:lnTo>
                  <a:lnTo>
                    <a:pt x="197" y="51"/>
                  </a:lnTo>
                  <a:lnTo>
                    <a:pt x="200" y="43"/>
                  </a:lnTo>
                  <a:lnTo>
                    <a:pt x="204" y="36"/>
                  </a:lnTo>
                  <a:lnTo>
                    <a:pt x="213" y="25"/>
                  </a:lnTo>
                  <a:lnTo>
                    <a:pt x="220" y="19"/>
                  </a:lnTo>
                  <a:lnTo>
                    <a:pt x="213" y="14"/>
                  </a:lnTo>
                  <a:lnTo>
                    <a:pt x="203" y="11"/>
                  </a:lnTo>
                  <a:lnTo>
                    <a:pt x="191" y="7"/>
                  </a:lnTo>
                  <a:lnTo>
                    <a:pt x="179" y="5"/>
                  </a:lnTo>
                  <a:lnTo>
                    <a:pt x="154" y="2"/>
                  </a:lnTo>
                  <a:lnTo>
                    <a:pt x="133" y="0"/>
                  </a:lnTo>
                  <a:lnTo>
                    <a:pt x="20" y="6"/>
                  </a:lnTo>
                  <a:lnTo>
                    <a:pt x="20" y="19"/>
                  </a:lnTo>
                  <a:lnTo>
                    <a:pt x="18" y="31"/>
                  </a:lnTo>
                  <a:lnTo>
                    <a:pt x="14" y="42"/>
                  </a:lnTo>
                  <a:lnTo>
                    <a:pt x="10" y="54"/>
                  </a:lnTo>
                  <a:lnTo>
                    <a:pt x="7" y="66"/>
                  </a:lnTo>
                  <a:lnTo>
                    <a:pt x="3" y="79"/>
                  </a:lnTo>
                  <a:lnTo>
                    <a:pt x="1" y="93"/>
                  </a:lnTo>
                  <a:lnTo>
                    <a:pt x="0" y="111"/>
                  </a:lnTo>
                  <a:lnTo>
                    <a:pt x="1" y="121"/>
                  </a:lnTo>
                  <a:lnTo>
                    <a:pt x="3" y="130"/>
                  </a:lnTo>
                  <a:lnTo>
                    <a:pt x="6" y="138"/>
                  </a:lnTo>
                  <a:lnTo>
                    <a:pt x="10" y="146"/>
                  </a:lnTo>
                  <a:lnTo>
                    <a:pt x="19" y="159"/>
                  </a:lnTo>
                  <a:lnTo>
                    <a:pt x="30" y="173"/>
                  </a:lnTo>
                  <a:lnTo>
                    <a:pt x="41" y="185"/>
                  </a:lnTo>
                  <a:lnTo>
                    <a:pt x="51" y="199"/>
                  </a:lnTo>
                  <a:lnTo>
                    <a:pt x="55" y="207"/>
                  </a:lnTo>
                  <a:lnTo>
                    <a:pt x="57" y="216"/>
                  </a:lnTo>
                  <a:lnTo>
                    <a:pt x="59" y="225"/>
                  </a:lnTo>
                  <a:lnTo>
                    <a:pt x="61" y="23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976" name="Freeform 542"/>
            <p:cNvSpPr>
              <a:spLocks/>
            </p:cNvSpPr>
            <p:nvPr>
              <p:custDataLst>
                <p:tags r:id="rId368"/>
              </p:custDataLst>
            </p:nvPr>
          </p:nvSpPr>
          <p:spPr bwMode="auto">
            <a:xfrm>
              <a:off x="8585715" y="3209492"/>
              <a:ext cx="247930" cy="550944"/>
            </a:xfrm>
            <a:custGeom>
              <a:avLst/>
              <a:gdLst>
                <a:gd name="T0" fmla="*/ 124864 w 478"/>
                <a:gd name="T1" fmla="*/ 57152 h 875"/>
                <a:gd name="T2" fmla="*/ 108767 w 478"/>
                <a:gd name="T3" fmla="*/ 72357 h 875"/>
                <a:gd name="T4" fmla="*/ 86578 w 478"/>
                <a:gd name="T5" fmla="*/ 103293 h 875"/>
                <a:gd name="T6" fmla="*/ 86143 w 478"/>
                <a:gd name="T7" fmla="*/ 111682 h 875"/>
                <a:gd name="T8" fmla="*/ 89624 w 478"/>
                <a:gd name="T9" fmla="*/ 125315 h 875"/>
                <a:gd name="T10" fmla="*/ 96150 w 478"/>
                <a:gd name="T11" fmla="*/ 138947 h 875"/>
                <a:gd name="T12" fmla="*/ 104416 w 478"/>
                <a:gd name="T13" fmla="*/ 151007 h 875"/>
                <a:gd name="T14" fmla="*/ 112682 w 478"/>
                <a:gd name="T15" fmla="*/ 157823 h 875"/>
                <a:gd name="T16" fmla="*/ 121384 w 478"/>
                <a:gd name="T17" fmla="*/ 172504 h 875"/>
                <a:gd name="T18" fmla="*/ 128345 w 478"/>
                <a:gd name="T19" fmla="*/ 189283 h 875"/>
                <a:gd name="T20" fmla="*/ 132695 w 478"/>
                <a:gd name="T21" fmla="*/ 193477 h 875"/>
                <a:gd name="T22" fmla="*/ 190559 w 478"/>
                <a:gd name="T23" fmla="*/ 261640 h 875"/>
                <a:gd name="T24" fmla="*/ 204917 w 478"/>
                <a:gd name="T25" fmla="*/ 308830 h 875"/>
                <a:gd name="T26" fmla="*/ 207962 w 478"/>
                <a:gd name="T27" fmla="*/ 339241 h 875"/>
                <a:gd name="T28" fmla="*/ 207092 w 478"/>
                <a:gd name="T29" fmla="*/ 360214 h 875"/>
                <a:gd name="T30" fmla="*/ 207962 w 478"/>
                <a:gd name="T31" fmla="*/ 371225 h 875"/>
                <a:gd name="T32" fmla="*/ 194475 w 478"/>
                <a:gd name="T33" fmla="*/ 376468 h 875"/>
                <a:gd name="T34" fmla="*/ 182728 w 478"/>
                <a:gd name="T35" fmla="*/ 384333 h 875"/>
                <a:gd name="T36" fmla="*/ 170111 w 478"/>
                <a:gd name="T37" fmla="*/ 396393 h 875"/>
                <a:gd name="T38" fmla="*/ 158799 w 478"/>
                <a:gd name="T39" fmla="*/ 413696 h 875"/>
                <a:gd name="T40" fmla="*/ 151403 w 478"/>
                <a:gd name="T41" fmla="*/ 411598 h 875"/>
                <a:gd name="T42" fmla="*/ 138786 w 478"/>
                <a:gd name="T43" fmla="*/ 413696 h 875"/>
                <a:gd name="T44" fmla="*/ 136176 w 478"/>
                <a:gd name="T45" fmla="*/ 421561 h 875"/>
                <a:gd name="T46" fmla="*/ 125734 w 478"/>
                <a:gd name="T47" fmla="*/ 439388 h 875"/>
                <a:gd name="T48" fmla="*/ 111377 w 478"/>
                <a:gd name="T49" fmla="*/ 455118 h 875"/>
                <a:gd name="T50" fmla="*/ 103981 w 478"/>
                <a:gd name="T51" fmla="*/ 458788 h 875"/>
                <a:gd name="T52" fmla="*/ 100936 w 478"/>
                <a:gd name="T53" fmla="*/ 455118 h 875"/>
                <a:gd name="T54" fmla="*/ 97890 w 478"/>
                <a:gd name="T55" fmla="*/ 442534 h 875"/>
                <a:gd name="T56" fmla="*/ 100500 w 478"/>
                <a:gd name="T57" fmla="*/ 419463 h 875"/>
                <a:gd name="T58" fmla="*/ 110072 w 478"/>
                <a:gd name="T59" fmla="*/ 406355 h 875"/>
                <a:gd name="T60" fmla="*/ 120514 w 478"/>
                <a:gd name="T61" fmla="*/ 398490 h 875"/>
                <a:gd name="T62" fmla="*/ 128345 w 478"/>
                <a:gd name="T63" fmla="*/ 394820 h 875"/>
                <a:gd name="T64" fmla="*/ 132695 w 478"/>
                <a:gd name="T65" fmla="*/ 389577 h 875"/>
                <a:gd name="T66" fmla="*/ 136611 w 478"/>
                <a:gd name="T67" fmla="*/ 374371 h 875"/>
                <a:gd name="T68" fmla="*/ 143572 w 478"/>
                <a:gd name="T69" fmla="*/ 359690 h 875"/>
                <a:gd name="T70" fmla="*/ 158799 w 478"/>
                <a:gd name="T71" fmla="*/ 337144 h 875"/>
                <a:gd name="T72" fmla="*/ 161410 w 478"/>
                <a:gd name="T73" fmla="*/ 281040 h 875"/>
                <a:gd name="T74" fmla="*/ 158364 w 478"/>
                <a:gd name="T75" fmla="*/ 249056 h 875"/>
                <a:gd name="T76" fmla="*/ 148358 w 478"/>
                <a:gd name="T77" fmla="*/ 223889 h 875"/>
                <a:gd name="T78" fmla="*/ 129215 w 478"/>
                <a:gd name="T79" fmla="*/ 197672 h 875"/>
                <a:gd name="T80" fmla="*/ 95280 w 478"/>
                <a:gd name="T81" fmla="*/ 161493 h 875"/>
                <a:gd name="T82" fmla="*/ 70046 w 478"/>
                <a:gd name="T83" fmla="*/ 133704 h 875"/>
                <a:gd name="T84" fmla="*/ 46987 w 478"/>
                <a:gd name="T85" fmla="*/ 103817 h 875"/>
                <a:gd name="T86" fmla="*/ 31325 w 478"/>
                <a:gd name="T87" fmla="*/ 76552 h 875"/>
                <a:gd name="T88" fmla="*/ 18273 w 478"/>
                <a:gd name="T89" fmla="*/ 54530 h 875"/>
                <a:gd name="T90" fmla="*/ 20013 w 478"/>
                <a:gd name="T91" fmla="*/ 21497 h 875"/>
                <a:gd name="T92" fmla="*/ 56124 w 478"/>
                <a:gd name="T93" fmla="*/ 9962 h 875"/>
                <a:gd name="T94" fmla="*/ 64390 w 478"/>
                <a:gd name="T95" fmla="*/ 2622 h 875"/>
                <a:gd name="T96" fmla="*/ 76137 w 478"/>
                <a:gd name="T97" fmla="*/ 8389 h 875"/>
                <a:gd name="T98" fmla="*/ 96150 w 478"/>
                <a:gd name="T99" fmla="*/ 18352 h 875"/>
                <a:gd name="T100" fmla="*/ 117033 w 478"/>
                <a:gd name="T101" fmla="*/ 35130 h 875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478" h="875">
                  <a:moveTo>
                    <a:pt x="299" y="104"/>
                  </a:moveTo>
                  <a:lnTo>
                    <a:pt x="295" y="106"/>
                  </a:lnTo>
                  <a:lnTo>
                    <a:pt x="287" y="109"/>
                  </a:lnTo>
                  <a:lnTo>
                    <a:pt x="277" y="116"/>
                  </a:lnTo>
                  <a:lnTo>
                    <a:pt x="264" y="126"/>
                  </a:lnTo>
                  <a:lnTo>
                    <a:pt x="250" y="138"/>
                  </a:lnTo>
                  <a:lnTo>
                    <a:pt x="233" y="154"/>
                  </a:lnTo>
                  <a:lnTo>
                    <a:pt x="217" y="173"/>
                  </a:lnTo>
                  <a:lnTo>
                    <a:pt x="199" y="197"/>
                  </a:lnTo>
                  <a:lnTo>
                    <a:pt x="197" y="201"/>
                  </a:lnTo>
                  <a:lnTo>
                    <a:pt x="197" y="207"/>
                  </a:lnTo>
                  <a:lnTo>
                    <a:pt x="198" y="213"/>
                  </a:lnTo>
                  <a:lnTo>
                    <a:pt x="199" y="221"/>
                  </a:lnTo>
                  <a:lnTo>
                    <a:pt x="202" y="229"/>
                  </a:lnTo>
                  <a:lnTo>
                    <a:pt x="206" y="239"/>
                  </a:lnTo>
                  <a:lnTo>
                    <a:pt x="210" y="248"/>
                  </a:lnTo>
                  <a:lnTo>
                    <a:pt x="214" y="256"/>
                  </a:lnTo>
                  <a:lnTo>
                    <a:pt x="221" y="265"/>
                  </a:lnTo>
                  <a:lnTo>
                    <a:pt x="226" y="273"/>
                  </a:lnTo>
                  <a:lnTo>
                    <a:pt x="233" y="281"/>
                  </a:lnTo>
                  <a:lnTo>
                    <a:pt x="240" y="288"/>
                  </a:lnTo>
                  <a:lnTo>
                    <a:pt x="246" y="294"/>
                  </a:lnTo>
                  <a:lnTo>
                    <a:pt x="253" y="298"/>
                  </a:lnTo>
                  <a:lnTo>
                    <a:pt x="259" y="301"/>
                  </a:lnTo>
                  <a:lnTo>
                    <a:pt x="266" y="302"/>
                  </a:lnTo>
                  <a:lnTo>
                    <a:pt x="271" y="314"/>
                  </a:lnTo>
                  <a:lnTo>
                    <a:pt x="279" y="329"/>
                  </a:lnTo>
                  <a:lnTo>
                    <a:pt x="286" y="346"/>
                  </a:lnTo>
                  <a:lnTo>
                    <a:pt x="292" y="357"/>
                  </a:lnTo>
                  <a:lnTo>
                    <a:pt x="295" y="361"/>
                  </a:lnTo>
                  <a:lnTo>
                    <a:pt x="298" y="365"/>
                  </a:lnTo>
                  <a:lnTo>
                    <a:pt x="302" y="367"/>
                  </a:lnTo>
                  <a:lnTo>
                    <a:pt x="305" y="369"/>
                  </a:lnTo>
                  <a:lnTo>
                    <a:pt x="313" y="372"/>
                  </a:lnTo>
                  <a:lnTo>
                    <a:pt x="319" y="376"/>
                  </a:lnTo>
                  <a:lnTo>
                    <a:pt x="438" y="499"/>
                  </a:lnTo>
                  <a:lnTo>
                    <a:pt x="453" y="535"/>
                  </a:lnTo>
                  <a:lnTo>
                    <a:pt x="466" y="571"/>
                  </a:lnTo>
                  <a:lnTo>
                    <a:pt x="471" y="589"/>
                  </a:lnTo>
                  <a:lnTo>
                    <a:pt x="475" y="607"/>
                  </a:lnTo>
                  <a:lnTo>
                    <a:pt x="477" y="627"/>
                  </a:lnTo>
                  <a:lnTo>
                    <a:pt x="478" y="647"/>
                  </a:lnTo>
                  <a:lnTo>
                    <a:pt x="477" y="666"/>
                  </a:lnTo>
                  <a:lnTo>
                    <a:pt x="476" y="680"/>
                  </a:lnTo>
                  <a:lnTo>
                    <a:pt x="476" y="687"/>
                  </a:lnTo>
                  <a:lnTo>
                    <a:pt x="476" y="693"/>
                  </a:lnTo>
                  <a:lnTo>
                    <a:pt x="476" y="700"/>
                  </a:lnTo>
                  <a:lnTo>
                    <a:pt x="478" y="708"/>
                  </a:lnTo>
                  <a:lnTo>
                    <a:pt x="467" y="711"/>
                  </a:lnTo>
                  <a:lnTo>
                    <a:pt x="457" y="714"/>
                  </a:lnTo>
                  <a:lnTo>
                    <a:pt x="447" y="718"/>
                  </a:lnTo>
                  <a:lnTo>
                    <a:pt x="437" y="722"/>
                  </a:lnTo>
                  <a:lnTo>
                    <a:pt x="428" y="727"/>
                  </a:lnTo>
                  <a:lnTo>
                    <a:pt x="420" y="733"/>
                  </a:lnTo>
                  <a:lnTo>
                    <a:pt x="412" y="739"/>
                  </a:lnTo>
                  <a:lnTo>
                    <a:pt x="404" y="744"/>
                  </a:lnTo>
                  <a:lnTo>
                    <a:pt x="391" y="756"/>
                  </a:lnTo>
                  <a:lnTo>
                    <a:pt x="380" y="767"/>
                  </a:lnTo>
                  <a:lnTo>
                    <a:pt x="371" y="778"/>
                  </a:lnTo>
                  <a:lnTo>
                    <a:pt x="365" y="789"/>
                  </a:lnTo>
                  <a:lnTo>
                    <a:pt x="360" y="786"/>
                  </a:lnTo>
                  <a:lnTo>
                    <a:pt x="354" y="785"/>
                  </a:lnTo>
                  <a:lnTo>
                    <a:pt x="348" y="785"/>
                  </a:lnTo>
                  <a:lnTo>
                    <a:pt x="342" y="786"/>
                  </a:lnTo>
                  <a:lnTo>
                    <a:pt x="330" y="788"/>
                  </a:lnTo>
                  <a:lnTo>
                    <a:pt x="319" y="789"/>
                  </a:lnTo>
                  <a:lnTo>
                    <a:pt x="318" y="793"/>
                  </a:lnTo>
                  <a:lnTo>
                    <a:pt x="316" y="798"/>
                  </a:lnTo>
                  <a:lnTo>
                    <a:pt x="313" y="804"/>
                  </a:lnTo>
                  <a:lnTo>
                    <a:pt x="310" y="810"/>
                  </a:lnTo>
                  <a:lnTo>
                    <a:pt x="300" y="824"/>
                  </a:lnTo>
                  <a:lnTo>
                    <a:pt x="289" y="838"/>
                  </a:lnTo>
                  <a:lnTo>
                    <a:pt x="276" y="853"/>
                  </a:lnTo>
                  <a:lnTo>
                    <a:pt x="263" y="864"/>
                  </a:lnTo>
                  <a:lnTo>
                    <a:pt x="256" y="868"/>
                  </a:lnTo>
                  <a:lnTo>
                    <a:pt x="250" y="872"/>
                  </a:lnTo>
                  <a:lnTo>
                    <a:pt x="244" y="874"/>
                  </a:lnTo>
                  <a:lnTo>
                    <a:pt x="239" y="875"/>
                  </a:lnTo>
                  <a:lnTo>
                    <a:pt x="236" y="874"/>
                  </a:lnTo>
                  <a:lnTo>
                    <a:pt x="234" y="872"/>
                  </a:lnTo>
                  <a:lnTo>
                    <a:pt x="232" y="868"/>
                  </a:lnTo>
                  <a:lnTo>
                    <a:pt x="230" y="864"/>
                  </a:lnTo>
                  <a:lnTo>
                    <a:pt x="226" y="854"/>
                  </a:lnTo>
                  <a:lnTo>
                    <a:pt x="225" y="844"/>
                  </a:lnTo>
                  <a:lnTo>
                    <a:pt x="226" y="830"/>
                  </a:lnTo>
                  <a:lnTo>
                    <a:pt x="229" y="816"/>
                  </a:lnTo>
                  <a:lnTo>
                    <a:pt x="231" y="800"/>
                  </a:lnTo>
                  <a:lnTo>
                    <a:pt x="232" y="782"/>
                  </a:lnTo>
                  <a:lnTo>
                    <a:pt x="244" y="779"/>
                  </a:lnTo>
                  <a:lnTo>
                    <a:pt x="253" y="775"/>
                  </a:lnTo>
                  <a:lnTo>
                    <a:pt x="262" y="770"/>
                  </a:lnTo>
                  <a:lnTo>
                    <a:pt x="269" y="765"/>
                  </a:lnTo>
                  <a:lnTo>
                    <a:pt x="277" y="760"/>
                  </a:lnTo>
                  <a:lnTo>
                    <a:pt x="285" y="756"/>
                  </a:lnTo>
                  <a:lnTo>
                    <a:pt x="289" y="754"/>
                  </a:lnTo>
                  <a:lnTo>
                    <a:pt x="295" y="753"/>
                  </a:lnTo>
                  <a:lnTo>
                    <a:pt x="300" y="752"/>
                  </a:lnTo>
                  <a:lnTo>
                    <a:pt x="305" y="752"/>
                  </a:lnTo>
                  <a:lnTo>
                    <a:pt x="305" y="743"/>
                  </a:lnTo>
                  <a:lnTo>
                    <a:pt x="308" y="733"/>
                  </a:lnTo>
                  <a:lnTo>
                    <a:pt x="311" y="723"/>
                  </a:lnTo>
                  <a:lnTo>
                    <a:pt x="314" y="714"/>
                  </a:lnTo>
                  <a:lnTo>
                    <a:pt x="319" y="705"/>
                  </a:lnTo>
                  <a:lnTo>
                    <a:pt x="324" y="695"/>
                  </a:lnTo>
                  <a:lnTo>
                    <a:pt x="330" y="686"/>
                  </a:lnTo>
                  <a:lnTo>
                    <a:pt x="336" y="677"/>
                  </a:lnTo>
                  <a:lnTo>
                    <a:pt x="349" y="659"/>
                  </a:lnTo>
                  <a:lnTo>
                    <a:pt x="365" y="643"/>
                  </a:lnTo>
                  <a:lnTo>
                    <a:pt x="378" y="629"/>
                  </a:lnTo>
                  <a:lnTo>
                    <a:pt x="392" y="616"/>
                  </a:lnTo>
                  <a:lnTo>
                    <a:pt x="371" y="536"/>
                  </a:lnTo>
                  <a:lnTo>
                    <a:pt x="371" y="514"/>
                  </a:lnTo>
                  <a:lnTo>
                    <a:pt x="368" y="493"/>
                  </a:lnTo>
                  <a:lnTo>
                    <a:pt x="364" y="475"/>
                  </a:lnTo>
                  <a:lnTo>
                    <a:pt x="357" y="458"/>
                  </a:lnTo>
                  <a:lnTo>
                    <a:pt x="349" y="442"/>
                  </a:lnTo>
                  <a:lnTo>
                    <a:pt x="341" y="427"/>
                  </a:lnTo>
                  <a:lnTo>
                    <a:pt x="331" y="414"/>
                  </a:lnTo>
                  <a:lnTo>
                    <a:pt x="321" y="402"/>
                  </a:lnTo>
                  <a:lnTo>
                    <a:pt x="297" y="377"/>
                  </a:lnTo>
                  <a:lnTo>
                    <a:pt x="271" y="355"/>
                  </a:lnTo>
                  <a:lnTo>
                    <a:pt x="245" y="332"/>
                  </a:lnTo>
                  <a:lnTo>
                    <a:pt x="219" y="308"/>
                  </a:lnTo>
                  <a:lnTo>
                    <a:pt x="199" y="292"/>
                  </a:lnTo>
                  <a:lnTo>
                    <a:pt x="179" y="273"/>
                  </a:lnTo>
                  <a:lnTo>
                    <a:pt x="161" y="255"/>
                  </a:lnTo>
                  <a:lnTo>
                    <a:pt x="142" y="237"/>
                  </a:lnTo>
                  <a:lnTo>
                    <a:pt x="124" y="217"/>
                  </a:lnTo>
                  <a:lnTo>
                    <a:pt x="108" y="198"/>
                  </a:lnTo>
                  <a:lnTo>
                    <a:pt x="92" y="179"/>
                  </a:lnTo>
                  <a:lnTo>
                    <a:pt x="79" y="160"/>
                  </a:lnTo>
                  <a:lnTo>
                    <a:pt x="72" y="146"/>
                  </a:lnTo>
                  <a:lnTo>
                    <a:pt x="63" y="133"/>
                  </a:lnTo>
                  <a:lnTo>
                    <a:pt x="53" y="118"/>
                  </a:lnTo>
                  <a:lnTo>
                    <a:pt x="42" y="104"/>
                  </a:lnTo>
                  <a:lnTo>
                    <a:pt x="21" y="77"/>
                  </a:lnTo>
                  <a:lnTo>
                    <a:pt x="0" y="49"/>
                  </a:lnTo>
                  <a:lnTo>
                    <a:pt x="46" y="41"/>
                  </a:lnTo>
                  <a:lnTo>
                    <a:pt x="91" y="32"/>
                  </a:lnTo>
                  <a:lnTo>
                    <a:pt x="111" y="26"/>
                  </a:lnTo>
                  <a:lnTo>
                    <a:pt x="129" y="19"/>
                  </a:lnTo>
                  <a:lnTo>
                    <a:pt x="136" y="15"/>
                  </a:lnTo>
                  <a:lnTo>
                    <a:pt x="143" y="11"/>
                  </a:lnTo>
                  <a:lnTo>
                    <a:pt x="148" y="5"/>
                  </a:lnTo>
                  <a:lnTo>
                    <a:pt x="153" y="0"/>
                  </a:lnTo>
                  <a:lnTo>
                    <a:pt x="163" y="9"/>
                  </a:lnTo>
                  <a:lnTo>
                    <a:pt x="175" y="16"/>
                  </a:lnTo>
                  <a:lnTo>
                    <a:pt x="186" y="21"/>
                  </a:lnTo>
                  <a:lnTo>
                    <a:pt x="198" y="26"/>
                  </a:lnTo>
                  <a:lnTo>
                    <a:pt x="221" y="35"/>
                  </a:lnTo>
                  <a:lnTo>
                    <a:pt x="239" y="43"/>
                  </a:lnTo>
                  <a:lnTo>
                    <a:pt x="256" y="55"/>
                  </a:lnTo>
                  <a:lnTo>
                    <a:pt x="269" y="67"/>
                  </a:lnTo>
                  <a:lnTo>
                    <a:pt x="282" y="82"/>
                  </a:lnTo>
                  <a:lnTo>
                    <a:pt x="299" y="104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977" name="Freeform 543"/>
            <p:cNvSpPr>
              <a:spLocks/>
            </p:cNvSpPr>
            <p:nvPr>
              <p:custDataLst>
                <p:tags r:id="rId369"/>
              </p:custDataLst>
            </p:nvPr>
          </p:nvSpPr>
          <p:spPr bwMode="auto">
            <a:xfrm>
              <a:off x="8689808" y="4033047"/>
              <a:ext cx="30282" cy="68630"/>
            </a:xfrm>
            <a:custGeom>
              <a:avLst/>
              <a:gdLst>
                <a:gd name="T0" fmla="*/ 25400 w 59"/>
                <a:gd name="T1" fmla="*/ 11061 h 31"/>
                <a:gd name="T2" fmla="*/ 24539 w 59"/>
                <a:gd name="T3" fmla="*/ 20279 h 31"/>
                <a:gd name="T4" fmla="*/ 22817 w 59"/>
                <a:gd name="T5" fmla="*/ 27653 h 31"/>
                <a:gd name="T6" fmla="*/ 21095 w 59"/>
                <a:gd name="T7" fmla="*/ 35027 h 31"/>
                <a:gd name="T8" fmla="*/ 19373 w 59"/>
                <a:gd name="T9" fmla="*/ 44245 h 31"/>
                <a:gd name="T10" fmla="*/ 17220 w 59"/>
                <a:gd name="T11" fmla="*/ 49776 h 31"/>
                <a:gd name="T12" fmla="*/ 15498 w 59"/>
                <a:gd name="T13" fmla="*/ 53463 h 31"/>
                <a:gd name="T14" fmla="*/ 12915 w 59"/>
                <a:gd name="T15" fmla="*/ 57150 h 31"/>
                <a:gd name="T16" fmla="*/ 11193 w 59"/>
                <a:gd name="T17" fmla="*/ 57150 h 31"/>
                <a:gd name="T18" fmla="*/ 9041 w 59"/>
                <a:gd name="T19" fmla="*/ 57150 h 31"/>
                <a:gd name="T20" fmla="*/ 7319 w 59"/>
                <a:gd name="T21" fmla="*/ 55306 h 31"/>
                <a:gd name="T22" fmla="*/ 6027 w 59"/>
                <a:gd name="T23" fmla="*/ 53463 h 31"/>
                <a:gd name="T24" fmla="*/ 4736 w 59"/>
                <a:gd name="T25" fmla="*/ 49776 h 31"/>
                <a:gd name="T26" fmla="*/ 1722 w 59"/>
                <a:gd name="T27" fmla="*/ 36871 h 31"/>
                <a:gd name="T28" fmla="*/ 0 w 59"/>
                <a:gd name="T29" fmla="*/ 22123 h 31"/>
                <a:gd name="T30" fmla="*/ 431 w 59"/>
                <a:gd name="T31" fmla="*/ 16592 h 31"/>
                <a:gd name="T32" fmla="*/ 1292 w 59"/>
                <a:gd name="T33" fmla="*/ 11061 h 31"/>
                <a:gd name="T34" fmla="*/ 2153 w 59"/>
                <a:gd name="T35" fmla="*/ 7374 h 31"/>
                <a:gd name="T36" fmla="*/ 3444 w 59"/>
                <a:gd name="T37" fmla="*/ 5531 h 31"/>
                <a:gd name="T38" fmla="*/ 6888 w 59"/>
                <a:gd name="T39" fmla="*/ 1844 h 31"/>
                <a:gd name="T40" fmla="*/ 10332 w 59"/>
                <a:gd name="T41" fmla="*/ 0 h 31"/>
                <a:gd name="T42" fmla="*/ 14637 w 59"/>
                <a:gd name="T43" fmla="*/ 0 h 31"/>
                <a:gd name="T44" fmla="*/ 18081 w 59"/>
                <a:gd name="T45" fmla="*/ 3687 h 31"/>
                <a:gd name="T46" fmla="*/ 21956 w 59"/>
                <a:gd name="T47" fmla="*/ 7374 h 31"/>
                <a:gd name="T48" fmla="*/ 25400 w 59"/>
                <a:gd name="T49" fmla="*/ 11061 h 3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978" name="Freeform 544"/>
            <p:cNvSpPr>
              <a:spLocks/>
            </p:cNvSpPr>
            <p:nvPr>
              <p:custDataLst>
                <p:tags r:id="rId370"/>
              </p:custDataLst>
            </p:nvPr>
          </p:nvSpPr>
          <p:spPr bwMode="auto">
            <a:xfrm>
              <a:off x="7130306" y="3142769"/>
              <a:ext cx="208186" cy="325990"/>
            </a:xfrm>
            <a:custGeom>
              <a:avLst/>
              <a:gdLst>
                <a:gd name="T0" fmla="*/ 87531 w 399"/>
                <a:gd name="T1" fmla="*/ 4192 h 518"/>
                <a:gd name="T2" fmla="*/ 88407 w 399"/>
                <a:gd name="T3" fmla="*/ 11529 h 518"/>
                <a:gd name="T4" fmla="*/ 91033 w 399"/>
                <a:gd name="T5" fmla="*/ 18866 h 518"/>
                <a:gd name="T6" fmla="*/ 93659 w 399"/>
                <a:gd name="T7" fmla="*/ 25679 h 518"/>
                <a:gd name="T8" fmla="*/ 98035 w 399"/>
                <a:gd name="T9" fmla="*/ 33016 h 518"/>
                <a:gd name="T10" fmla="*/ 102849 w 399"/>
                <a:gd name="T11" fmla="*/ 39304 h 518"/>
                <a:gd name="T12" fmla="*/ 108977 w 399"/>
                <a:gd name="T13" fmla="*/ 45069 h 518"/>
                <a:gd name="T14" fmla="*/ 115541 w 399"/>
                <a:gd name="T15" fmla="*/ 49786 h 518"/>
                <a:gd name="T16" fmla="*/ 138299 w 399"/>
                <a:gd name="T17" fmla="*/ 55550 h 518"/>
                <a:gd name="T18" fmla="*/ 159745 w 399"/>
                <a:gd name="T19" fmla="*/ 62363 h 518"/>
                <a:gd name="T20" fmla="*/ 166310 w 399"/>
                <a:gd name="T21" fmla="*/ 66555 h 518"/>
                <a:gd name="T22" fmla="*/ 171561 w 399"/>
                <a:gd name="T23" fmla="*/ 71796 h 518"/>
                <a:gd name="T24" fmla="*/ 174187 w 399"/>
                <a:gd name="T25" fmla="*/ 79133 h 518"/>
                <a:gd name="T26" fmla="*/ 174187 w 399"/>
                <a:gd name="T27" fmla="*/ 91186 h 518"/>
                <a:gd name="T28" fmla="*/ 170686 w 399"/>
                <a:gd name="T29" fmla="*/ 104812 h 518"/>
                <a:gd name="T30" fmla="*/ 161495 w 399"/>
                <a:gd name="T31" fmla="*/ 125250 h 518"/>
                <a:gd name="T32" fmla="*/ 150554 w 399"/>
                <a:gd name="T33" fmla="*/ 144640 h 518"/>
                <a:gd name="T34" fmla="*/ 143551 w 399"/>
                <a:gd name="T35" fmla="*/ 158790 h 518"/>
                <a:gd name="T36" fmla="*/ 137424 w 399"/>
                <a:gd name="T37" fmla="*/ 172939 h 518"/>
                <a:gd name="T38" fmla="*/ 134361 w 399"/>
                <a:gd name="T39" fmla="*/ 188661 h 518"/>
                <a:gd name="T40" fmla="*/ 129984 w 399"/>
                <a:gd name="T41" fmla="*/ 197570 h 518"/>
                <a:gd name="T42" fmla="*/ 117292 w 399"/>
                <a:gd name="T43" fmla="*/ 202810 h 518"/>
                <a:gd name="T44" fmla="*/ 107664 w 399"/>
                <a:gd name="T45" fmla="*/ 209099 h 518"/>
                <a:gd name="T46" fmla="*/ 102849 w 399"/>
                <a:gd name="T47" fmla="*/ 213816 h 518"/>
                <a:gd name="T48" fmla="*/ 99348 w 399"/>
                <a:gd name="T49" fmla="*/ 218532 h 518"/>
                <a:gd name="T50" fmla="*/ 98035 w 399"/>
                <a:gd name="T51" fmla="*/ 223773 h 518"/>
                <a:gd name="T52" fmla="*/ 93221 w 399"/>
                <a:gd name="T53" fmla="*/ 229537 h 518"/>
                <a:gd name="T54" fmla="*/ 82279 w 399"/>
                <a:gd name="T55" fmla="*/ 235826 h 518"/>
                <a:gd name="T56" fmla="*/ 75715 w 399"/>
                <a:gd name="T57" fmla="*/ 238970 h 518"/>
                <a:gd name="T58" fmla="*/ 72651 w 399"/>
                <a:gd name="T59" fmla="*/ 244735 h 518"/>
                <a:gd name="T60" fmla="*/ 69150 w 399"/>
                <a:gd name="T61" fmla="*/ 252072 h 518"/>
                <a:gd name="T62" fmla="*/ 63898 w 399"/>
                <a:gd name="T63" fmla="*/ 256788 h 518"/>
                <a:gd name="T64" fmla="*/ 57333 w 399"/>
                <a:gd name="T65" fmla="*/ 258885 h 518"/>
                <a:gd name="T66" fmla="*/ 44641 w 399"/>
                <a:gd name="T67" fmla="*/ 260981 h 518"/>
                <a:gd name="T68" fmla="*/ 31949 w 399"/>
                <a:gd name="T69" fmla="*/ 264125 h 518"/>
                <a:gd name="T70" fmla="*/ 24071 w 399"/>
                <a:gd name="T71" fmla="*/ 268318 h 518"/>
                <a:gd name="T72" fmla="*/ 20132 w 399"/>
                <a:gd name="T73" fmla="*/ 269366 h 518"/>
                <a:gd name="T74" fmla="*/ 18819 w 399"/>
                <a:gd name="T75" fmla="*/ 265173 h 518"/>
                <a:gd name="T76" fmla="*/ 16631 w 399"/>
                <a:gd name="T77" fmla="*/ 260457 h 518"/>
                <a:gd name="T78" fmla="*/ 14880 w 399"/>
                <a:gd name="T79" fmla="*/ 255216 h 518"/>
                <a:gd name="T80" fmla="*/ 14443 w 399"/>
                <a:gd name="T81" fmla="*/ 245259 h 518"/>
                <a:gd name="T82" fmla="*/ 12692 w 399"/>
                <a:gd name="T83" fmla="*/ 233206 h 518"/>
                <a:gd name="T84" fmla="*/ 7440 w 399"/>
                <a:gd name="T85" fmla="*/ 219056 h 518"/>
                <a:gd name="T86" fmla="*/ 0 w 399"/>
                <a:gd name="T87" fmla="*/ 187613 h 518"/>
                <a:gd name="T88" fmla="*/ 84905 w 399"/>
                <a:gd name="T89" fmla="*/ 96951 h 518"/>
                <a:gd name="T90" fmla="*/ 87531 w 399"/>
                <a:gd name="T91" fmla="*/ 0 h 518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399" h="518">
                  <a:moveTo>
                    <a:pt x="200" y="0"/>
                  </a:moveTo>
                  <a:lnTo>
                    <a:pt x="200" y="8"/>
                  </a:lnTo>
                  <a:lnTo>
                    <a:pt x="201" y="15"/>
                  </a:lnTo>
                  <a:lnTo>
                    <a:pt x="202" y="22"/>
                  </a:lnTo>
                  <a:lnTo>
                    <a:pt x="205" y="29"/>
                  </a:lnTo>
                  <a:lnTo>
                    <a:pt x="208" y="36"/>
                  </a:lnTo>
                  <a:lnTo>
                    <a:pt x="211" y="42"/>
                  </a:lnTo>
                  <a:lnTo>
                    <a:pt x="214" y="49"/>
                  </a:lnTo>
                  <a:lnTo>
                    <a:pt x="219" y="56"/>
                  </a:lnTo>
                  <a:lnTo>
                    <a:pt x="224" y="63"/>
                  </a:lnTo>
                  <a:lnTo>
                    <a:pt x="230" y="69"/>
                  </a:lnTo>
                  <a:lnTo>
                    <a:pt x="235" y="75"/>
                  </a:lnTo>
                  <a:lnTo>
                    <a:pt x="242" y="81"/>
                  </a:lnTo>
                  <a:lnTo>
                    <a:pt x="249" y="86"/>
                  </a:lnTo>
                  <a:lnTo>
                    <a:pt x="256" y="91"/>
                  </a:lnTo>
                  <a:lnTo>
                    <a:pt x="264" y="95"/>
                  </a:lnTo>
                  <a:lnTo>
                    <a:pt x="273" y="98"/>
                  </a:lnTo>
                  <a:lnTo>
                    <a:pt x="316" y="106"/>
                  </a:lnTo>
                  <a:lnTo>
                    <a:pt x="356" y="116"/>
                  </a:lnTo>
                  <a:lnTo>
                    <a:pt x="365" y="119"/>
                  </a:lnTo>
                  <a:lnTo>
                    <a:pt x="374" y="123"/>
                  </a:lnTo>
                  <a:lnTo>
                    <a:pt x="380" y="127"/>
                  </a:lnTo>
                  <a:lnTo>
                    <a:pt x="387" y="132"/>
                  </a:lnTo>
                  <a:lnTo>
                    <a:pt x="392" y="137"/>
                  </a:lnTo>
                  <a:lnTo>
                    <a:pt x="396" y="144"/>
                  </a:lnTo>
                  <a:lnTo>
                    <a:pt x="398" y="151"/>
                  </a:lnTo>
                  <a:lnTo>
                    <a:pt x="399" y="160"/>
                  </a:lnTo>
                  <a:lnTo>
                    <a:pt x="398" y="174"/>
                  </a:lnTo>
                  <a:lnTo>
                    <a:pt x="396" y="187"/>
                  </a:lnTo>
                  <a:lnTo>
                    <a:pt x="390" y="200"/>
                  </a:lnTo>
                  <a:lnTo>
                    <a:pt x="385" y="213"/>
                  </a:lnTo>
                  <a:lnTo>
                    <a:pt x="369" y="239"/>
                  </a:lnTo>
                  <a:lnTo>
                    <a:pt x="353" y="263"/>
                  </a:lnTo>
                  <a:lnTo>
                    <a:pt x="344" y="276"/>
                  </a:lnTo>
                  <a:lnTo>
                    <a:pt x="335" y="290"/>
                  </a:lnTo>
                  <a:lnTo>
                    <a:pt x="328" y="303"/>
                  </a:lnTo>
                  <a:lnTo>
                    <a:pt x="321" y="316"/>
                  </a:lnTo>
                  <a:lnTo>
                    <a:pt x="314" y="330"/>
                  </a:lnTo>
                  <a:lnTo>
                    <a:pt x="310" y="345"/>
                  </a:lnTo>
                  <a:lnTo>
                    <a:pt x="307" y="360"/>
                  </a:lnTo>
                  <a:lnTo>
                    <a:pt x="306" y="376"/>
                  </a:lnTo>
                  <a:lnTo>
                    <a:pt x="297" y="377"/>
                  </a:lnTo>
                  <a:lnTo>
                    <a:pt x="284" y="381"/>
                  </a:lnTo>
                  <a:lnTo>
                    <a:pt x="268" y="387"/>
                  </a:lnTo>
                  <a:lnTo>
                    <a:pt x="254" y="395"/>
                  </a:lnTo>
                  <a:lnTo>
                    <a:pt x="246" y="399"/>
                  </a:lnTo>
                  <a:lnTo>
                    <a:pt x="241" y="403"/>
                  </a:lnTo>
                  <a:lnTo>
                    <a:pt x="235" y="408"/>
                  </a:lnTo>
                  <a:lnTo>
                    <a:pt x="231" y="413"/>
                  </a:lnTo>
                  <a:lnTo>
                    <a:pt x="227" y="417"/>
                  </a:lnTo>
                  <a:lnTo>
                    <a:pt x="225" y="422"/>
                  </a:lnTo>
                  <a:lnTo>
                    <a:pt x="224" y="427"/>
                  </a:lnTo>
                  <a:lnTo>
                    <a:pt x="227" y="431"/>
                  </a:lnTo>
                  <a:lnTo>
                    <a:pt x="213" y="438"/>
                  </a:lnTo>
                  <a:lnTo>
                    <a:pt x="197" y="446"/>
                  </a:lnTo>
                  <a:lnTo>
                    <a:pt x="188" y="450"/>
                  </a:lnTo>
                  <a:lnTo>
                    <a:pt x="179" y="454"/>
                  </a:lnTo>
                  <a:lnTo>
                    <a:pt x="173" y="456"/>
                  </a:lnTo>
                  <a:lnTo>
                    <a:pt x="166" y="456"/>
                  </a:lnTo>
                  <a:lnTo>
                    <a:pt x="166" y="467"/>
                  </a:lnTo>
                  <a:lnTo>
                    <a:pt x="163" y="475"/>
                  </a:lnTo>
                  <a:lnTo>
                    <a:pt x="158" y="481"/>
                  </a:lnTo>
                  <a:lnTo>
                    <a:pt x="153" y="486"/>
                  </a:lnTo>
                  <a:lnTo>
                    <a:pt x="146" y="490"/>
                  </a:lnTo>
                  <a:lnTo>
                    <a:pt x="139" y="493"/>
                  </a:lnTo>
                  <a:lnTo>
                    <a:pt x="131" y="494"/>
                  </a:lnTo>
                  <a:lnTo>
                    <a:pt x="122" y="496"/>
                  </a:lnTo>
                  <a:lnTo>
                    <a:pt x="102" y="498"/>
                  </a:lnTo>
                  <a:lnTo>
                    <a:pt x="83" y="501"/>
                  </a:lnTo>
                  <a:lnTo>
                    <a:pt x="73" y="504"/>
                  </a:lnTo>
                  <a:lnTo>
                    <a:pt x="64" y="507"/>
                  </a:lnTo>
                  <a:lnTo>
                    <a:pt x="55" y="512"/>
                  </a:lnTo>
                  <a:lnTo>
                    <a:pt x="46" y="518"/>
                  </a:lnTo>
                  <a:lnTo>
                    <a:pt x="46" y="514"/>
                  </a:lnTo>
                  <a:lnTo>
                    <a:pt x="45" y="510"/>
                  </a:lnTo>
                  <a:lnTo>
                    <a:pt x="43" y="506"/>
                  </a:lnTo>
                  <a:lnTo>
                    <a:pt x="40" y="501"/>
                  </a:lnTo>
                  <a:lnTo>
                    <a:pt x="38" y="497"/>
                  </a:lnTo>
                  <a:lnTo>
                    <a:pt x="36" y="492"/>
                  </a:lnTo>
                  <a:lnTo>
                    <a:pt x="34" y="487"/>
                  </a:lnTo>
                  <a:lnTo>
                    <a:pt x="33" y="481"/>
                  </a:lnTo>
                  <a:lnTo>
                    <a:pt x="33" y="468"/>
                  </a:lnTo>
                  <a:lnTo>
                    <a:pt x="31" y="456"/>
                  </a:lnTo>
                  <a:lnTo>
                    <a:pt x="29" y="445"/>
                  </a:lnTo>
                  <a:lnTo>
                    <a:pt x="26" y="436"/>
                  </a:lnTo>
                  <a:lnTo>
                    <a:pt x="17" y="418"/>
                  </a:lnTo>
                  <a:lnTo>
                    <a:pt x="7" y="401"/>
                  </a:lnTo>
                  <a:lnTo>
                    <a:pt x="0" y="358"/>
                  </a:lnTo>
                  <a:lnTo>
                    <a:pt x="113" y="332"/>
                  </a:lnTo>
                  <a:lnTo>
                    <a:pt x="194" y="185"/>
                  </a:lnTo>
                  <a:lnTo>
                    <a:pt x="166" y="136"/>
                  </a:lnTo>
                  <a:lnTo>
                    <a:pt x="20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979" name="Freeform 545"/>
            <p:cNvSpPr>
              <a:spLocks/>
            </p:cNvSpPr>
            <p:nvPr>
              <p:custDataLst>
                <p:tags r:id="rId371"/>
              </p:custDataLst>
            </p:nvPr>
          </p:nvSpPr>
          <p:spPr bwMode="auto">
            <a:xfrm>
              <a:off x="5612438" y="3207586"/>
              <a:ext cx="448547" cy="463249"/>
            </a:xfrm>
            <a:custGeom>
              <a:avLst/>
              <a:gdLst>
                <a:gd name="T0" fmla="*/ 100359 w 866"/>
                <a:gd name="T1" fmla="*/ 140751 h 740"/>
                <a:gd name="T2" fmla="*/ 106441 w 866"/>
                <a:gd name="T3" fmla="*/ 137623 h 740"/>
                <a:gd name="T4" fmla="*/ 118172 w 866"/>
                <a:gd name="T5" fmla="*/ 141794 h 740"/>
                <a:gd name="T6" fmla="*/ 284134 w 866"/>
                <a:gd name="T7" fmla="*/ 521 h 740"/>
                <a:gd name="T8" fmla="*/ 294995 w 866"/>
                <a:gd name="T9" fmla="*/ 3128 h 740"/>
                <a:gd name="T10" fmla="*/ 308897 w 866"/>
                <a:gd name="T11" fmla="*/ 10947 h 740"/>
                <a:gd name="T12" fmla="*/ 317152 w 866"/>
                <a:gd name="T13" fmla="*/ 18246 h 740"/>
                <a:gd name="T14" fmla="*/ 330186 w 866"/>
                <a:gd name="T15" fmla="*/ 29714 h 740"/>
                <a:gd name="T16" fmla="*/ 343654 w 866"/>
                <a:gd name="T17" fmla="*/ 30757 h 740"/>
                <a:gd name="T18" fmla="*/ 361032 w 866"/>
                <a:gd name="T19" fmla="*/ 22416 h 740"/>
                <a:gd name="T20" fmla="*/ 371025 w 866"/>
                <a:gd name="T21" fmla="*/ 86536 h 740"/>
                <a:gd name="T22" fmla="*/ 376238 w 866"/>
                <a:gd name="T23" fmla="*/ 106866 h 740"/>
                <a:gd name="T24" fmla="*/ 369287 w 866"/>
                <a:gd name="T25" fmla="*/ 156911 h 740"/>
                <a:gd name="T26" fmla="*/ 368418 w 866"/>
                <a:gd name="T27" fmla="*/ 196009 h 740"/>
                <a:gd name="T28" fmla="*/ 362335 w 866"/>
                <a:gd name="T29" fmla="*/ 219467 h 740"/>
                <a:gd name="T30" fmla="*/ 348433 w 866"/>
                <a:gd name="T31" fmla="*/ 243447 h 740"/>
                <a:gd name="T32" fmla="*/ 337572 w 866"/>
                <a:gd name="T33" fmla="*/ 260129 h 740"/>
                <a:gd name="T34" fmla="*/ 329317 w 866"/>
                <a:gd name="T35" fmla="*/ 295577 h 740"/>
                <a:gd name="T36" fmla="*/ 308897 w 866"/>
                <a:gd name="T37" fmla="*/ 327898 h 740"/>
                <a:gd name="T38" fmla="*/ 295429 w 866"/>
                <a:gd name="T39" fmla="*/ 336760 h 740"/>
                <a:gd name="T40" fmla="*/ 279789 w 866"/>
                <a:gd name="T41" fmla="*/ 332589 h 740"/>
                <a:gd name="T42" fmla="*/ 265452 w 866"/>
                <a:gd name="T43" fmla="*/ 325813 h 740"/>
                <a:gd name="T44" fmla="*/ 245902 w 866"/>
                <a:gd name="T45" fmla="*/ 329983 h 740"/>
                <a:gd name="T46" fmla="*/ 230261 w 866"/>
                <a:gd name="T47" fmla="*/ 343537 h 740"/>
                <a:gd name="T48" fmla="*/ 222006 w 866"/>
                <a:gd name="T49" fmla="*/ 354484 h 740"/>
                <a:gd name="T50" fmla="*/ 213317 w 866"/>
                <a:gd name="T51" fmla="*/ 356569 h 740"/>
                <a:gd name="T52" fmla="*/ 204194 w 866"/>
                <a:gd name="T53" fmla="*/ 348228 h 740"/>
                <a:gd name="T54" fmla="*/ 193767 w 866"/>
                <a:gd name="T55" fmla="*/ 333111 h 740"/>
                <a:gd name="T56" fmla="*/ 182906 w 866"/>
                <a:gd name="T57" fmla="*/ 331026 h 740"/>
                <a:gd name="T58" fmla="*/ 175954 w 866"/>
                <a:gd name="T59" fmla="*/ 337281 h 740"/>
                <a:gd name="T60" fmla="*/ 166831 w 866"/>
                <a:gd name="T61" fmla="*/ 339888 h 740"/>
                <a:gd name="T62" fmla="*/ 152059 w 866"/>
                <a:gd name="T63" fmla="*/ 332589 h 740"/>
                <a:gd name="T64" fmla="*/ 132943 w 866"/>
                <a:gd name="T65" fmla="*/ 316950 h 740"/>
                <a:gd name="T66" fmla="*/ 117737 w 866"/>
                <a:gd name="T67" fmla="*/ 314865 h 740"/>
                <a:gd name="T68" fmla="*/ 102966 w 866"/>
                <a:gd name="T69" fmla="*/ 323206 h 740"/>
                <a:gd name="T70" fmla="*/ 90801 w 866"/>
                <a:gd name="T71" fmla="*/ 340409 h 740"/>
                <a:gd name="T72" fmla="*/ 82546 w 866"/>
                <a:gd name="T73" fmla="*/ 360740 h 740"/>
                <a:gd name="T74" fmla="*/ 77333 w 866"/>
                <a:gd name="T75" fmla="*/ 374815 h 740"/>
                <a:gd name="T76" fmla="*/ 64734 w 866"/>
                <a:gd name="T77" fmla="*/ 365953 h 740"/>
                <a:gd name="T78" fmla="*/ 43445 w 866"/>
                <a:gd name="T79" fmla="*/ 385762 h 740"/>
                <a:gd name="T80" fmla="*/ 28674 w 866"/>
                <a:gd name="T81" fmla="*/ 364389 h 740"/>
                <a:gd name="T82" fmla="*/ 27805 w 866"/>
                <a:gd name="T83" fmla="*/ 335717 h 740"/>
                <a:gd name="T84" fmla="*/ 21723 w 866"/>
                <a:gd name="T85" fmla="*/ 319557 h 740"/>
                <a:gd name="T86" fmla="*/ 8689 w 866"/>
                <a:gd name="T87" fmla="*/ 306003 h 740"/>
                <a:gd name="T88" fmla="*/ 2172 w 866"/>
                <a:gd name="T89" fmla="*/ 290885 h 740"/>
                <a:gd name="T90" fmla="*/ 23026 w 866"/>
                <a:gd name="T91" fmla="*/ 276289 h 740"/>
                <a:gd name="T92" fmla="*/ 33019 w 866"/>
                <a:gd name="T93" fmla="*/ 270033 h 740"/>
                <a:gd name="T94" fmla="*/ 60389 w 866"/>
                <a:gd name="T95" fmla="*/ 265863 h 740"/>
                <a:gd name="T96" fmla="*/ 79071 w 866"/>
                <a:gd name="T97" fmla="*/ 260650 h 740"/>
                <a:gd name="T98" fmla="*/ 87325 w 866"/>
                <a:gd name="T99" fmla="*/ 247617 h 740"/>
                <a:gd name="T100" fmla="*/ 95146 w 866"/>
                <a:gd name="T101" fmla="*/ 221031 h 740"/>
                <a:gd name="T102" fmla="*/ 97318 w 866"/>
                <a:gd name="T103" fmla="*/ 191317 h 740"/>
                <a:gd name="T104" fmla="*/ 95146 w 866"/>
                <a:gd name="T105" fmla="*/ 166816 h 7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866" h="740">
                  <a:moveTo>
                    <a:pt x="219" y="283"/>
                  </a:moveTo>
                  <a:lnTo>
                    <a:pt x="223" y="278"/>
                  </a:lnTo>
                  <a:lnTo>
                    <a:pt x="227" y="273"/>
                  </a:lnTo>
                  <a:lnTo>
                    <a:pt x="231" y="270"/>
                  </a:lnTo>
                  <a:lnTo>
                    <a:pt x="234" y="267"/>
                  </a:lnTo>
                  <a:lnTo>
                    <a:pt x="238" y="266"/>
                  </a:lnTo>
                  <a:lnTo>
                    <a:pt x="242" y="264"/>
                  </a:lnTo>
                  <a:lnTo>
                    <a:pt x="245" y="264"/>
                  </a:lnTo>
                  <a:lnTo>
                    <a:pt x="250" y="264"/>
                  </a:lnTo>
                  <a:lnTo>
                    <a:pt x="256" y="265"/>
                  </a:lnTo>
                  <a:lnTo>
                    <a:pt x="264" y="268"/>
                  </a:lnTo>
                  <a:lnTo>
                    <a:pt x="272" y="272"/>
                  </a:lnTo>
                  <a:lnTo>
                    <a:pt x="279" y="277"/>
                  </a:lnTo>
                  <a:lnTo>
                    <a:pt x="645" y="6"/>
                  </a:lnTo>
                  <a:lnTo>
                    <a:pt x="649" y="3"/>
                  </a:lnTo>
                  <a:lnTo>
                    <a:pt x="654" y="1"/>
                  </a:lnTo>
                  <a:lnTo>
                    <a:pt x="658" y="0"/>
                  </a:lnTo>
                  <a:lnTo>
                    <a:pt x="663" y="0"/>
                  </a:lnTo>
                  <a:lnTo>
                    <a:pt x="671" y="2"/>
                  </a:lnTo>
                  <a:lnTo>
                    <a:pt x="679" y="6"/>
                  </a:lnTo>
                  <a:lnTo>
                    <a:pt x="689" y="11"/>
                  </a:lnTo>
                  <a:lnTo>
                    <a:pt x="699" y="17"/>
                  </a:lnTo>
                  <a:lnTo>
                    <a:pt x="704" y="19"/>
                  </a:lnTo>
                  <a:lnTo>
                    <a:pt x="711" y="21"/>
                  </a:lnTo>
                  <a:lnTo>
                    <a:pt x="717" y="23"/>
                  </a:lnTo>
                  <a:lnTo>
                    <a:pt x="724" y="25"/>
                  </a:lnTo>
                  <a:lnTo>
                    <a:pt x="726" y="30"/>
                  </a:lnTo>
                  <a:lnTo>
                    <a:pt x="730" y="35"/>
                  </a:lnTo>
                  <a:lnTo>
                    <a:pt x="736" y="42"/>
                  </a:lnTo>
                  <a:lnTo>
                    <a:pt x="744" y="47"/>
                  </a:lnTo>
                  <a:lnTo>
                    <a:pt x="752" y="53"/>
                  </a:lnTo>
                  <a:lnTo>
                    <a:pt x="760" y="57"/>
                  </a:lnTo>
                  <a:lnTo>
                    <a:pt x="769" y="60"/>
                  </a:lnTo>
                  <a:lnTo>
                    <a:pt x="778" y="61"/>
                  </a:lnTo>
                  <a:lnTo>
                    <a:pt x="784" y="60"/>
                  </a:lnTo>
                  <a:lnTo>
                    <a:pt x="791" y="59"/>
                  </a:lnTo>
                  <a:lnTo>
                    <a:pt x="798" y="57"/>
                  </a:lnTo>
                  <a:lnTo>
                    <a:pt x="804" y="54"/>
                  </a:lnTo>
                  <a:lnTo>
                    <a:pt x="816" y="48"/>
                  </a:lnTo>
                  <a:lnTo>
                    <a:pt x="831" y="43"/>
                  </a:lnTo>
                  <a:lnTo>
                    <a:pt x="824" y="122"/>
                  </a:lnTo>
                  <a:lnTo>
                    <a:pt x="836" y="140"/>
                  </a:lnTo>
                  <a:lnTo>
                    <a:pt x="846" y="154"/>
                  </a:lnTo>
                  <a:lnTo>
                    <a:pt x="854" y="166"/>
                  </a:lnTo>
                  <a:lnTo>
                    <a:pt x="859" y="177"/>
                  </a:lnTo>
                  <a:lnTo>
                    <a:pt x="862" y="188"/>
                  </a:lnTo>
                  <a:lnTo>
                    <a:pt x="865" y="197"/>
                  </a:lnTo>
                  <a:lnTo>
                    <a:pt x="866" y="205"/>
                  </a:lnTo>
                  <a:lnTo>
                    <a:pt x="865" y="211"/>
                  </a:lnTo>
                  <a:lnTo>
                    <a:pt x="857" y="234"/>
                  </a:lnTo>
                  <a:lnTo>
                    <a:pt x="850" y="259"/>
                  </a:lnTo>
                  <a:lnTo>
                    <a:pt x="850" y="301"/>
                  </a:lnTo>
                  <a:lnTo>
                    <a:pt x="850" y="334"/>
                  </a:lnTo>
                  <a:lnTo>
                    <a:pt x="850" y="350"/>
                  </a:lnTo>
                  <a:lnTo>
                    <a:pt x="849" y="364"/>
                  </a:lnTo>
                  <a:lnTo>
                    <a:pt x="848" y="376"/>
                  </a:lnTo>
                  <a:lnTo>
                    <a:pt x="846" y="388"/>
                  </a:lnTo>
                  <a:lnTo>
                    <a:pt x="843" y="399"/>
                  </a:lnTo>
                  <a:lnTo>
                    <a:pt x="839" y="411"/>
                  </a:lnTo>
                  <a:lnTo>
                    <a:pt x="834" y="421"/>
                  </a:lnTo>
                  <a:lnTo>
                    <a:pt x="828" y="432"/>
                  </a:lnTo>
                  <a:lnTo>
                    <a:pt x="821" y="443"/>
                  </a:lnTo>
                  <a:lnTo>
                    <a:pt x="813" y="454"/>
                  </a:lnTo>
                  <a:lnTo>
                    <a:pt x="802" y="467"/>
                  </a:lnTo>
                  <a:lnTo>
                    <a:pt x="791" y="480"/>
                  </a:lnTo>
                  <a:lnTo>
                    <a:pt x="786" y="486"/>
                  </a:lnTo>
                  <a:lnTo>
                    <a:pt x="781" y="493"/>
                  </a:lnTo>
                  <a:lnTo>
                    <a:pt x="777" y="499"/>
                  </a:lnTo>
                  <a:lnTo>
                    <a:pt x="773" y="506"/>
                  </a:lnTo>
                  <a:lnTo>
                    <a:pt x="768" y="522"/>
                  </a:lnTo>
                  <a:lnTo>
                    <a:pt x="764" y="537"/>
                  </a:lnTo>
                  <a:lnTo>
                    <a:pt x="758" y="567"/>
                  </a:lnTo>
                  <a:lnTo>
                    <a:pt x="755" y="593"/>
                  </a:lnTo>
                  <a:lnTo>
                    <a:pt x="731" y="585"/>
                  </a:lnTo>
                  <a:lnTo>
                    <a:pt x="698" y="591"/>
                  </a:lnTo>
                  <a:lnTo>
                    <a:pt x="711" y="629"/>
                  </a:lnTo>
                  <a:lnTo>
                    <a:pt x="719" y="636"/>
                  </a:lnTo>
                  <a:lnTo>
                    <a:pt x="704" y="641"/>
                  </a:lnTo>
                  <a:lnTo>
                    <a:pt x="692" y="645"/>
                  </a:lnTo>
                  <a:lnTo>
                    <a:pt x="680" y="646"/>
                  </a:lnTo>
                  <a:lnTo>
                    <a:pt x="670" y="646"/>
                  </a:lnTo>
                  <a:lnTo>
                    <a:pt x="661" y="644"/>
                  </a:lnTo>
                  <a:lnTo>
                    <a:pt x="653" y="641"/>
                  </a:lnTo>
                  <a:lnTo>
                    <a:pt x="644" y="638"/>
                  </a:lnTo>
                  <a:lnTo>
                    <a:pt x="636" y="634"/>
                  </a:lnTo>
                  <a:lnTo>
                    <a:pt x="629" y="631"/>
                  </a:lnTo>
                  <a:lnTo>
                    <a:pt x="620" y="628"/>
                  </a:lnTo>
                  <a:lnTo>
                    <a:pt x="611" y="625"/>
                  </a:lnTo>
                  <a:lnTo>
                    <a:pt x="601" y="624"/>
                  </a:lnTo>
                  <a:lnTo>
                    <a:pt x="591" y="625"/>
                  </a:lnTo>
                  <a:lnTo>
                    <a:pt x="579" y="628"/>
                  </a:lnTo>
                  <a:lnTo>
                    <a:pt x="566" y="633"/>
                  </a:lnTo>
                  <a:lnTo>
                    <a:pt x="552" y="641"/>
                  </a:lnTo>
                  <a:lnTo>
                    <a:pt x="543" y="646"/>
                  </a:lnTo>
                  <a:lnTo>
                    <a:pt x="536" y="652"/>
                  </a:lnTo>
                  <a:lnTo>
                    <a:pt x="530" y="659"/>
                  </a:lnTo>
                  <a:lnTo>
                    <a:pt x="525" y="666"/>
                  </a:lnTo>
                  <a:lnTo>
                    <a:pt x="520" y="673"/>
                  </a:lnTo>
                  <a:lnTo>
                    <a:pt x="514" y="678"/>
                  </a:lnTo>
                  <a:lnTo>
                    <a:pt x="511" y="680"/>
                  </a:lnTo>
                  <a:lnTo>
                    <a:pt x="508" y="683"/>
                  </a:lnTo>
                  <a:lnTo>
                    <a:pt x="503" y="684"/>
                  </a:lnTo>
                  <a:lnTo>
                    <a:pt x="499" y="684"/>
                  </a:lnTo>
                  <a:lnTo>
                    <a:pt x="491" y="684"/>
                  </a:lnTo>
                  <a:lnTo>
                    <a:pt x="486" y="682"/>
                  </a:lnTo>
                  <a:lnTo>
                    <a:pt x="481" y="679"/>
                  </a:lnTo>
                  <a:lnTo>
                    <a:pt x="477" y="676"/>
                  </a:lnTo>
                  <a:lnTo>
                    <a:pt x="470" y="668"/>
                  </a:lnTo>
                  <a:lnTo>
                    <a:pt x="465" y="659"/>
                  </a:lnTo>
                  <a:lnTo>
                    <a:pt x="458" y="650"/>
                  </a:lnTo>
                  <a:lnTo>
                    <a:pt x="451" y="642"/>
                  </a:lnTo>
                  <a:lnTo>
                    <a:pt x="446" y="639"/>
                  </a:lnTo>
                  <a:lnTo>
                    <a:pt x="441" y="637"/>
                  </a:lnTo>
                  <a:lnTo>
                    <a:pt x="433" y="635"/>
                  </a:lnTo>
                  <a:lnTo>
                    <a:pt x="425" y="635"/>
                  </a:lnTo>
                  <a:lnTo>
                    <a:pt x="421" y="635"/>
                  </a:lnTo>
                  <a:lnTo>
                    <a:pt x="417" y="638"/>
                  </a:lnTo>
                  <a:lnTo>
                    <a:pt x="412" y="640"/>
                  </a:lnTo>
                  <a:lnTo>
                    <a:pt x="409" y="644"/>
                  </a:lnTo>
                  <a:lnTo>
                    <a:pt x="405" y="647"/>
                  </a:lnTo>
                  <a:lnTo>
                    <a:pt x="401" y="650"/>
                  </a:lnTo>
                  <a:lnTo>
                    <a:pt x="397" y="652"/>
                  </a:lnTo>
                  <a:lnTo>
                    <a:pt x="392" y="653"/>
                  </a:lnTo>
                  <a:lnTo>
                    <a:pt x="384" y="652"/>
                  </a:lnTo>
                  <a:lnTo>
                    <a:pt x="376" y="651"/>
                  </a:lnTo>
                  <a:lnTo>
                    <a:pt x="369" y="648"/>
                  </a:lnTo>
                  <a:lnTo>
                    <a:pt x="363" y="645"/>
                  </a:lnTo>
                  <a:lnTo>
                    <a:pt x="350" y="638"/>
                  </a:lnTo>
                  <a:lnTo>
                    <a:pt x="339" y="629"/>
                  </a:lnTo>
                  <a:lnTo>
                    <a:pt x="327" y="619"/>
                  </a:lnTo>
                  <a:lnTo>
                    <a:pt x="312" y="611"/>
                  </a:lnTo>
                  <a:lnTo>
                    <a:pt x="306" y="608"/>
                  </a:lnTo>
                  <a:lnTo>
                    <a:pt x="297" y="606"/>
                  </a:lnTo>
                  <a:lnTo>
                    <a:pt x="289" y="604"/>
                  </a:lnTo>
                  <a:lnTo>
                    <a:pt x="279" y="603"/>
                  </a:lnTo>
                  <a:lnTo>
                    <a:pt x="271" y="604"/>
                  </a:lnTo>
                  <a:lnTo>
                    <a:pt x="262" y="606"/>
                  </a:lnTo>
                  <a:lnTo>
                    <a:pt x="253" y="610"/>
                  </a:lnTo>
                  <a:lnTo>
                    <a:pt x="245" y="615"/>
                  </a:lnTo>
                  <a:lnTo>
                    <a:pt x="237" y="620"/>
                  </a:lnTo>
                  <a:lnTo>
                    <a:pt x="229" y="628"/>
                  </a:lnTo>
                  <a:lnTo>
                    <a:pt x="222" y="636"/>
                  </a:lnTo>
                  <a:lnTo>
                    <a:pt x="216" y="644"/>
                  </a:lnTo>
                  <a:lnTo>
                    <a:pt x="209" y="653"/>
                  </a:lnTo>
                  <a:lnTo>
                    <a:pt x="204" y="662"/>
                  </a:lnTo>
                  <a:lnTo>
                    <a:pt x="198" y="671"/>
                  </a:lnTo>
                  <a:lnTo>
                    <a:pt x="194" y="682"/>
                  </a:lnTo>
                  <a:lnTo>
                    <a:pt x="190" y="692"/>
                  </a:lnTo>
                  <a:lnTo>
                    <a:pt x="188" y="702"/>
                  </a:lnTo>
                  <a:lnTo>
                    <a:pt x="187" y="711"/>
                  </a:lnTo>
                  <a:lnTo>
                    <a:pt x="186" y="720"/>
                  </a:lnTo>
                  <a:lnTo>
                    <a:pt x="178" y="719"/>
                  </a:lnTo>
                  <a:lnTo>
                    <a:pt x="172" y="717"/>
                  </a:lnTo>
                  <a:lnTo>
                    <a:pt x="164" y="712"/>
                  </a:lnTo>
                  <a:lnTo>
                    <a:pt x="156" y="708"/>
                  </a:lnTo>
                  <a:lnTo>
                    <a:pt x="149" y="702"/>
                  </a:lnTo>
                  <a:lnTo>
                    <a:pt x="141" y="697"/>
                  </a:lnTo>
                  <a:lnTo>
                    <a:pt x="134" y="693"/>
                  </a:lnTo>
                  <a:lnTo>
                    <a:pt x="127" y="690"/>
                  </a:lnTo>
                  <a:lnTo>
                    <a:pt x="100" y="740"/>
                  </a:lnTo>
                  <a:lnTo>
                    <a:pt x="73" y="740"/>
                  </a:lnTo>
                  <a:lnTo>
                    <a:pt x="70" y="725"/>
                  </a:lnTo>
                  <a:lnTo>
                    <a:pt x="67" y="712"/>
                  </a:lnTo>
                  <a:lnTo>
                    <a:pt x="66" y="699"/>
                  </a:lnTo>
                  <a:lnTo>
                    <a:pt x="66" y="686"/>
                  </a:lnTo>
                  <a:lnTo>
                    <a:pt x="66" y="672"/>
                  </a:lnTo>
                  <a:lnTo>
                    <a:pt x="66" y="658"/>
                  </a:lnTo>
                  <a:lnTo>
                    <a:pt x="64" y="644"/>
                  </a:lnTo>
                  <a:lnTo>
                    <a:pt x="60" y="629"/>
                  </a:lnTo>
                  <a:lnTo>
                    <a:pt x="58" y="622"/>
                  </a:lnTo>
                  <a:lnTo>
                    <a:pt x="53" y="618"/>
                  </a:lnTo>
                  <a:lnTo>
                    <a:pt x="50" y="613"/>
                  </a:lnTo>
                  <a:lnTo>
                    <a:pt x="46" y="609"/>
                  </a:lnTo>
                  <a:lnTo>
                    <a:pt x="36" y="601"/>
                  </a:lnTo>
                  <a:lnTo>
                    <a:pt x="25" y="592"/>
                  </a:lnTo>
                  <a:lnTo>
                    <a:pt x="20" y="587"/>
                  </a:lnTo>
                  <a:lnTo>
                    <a:pt x="16" y="581"/>
                  </a:lnTo>
                  <a:lnTo>
                    <a:pt x="11" y="575"/>
                  </a:lnTo>
                  <a:lnTo>
                    <a:pt x="8" y="566"/>
                  </a:lnTo>
                  <a:lnTo>
                    <a:pt x="5" y="558"/>
                  </a:lnTo>
                  <a:lnTo>
                    <a:pt x="3" y="548"/>
                  </a:lnTo>
                  <a:lnTo>
                    <a:pt x="0" y="537"/>
                  </a:lnTo>
                  <a:lnTo>
                    <a:pt x="0" y="524"/>
                  </a:lnTo>
                  <a:lnTo>
                    <a:pt x="53" y="530"/>
                  </a:lnTo>
                  <a:lnTo>
                    <a:pt x="59" y="526"/>
                  </a:lnTo>
                  <a:lnTo>
                    <a:pt x="64" y="522"/>
                  </a:lnTo>
                  <a:lnTo>
                    <a:pt x="71" y="520"/>
                  </a:lnTo>
                  <a:lnTo>
                    <a:pt x="76" y="518"/>
                  </a:lnTo>
                  <a:lnTo>
                    <a:pt x="91" y="514"/>
                  </a:lnTo>
                  <a:lnTo>
                    <a:pt x="106" y="512"/>
                  </a:lnTo>
                  <a:lnTo>
                    <a:pt x="121" y="511"/>
                  </a:lnTo>
                  <a:lnTo>
                    <a:pt x="139" y="510"/>
                  </a:lnTo>
                  <a:lnTo>
                    <a:pt x="155" y="508"/>
                  </a:lnTo>
                  <a:lnTo>
                    <a:pt x="173" y="505"/>
                  </a:lnTo>
                  <a:lnTo>
                    <a:pt x="177" y="503"/>
                  </a:lnTo>
                  <a:lnTo>
                    <a:pt x="182" y="500"/>
                  </a:lnTo>
                  <a:lnTo>
                    <a:pt x="185" y="497"/>
                  </a:lnTo>
                  <a:lnTo>
                    <a:pt x="189" y="494"/>
                  </a:lnTo>
                  <a:lnTo>
                    <a:pt x="196" y="485"/>
                  </a:lnTo>
                  <a:lnTo>
                    <a:pt x="201" y="475"/>
                  </a:lnTo>
                  <a:lnTo>
                    <a:pt x="207" y="464"/>
                  </a:lnTo>
                  <a:lnTo>
                    <a:pt x="211" y="451"/>
                  </a:lnTo>
                  <a:lnTo>
                    <a:pt x="216" y="438"/>
                  </a:lnTo>
                  <a:lnTo>
                    <a:pt x="219" y="424"/>
                  </a:lnTo>
                  <a:lnTo>
                    <a:pt x="221" y="410"/>
                  </a:lnTo>
                  <a:lnTo>
                    <a:pt x="223" y="395"/>
                  </a:lnTo>
                  <a:lnTo>
                    <a:pt x="224" y="381"/>
                  </a:lnTo>
                  <a:lnTo>
                    <a:pt x="224" y="367"/>
                  </a:lnTo>
                  <a:lnTo>
                    <a:pt x="224" y="354"/>
                  </a:lnTo>
                  <a:lnTo>
                    <a:pt x="223" y="341"/>
                  </a:lnTo>
                  <a:lnTo>
                    <a:pt x="221" y="330"/>
                  </a:lnTo>
                  <a:lnTo>
                    <a:pt x="219" y="320"/>
                  </a:lnTo>
                  <a:lnTo>
                    <a:pt x="219" y="28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980" name="Freeform 546"/>
            <p:cNvSpPr>
              <a:spLocks/>
            </p:cNvSpPr>
            <p:nvPr>
              <p:custDataLst>
                <p:tags r:id="rId372"/>
              </p:custDataLst>
            </p:nvPr>
          </p:nvSpPr>
          <p:spPr bwMode="auto">
            <a:xfrm>
              <a:off x="5218777" y="2748148"/>
              <a:ext cx="357702" cy="312646"/>
            </a:xfrm>
            <a:custGeom>
              <a:avLst/>
              <a:gdLst>
                <a:gd name="T0" fmla="*/ 278945 w 697"/>
                <a:gd name="T1" fmla="*/ 27597 h 500"/>
                <a:gd name="T2" fmla="*/ 282819 w 697"/>
                <a:gd name="T3" fmla="*/ 83833 h 500"/>
                <a:gd name="T4" fmla="*/ 284541 w 697"/>
                <a:gd name="T5" fmla="*/ 86957 h 500"/>
                <a:gd name="T6" fmla="*/ 291429 w 697"/>
                <a:gd name="T7" fmla="*/ 92164 h 500"/>
                <a:gd name="T8" fmla="*/ 298747 w 697"/>
                <a:gd name="T9" fmla="*/ 98412 h 500"/>
                <a:gd name="T10" fmla="*/ 300038 w 697"/>
                <a:gd name="T11" fmla="*/ 103099 h 500"/>
                <a:gd name="T12" fmla="*/ 298747 w 697"/>
                <a:gd name="T13" fmla="*/ 109868 h 500"/>
                <a:gd name="T14" fmla="*/ 294872 w 697"/>
                <a:gd name="T15" fmla="*/ 112992 h 500"/>
                <a:gd name="T16" fmla="*/ 281958 w 697"/>
                <a:gd name="T17" fmla="*/ 113513 h 500"/>
                <a:gd name="T18" fmla="*/ 260435 w 697"/>
                <a:gd name="T19" fmla="*/ 118720 h 500"/>
                <a:gd name="T20" fmla="*/ 244077 w 697"/>
                <a:gd name="T21" fmla="*/ 130175 h 500"/>
                <a:gd name="T22" fmla="*/ 236328 w 697"/>
                <a:gd name="T23" fmla="*/ 139027 h 500"/>
                <a:gd name="T24" fmla="*/ 232024 w 697"/>
                <a:gd name="T25" fmla="*/ 149962 h 500"/>
                <a:gd name="T26" fmla="*/ 224275 w 697"/>
                <a:gd name="T27" fmla="*/ 157251 h 500"/>
                <a:gd name="T28" fmla="*/ 211361 w 697"/>
                <a:gd name="T29" fmla="*/ 168707 h 500"/>
                <a:gd name="T30" fmla="*/ 195864 w 697"/>
                <a:gd name="T31" fmla="*/ 183286 h 500"/>
                <a:gd name="T32" fmla="*/ 180798 w 697"/>
                <a:gd name="T33" fmla="*/ 192659 h 500"/>
                <a:gd name="T34" fmla="*/ 160135 w 697"/>
                <a:gd name="T35" fmla="*/ 196304 h 500"/>
                <a:gd name="T36" fmla="*/ 148082 w 697"/>
                <a:gd name="T37" fmla="*/ 197866 h 500"/>
                <a:gd name="T38" fmla="*/ 136029 w 697"/>
                <a:gd name="T39" fmla="*/ 206197 h 500"/>
                <a:gd name="T40" fmla="*/ 124836 w 697"/>
                <a:gd name="T41" fmla="*/ 217132 h 500"/>
                <a:gd name="T42" fmla="*/ 114075 w 697"/>
                <a:gd name="T43" fmla="*/ 221818 h 500"/>
                <a:gd name="T44" fmla="*/ 2152 w 697"/>
                <a:gd name="T45" fmla="*/ 258267 h 500"/>
                <a:gd name="T46" fmla="*/ 13775 w 697"/>
                <a:gd name="T47" fmla="*/ 253581 h 500"/>
                <a:gd name="T48" fmla="*/ 36590 w 697"/>
                <a:gd name="T49" fmla="*/ 246291 h 500"/>
                <a:gd name="T50" fmla="*/ 40034 w 697"/>
                <a:gd name="T51" fmla="*/ 239001 h 500"/>
                <a:gd name="T52" fmla="*/ 42617 w 697"/>
                <a:gd name="T53" fmla="*/ 228067 h 500"/>
                <a:gd name="T54" fmla="*/ 51226 w 697"/>
                <a:gd name="T55" fmla="*/ 219735 h 500"/>
                <a:gd name="T56" fmla="*/ 68875 w 697"/>
                <a:gd name="T57" fmla="*/ 207759 h 500"/>
                <a:gd name="T58" fmla="*/ 77915 w 697"/>
                <a:gd name="T59" fmla="*/ 198907 h 500"/>
                <a:gd name="T60" fmla="*/ 82650 w 697"/>
                <a:gd name="T61" fmla="*/ 185890 h 500"/>
                <a:gd name="T62" fmla="*/ 83081 w 697"/>
                <a:gd name="T63" fmla="*/ 164541 h 500"/>
                <a:gd name="T64" fmla="*/ 83942 w 697"/>
                <a:gd name="T65" fmla="*/ 132258 h 500"/>
                <a:gd name="T66" fmla="*/ 82650 w 697"/>
                <a:gd name="T67" fmla="*/ 99974 h 500"/>
                <a:gd name="T68" fmla="*/ 92121 w 697"/>
                <a:gd name="T69" fmla="*/ 98412 h 500"/>
                <a:gd name="T70" fmla="*/ 98147 w 697"/>
                <a:gd name="T71" fmla="*/ 93205 h 500"/>
                <a:gd name="T72" fmla="*/ 103743 w 697"/>
                <a:gd name="T73" fmla="*/ 85916 h 500"/>
                <a:gd name="T74" fmla="*/ 108479 w 697"/>
                <a:gd name="T75" fmla="*/ 79146 h 500"/>
                <a:gd name="T76" fmla="*/ 120962 w 697"/>
                <a:gd name="T77" fmla="*/ 76022 h 500"/>
                <a:gd name="T78" fmla="*/ 135168 w 697"/>
                <a:gd name="T79" fmla="*/ 74460 h 500"/>
                <a:gd name="T80" fmla="*/ 146360 w 697"/>
                <a:gd name="T81" fmla="*/ 68212 h 500"/>
                <a:gd name="T82" fmla="*/ 154969 w 697"/>
                <a:gd name="T83" fmla="*/ 56236 h 500"/>
                <a:gd name="T84" fmla="*/ 167023 w 697"/>
                <a:gd name="T85" fmla="*/ 24994 h 500"/>
                <a:gd name="T86" fmla="*/ 175202 w 697"/>
                <a:gd name="T87" fmla="*/ 6248 h 500"/>
                <a:gd name="T88" fmla="*/ 183380 w 697"/>
                <a:gd name="T89" fmla="*/ 4166 h 500"/>
                <a:gd name="T90" fmla="*/ 193281 w 697"/>
                <a:gd name="T91" fmla="*/ 10414 h 500"/>
                <a:gd name="T92" fmla="*/ 220401 w 697"/>
                <a:gd name="T93" fmla="*/ 9373 h 500"/>
                <a:gd name="T94" fmla="*/ 253978 w 697"/>
                <a:gd name="T95" fmla="*/ 6769 h 500"/>
                <a:gd name="T96" fmla="*/ 256991 w 697"/>
                <a:gd name="T97" fmla="*/ 8852 h 500"/>
                <a:gd name="T98" fmla="*/ 260435 w 697"/>
                <a:gd name="T99" fmla="*/ 18745 h 500"/>
                <a:gd name="T100" fmla="*/ 263018 w 697"/>
                <a:gd name="T101" fmla="*/ 26556 h 500"/>
                <a:gd name="T102" fmla="*/ 266031 w 697"/>
                <a:gd name="T103" fmla="*/ 26035 h 50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697" h="500">
                  <a:moveTo>
                    <a:pt x="631" y="50"/>
                  </a:moveTo>
                  <a:lnTo>
                    <a:pt x="635" y="51"/>
                  </a:lnTo>
                  <a:lnTo>
                    <a:pt x="648" y="53"/>
                  </a:lnTo>
                  <a:lnTo>
                    <a:pt x="659" y="55"/>
                  </a:lnTo>
                  <a:lnTo>
                    <a:pt x="664" y="56"/>
                  </a:lnTo>
                  <a:lnTo>
                    <a:pt x="657" y="161"/>
                  </a:lnTo>
                  <a:lnTo>
                    <a:pt x="657" y="163"/>
                  </a:lnTo>
                  <a:lnTo>
                    <a:pt x="659" y="165"/>
                  </a:lnTo>
                  <a:lnTo>
                    <a:pt x="661" y="167"/>
                  </a:lnTo>
                  <a:lnTo>
                    <a:pt x="664" y="169"/>
                  </a:lnTo>
                  <a:lnTo>
                    <a:pt x="669" y="173"/>
                  </a:lnTo>
                  <a:lnTo>
                    <a:pt x="677" y="177"/>
                  </a:lnTo>
                  <a:lnTo>
                    <a:pt x="685" y="181"/>
                  </a:lnTo>
                  <a:lnTo>
                    <a:pt x="691" y="185"/>
                  </a:lnTo>
                  <a:lnTo>
                    <a:pt x="694" y="189"/>
                  </a:lnTo>
                  <a:lnTo>
                    <a:pt x="696" y="192"/>
                  </a:lnTo>
                  <a:lnTo>
                    <a:pt x="697" y="195"/>
                  </a:lnTo>
                  <a:lnTo>
                    <a:pt x="697" y="198"/>
                  </a:lnTo>
                  <a:lnTo>
                    <a:pt x="697" y="203"/>
                  </a:lnTo>
                  <a:lnTo>
                    <a:pt x="696" y="208"/>
                  </a:lnTo>
                  <a:lnTo>
                    <a:pt x="694" y="211"/>
                  </a:lnTo>
                  <a:lnTo>
                    <a:pt x="691" y="214"/>
                  </a:lnTo>
                  <a:lnTo>
                    <a:pt x="688" y="216"/>
                  </a:lnTo>
                  <a:lnTo>
                    <a:pt x="685" y="217"/>
                  </a:lnTo>
                  <a:lnTo>
                    <a:pt x="680" y="218"/>
                  </a:lnTo>
                  <a:lnTo>
                    <a:pt x="676" y="219"/>
                  </a:lnTo>
                  <a:lnTo>
                    <a:pt x="655" y="218"/>
                  </a:lnTo>
                  <a:lnTo>
                    <a:pt x="631" y="216"/>
                  </a:lnTo>
                  <a:lnTo>
                    <a:pt x="619" y="221"/>
                  </a:lnTo>
                  <a:lnTo>
                    <a:pt x="605" y="228"/>
                  </a:lnTo>
                  <a:lnTo>
                    <a:pt x="589" y="235"/>
                  </a:lnTo>
                  <a:lnTo>
                    <a:pt x="574" y="245"/>
                  </a:lnTo>
                  <a:lnTo>
                    <a:pt x="567" y="250"/>
                  </a:lnTo>
                  <a:lnTo>
                    <a:pt x="560" y="256"/>
                  </a:lnTo>
                  <a:lnTo>
                    <a:pt x="554" y="261"/>
                  </a:lnTo>
                  <a:lnTo>
                    <a:pt x="549" y="267"/>
                  </a:lnTo>
                  <a:lnTo>
                    <a:pt x="544" y="274"/>
                  </a:lnTo>
                  <a:lnTo>
                    <a:pt x="541" y="281"/>
                  </a:lnTo>
                  <a:lnTo>
                    <a:pt x="539" y="288"/>
                  </a:lnTo>
                  <a:lnTo>
                    <a:pt x="538" y="296"/>
                  </a:lnTo>
                  <a:lnTo>
                    <a:pt x="529" y="299"/>
                  </a:lnTo>
                  <a:lnTo>
                    <a:pt x="521" y="302"/>
                  </a:lnTo>
                  <a:lnTo>
                    <a:pt x="514" y="306"/>
                  </a:lnTo>
                  <a:lnTo>
                    <a:pt x="506" y="312"/>
                  </a:lnTo>
                  <a:lnTo>
                    <a:pt x="491" y="324"/>
                  </a:lnTo>
                  <a:lnTo>
                    <a:pt x="475" y="339"/>
                  </a:lnTo>
                  <a:lnTo>
                    <a:pt x="465" y="346"/>
                  </a:lnTo>
                  <a:lnTo>
                    <a:pt x="455" y="352"/>
                  </a:lnTo>
                  <a:lnTo>
                    <a:pt x="445" y="360"/>
                  </a:lnTo>
                  <a:lnTo>
                    <a:pt x="433" y="365"/>
                  </a:lnTo>
                  <a:lnTo>
                    <a:pt x="420" y="370"/>
                  </a:lnTo>
                  <a:lnTo>
                    <a:pt x="406" y="373"/>
                  </a:lnTo>
                  <a:lnTo>
                    <a:pt x="389" y="376"/>
                  </a:lnTo>
                  <a:lnTo>
                    <a:pt x="372" y="377"/>
                  </a:lnTo>
                  <a:lnTo>
                    <a:pt x="361" y="377"/>
                  </a:lnTo>
                  <a:lnTo>
                    <a:pt x="352" y="378"/>
                  </a:lnTo>
                  <a:lnTo>
                    <a:pt x="344" y="380"/>
                  </a:lnTo>
                  <a:lnTo>
                    <a:pt x="337" y="382"/>
                  </a:lnTo>
                  <a:lnTo>
                    <a:pt x="326" y="389"/>
                  </a:lnTo>
                  <a:lnTo>
                    <a:pt x="316" y="396"/>
                  </a:lnTo>
                  <a:lnTo>
                    <a:pt x="306" y="404"/>
                  </a:lnTo>
                  <a:lnTo>
                    <a:pt x="296" y="413"/>
                  </a:lnTo>
                  <a:lnTo>
                    <a:pt x="290" y="417"/>
                  </a:lnTo>
                  <a:lnTo>
                    <a:pt x="283" y="420"/>
                  </a:lnTo>
                  <a:lnTo>
                    <a:pt x="274" y="423"/>
                  </a:lnTo>
                  <a:lnTo>
                    <a:pt x="265" y="426"/>
                  </a:lnTo>
                  <a:lnTo>
                    <a:pt x="272" y="494"/>
                  </a:lnTo>
                  <a:lnTo>
                    <a:pt x="0" y="500"/>
                  </a:lnTo>
                  <a:lnTo>
                    <a:pt x="5" y="496"/>
                  </a:lnTo>
                  <a:lnTo>
                    <a:pt x="13" y="492"/>
                  </a:lnTo>
                  <a:lnTo>
                    <a:pt x="22" y="490"/>
                  </a:lnTo>
                  <a:lnTo>
                    <a:pt x="32" y="487"/>
                  </a:lnTo>
                  <a:lnTo>
                    <a:pt x="55" y="483"/>
                  </a:lnTo>
                  <a:lnTo>
                    <a:pt x="80" y="475"/>
                  </a:lnTo>
                  <a:lnTo>
                    <a:pt x="85" y="473"/>
                  </a:lnTo>
                  <a:lnTo>
                    <a:pt x="90" y="469"/>
                  </a:lnTo>
                  <a:lnTo>
                    <a:pt x="92" y="465"/>
                  </a:lnTo>
                  <a:lnTo>
                    <a:pt x="93" y="459"/>
                  </a:lnTo>
                  <a:lnTo>
                    <a:pt x="93" y="451"/>
                  </a:lnTo>
                  <a:lnTo>
                    <a:pt x="93" y="444"/>
                  </a:lnTo>
                  <a:lnTo>
                    <a:pt x="99" y="438"/>
                  </a:lnTo>
                  <a:lnTo>
                    <a:pt x="104" y="432"/>
                  </a:lnTo>
                  <a:lnTo>
                    <a:pt x="112" y="427"/>
                  </a:lnTo>
                  <a:lnTo>
                    <a:pt x="119" y="422"/>
                  </a:lnTo>
                  <a:lnTo>
                    <a:pt x="136" y="414"/>
                  </a:lnTo>
                  <a:lnTo>
                    <a:pt x="152" y="404"/>
                  </a:lnTo>
                  <a:lnTo>
                    <a:pt x="160" y="399"/>
                  </a:lnTo>
                  <a:lnTo>
                    <a:pt x="168" y="394"/>
                  </a:lnTo>
                  <a:lnTo>
                    <a:pt x="174" y="388"/>
                  </a:lnTo>
                  <a:lnTo>
                    <a:pt x="181" y="382"/>
                  </a:lnTo>
                  <a:lnTo>
                    <a:pt x="185" y="375"/>
                  </a:lnTo>
                  <a:lnTo>
                    <a:pt x="189" y="366"/>
                  </a:lnTo>
                  <a:lnTo>
                    <a:pt x="192" y="357"/>
                  </a:lnTo>
                  <a:lnTo>
                    <a:pt x="192" y="345"/>
                  </a:lnTo>
                  <a:lnTo>
                    <a:pt x="193" y="332"/>
                  </a:lnTo>
                  <a:lnTo>
                    <a:pt x="193" y="316"/>
                  </a:lnTo>
                  <a:lnTo>
                    <a:pt x="194" y="296"/>
                  </a:lnTo>
                  <a:lnTo>
                    <a:pt x="195" y="275"/>
                  </a:lnTo>
                  <a:lnTo>
                    <a:pt x="195" y="254"/>
                  </a:lnTo>
                  <a:lnTo>
                    <a:pt x="195" y="232"/>
                  </a:lnTo>
                  <a:lnTo>
                    <a:pt x="194" y="211"/>
                  </a:lnTo>
                  <a:lnTo>
                    <a:pt x="192" y="192"/>
                  </a:lnTo>
                  <a:lnTo>
                    <a:pt x="201" y="192"/>
                  </a:lnTo>
                  <a:lnTo>
                    <a:pt x="207" y="190"/>
                  </a:lnTo>
                  <a:lnTo>
                    <a:pt x="214" y="189"/>
                  </a:lnTo>
                  <a:lnTo>
                    <a:pt x="219" y="185"/>
                  </a:lnTo>
                  <a:lnTo>
                    <a:pt x="224" y="182"/>
                  </a:lnTo>
                  <a:lnTo>
                    <a:pt x="228" y="179"/>
                  </a:lnTo>
                  <a:lnTo>
                    <a:pt x="232" y="176"/>
                  </a:lnTo>
                  <a:lnTo>
                    <a:pt x="236" y="172"/>
                  </a:lnTo>
                  <a:lnTo>
                    <a:pt x="241" y="165"/>
                  </a:lnTo>
                  <a:lnTo>
                    <a:pt x="247" y="158"/>
                  </a:lnTo>
                  <a:lnTo>
                    <a:pt x="249" y="155"/>
                  </a:lnTo>
                  <a:lnTo>
                    <a:pt x="252" y="152"/>
                  </a:lnTo>
                  <a:lnTo>
                    <a:pt x="256" y="150"/>
                  </a:lnTo>
                  <a:lnTo>
                    <a:pt x="259" y="149"/>
                  </a:lnTo>
                  <a:lnTo>
                    <a:pt x="281" y="146"/>
                  </a:lnTo>
                  <a:lnTo>
                    <a:pt x="297" y="145"/>
                  </a:lnTo>
                  <a:lnTo>
                    <a:pt x="306" y="144"/>
                  </a:lnTo>
                  <a:lnTo>
                    <a:pt x="314" y="143"/>
                  </a:lnTo>
                  <a:lnTo>
                    <a:pt x="323" y="140"/>
                  </a:lnTo>
                  <a:lnTo>
                    <a:pt x="331" y="137"/>
                  </a:lnTo>
                  <a:lnTo>
                    <a:pt x="340" y="131"/>
                  </a:lnTo>
                  <a:lnTo>
                    <a:pt x="348" y="124"/>
                  </a:lnTo>
                  <a:lnTo>
                    <a:pt x="354" y="116"/>
                  </a:lnTo>
                  <a:lnTo>
                    <a:pt x="360" y="108"/>
                  </a:lnTo>
                  <a:lnTo>
                    <a:pt x="371" y="89"/>
                  </a:lnTo>
                  <a:lnTo>
                    <a:pt x="380" y="68"/>
                  </a:lnTo>
                  <a:lnTo>
                    <a:pt x="388" y="48"/>
                  </a:lnTo>
                  <a:lnTo>
                    <a:pt x="397" y="29"/>
                  </a:lnTo>
                  <a:lnTo>
                    <a:pt x="402" y="21"/>
                  </a:lnTo>
                  <a:lnTo>
                    <a:pt x="407" y="12"/>
                  </a:lnTo>
                  <a:lnTo>
                    <a:pt x="413" y="6"/>
                  </a:lnTo>
                  <a:lnTo>
                    <a:pt x="418" y="0"/>
                  </a:lnTo>
                  <a:lnTo>
                    <a:pt x="426" y="8"/>
                  </a:lnTo>
                  <a:lnTo>
                    <a:pt x="433" y="14"/>
                  </a:lnTo>
                  <a:lnTo>
                    <a:pt x="441" y="17"/>
                  </a:lnTo>
                  <a:lnTo>
                    <a:pt x="449" y="20"/>
                  </a:lnTo>
                  <a:lnTo>
                    <a:pt x="465" y="20"/>
                  </a:lnTo>
                  <a:lnTo>
                    <a:pt x="485" y="20"/>
                  </a:lnTo>
                  <a:lnTo>
                    <a:pt x="512" y="18"/>
                  </a:lnTo>
                  <a:lnTo>
                    <a:pt x="543" y="16"/>
                  </a:lnTo>
                  <a:lnTo>
                    <a:pt x="571" y="14"/>
                  </a:lnTo>
                  <a:lnTo>
                    <a:pt x="590" y="13"/>
                  </a:lnTo>
                  <a:lnTo>
                    <a:pt x="594" y="13"/>
                  </a:lnTo>
                  <a:lnTo>
                    <a:pt x="595" y="15"/>
                  </a:lnTo>
                  <a:lnTo>
                    <a:pt x="597" y="17"/>
                  </a:lnTo>
                  <a:lnTo>
                    <a:pt x="599" y="21"/>
                  </a:lnTo>
                  <a:lnTo>
                    <a:pt x="601" y="28"/>
                  </a:lnTo>
                  <a:lnTo>
                    <a:pt x="605" y="36"/>
                  </a:lnTo>
                  <a:lnTo>
                    <a:pt x="607" y="44"/>
                  </a:lnTo>
                  <a:lnTo>
                    <a:pt x="609" y="49"/>
                  </a:lnTo>
                  <a:lnTo>
                    <a:pt x="611" y="51"/>
                  </a:lnTo>
                  <a:lnTo>
                    <a:pt x="613" y="52"/>
                  </a:lnTo>
                  <a:lnTo>
                    <a:pt x="615" y="51"/>
                  </a:lnTo>
                  <a:lnTo>
                    <a:pt x="618" y="50"/>
                  </a:lnTo>
                  <a:lnTo>
                    <a:pt x="631" y="5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981" name="Freeform 547"/>
            <p:cNvSpPr>
              <a:spLocks/>
            </p:cNvSpPr>
            <p:nvPr>
              <p:custDataLst>
                <p:tags r:id="rId373"/>
              </p:custDataLst>
            </p:nvPr>
          </p:nvSpPr>
          <p:spPr bwMode="auto">
            <a:xfrm>
              <a:off x="6053416" y="1463251"/>
              <a:ext cx="281997" cy="110570"/>
            </a:xfrm>
            <a:custGeom>
              <a:avLst/>
              <a:gdLst>
                <a:gd name="T0" fmla="*/ 32058 w 546"/>
                <a:gd name="T1" fmla="*/ 10112 h 173"/>
                <a:gd name="T2" fmla="*/ 40722 w 546"/>
                <a:gd name="T3" fmla="*/ 18096 h 173"/>
                <a:gd name="T4" fmla="*/ 47654 w 546"/>
                <a:gd name="T5" fmla="*/ 14370 h 173"/>
                <a:gd name="T6" fmla="*/ 57185 w 546"/>
                <a:gd name="T7" fmla="*/ 14370 h 173"/>
                <a:gd name="T8" fmla="*/ 69748 w 546"/>
                <a:gd name="T9" fmla="*/ 23418 h 173"/>
                <a:gd name="T10" fmla="*/ 90543 w 546"/>
                <a:gd name="T11" fmla="*/ 10112 h 173"/>
                <a:gd name="T12" fmla="*/ 105272 w 546"/>
                <a:gd name="T13" fmla="*/ 10112 h 173"/>
                <a:gd name="T14" fmla="*/ 112637 w 546"/>
                <a:gd name="T15" fmla="*/ 8516 h 173"/>
                <a:gd name="T16" fmla="*/ 116536 w 546"/>
                <a:gd name="T17" fmla="*/ 7451 h 173"/>
                <a:gd name="T18" fmla="*/ 120868 w 546"/>
                <a:gd name="T19" fmla="*/ 5854 h 173"/>
                <a:gd name="T20" fmla="*/ 123900 w 546"/>
                <a:gd name="T21" fmla="*/ 1597 h 173"/>
                <a:gd name="T22" fmla="*/ 139063 w 546"/>
                <a:gd name="T23" fmla="*/ 2661 h 173"/>
                <a:gd name="T24" fmla="*/ 144262 w 546"/>
                <a:gd name="T25" fmla="*/ 6387 h 173"/>
                <a:gd name="T26" fmla="*/ 150760 w 546"/>
                <a:gd name="T27" fmla="*/ 3726 h 173"/>
                <a:gd name="T28" fmla="*/ 152926 w 546"/>
                <a:gd name="T29" fmla="*/ 0 h 173"/>
                <a:gd name="T30" fmla="*/ 158991 w 546"/>
                <a:gd name="T31" fmla="*/ 3726 h 173"/>
                <a:gd name="T32" fmla="*/ 168522 w 546"/>
                <a:gd name="T33" fmla="*/ 3726 h 173"/>
                <a:gd name="T34" fmla="*/ 188883 w 546"/>
                <a:gd name="T35" fmla="*/ 532 h 173"/>
                <a:gd name="T36" fmla="*/ 208811 w 546"/>
                <a:gd name="T37" fmla="*/ 3193 h 173"/>
                <a:gd name="T38" fmla="*/ 228739 w 546"/>
                <a:gd name="T39" fmla="*/ 6387 h 173"/>
                <a:gd name="T40" fmla="*/ 236104 w 546"/>
                <a:gd name="T41" fmla="*/ 26079 h 173"/>
                <a:gd name="T42" fmla="*/ 232638 w 546"/>
                <a:gd name="T43" fmla="*/ 31934 h 173"/>
                <a:gd name="T44" fmla="*/ 222241 w 546"/>
                <a:gd name="T45" fmla="*/ 32998 h 173"/>
                <a:gd name="T46" fmla="*/ 209244 w 546"/>
                <a:gd name="T47" fmla="*/ 28740 h 173"/>
                <a:gd name="T48" fmla="*/ 178919 w 546"/>
                <a:gd name="T49" fmla="*/ 23418 h 173"/>
                <a:gd name="T50" fmla="*/ 189749 w 546"/>
                <a:gd name="T51" fmla="*/ 43110 h 173"/>
                <a:gd name="T52" fmla="*/ 204046 w 546"/>
                <a:gd name="T53" fmla="*/ 54287 h 173"/>
                <a:gd name="T54" fmla="*/ 213576 w 546"/>
                <a:gd name="T55" fmla="*/ 63335 h 173"/>
                <a:gd name="T56" fmla="*/ 205779 w 546"/>
                <a:gd name="T57" fmla="*/ 72383 h 173"/>
                <a:gd name="T58" fmla="*/ 194515 w 546"/>
                <a:gd name="T59" fmla="*/ 75576 h 173"/>
                <a:gd name="T60" fmla="*/ 184551 w 546"/>
                <a:gd name="T61" fmla="*/ 75044 h 173"/>
                <a:gd name="T62" fmla="*/ 178486 w 546"/>
                <a:gd name="T63" fmla="*/ 71318 h 173"/>
                <a:gd name="T64" fmla="*/ 172854 w 546"/>
                <a:gd name="T65" fmla="*/ 69189 h 173"/>
                <a:gd name="T66" fmla="*/ 166789 w 546"/>
                <a:gd name="T67" fmla="*/ 64399 h 173"/>
                <a:gd name="T68" fmla="*/ 162457 w 546"/>
                <a:gd name="T69" fmla="*/ 55351 h 173"/>
                <a:gd name="T70" fmla="*/ 158125 w 546"/>
                <a:gd name="T71" fmla="*/ 48965 h 173"/>
                <a:gd name="T72" fmla="*/ 149027 w 546"/>
                <a:gd name="T73" fmla="*/ 44707 h 173"/>
                <a:gd name="T74" fmla="*/ 140796 w 546"/>
                <a:gd name="T75" fmla="*/ 40449 h 173"/>
                <a:gd name="T76" fmla="*/ 131265 w 546"/>
                <a:gd name="T77" fmla="*/ 46304 h 173"/>
                <a:gd name="T78" fmla="*/ 111770 w 546"/>
                <a:gd name="T79" fmla="*/ 71318 h 173"/>
                <a:gd name="T80" fmla="*/ 102239 w 546"/>
                <a:gd name="T81" fmla="*/ 86753 h 173"/>
                <a:gd name="T82" fmla="*/ 95308 w 546"/>
                <a:gd name="T83" fmla="*/ 91543 h 173"/>
                <a:gd name="T84" fmla="*/ 81445 w 546"/>
                <a:gd name="T85" fmla="*/ 88882 h 173"/>
                <a:gd name="T86" fmla="*/ 71481 w 546"/>
                <a:gd name="T87" fmla="*/ 82495 h 173"/>
                <a:gd name="T88" fmla="*/ 48954 w 546"/>
                <a:gd name="T89" fmla="*/ 55884 h 173"/>
                <a:gd name="T90" fmla="*/ 41156 w 546"/>
                <a:gd name="T91" fmla="*/ 48433 h 173"/>
                <a:gd name="T92" fmla="*/ 25993 w 546"/>
                <a:gd name="T93" fmla="*/ 40449 h 173"/>
                <a:gd name="T94" fmla="*/ 6931 w 546"/>
                <a:gd name="T95" fmla="*/ 30869 h 173"/>
                <a:gd name="T96" fmla="*/ 4765 w 546"/>
                <a:gd name="T97" fmla="*/ 18096 h 173"/>
                <a:gd name="T98" fmla="*/ 12130 w 546"/>
                <a:gd name="T99" fmla="*/ 10112 h 173"/>
                <a:gd name="T100" fmla="*/ 20361 w 546"/>
                <a:gd name="T101" fmla="*/ 6387 h 173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982" name="Freeform 548"/>
            <p:cNvSpPr>
              <a:spLocks/>
            </p:cNvSpPr>
            <p:nvPr>
              <p:custDataLst>
                <p:tags r:id="rId374"/>
              </p:custDataLst>
            </p:nvPr>
          </p:nvSpPr>
          <p:spPr bwMode="auto">
            <a:xfrm>
              <a:off x="6662833" y="1444187"/>
              <a:ext cx="128697" cy="72442"/>
            </a:xfrm>
            <a:custGeom>
              <a:avLst/>
              <a:gdLst>
                <a:gd name="T0" fmla="*/ 11848 w 246"/>
                <a:gd name="T1" fmla="*/ 51707 h 42"/>
                <a:gd name="T2" fmla="*/ 15798 w 246"/>
                <a:gd name="T3" fmla="*/ 51707 h 42"/>
                <a:gd name="T4" fmla="*/ 19747 w 246"/>
                <a:gd name="T5" fmla="*/ 50271 h 42"/>
                <a:gd name="T6" fmla="*/ 23258 w 246"/>
                <a:gd name="T7" fmla="*/ 47398 h 42"/>
                <a:gd name="T8" fmla="*/ 25890 w 246"/>
                <a:gd name="T9" fmla="*/ 44526 h 42"/>
                <a:gd name="T10" fmla="*/ 28962 w 246"/>
                <a:gd name="T11" fmla="*/ 43089 h 42"/>
                <a:gd name="T12" fmla="*/ 31595 w 246"/>
                <a:gd name="T13" fmla="*/ 41653 h 42"/>
                <a:gd name="T14" fmla="*/ 35106 w 246"/>
                <a:gd name="T15" fmla="*/ 41653 h 42"/>
                <a:gd name="T16" fmla="*/ 38177 w 246"/>
                <a:gd name="T17" fmla="*/ 43089 h 42"/>
                <a:gd name="T18" fmla="*/ 38177 w 246"/>
                <a:gd name="T19" fmla="*/ 60325 h 42"/>
                <a:gd name="T20" fmla="*/ 67578 w 246"/>
                <a:gd name="T21" fmla="*/ 60325 h 42"/>
                <a:gd name="T22" fmla="*/ 67578 w 246"/>
                <a:gd name="T23" fmla="*/ 56016 h 42"/>
                <a:gd name="T24" fmla="*/ 68456 w 246"/>
                <a:gd name="T25" fmla="*/ 51707 h 42"/>
                <a:gd name="T26" fmla="*/ 69773 w 246"/>
                <a:gd name="T27" fmla="*/ 47398 h 42"/>
                <a:gd name="T28" fmla="*/ 71528 w 246"/>
                <a:gd name="T29" fmla="*/ 44526 h 42"/>
                <a:gd name="T30" fmla="*/ 76794 w 246"/>
                <a:gd name="T31" fmla="*/ 37344 h 42"/>
                <a:gd name="T32" fmla="*/ 83376 w 246"/>
                <a:gd name="T33" fmla="*/ 33035 h 42"/>
                <a:gd name="T34" fmla="*/ 96979 w 246"/>
                <a:gd name="T35" fmla="*/ 24417 h 42"/>
                <a:gd name="T36" fmla="*/ 107950 w 246"/>
                <a:gd name="T37" fmla="*/ 17236 h 42"/>
                <a:gd name="T38" fmla="*/ 93030 w 246"/>
                <a:gd name="T39" fmla="*/ 18672 h 42"/>
                <a:gd name="T40" fmla="*/ 81621 w 246"/>
                <a:gd name="T41" fmla="*/ 20108 h 42"/>
                <a:gd name="T42" fmla="*/ 78110 w 246"/>
                <a:gd name="T43" fmla="*/ 21545 h 42"/>
                <a:gd name="T44" fmla="*/ 75038 w 246"/>
                <a:gd name="T45" fmla="*/ 21545 h 42"/>
                <a:gd name="T46" fmla="*/ 73722 w 246"/>
                <a:gd name="T47" fmla="*/ 20108 h 42"/>
                <a:gd name="T48" fmla="*/ 73283 w 246"/>
                <a:gd name="T49" fmla="*/ 17236 h 42"/>
                <a:gd name="T50" fmla="*/ 69773 w 246"/>
                <a:gd name="T51" fmla="*/ 22981 h 42"/>
                <a:gd name="T52" fmla="*/ 66701 w 246"/>
                <a:gd name="T53" fmla="*/ 24417 h 42"/>
                <a:gd name="T54" fmla="*/ 64507 w 246"/>
                <a:gd name="T55" fmla="*/ 24417 h 42"/>
                <a:gd name="T56" fmla="*/ 61874 w 246"/>
                <a:gd name="T57" fmla="*/ 21545 h 42"/>
                <a:gd name="T58" fmla="*/ 60118 w 246"/>
                <a:gd name="T59" fmla="*/ 17236 h 42"/>
                <a:gd name="T60" fmla="*/ 58363 w 246"/>
                <a:gd name="T61" fmla="*/ 12927 h 42"/>
                <a:gd name="T62" fmla="*/ 56608 w 246"/>
                <a:gd name="T63" fmla="*/ 7182 h 42"/>
                <a:gd name="T64" fmla="*/ 55291 w 246"/>
                <a:gd name="T65" fmla="*/ 0 h 42"/>
                <a:gd name="T66" fmla="*/ 53097 w 246"/>
                <a:gd name="T67" fmla="*/ 2873 h 42"/>
                <a:gd name="T68" fmla="*/ 49587 w 246"/>
                <a:gd name="T69" fmla="*/ 5745 h 42"/>
                <a:gd name="T70" fmla="*/ 45199 w 246"/>
                <a:gd name="T71" fmla="*/ 7182 h 42"/>
                <a:gd name="T72" fmla="*/ 40810 w 246"/>
                <a:gd name="T73" fmla="*/ 7182 h 42"/>
                <a:gd name="T74" fmla="*/ 32473 w 246"/>
                <a:gd name="T75" fmla="*/ 8618 h 42"/>
                <a:gd name="T76" fmla="*/ 26329 w 246"/>
                <a:gd name="T77" fmla="*/ 8618 h 42"/>
                <a:gd name="T78" fmla="*/ 25452 w 246"/>
                <a:gd name="T79" fmla="*/ 12927 h 42"/>
                <a:gd name="T80" fmla="*/ 24574 w 246"/>
                <a:gd name="T81" fmla="*/ 17236 h 42"/>
                <a:gd name="T82" fmla="*/ 23696 w 246"/>
                <a:gd name="T83" fmla="*/ 21545 h 42"/>
                <a:gd name="T84" fmla="*/ 21941 w 246"/>
                <a:gd name="T85" fmla="*/ 24417 h 42"/>
                <a:gd name="T86" fmla="*/ 18430 w 246"/>
                <a:gd name="T87" fmla="*/ 28726 h 42"/>
                <a:gd name="T88" fmla="*/ 14481 w 246"/>
                <a:gd name="T89" fmla="*/ 31599 h 42"/>
                <a:gd name="T90" fmla="*/ 6143 w 246"/>
                <a:gd name="T91" fmla="*/ 34471 h 42"/>
                <a:gd name="T92" fmla="*/ 0 w 246"/>
                <a:gd name="T93" fmla="*/ 34471 h 42"/>
                <a:gd name="T94" fmla="*/ 439 w 246"/>
                <a:gd name="T95" fmla="*/ 38780 h 42"/>
                <a:gd name="T96" fmla="*/ 1316 w 246"/>
                <a:gd name="T97" fmla="*/ 41653 h 42"/>
                <a:gd name="T98" fmla="*/ 2194 w 246"/>
                <a:gd name="T99" fmla="*/ 44526 h 42"/>
                <a:gd name="T100" fmla="*/ 3949 w 246"/>
                <a:gd name="T101" fmla="*/ 47398 h 42"/>
                <a:gd name="T102" fmla="*/ 7460 w 246"/>
                <a:gd name="T103" fmla="*/ 50271 h 42"/>
                <a:gd name="T104" fmla="*/ 11848 w 246"/>
                <a:gd name="T105" fmla="*/ 51707 h 4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983" name="Freeform 549"/>
            <p:cNvSpPr>
              <a:spLocks/>
            </p:cNvSpPr>
            <p:nvPr>
              <p:custDataLst>
                <p:tags r:id="rId375"/>
              </p:custDataLst>
            </p:nvPr>
          </p:nvSpPr>
          <p:spPr bwMode="auto">
            <a:xfrm>
              <a:off x="6833167" y="1423216"/>
              <a:ext cx="75704" cy="68630"/>
            </a:xfrm>
            <a:custGeom>
              <a:avLst/>
              <a:gdLst>
                <a:gd name="T0" fmla="*/ 43896 w 149"/>
                <a:gd name="T1" fmla="*/ 0 h 61"/>
                <a:gd name="T2" fmla="*/ 50289 w 149"/>
                <a:gd name="T3" fmla="*/ 937 h 61"/>
                <a:gd name="T4" fmla="*/ 57107 w 149"/>
                <a:gd name="T5" fmla="*/ 2811 h 61"/>
                <a:gd name="T6" fmla="*/ 61795 w 149"/>
                <a:gd name="T7" fmla="*/ 4684 h 61"/>
                <a:gd name="T8" fmla="*/ 63500 w 149"/>
                <a:gd name="T9" fmla="*/ 5621 h 61"/>
                <a:gd name="T10" fmla="*/ 63500 w 149"/>
                <a:gd name="T11" fmla="*/ 7495 h 61"/>
                <a:gd name="T12" fmla="*/ 62648 w 149"/>
                <a:gd name="T13" fmla="*/ 9369 h 61"/>
                <a:gd name="T14" fmla="*/ 61795 w 149"/>
                <a:gd name="T15" fmla="*/ 11243 h 61"/>
                <a:gd name="T16" fmla="*/ 60091 w 149"/>
                <a:gd name="T17" fmla="*/ 12180 h 61"/>
                <a:gd name="T18" fmla="*/ 58386 w 149"/>
                <a:gd name="T19" fmla="*/ 13116 h 61"/>
                <a:gd name="T20" fmla="*/ 56255 w 149"/>
                <a:gd name="T21" fmla="*/ 13116 h 61"/>
                <a:gd name="T22" fmla="*/ 54124 w 149"/>
                <a:gd name="T23" fmla="*/ 13116 h 61"/>
                <a:gd name="T24" fmla="*/ 52419 w 149"/>
                <a:gd name="T25" fmla="*/ 11243 h 61"/>
                <a:gd name="T26" fmla="*/ 52419 w 149"/>
                <a:gd name="T27" fmla="*/ 21548 h 61"/>
                <a:gd name="T28" fmla="*/ 52419 w 149"/>
                <a:gd name="T29" fmla="*/ 30917 h 61"/>
                <a:gd name="T30" fmla="*/ 52419 w 149"/>
                <a:gd name="T31" fmla="*/ 38412 h 61"/>
                <a:gd name="T32" fmla="*/ 52419 w 149"/>
                <a:gd name="T33" fmla="*/ 45907 h 61"/>
                <a:gd name="T34" fmla="*/ 49436 w 149"/>
                <a:gd name="T35" fmla="*/ 46844 h 61"/>
                <a:gd name="T36" fmla="*/ 46453 w 149"/>
                <a:gd name="T37" fmla="*/ 47781 h 61"/>
                <a:gd name="T38" fmla="*/ 44322 w 149"/>
                <a:gd name="T39" fmla="*/ 49655 h 61"/>
                <a:gd name="T40" fmla="*/ 42617 w 149"/>
                <a:gd name="T41" fmla="*/ 51529 h 61"/>
                <a:gd name="T42" fmla="*/ 40060 w 149"/>
                <a:gd name="T43" fmla="*/ 53402 h 61"/>
                <a:gd name="T44" fmla="*/ 37930 w 149"/>
                <a:gd name="T45" fmla="*/ 55276 h 61"/>
                <a:gd name="T46" fmla="*/ 35372 w 149"/>
                <a:gd name="T47" fmla="*/ 57150 h 61"/>
                <a:gd name="T48" fmla="*/ 32389 w 149"/>
                <a:gd name="T49" fmla="*/ 57150 h 61"/>
                <a:gd name="T50" fmla="*/ 28554 w 149"/>
                <a:gd name="T51" fmla="*/ 56213 h 61"/>
                <a:gd name="T52" fmla="*/ 22587 w 149"/>
                <a:gd name="T53" fmla="*/ 53402 h 61"/>
                <a:gd name="T54" fmla="*/ 16621 w 149"/>
                <a:gd name="T55" fmla="*/ 50592 h 61"/>
                <a:gd name="T56" fmla="*/ 10654 w 149"/>
                <a:gd name="T57" fmla="*/ 45907 h 61"/>
                <a:gd name="T58" fmla="*/ 5114 w 149"/>
                <a:gd name="T59" fmla="*/ 42160 h 61"/>
                <a:gd name="T60" fmla="*/ 1279 w 149"/>
                <a:gd name="T61" fmla="*/ 38412 h 61"/>
                <a:gd name="T62" fmla="*/ 426 w 149"/>
                <a:gd name="T63" fmla="*/ 36539 h 61"/>
                <a:gd name="T64" fmla="*/ 0 w 149"/>
                <a:gd name="T65" fmla="*/ 35602 h 61"/>
                <a:gd name="T66" fmla="*/ 0 w 149"/>
                <a:gd name="T67" fmla="*/ 34665 h 61"/>
                <a:gd name="T68" fmla="*/ 1279 w 149"/>
                <a:gd name="T69" fmla="*/ 34665 h 61"/>
                <a:gd name="T70" fmla="*/ 8097 w 149"/>
                <a:gd name="T71" fmla="*/ 33728 h 61"/>
                <a:gd name="T72" fmla="*/ 14916 w 149"/>
                <a:gd name="T73" fmla="*/ 32791 h 61"/>
                <a:gd name="T74" fmla="*/ 20456 w 149"/>
                <a:gd name="T75" fmla="*/ 29980 h 61"/>
                <a:gd name="T76" fmla="*/ 25570 w 149"/>
                <a:gd name="T77" fmla="*/ 25296 h 61"/>
                <a:gd name="T78" fmla="*/ 30685 w 149"/>
                <a:gd name="T79" fmla="*/ 20611 h 61"/>
                <a:gd name="T80" fmla="*/ 34946 w 149"/>
                <a:gd name="T81" fmla="*/ 14990 h 61"/>
                <a:gd name="T82" fmla="*/ 39634 w 149"/>
                <a:gd name="T83" fmla="*/ 7495 h 61"/>
                <a:gd name="T84" fmla="*/ 43896 w 149"/>
                <a:gd name="T85" fmla="*/ 0 h 6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  <p:sp>
          <p:nvSpPr>
            <p:cNvPr id="984" name="Freeform 550"/>
            <p:cNvSpPr>
              <a:spLocks/>
            </p:cNvSpPr>
            <p:nvPr>
              <p:custDataLst>
                <p:tags r:id="rId376"/>
              </p:custDataLst>
            </p:nvPr>
          </p:nvSpPr>
          <p:spPr bwMode="auto">
            <a:xfrm>
              <a:off x="6876697" y="1432747"/>
              <a:ext cx="155193" cy="68630"/>
            </a:xfrm>
            <a:custGeom>
              <a:avLst/>
              <a:gdLst>
                <a:gd name="T0" fmla="*/ 57904 w 299"/>
                <a:gd name="T1" fmla="*/ 55605 h 74"/>
                <a:gd name="T2" fmla="*/ 67047 w 299"/>
                <a:gd name="T3" fmla="*/ 50199 h 74"/>
                <a:gd name="T4" fmla="*/ 77495 w 299"/>
                <a:gd name="T5" fmla="*/ 41704 h 74"/>
                <a:gd name="T6" fmla="*/ 86638 w 299"/>
                <a:gd name="T7" fmla="*/ 32436 h 74"/>
                <a:gd name="T8" fmla="*/ 90121 w 299"/>
                <a:gd name="T9" fmla="*/ 30892 h 74"/>
                <a:gd name="T10" fmla="*/ 91863 w 299"/>
                <a:gd name="T11" fmla="*/ 35526 h 74"/>
                <a:gd name="T12" fmla="*/ 95781 w 299"/>
                <a:gd name="T13" fmla="*/ 39387 h 74"/>
                <a:gd name="T14" fmla="*/ 105794 w 299"/>
                <a:gd name="T15" fmla="*/ 42476 h 74"/>
                <a:gd name="T16" fmla="*/ 117114 w 299"/>
                <a:gd name="T17" fmla="*/ 42476 h 74"/>
                <a:gd name="T18" fmla="*/ 124515 w 299"/>
                <a:gd name="T19" fmla="*/ 42476 h 74"/>
                <a:gd name="T20" fmla="*/ 127563 w 299"/>
                <a:gd name="T21" fmla="*/ 35526 h 74"/>
                <a:gd name="T22" fmla="*/ 129740 w 299"/>
                <a:gd name="T23" fmla="*/ 23941 h 74"/>
                <a:gd name="T24" fmla="*/ 121468 w 299"/>
                <a:gd name="T25" fmla="*/ 19307 h 74"/>
                <a:gd name="T26" fmla="*/ 106230 w 299"/>
                <a:gd name="T27" fmla="*/ 19307 h 74"/>
                <a:gd name="T28" fmla="*/ 97958 w 299"/>
                <a:gd name="T29" fmla="*/ 19307 h 74"/>
                <a:gd name="T30" fmla="*/ 93169 w 299"/>
                <a:gd name="T31" fmla="*/ 20852 h 74"/>
                <a:gd name="T32" fmla="*/ 88815 w 299"/>
                <a:gd name="T33" fmla="*/ 25486 h 74"/>
                <a:gd name="T34" fmla="*/ 74883 w 299"/>
                <a:gd name="T35" fmla="*/ 28575 h 74"/>
                <a:gd name="T36" fmla="*/ 76625 w 299"/>
                <a:gd name="T37" fmla="*/ 21624 h 74"/>
                <a:gd name="T38" fmla="*/ 78366 w 299"/>
                <a:gd name="T39" fmla="*/ 16218 h 74"/>
                <a:gd name="T40" fmla="*/ 84461 w 299"/>
                <a:gd name="T41" fmla="*/ 10040 h 74"/>
                <a:gd name="T42" fmla="*/ 91427 w 299"/>
                <a:gd name="T43" fmla="*/ 6951 h 74"/>
                <a:gd name="T44" fmla="*/ 97958 w 299"/>
                <a:gd name="T45" fmla="*/ 0 h 74"/>
                <a:gd name="T46" fmla="*/ 80543 w 299"/>
                <a:gd name="T47" fmla="*/ 2317 h 74"/>
                <a:gd name="T48" fmla="*/ 68353 w 299"/>
                <a:gd name="T49" fmla="*/ 8495 h 74"/>
                <a:gd name="T50" fmla="*/ 58339 w 299"/>
                <a:gd name="T51" fmla="*/ 19307 h 74"/>
                <a:gd name="T52" fmla="*/ 49632 w 299"/>
                <a:gd name="T53" fmla="*/ 30892 h 74"/>
                <a:gd name="T54" fmla="*/ 43537 w 299"/>
                <a:gd name="T55" fmla="*/ 40932 h 74"/>
                <a:gd name="T56" fmla="*/ 37877 w 299"/>
                <a:gd name="T57" fmla="*/ 45566 h 74"/>
                <a:gd name="T58" fmla="*/ 27864 w 299"/>
                <a:gd name="T59" fmla="*/ 48655 h 74"/>
                <a:gd name="T60" fmla="*/ 13932 w 299"/>
                <a:gd name="T61" fmla="*/ 49427 h 74"/>
                <a:gd name="T62" fmla="*/ 5224 w 299"/>
                <a:gd name="T63" fmla="*/ 51744 h 74"/>
                <a:gd name="T64" fmla="*/ 871 w 299"/>
                <a:gd name="T65" fmla="*/ 54061 h 74"/>
                <a:gd name="T66" fmla="*/ 16979 w 299"/>
                <a:gd name="T67" fmla="*/ 57150 h 74"/>
                <a:gd name="T68" fmla="*/ 44408 w 299"/>
                <a:gd name="T69" fmla="*/ 57150 h 7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s-PE" sz="1400" b="1">
                <a:solidFill>
                  <a:prstClr val="black"/>
                </a:solidFill>
              </a:endParaRPr>
            </a:p>
          </p:txBody>
        </p:sp>
      </p:grpSp>
      <p:sp>
        <p:nvSpPr>
          <p:cNvPr id="582" name="CuadroTexto 581"/>
          <p:cNvSpPr txBox="1"/>
          <p:nvPr/>
        </p:nvSpPr>
        <p:spPr>
          <a:xfrm>
            <a:off x="631326" y="978607"/>
            <a:ext cx="250440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63525"/>
            <a:r>
              <a:rPr lang="es-PE" sz="1400" b="1" dirty="0">
                <a:solidFill>
                  <a:prstClr val="black"/>
                </a:solidFill>
              </a:rPr>
              <a:t>Estados Unidos </a:t>
            </a:r>
            <a:r>
              <a:rPr lang="es-PE" sz="1200" b="1" dirty="0">
                <a:solidFill>
                  <a:srgbClr val="002060"/>
                </a:solidFill>
              </a:rPr>
              <a:t>(28,8% Part.)</a:t>
            </a:r>
            <a:endParaRPr lang="es-PE" sz="1200" b="1" dirty="0">
              <a:solidFill>
                <a:prstClr val="black"/>
              </a:solidFill>
            </a:endParaRPr>
          </a:p>
          <a:p>
            <a:pPr marL="263525"/>
            <a:r>
              <a:rPr lang="es-PE" sz="1400" b="1" dirty="0">
                <a:solidFill>
                  <a:srgbClr val="FF0000"/>
                </a:solidFill>
              </a:rPr>
              <a:t>US$ 3 373</a:t>
            </a:r>
            <a:endParaRPr lang="es-PE" sz="1200" b="1" dirty="0">
              <a:solidFill>
                <a:srgbClr val="002060"/>
              </a:solidFill>
            </a:endParaRPr>
          </a:p>
        </p:txBody>
      </p:sp>
      <p:sp>
        <p:nvSpPr>
          <p:cNvPr id="583" name="CuadroTexto 582"/>
          <p:cNvSpPr txBox="1"/>
          <p:nvPr/>
        </p:nvSpPr>
        <p:spPr>
          <a:xfrm>
            <a:off x="905969" y="1456113"/>
            <a:ext cx="825867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sz="1050" b="1" dirty="0">
                <a:solidFill>
                  <a:prstClr val="black"/>
                </a:solidFill>
              </a:rPr>
              <a:t>Uvas</a:t>
            </a:r>
          </a:p>
          <a:p>
            <a:r>
              <a:rPr lang="es-PE" sz="1050" b="1" dirty="0">
                <a:solidFill>
                  <a:prstClr val="black"/>
                </a:solidFill>
              </a:rPr>
              <a:t>Espárragos</a:t>
            </a:r>
          </a:p>
          <a:p>
            <a:r>
              <a:rPr lang="es-PE" sz="1050" b="1" dirty="0">
                <a:solidFill>
                  <a:prstClr val="black"/>
                </a:solidFill>
              </a:rPr>
              <a:t>Paltas</a:t>
            </a:r>
          </a:p>
          <a:p>
            <a:r>
              <a:rPr lang="es-PE" sz="1050" b="1" dirty="0">
                <a:solidFill>
                  <a:prstClr val="black"/>
                </a:solidFill>
              </a:rPr>
              <a:t>Arándanos</a:t>
            </a:r>
          </a:p>
        </p:txBody>
      </p:sp>
      <p:sp>
        <p:nvSpPr>
          <p:cNvPr id="584" name="CuadroTexto 583"/>
          <p:cNvSpPr txBox="1"/>
          <p:nvPr/>
        </p:nvSpPr>
        <p:spPr>
          <a:xfrm>
            <a:off x="2422453" y="5167344"/>
            <a:ext cx="107510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PE" sz="1400" b="1" dirty="0">
                <a:solidFill>
                  <a:prstClr val="black"/>
                </a:solidFill>
              </a:rPr>
              <a:t>Chile </a:t>
            </a:r>
            <a:r>
              <a:rPr lang="es-PE" sz="1200" b="1" dirty="0">
                <a:solidFill>
                  <a:srgbClr val="002060"/>
                </a:solidFill>
              </a:rPr>
              <a:t>(5,5%)</a:t>
            </a:r>
            <a:endParaRPr lang="es-PE" sz="1400" b="1" dirty="0">
              <a:solidFill>
                <a:prstClr val="black"/>
              </a:solidFill>
            </a:endParaRPr>
          </a:p>
          <a:p>
            <a:r>
              <a:rPr lang="es-PE" sz="1400" b="1" dirty="0">
                <a:solidFill>
                  <a:srgbClr val="FF0000"/>
                </a:solidFill>
              </a:rPr>
              <a:t> US$ 652</a:t>
            </a:r>
            <a:endParaRPr lang="es-PE" sz="1200" b="1" dirty="0">
              <a:solidFill>
                <a:srgbClr val="002060"/>
              </a:solidFill>
            </a:endParaRPr>
          </a:p>
        </p:txBody>
      </p:sp>
      <p:sp>
        <p:nvSpPr>
          <p:cNvPr id="585" name="CuadroTexto 584"/>
          <p:cNvSpPr txBox="1"/>
          <p:nvPr/>
        </p:nvSpPr>
        <p:spPr>
          <a:xfrm>
            <a:off x="1000226" y="2829685"/>
            <a:ext cx="130035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PE" sz="1400" b="1" dirty="0">
                <a:solidFill>
                  <a:prstClr val="black"/>
                </a:solidFill>
              </a:rPr>
              <a:t>Colombia </a:t>
            </a:r>
            <a:r>
              <a:rPr lang="es-PE" sz="1200" b="1" dirty="0">
                <a:solidFill>
                  <a:srgbClr val="002060"/>
                </a:solidFill>
              </a:rPr>
              <a:t>(5%)</a:t>
            </a:r>
            <a:endParaRPr lang="es-PE" sz="1200" b="1" dirty="0">
              <a:solidFill>
                <a:prstClr val="black"/>
              </a:solidFill>
            </a:endParaRPr>
          </a:p>
          <a:p>
            <a:r>
              <a:rPr lang="es-PE" sz="1200" b="1" dirty="0">
                <a:solidFill>
                  <a:srgbClr val="FF0000"/>
                </a:solidFill>
              </a:rPr>
              <a:t> </a:t>
            </a:r>
            <a:r>
              <a:rPr lang="es-PE" sz="1400" b="1" dirty="0">
                <a:solidFill>
                  <a:srgbClr val="FF0000"/>
                </a:solidFill>
              </a:rPr>
              <a:t>US$ 589</a:t>
            </a:r>
            <a:endParaRPr lang="es-PE" sz="1200" b="1" dirty="0">
              <a:solidFill>
                <a:srgbClr val="002060"/>
              </a:solidFill>
            </a:endParaRPr>
          </a:p>
        </p:txBody>
      </p:sp>
      <p:sp>
        <p:nvSpPr>
          <p:cNvPr id="586" name="CuadroTexto 585"/>
          <p:cNvSpPr txBox="1"/>
          <p:nvPr/>
        </p:nvSpPr>
        <p:spPr>
          <a:xfrm>
            <a:off x="2046659" y="3866652"/>
            <a:ext cx="127631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sz="1400" b="1" dirty="0">
                <a:solidFill>
                  <a:prstClr val="black"/>
                </a:solidFill>
              </a:rPr>
              <a:t>Ecuador </a:t>
            </a:r>
            <a:r>
              <a:rPr lang="es-PE" sz="1200" b="1" dirty="0">
                <a:solidFill>
                  <a:srgbClr val="002060"/>
                </a:solidFill>
              </a:rPr>
              <a:t>(6,1%)</a:t>
            </a:r>
            <a:endParaRPr lang="es-PE" sz="1400" b="1" dirty="0">
              <a:solidFill>
                <a:prstClr val="black"/>
              </a:solidFill>
            </a:endParaRPr>
          </a:p>
          <a:p>
            <a:r>
              <a:rPr lang="es-PE" sz="1400" b="1" dirty="0">
                <a:solidFill>
                  <a:srgbClr val="FF0000"/>
                </a:solidFill>
              </a:rPr>
              <a:t>US$ 711</a:t>
            </a:r>
            <a:endParaRPr lang="es-PE" sz="1200" b="1" dirty="0">
              <a:solidFill>
                <a:srgbClr val="002060"/>
              </a:solidFill>
            </a:endParaRPr>
          </a:p>
        </p:txBody>
      </p:sp>
      <p:sp>
        <p:nvSpPr>
          <p:cNvPr id="588" name="CuadroTexto 587"/>
          <p:cNvSpPr txBox="1"/>
          <p:nvPr/>
        </p:nvSpPr>
        <p:spPr>
          <a:xfrm>
            <a:off x="2536170" y="5631098"/>
            <a:ext cx="1266693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sz="1050" b="1" dirty="0">
                <a:solidFill>
                  <a:prstClr val="black"/>
                </a:solidFill>
              </a:rPr>
              <a:t>Placas y baldosas</a:t>
            </a:r>
          </a:p>
          <a:p>
            <a:r>
              <a:rPr lang="es-PE" sz="1050" b="1" dirty="0">
                <a:solidFill>
                  <a:prstClr val="black"/>
                </a:solidFill>
              </a:rPr>
              <a:t>Ácido sulfúrico</a:t>
            </a:r>
          </a:p>
          <a:p>
            <a:r>
              <a:rPr lang="es-PE" sz="1050" b="1" dirty="0">
                <a:solidFill>
                  <a:prstClr val="black"/>
                </a:solidFill>
              </a:rPr>
              <a:t>Pastas alimenticias</a:t>
            </a:r>
          </a:p>
          <a:p>
            <a:r>
              <a:rPr lang="es-PE" sz="1050" b="1" dirty="0">
                <a:solidFill>
                  <a:prstClr val="black"/>
                </a:solidFill>
              </a:rPr>
              <a:t>Cemento</a:t>
            </a:r>
          </a:p>
        </p:txBody>
      </p:sp>
      <p:sp>
        <p:nvSpPr>
          <p:cNvPr id="589" name="CuadroTexto 588"/>
          <p:cNvSpPr txBox="1"/>
          <p:nvPr/>
        </p:nvSpPr>
        <p:spPr>
          <a:xfrm>
            <a:off x="1018235" y="3303435"/>
            <a:ext cx="1273105" cy="57708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sz="1050" b="1" dirty="0">
                <a:solidFill>
                  <a:prstClr val="black"/>
                </a:solidFill>
              </a:rPr>
              <a:t>Alambre de cobre</a:t>
            </a:r>
          </a:p>
          <a:p>
            <a:r>
              <a:rPr lang="es-PE" sz="1050" b="1" dirty="0">
                <a:solidFill>
                  <a:prstClr val="black"/>
                </a:solidFill>
              </a:rPr>
              <a:t>Placas de plástico</a:t>
            </a:r>
          </a:p>
          <a:p>
            <a:r>
              <a:rPr lang="es-PE" sz="1050" b="1" dirty="0">
                <a:solidFill>
                  <a:prstClr val="black"/>
                </a:solidFill>
              </a:rPr>
              <a:t>Hidróxido de sodio</a:t>
            </a:r>
          </a:p>
        </p:txBody>
      </p:sp>
      <p:sp>
        <p:nvSpPr>
          <p:cNvPr id="590" name="CuadroTexto 589"/>
          <p:cNvSpPr txBox="1"/>
          <p:nvPr/>
        </p:nvSpPr>
        <p:spPr>
          <a:xfrm>
            <a:off x="2070768" y="4289980"/>
            <a:ext cx="1810111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sz="1050" b="1" dirty="0">
                <a:solidFill>
                  <a:prstClr val="black"/>
                </a:solidFill>
              </a:rPr>
              <a:t>Alimento balanceado</a:t>
            </a:r>
          </a:p>
          <a:p>
            <a:r>
              <a:rPr lang="es-PE" sz="1050" b="1" dirty="0">
                <a:solidFill>
                  <a:prstClr val="black"/>
                </a:solidFill>
              </a:rPr>
              <a:t>Detergente</a:t>
            </a:r>
          </a:p>
          <a:p>
            <a:r>
              <a:rPr lang="es-PE" sz="1050" b="1" dirty="0">
                <a:solidFill>
                  <a:prstClr val="black"/>
                </a:solidFill>
              </a:rPr>
              <a:t>Filete de pescado congelado</a:t>
            </a:r>
          </a:p>
          <a:p>
            <a:r>
              <a:rPr lang="es-PE" sz="1050" b="1" dirty="0">
                <a:solidFill>
                  <a:prstClr val="black"/>
                </a:solidFill>
              </a:rPr>
              <a:t>Placas de plástico</a:t>
            </a:r>
          </a:p>
        </p:txBody>
      </p:sp>
      <p:sp>
        <p:nvSpPr>
          <p:cNvPr id="592" name="CuadroTexto 591"/>
          <p:cNvSpPr txBox="1"/>
          <p:nvPr/>
        </p:nvSpPr>
        <p:spPr>
          <a:xfrm>
            <a:off x="4666124" y="2759704"/>
            <a:ext cx="109914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PE" sz="1400" b="1" dirty="0">
                <a:solidFill>
                  <a:prstClr val="black"/>
                </a:solidFill>
              </a:rPr>
              <a:t>España </a:t>
            </a:r>
            <a:r>
              <a:rPr lang="es-PE" sz="1200" b="1" dirty="0">
                <a:solidFill>
                  <a:srgbClr val="002060"/>
                </a:solidFill>
              </a:rPr>
              <a:t>(5%)</a:t>
            </a:r>
            <a:endParaRPr lang="es-PE" sz="1400" b="1" dirty="0">
              <a:solidFill>
                <a:prstClr val="black"/>
              </a:solidFill>
            </a:endParaRPr>
          </a:p>
          <a:p>
            <a:r>
              <a:rPr lang="es-PE" sz="1400" b="1" dirty="0">
                <a:solidFill>
                  <a:srgbClr val="FF0000"/>
                </a:solidFill>
              </a:rPr>
              <a:t> US$  590</a:t>
            </a:r>
            <a:endParaRPr lang="es-PE" sz="1200" b="1" dirty="0">
              <a:solidFill>
                <a:srgbClr val="002060"/>
              </a:solidFill>
            </a:endParaRPr>
          </a:p>
        </p:txBody>
      </p:sp>
      <p:sp>
        <p:nvSpPr>
          <p:cNvPr id="593" name="CuadroTexto 592"/>
          <p:cNvSpPr txBox="1"/>
          <p:nvPr/>
        </p:nvSpPr>
        <p:spPr>
          <a:xfrm>
            <a:off x="4864509" y="1240517"/>
            <a:ext cx="167250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PE" sz="1400" b="1" dirty="0">
                <a:solidFill>
                  <a:prstClr val="black"/>
                </a:solidFill>
              </a:rPr>
              <a:t> Reino Unido </a:t>
            </a:r>
            <a:r>
              <a:rPr lang="es-PE" sz="1200" b="1" dirty="0">
                <a:solidFill>
                  <a:srgbClr val="002060"/>
                </a:solidFill>
              </a:rPr>
              <a:t>(2,8%)</a:t>
            </a:r>
            <a:endParaRPr lang="es-PE" sz="1200" b="1" dirty="0">
              <a:solidFill>
                <a:prstClr val="black"/>
              </a:solidFill>
            </a:endParaRPr>
          </a:p>
          <a:p>
            <a:r>
              <a:rPr lang="es-PE" sz="1400" b="1" dirty="0">
                <a:solidFill>
                  <a:srgbClr val="FF0000"/>
                </a:solidFill>
              </a:rPr>
              <a:t>  US$ 336</a:t>
            </a:r>
            <a:endParaRPr lang="es-PE" sz="1200" b="1" dirty="0">
              <a:solidFill>
                <a:srgbClr val="002060"/>
              </a:solidFill>
            </a:endParaRPr>
          </a:p>
        </p:txBody>
      </p:sp>
      <p:sp>
        <p:nvSpPr>
          <p:cNvPr id="594" name="CuadroTexto 593"/>
          <p:cNvSpPr txBox="1"/>
          <p:nvPr/>
        </p:nvSpPr>
        <p:spPr>
          <a:xfrm>
            <a:off x="4689357" y="3190590"/>
            <a:ext cx="764953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sz="1100" b="1" dirty="0">
                <a:solidFill>
                  <a:prstClr val="black"/>
                </a:solidFill>
              </a:rPr>
              <a:t>Paltas</a:t>
            </a:r>
          </a:p>
          <a:p>
            <a:r>
              <a:rPr lang="es-PE" sz="1100" b="1" dirty="0">
                <a:solidFill>
                  <a:prstClr val="black"/>
                </a:solidFill>
              </a:rPr>
              <a:t>Potas</a:t>
            </a:r>
          </a:p>
          <a:p>
            <a:r>
              <a:rPr lang="es-PE" sz="1100" b="1" dirty="0">
                <a:solidFill>
                  <a:prstClr val="black"/>
                </a:solidFill>
              </a:rPr>
              <a:t>Pimiento</a:t>
            </a:r>
          </a:p>
          <a:p>
            <a:r>
              <a:rPr lang="es-PE" sz="1100" b="1" dirty="0">
                <a:solidFill>
                  <a:prstClr val="black"/>
                </a:solidFill>
              </a:rPr>
              <a:t>Espárrago</a:t>
            </a:r>
          </a:p>
        </p:txBody>
      </p:sp>
      <p:sp>
        <p:nvSpPr>
          <p:cNvPr id="595" name="CuadroTexto 594"/>
          <p:cNvSpPr txBox="1"/>
          <p:nvPr/>
        </p:nvSpPr>
        <p:spPr>
          <a:xfrm>
            <a:off x="4933211" y="1722299"/>
            <a:ext cx="833883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sz="1100" b="1" dirty="0">
                <a:solidFill>
                  <a:prstClr val="black"/>
                </a:solidFill>
              </a:rPr>
              <a:t>Paltas</a:t>
            </a:r>
          </a:p>
          <a:p>
            <a:r>
              <a:rPr lang="es-PE" sz="1100" b="1" dirty="0">
                <a:solidFill>
                  <a:prstClr val="black"/>
                </a:solidFill>
              </a:rPr>
              <a:t>Espárrago</a:t>
            </a:r>
          </a:p>
          <a:p>
            <a:r>
              <a:rPr lang="es-PE" sz="1100" b="1" dirty="0">
                <a:solidFill>
                  <a:prstClr val="black"/>
                </a:solidFill>
              </a:rPr>
              <a:t>Arándanos</a:t>
            </a:r>
          </a:p>
          <a:p>
            <a:r>
              <a:rPr lang="es-PE" sz="1100" b="1" dirty="0">
                <a:solidFill>
                  <a:prstClr val="black"/>
                </a:solidFill>
              </a:rPr>
              <a:t>Uvas</a:t>
            </a:r>
          </a:p>
        </p:txBody>
      </p:sp>
      <p:sp>
        <p:nvSpPr>
          <p:cNvPr id="596" name="CuadroTexto 595"/>
          <p:cNvSpPr txBox="1"/>
          <p:nvPr/>
        </p:nvSpPr>
        <p:spPr>
          <a:xfrm>
            <a:off x="4481252" y="5550595"/>
            <a:ext cx="120577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sz="1400" b="1" dirty="0">
                <a:solidFill>
                  <a:prstClr val="black"/>
                </a:solidFill>
              </a:rPr>
              <a:t>Bolivia </a:t>
            </a:r>
            <a:r>
              <a:rPr lang="es-PE" sz="1200" b="1" dirty="0">
                <a:solidFill>
                  <a:srgbClr val="002060"/>
                </a:solidFill>
              </a:rPr>
              <a:t>(4,7%)  </a:t>
            </a:r>
            <a:endParaRPr lang="es-PE" sz="1200" b="1" dirty="0">
              <a:solidFill>
                <a:prstClr val="black"/>
              </a:solidFill>
            </a:endParaRPr>
          </a:p>
          <a:p>
            <a:r>
              <a:rPr lang="es-PE" sz="1400" b="1" dirty="0">
                <a:solidFill>
                  <a:srgbClr val="FF0000"/>
                </a:solidFill>
              </a:rPr>
              <a:t>US$ 551</a:t>
            </a:r>
            <a:endParaRPr lang="es-PE" sz="1200" b="1" dirty="0">
              <a:solidFill>
                <a:prstClr val="black"/>
              </a:solidFill>
            </a:endParaRPr>
          </a:p>
        </p:txBody>
      </p:sp>
      <p:sp>
        <p:nvSpPr>
          <p:cNvPr id="597" name="CuadroTexto 596"/>
          <p:cNvSpPr txBox="1"/>
          <p:nvPr/>
        </p:nvSpPr>
        <p:spPr>
          <a:xfrm>
            <a:off x="5201645" y="4350666"/>
            <a:ext cx="101624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PE" sz="1400" b="1" dirty="0">
                <a:solidFill>
                  <a:prstClr val="black"/>
                </a:solidFill>
              </a:rPr>
              <a:t>Brasil </a:t>
            </a:r>
            <a:r>
              <a:rPr lang="es-PE" sz="1200" b="1" dirty="0">
                <a:solidFill>
                  <a:srgbClr val="002060"/>
                </a:solidFill>
              </a:rPr>
              <a:t>(3%)</a:t>
            </a:r>
            <a:r>
              <a:rPr lang="es-PE" sz="1400" b="1" dirty="0">
                <a:solidFill>
                  <a:prstClr val="black"/>
                </a:solidFill>
              </a:rPr>
              <a:t> </a:t>
            </a:r>
          </a:p>
          <a:p>
            <a:r>
              <a:rPr lang="es-PE" sz="1400" b="1" dirty="0">
                <a:solidFill>
                  <a:srgbClr val="FF0000"/>
                </a:solidFill>
              </a:rPr>
              <a:t> US$ 357</a:t>
            </a:r>
            <a:endParaRPr lang="es-PE" sz="1200" b="1" dirty="0">
              <a:solidFill>
                <a:srgbClr val="002060"/>
              </a:solidFill>
            </a:endParaRPr>
          </a:p>
        </p:txBody>
      </p:sp>
      <p:sp>
        <p:nvSpPr>
          <p:cNvPr id="598" name="CuadroTexto 597"/>
          <p:cNvSpPr txBox="1"/>
          <p:nvPr/>
        </p:nvSpPr>
        <p:spPr>
          <a:xfrm>
            <a:off x="5221306" y="4773746"/>
            <a:ext cx="1241045" cy="6001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sz="1100" b="1" dirty="0">
                <a:solidFill>
                  <a:prstClr val="black"/>
                </a:solidFill>
              </a:rPr>
              <a:t>Fosfato de calcio</a:t>
            </a:r>
          </a:p>
          <a:p>
            <a:r>
              <a:rPr lang="es-PE" sz="1100" b="1" dirty="0">
                <a:solidFill>
                  <a:prstClr val="black"/>
                </a:solidFill>
              </a:rPr>
              <a:t>Placas de plástico</a:t>
            </a:r>
          </a:p>
          <a:p>
            <a:r>
              <a:rPr lang="es-PE" sz="1100" b="1" dirty="0">
                <a:solidFill>
                  <a:prstClr val="black"/>
                </a:solidFill>
              </a:rPr>
              <a:t>Fosfato dicálcico</a:t>
            </a:r>
          </a:p>
        </p:txBody>
      </p:sp>
      <p:sp>
        <p:nvSpPr>
          <p:cNvPr id="599" name="CuadroTexto 598"/>
          <p:cNvSpPr txBox="1"/>
          <p:nvPr/>
        </p:nvSpPr>
        <p:spPr>
          <a:xfrm>
            <a:off x="4508944" y="5941074"/>
            <a:ext cx="1109599" cy="57708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sz="1050" b="1" dirty="0">
                <a:solidFill>
                  <a:prstClr val="black"/>
                </a:solidFill>
              </a:rPr>
              <a:t>Barras de hierro</a:t>
            </a:r>
          </a:p>
          <a:p>
            <a:r>
              <a:rPr lang="es-PE" sz="1050" b="1" dirty="0">
                <a:solidFill>
                  <a:prstClr val="black"/>
                </a:solidFill>
              </a:rPr>
              <a:t>Pañales</a:t>
            </a:r>
          </a:p>
          <a:p>
            <a:r>
              <a:rPr lang="es-PE" sz="1050" b="1" dirty="0">
                <a:solidFill>
                  <a:prstClr val="black"/>
                </a:solidFill>
              </a:rPr>
              <a:t>Cemento</a:t>
            </a:r>
          </a:p>
        </p:txBody>
      </p:sp>
      <p:sp>
        <p:nvSpPr>
          <p:cNvPr id="600" name="CuadroTexto 599"/>
          <p:cNvSpPr txBox="1"/>
          <p:nvPr/>
        </p:nvSpPr>
        <p:spPr>
          <a:xfrm>
            <a:off x="6911770" y="882059"/>
            <a:ext cx="163442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PE" sz="1400" b="1" dirty="0">
                <a:solidFill>
                  <a:prstClr val="black"/>
                </a:solidFill>
              </a:rPr>
              <a:t>Países Bajos</a:t>
            </a:r>
            <a:r>
              <a:rPr lang="es-PE" sz="1400" b="1" dirty="0">
                <a:solidFill>
                  <a:prstClr val="black"/>
                </a:solidFill>
                <a:latin typeface="CG Omega" panose="020B0502050508020304" pitchFamily="34" charset="0"/>
              </a:rPr>
              <a:t> </a:t>
            </a:r>
            <a:r>
              <a:rPr lang="es-PE" sz="1200" b="1" dirty="0">
                <a:solidFill>
                  <a:srgbClr val="002060"/>
                </a:solidFill>
              </a:rPr>
              <a:t>(7,5%)</a:t>
            </a:r>
            <a:endParaRPr lang="es-PE" sz="1400" b="1" dirty="0">
              <a:solidFill>
                <a:prstClr val="black"/>
              </a:solidFill>
              <a:latin typeface="CG Omega" panose="020B0502050508020304" pitchFamily="34" charset="0"/>
            </a:endParaRPr>
          </a:p>
          <a:p>
            <a:r>
              <a:rPr lang="es-PE" sz="1400" b="1" dirty="0">
                <a:solidFill>
                  <a:srgbClr val="FF0000"/>
                </a:solidFill>
              </a:rPr>
              <a:t>  US$ 882</a:t>
            </a:r>
            <a:endParaRPr lang="es-PE" sz="1200" b="1" dirty="0">
              <a:solidFill>
                <a:srgbClr val="002060"/>
              </a:solidFill>
            </a:endParaRPr>
          </a:p>
        </p:txBody>
      </p:sp>
      <p:sp>
        <p:nvSpPr>
          <p:cNvPr id="601" name="CuadroTexto 600"/>
          <p:cNvSpPr txBox="1"/>
          <p:nvPr/>
        </p:nvSpPr>
        <p:spPr>
          <a:xfrm>
            <a:off x="9968217" y="2187479"/>
            <a:ext cx="112319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PE" sz="1400" b="1" dirty="0">
                <a:solidFill>
                  <a:prstClr val="black"/>
                </a:solidFill>
              </a:rPr>
              <a:t>China </a:t>
            </a:r>
            <a:r>
              <a:rPr lang="es-PE" sz="1200" b="1" dirty="0">
                <a:solidFill>
                  <a:srgbClr val="002060"/>
                </a:solidFill>
              </a:rPr>
              <a:t>(3,4%)</a:t>
            </a:r>
            <a:endParaRPr lang="es-PE" sz="1400" b="1" dirty="0">
              <a:solidFill>
                <a:prstClr val="black"/>
              </a:solidFill>
            </a:endParaRPr>
          </a:p>
          <a:p>
            <a:r>
              <a:rPr lang="es-PE" sz="1400" b="1" dirty="0">
                <a:solidFill>
                  <a:srgbClr val="FF0000"/>
                </a:solidFill>
              </a:rPr>
              <a:t> US$ 403</a:t>
            </a:r>
            <a:endParaRPr lang="es-PE" sz="1200" b="1" dirty="0">
              <a:solidFill>
                <a:srgbClr val="002060"/>
              </a:solidFill>
            </a:endParaRPr>
          </a:p>
        </p:txBody>
      </p:sp>
      <p:sp>
        <p:nvSpPr>
          <p:cNvPr id="602" name="CuadroTexto 601"/>
          <p:cNvSpPr txBox="1"/>
          <p:nvPr/>
        </p:nvSpPr>
        <p:spPr>
          <a:xfrm>
            <a:off x="6969232" y="1359677"/>
            <a:ext cx="833883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sz="1100" b="1" dirty="0">
                <a:solidFill>
                  <a:prstClr val="black"/>
                </a:solidFill>
              </a:rPr>
              <a:t>Paltas</a:t>
            </a:r>
          </a:p>
          <a:p>
            <a:r>
              <a:rPr lang="es-PE" sz="1100" b="1" dirty="0">
                <a:solidFill>
                  <a:prstClr val="black"/>
                </a:solidFill>
              </a:rPr>
              <a:t>Arándanos</a:t>
            </a:r>
          </a:p>
          <a:p>
            <a:r>
              <a:rPr lang="es-PE" sz="1100" b="1" dirty="0">
                <a:solidFill>
                  <a:prstClr val="black"/>
                </a:solidFill>
              </a:rPr>
              <a:t>Mangos</a:t>
            </a:r>
          </a:p>
          <a:p>
            <a:r>
              <a:rPr lang="es-PE" sz="1100" b="1" dirty="0">
                <a:solidFill>
                  <a:prstClr val="black"/>
                </a:solidFill>
              </a:rPr>
              <a:t>Uvas</a:t>
            </a:r>
            <a:endParaRPr lang="es-PE" sz="1400" b="1" dirty="0">
              <a:solidFill>
                <a:prstClr val="black"/>
              </a:solidFill>
            </a:endParaRPr>
          </a:p>
        </p:txBody>
      </p:sp>
      <p:sp>
        <p:nvSpPr>
          <p:cNvPr id="603" name="CuadroTexto 602"/>
          <p:cNvSpPr txBox="1"/>
          <p:nvPr/>
        </p:nvSpPr>
        <p:spPr>
          <a:xfrm>
            <a:off x="9998111" y="2655225"/>
            <a:ext cx="833883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sz="1100" b="1" dirty="0">
                <a:solidFill>
                  <a:prstClr val="black"/>
                </a:solidFill>
              </a:rPr>
              <a:t>Pota</a:t>
            </a:r>
          </a:p>
          <a:p>
            <a:r>
              <a:rPr lang="es-PE" sz="1100" b="1" dirty="0">
                <a:solidFill>
                  <a:prstClr val="black"/>
                </a:solidFill>
              </a:rPr>
              <a:t>Pelo fino</a:t>
            </a:r>
          </a:p>
          <a:p>
            <a:r>
              <a:rPr lang="es-PE" sz="1100" b="1" dirty="0">
                <a:solidFill>
                  <a:prstClr val="black"/>
                </a:solidFill>
              </a:rPr>
              <a:t>Arándanos</a:t>
            </a:r>
          </a:p>
          <a:p>
            <a:r>
              <a:rPr lang="es-PE" sz="1100" b="1" dirty="0">
                <a:solidFill>
                  <a:prstClr val="black"/>
                </a:solidFill>
              </a:rPr>
              <a:t>Uvas</a:t>
            </a:r>
            <a:endParaRPr lang="es-PE" sz="1200" b="1" dirty="0">
              <a:solidFill>
                <a:prstClr val="black"/>
              </a:solidFill>
            </a:endParaRPr>
          </a:p>
        </p:txBody>
      </p:sp>
      <p:sp>
        <p:nvSpPr>
          <p:cNvPr id="604" name="Rectángulo 19"/>
          <p:cNvSpPr/>
          <p:nvPr/>
        </p:nvSpPr>
        <p:spPr>
          <a:xfrm>
            <a:off x="-3473" y="95697"/>
            <a:ext cx="12199160" cy="8485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rmAutofit/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s-PE" sz="2400" b="1" spc="-60" dirty="0">
                <a:solidFill>
                  <a:srgbClr val="C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Incrementando nuestra presencia en los principales mercados internacionales</a:t>
            </a:r>
          </a:p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s-PE" sz="1600" b="1" spc="-60" dirty="0">
                <a:solidFill>
                  <a:srgbClr val="C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Exportaciones peruanas no tradicionales 2017</a:t>
            </a:r>
          </a:p>
        </p:txBody>
      </p:sp>
      <p:sp>
        <p:nvSpPr>
          <p:cNvPr id="605" name="1 CuadroTexto"/>
          <p:cNvSpPr txBox="1"/>
          <p:nvPr/>
        </p:nvSpPr>
        <p:spPr>
          <a:xfrm>
            <a:off x="7023386" y="5429342"/>
            <a:ext cx="2266950" cy="1292662"/>
          </a:xfrm>
          <a:prstGeom prst="rect">
            <a:avLst/>
          </a:prstGeom>
          <a:solidFill>
            <a:srgbClr val="F48036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r>
              <a:rPr lang="es-PE" sz="1300" b="1" dirty="0">
                <a:solidFill>
                  <a:prstClr val="white"/>
                </a:solidFill>
              </a:rPr>
              <a:t>América:</a:t>
            </a:r>
            <a:r>
              <a:rPr lang="es-PE" sz="1300" dirty="0">
                <a:solidFill>
                  <a:prstClr val="white"/>
                </a:solidFill>
              </a:rPr>
              <a:t> US$    7 475 millones</a:t>
            </a:r>
          </a:p>
          <a:p>
            <a:r>
              <a:rPr lang="es-PE" sz="1300" b="1" dirty="0">
                <a:solidFill>
                  <a:prstClr val="white"/>
                </a:solidFill>
              </a:rPr>
              <a:t>Europa:</a:t>
            </a:r>
            <a:r>
              <a:rPr lang="es-PE" sz="1300" dirty="0">
                <a:solidFill>
                  <a:prstClr val="white"/>
                </a:solidFill>
              </a:rPr>
              <a:t>   US$    2 858 millones</a:t>
            </a:r>
          </a:p>
          <a:p>
            <a:r>
              <a:rPr lang="es-PE" sz="1300" b="1" dirty="0">
                <a:solidFill>
                  <a:prstClr val="white"/>
                </a:solidFill>
              </a:rPr>
              <a:t>Asia:</a:t>
            </a:r>
            <a:r>
              <a:rPr lang="es-PE" sz="1300" dirty="0">
                <a:solidFill>
                  <a:prstClr val="white"/>
                </a:solidFill>
              </a:rPr>
              <a:t>        US$    1 218 millones</a:t>
            </a:r>
          </a:p>
          <a:p>
            <a:r>
              <a:rPr lang="es-PE" sz="1300" b="1" dirty="0">
                <a:solidFill>
                  <a:prstClr val="white"/>
                </a:solidFill>
              </a:rPr>
              <a:t>África:</a:t>
            </a:r>
            <a:r>
              <a:rPr lang="es-PE" sz="1300" dirty="0">
                <a:solidFill>
                  <a:prstClr val="white"/>
                </a:solidFill>
              </a:rPr>
              <a:t>     US$       110 millones</a:t>
            </a:r>
          </a:p>
          <a:p>
            <a:r>
              <a:rPr lang="es-PE" sz="1300" b="1" dirty="0">
                <a:solidFill>
                  <a:prstClr val="white"/>
                </a:solidFill>
              </a:rPr>
              <a:t>Oceanía:</a:t>
            </a:r>
            <a:r>
              <a:rPr lang="es-PE" sz="1300" dirty="0">
                <a:solidFill>
                  <a:prstClr val="white"/>
                </a:solidFill>
              </a:rPr>
              <a:t>  US$        70 millones</a:t>
            </a:r>
          </a:p>
          <a:p>
            <a:r>
              <a:rPr lang="es-PE" sz="1300" dirty="0">
                <a:solidFill>
                  <a:prstClr val="white"/>
                </a:solidFill>
              </a:rPr>
              <a:t>Total:       US$ 11 730 millones</a:t>
            </a:r>
          </a:p>
        </p:txBody>
      </p:sp>
      <p:sp>
        <p:nvSpPr>
          <p:cNvPr id="606" name="CuadroTexto 605"/>
          <p:cNvSpPr txBox="1"/>
          <p:nvPr/>
        </p:nvSpPr>
        <p:spPr>
          <a:xfrm>
            <a:off x="7081294" y="5135097"/>
            <a:ext cx="213986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PE" sz="1400" b="1" dirty="0">
                <a:solidFill>
                  <a:srgbClr val="009900"/>
                </a:solidFill>
              </a:rPr>
              <a:t>Destinos no tradicionales:</a:t>
            </a:r>
          </a:p>
        </p:txBody>
      </p:sp>
      <p:sp>
        <p:nvSpPr>
          <p:cNvPr id="607" name="CuadroTexto 606"/>
          <p:cNvSpPr txBox="1"/>
          <p:nvPr/>
        </p:nvSpPr>
        <p:spPr>
          <a:xfrm>
            <a:off x="10619932" y="6118045"/>
            <a:ext cx="142699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sz="1000" dirty="0">
                <a:solidFill>
                  <a:prstClr val="black"/>
                </a:solidFill>
              </a:rPr>
              <a:t>Fuente: SUNAT</a:t>
            </a:r>
          </a:p>
          <a:p>
            <a:r>
              <a:rPr lang="es-PE" sz="1000" dirty="0">
                <a:solidFill>
                  <a:prstClr val="black"/>
                </a:solidFill>
              </a:rPr>
              <a:t>Elaboración: MINCETUR</a:t>
            </a:r>
          </a:p>
        </p:txBody>
      </p:sp>
      <p:sp>
        <p:nvSpPr>
          <p:cNvPr id="570" name="CuadroTexto 569"/>
          <p:cNvSpPr txBox="1"/>
          <p:nvPr/>
        </p:nvSpPr>
        <p:spPr>
          <a:xfrm>
            <a:off x="457625" y="926570"/>
            <a:ext cx="41870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sz="3600" b="1" dirty="0">
                <a:solidFill>
                  <a:srgbClr val="FF0000"/>
                </a:solidFill>
              </a:rPr>
              <a:t>1</a:t>
            </a:r>
            <a:endParaRPr lang="es-PE" b="1" dirty="0">
              <a:solidFill>
                <a:srgbClr val="FF0000"/>
              </a:solidFill>
            </a:endParaRPr>
          </a:p>
        </p:txBody>
      </p:sp>
      <p:sp>
        <p:nvSpPr>
          <p:cNvPr id="571" name="CuadroTexto 570"/>
          <p:cNvSpPr txBox="1"/>
          <p:nvPr/>
        </p:nvSpPr>
        <p:spPr>
          <a:xfrm>
            <a:off x="602223" y="2788114"/>
            <a:ext cx="41870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sz="3600" b="1" dirty="0">
                <a:solidFill>
                  <a:srgbClr val="FF0000"/>
                </a:solidFill>
              </a:rPr>
              <a:t>6</a:t>
            </a:r>
            <a:endParaRPr lang="es-PE" b="1" dirty="0">
              <a:solidFill>
                <a:srgbClr val="FF0000"/>
              </a:solidFill>
            </a:endParaRPr>
          </a:p>
        </p:txBody>
      </p:sp>
      <p:sp>
        <p:nvSpPr>
          <p:cNvPr id="572" name="CuadroTexto 571"/>
          <p:cNvSpPr txBox="1"/>
          <p:nvPr/>
        </p:nvSpPr>
        <p:spPr>
          <a:xfrm>
            <a:off x="1655693" y="3863708"/>
            <a:ext cx="41870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sz="3600" b="1" dirty="0">
                <a:solidFill>
                  <a:srgbClr val="FF0000"/>
                </a:solidFill>
              </a:rPr>
              <a:t>3</a:t>
            </a:r>
            <a:endParaRPr lang="es-PE" b="1" dirty="0">
              <a:solidFill>
                <a:srgbClr val="FF0000"/>
              </a:solidFill>
            </a:endParaRPr>
          </a:p>
        </p:txBody>
      </p:sp>
      <p:sp>
        <p:nvSpPr>
          <p:cNvPr id="573" name="CuadroTexto 572"/>
          <p:cNvSpPr txBox="1"/>
          <p:nvPr/>
        </p:nvSpPr>
        <p:spPr>
          <a:xfrm>
            <a:off x="2103721" y="5169578"/>
            <a:ext cx="41870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sz="3600" b="1" dirty="0">
                <a:solidFill>
                  <a:srgbClr val="FF0000"/>
                </a:solidFill>
              </a:rPr>
              <a:t>4</a:t>
            </a:r>
            <a:endParaRPr lang="es-PE" b="1" dirty="0">
              <a:solidFill>
                <a:srgbClr val="FF0000"/>
              </a:solidFill>
            </a:endParaRPr>
          </a:p>
        </p:txBody>
      </p:sp>
      <p:sp>
        <p:nvSpPr>
          <p:cNvPr id="575" name="CuadroTexto 574"/>
          <p:cNvSpPr txBox="1"/>
          <p:nvPr/>
        </p:nvSpPr>
        <p:spPr>
          <a:xfrm>
            <a:off x="4900521" y="4343151"/>
            <a:ext cx="41870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sz="3600" b="1" dirty="0">
                <a:solidFill>
                  <a:srgbClr val="FF0000"/>
                </a:solidFill>
              </a:rPr>
              <a:t>9</a:t>
            </a:r>
            <a:endParaRPr lang="es-PE" b="1" dirty="0">
              <a:solidFill>
                <a:srgbClr val="FF0000"/>
              </a:solidFill>
            </a:endParaRPr>
          </a:p>
        </p:txBody>
      </p:sp>
      <p:sp>
        <p:nvSpPr>
          <p:cNvPr id="576" name="CuadroTexto 575"/>
          <p:cNvSpPr txBox="1"/>
          <p:nvPr/>
        </p:nvSpPr>
        <p:spPr>
          <a:xfrm>
            <a:off x="4338631" y="2736384"/>
            <a:ext cx="41870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sz="3600" b="1" dirty="0">
                <a:solidFill>
                  <a:srgbClr val="FF0000"/>
                </a:solidFill>
              </a:rPr>
              <a:t>5</a:t>
            </a:r>
            <a:endParaRPr lang="es-PE" b="1" dirty="0">
              <a:solidFill>
                <a:srgbClr val="FF0000"/>
              </a:solidFill>
            </a:endParaRPr>
          </a:p>
        </p:txBody>
      </p:sp>
      <p:sp>
        <p:nvSpPr>
          <p:cNvPr id="577" name="CuadroTexto 576"/>
          <p:cNvSpPr txBox="1"/>
          <p:nvPr/>
        </p:nvSpPr>
        <p:spPr>
          <a:xfrm>
            <a:off x="4388346" y="1202042"/>
            <a:ext cx="65274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sz="3600" b="1" dirty="0">
                <a:solidFill>
                  <a:srgbClr val="FF0000"/>
                </a:solidFill>
              </a:rPr>
              <a:t>10</a:t>
            </a:r>
            <a:endParaRPr lang="es-PE" b="1" dirty="0">
              <a:solidFill>
                <a:srgbClr val="FF0000"/>
              </a:solidFill>
            </a:endParaRPr>
          </a:p>
        </p:txBody>
      </p:sp>
      <p:sp>
        <p:nvSpPr>
          <p:cNvPr id="578" name="CuadroTexto 577"/>
          <p:cNvSpPr txBox="1"/>
          <p:nvPr/>
        </p:nvSpPr>
        <p:spPr>
          <a:xfrm>
            <a:off x="6592976" y="876377"/>
            <a:ext cx="41870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sz="3600" b="1" dirty="0">
                <a:solidFill>
                  <a:srgbClr val="FF0000"/>
                </a:solidFill>
              </a:rPr>
              <a:t>2</a:t>
            </a:r>
            <a:endParaRPr lang="es-PE" b="1" dirty="0">
              <a:solidFill>
                <a:srgbClr val="FF0000"/>
              </a:solidFill>
            </a:endParaRPr>
          </a:p>
        </p:txBody>
      </p:sp>
      <p:sp>
        <p:nvSpPr>
          <p:cNvPr id="579" name="CuadroTexto 578"/>
          <p:cNvSpPr txBox="1"/>
          <p:nvPr/>
        </p:nvSpPr>
        <p:spPr>
          <a:xfrm>
            <a:off x="9612508" y="2247623"/>
            <a:ext cx="41870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sz="3600" b="1" dirty="0">
                <a:solidFill>
                  <a:srgbClr val="FF0000"/>
                </a:solidFill>
              </a:rPr>
              <a:t>8</a:t>
            </a:r>
            <a:endParaRPr lang="es-PE" b="1" dirty="0">
              <a:solidFill>
                <a:srgbClr val="FF0000"/>
              </a:solidFill>
            </a:endParaRPr>
          </a:p>
        </p:txBody>
      </p:sp>
      <p:sp>
        <p:nvSpPr>
          <p:cNvPr id="591" name="CuadroTexto 590"/>
          <p:cNvSpPr txBox="1"/>
          <p:nvPr/>
        </p:nvSpPr>
        <p:spPr>
          <a:xfrm>
            <a:off x="4173185" y="5558083"/>
            <a:ext cx="41870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sz="3600" b="1" dirty="0">
                <a:solidFill>
                  <a:srgbClr val="FF0000"/>
                </a:solidFill>
              </a:rPr>
              <a:t>7</a:t>
            </a:r>
            <a:endParaRPr lang="es-PE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40947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5" name="Group 44"/>
          <p:cNvGrpSpPr>
            <a:grpSpLocks/>
          </p:cNvGrpSpPr>
          <p:nvPr/>
        </p:nvGrpSpPr>
        <p:grpSpPr bwMode="auto">
          <a:xfrm>
            <a:off x="632028" y="1444623"/>
            <a:ext cx="11003989" cy="4838700"/>
            <a:chOff x="56" y="1006"/>
            <a:chExt cx="5634" cy="3048"/>
          </a:xfrm>
          <a:noFill/>
        </p:grpSpPr>
        <p:sp>
          <p:nvSpPr>
            <p:cNvPr id="119" name="Freeform 4"/>
            <p:cNvSpPr>
              <a:spLocks noChangeAspect="1" noEditPoints="1"/>
            </p:cNvSpPr>
            <p:nvPr/>
          </p:nvSpPr>
          <p:spPr bwMode="auto">
            <a:xfrm>
              <a:off x="2489" y="1006"/>
              <a:ext cx="3201" cy="2883"/>
            </a:xfrm>
            <a:custGeom>
              <a:avLst/>
              <a:gdLst/>
              <a:ahLst/>
              <a:cxnLst>
                <a:cxn ang="0">
                  <a:pos x="2146" y="1956"/>
                </a:cxn>
                <a:cxn ang="0">
                  <a:pos x="2100" y="1866"/>
                </a:cxn>
                <a:cxn ang="0">
                  <a:pos x="2180" y="1810"/>
                </a:cxn>
                <a:cxn ang="0">
                  <a:pos x="2152" y="1724"/>
                </a:cxn>
                <a:cxn ang="0">
                  <a:pos x="2920" y="422"/>
                </a:cxn>
                <a:cxn ang="0">
                  <a:pos x="2474" y="286"/>
                </a:cxn>
                <a:cxn ang="0">
                  <a:pos x="2216" y="240"/>
                </a:cxn>
                <a:cxn ang="0">
                  <a:pos x="2010" y="144"/>
                </a:cxn>
                <a:cxn ang="0">
                  <a:pos x="1482" y="300"/>
                </a:cxn>
                <a:cxn ang="0">
                  <a:pos x="1316" y="436"/>
                </a:cxn>
                <a:cxn ang="0">
                  <a:pos x="972" y="526"/>
                </a:cxn>
                <a:cxn ang="0">
                  <a:pos x="842" y="632"/>
                </a:cxn>
                <a:cxn ang="0">
                  <a:pos x="778" y="422"/>
                </a:cxn>
                <a:cxn ang="0">
                  <a:pos x="502" y="484"/>
                </a:cxn>
                <a:cxn ang="0">
                  <a:pos x="442" y="796"/>
                </a:cxn>
                <a:cxn ang="0">
                  <a:pos x="536" y="746"/>
                </a:cxn>
                <a:cxn ang="0">
                  <a:pos x="704" y="766"/>
                </a:cxn>
                <a:cxn ang="0">
                  <a:pos x="516" y="938"/>
                </a:cxn>
                <a:cxn ang="0">
                  <a:pos x="404" y="942"/>
                </a:cxn>
                <a:cxn ang="0">
                  <a:pos x="226" y="1106"/>
                </a:cxn>
                <a:cxn ang="0">
                  <a:pos x="164" y="1322"/>
                </a:cxn>
                <a:cxn ang="0">
                  <a:pos x="508" y="1316"/>
                </a:cxn>
                <a:cxn ang="0">
                  <a:pos x="570" y="1260"/>
                </a:cxn>
                <a:cxn ang="0">
                  <a:pos x="748" y="1330"/>
                </a:cxn>
                <a:cxn ang="0">
                  <a:pos x="534" y="1434"/>
                </a:cxn>
                <a:cxn ang="0">
                  <a:pos x="190" y="1354"/>
                </a:cxn>
                <a:cxn ang="0">
                  <a:pos x="32" y="1772"/>
                </a:cxn>
                <a:cxn ang="0">
                  <a:pos x="392" y="1878"/>
                </a:cxn>
                <a:cxn ang="0">
                  <a:pos x="484" y="2302"/>
                </a:cxn>
                <a:cxn ang="0">
                  <a:pos x="838" y="2228"/>
                </a:cxn>
                <a:cxn ang="0">
                  <a:pos x="1054" y="1770"/>
                </a:cxn>
                <a:cxn ang="0">
                  <a:pos x="898" y="1636"/>
                </a:cxn>
                <a:cxn ang="0">
                  <a:pos x="1058" y="1534"/>
                </a:cxn>
                <a:cxn ang="0">
                  <a:pos x="1386" y="1598"/>
                </a:cxn>
                <a:cxn ang="0">
                  <a:pos x="1728" y="1676"/>
                </a:cxn>
                <a:cxn ang="0">
                  <a:pos x="1848" y="1742"/>
                </a:cxn>
                <a:cxn ang="0">
                  <a:pos x="2076" y="1570"/>
                </a:cxn>
                <a:cxn ang="0">
                  <a:pos x="2158" y="1260"/>
                </a:cxn>
                <a:cxn ang="0">
                  <a:pos x="2314" y="1218"/>
                </a:cxn>
                <a:cxn ang="0">
                  <a:pos x="2576" y="796"/>
                </a:cxn>
                <a:cxn ang="0">
                  <a:pos x="2702" y="854"/>
                </a:cxn>
                <a:cxn ang="0">
                  <a:pos x="2908" y="786"/>
                </a:cxn>
                <a:cxn ang="0">
                  <a:pos x="864" y="1244"/>
                </a:cxn>
                <a:cxn ang="0">
                  <a:pos x="870" y="1166"/>
                </a:cxn>
                <a:cxn ang="0">
                  <a:pos x="980" y="1256"/>
                </a:cxn>
                <a:cxn ang="0">
                  <a:pos x="1140" y="262"/>
                </a:cxn>
                <a:cxn ang="0">
                  <a:pos x="1082" y="252"/>
                </a:cxn>
                <a:cxn ang="0">
                  <a:pos x="120" y="984"/>
                </a:cxn>
                <a:cxn ang="0">
                  <a:pos x="1814" y="1942"/>
                </a:cxn>
                <a:cxn ang="0">
                  <a:pos x="1030" y="2140"/>
                </a:cxn>
                <a:cxn ang="0">
                  <a:pos x="208" y="1038"/>
                </a:cxn>
                <a:cxn ang="0">
                  <a:pos x="206" y="840"/>
                </a:cxn>
                <a:cxn ang="0">
                  <a:pos x="2980" y="2638"/>
                </a:cxn>
                <a:cxn ang="0">
                  <a:pos x="2880" y="2756"/>
                </a:cxn>
                <a:cxn ang="0">
                  <a:pos x="2308" y="1394"/>
                </a:cxn>
                <a:cxn ang="0">
                  <a:pos x="2434" y="2068"/>
                </a:cxn>
                <a:cxn ang="0">
                  <a:pos x="2320" y="1948"/>
                </a:cxn>
                <a:cxn ang="0">
                  <a:pos x="2384" y="2138"/>
                </a:cxn>
                <a:cxn ang="0">
                  <a:pos x="2054" y="2448"/>
                </a:cxn>
                <a:cxn ang="0">
                  <a:pos x="2544" y="2592"/>
                </a:cxn>
                <a:cxn ang="0">
                  <a:pos x="2476" y="954"/>
                </a:cxn>
                <a:cxn ang="0">
                  <a:pos x="2488" y="1226"/>
                </a:cxn>
                <a:cxn ang="0">
                  <a:pos x="2408" y="1360"/>
                </a:cxn>
              </a:cxnLst>
              <a:rect l="0" t="0" r="r" b="b"/>
              <a:pathLst>
                <a:path w="3062" h="2758">
                  <a:moveTo>
                    <a:pt x="1982" y="1630"/>
                  </a:moveTo>
                  <a:lnTo>
                    <a:pt x="1982" y="1630"/>
                  </a:lnTo>
                  <a:lnTo>
                    <a:pt x="1976" y="1628"/>
                  </a:lnTo>
                  <a:lnTo>
                    <a:pt x="1972" y="1630"/>
                  </a:lnTo>
                  <a:lnTo>
                    <a:pt x="1972" y="1630"/>
                  </a:lnTo>
                  <a:lnTo>
                    <a:pt x="1962" y="1640"/>
                  </a:lnTo>
                  <a:lnTo>
                    <a:pt x="1962" y="1640"/>
                  </a:lnTo>
                  <a:lnTo>
                    <a:pt x="1960" y="1644"/>
                  </a:lnTo>
                  <a:lnTo>
                    <a:pt x="1962" y="1650"/>
                  </a:lnTo>
                  <a:lnTo>
                    <a:pt x="1962" y="1650"/>
                  </a:lnTo>
                  <a:lnTo>
                    <a:pt x="1966" y="1652"/>
                  </a:lnTo>
                  <a:lnTo>
                    <a:pt x="1972" y="1650"/>
                  </a:lnTo>
                  <a:lnTo>
                    <a:pt x="1972" y="1650"/>
                  </a:lnTo>
                  <a:lnTo>
                    <a:pt x="1982" y="1640"/>
                  </a:lnTo>
                  <a:lnTo>
                    <a:pt x="1982" y="1640"/>
                  </a:lnTo>
                  <a:lnTo>
                    <a:pt x="1984" y="1634"/>
                  </a:lnTo>
                  <a:lnTo>
                    <a:pt x="1982" y="1630"/>
                  </a:lnTo>
                  <a:lnTo>
                    <a:pt x="1982" y="1630"/>
                  </a:lnTo>
                  <a:close/>
                  <a:moveTo>
                    <a:pt x="2112" y="1982"/>
                  </a:moveTo>
                  <a:lnTo>
                    <a:pt x="2112" y="1982"/>
                  </a:lnTo>
                  <a:lnTo>
                    <a:pt x="2116" y="1994"/>
                  </a:lnTo>
                  <a:lnTo>
                    <a:pt x="2120" y="2000"/>
                  </a:lnTo>
                  <a:lnTo>
                    <a:pt x="2120" y="2000"/>
                  </a:lnTo>
                  <a:lnTo>
                    <a:pt x="2122" y="2006"/>
                  </a:lnTo>
                  <a:lnTo>
                    <a:pt x="2122" y="2014"/>
                  </a:lnTo>
                  <a:lnTo>
                    <a:pt x="2122" y="2018"/>
                  </a:lnTo>
                  <a:lnTo>
                    <a:pt x="2122" y="2018"/>
                  </a:lnTo>
                  <a:lnTo>
                    <a:pt x="2124" y="2022"/>
                  </a:lnTo>
                  <a:lnTo>
                    <a:pt x="2126" y="2024"/>
                  </a:lnTo>
                  <a:lnTo>
                    <a:pt x="2128" y="2026"/>
                  </a:lnTo>
                  <a:lnTo>
                    <a:pt x="2130" y="2026"/>
                  </a:lnTo>
                  <a:lnTo>
                    <a:pt x="2134" y="2026"/>
                  </a:lnTo>
                  <a:lnTo>
                    <a:pt x="2134" y="2026"/>
                  </a:lnTo>
                  <a:lnTo>
                    <a:pt x="2140" y="2024"/>
                  </a:lnTo>
                  <a:lnTo>
                    <a:pt x="2142" y="2022"/>
                  </a:lnTo>
                  <a:lnTo>
                    <a:pt x="2142" y="2022"/>
                  </a:lnTo>
                  <a:lnTo>
                    <a:pt x="2142" y="2008"/>
                  </a:lnTo>
                  <a:lnTo>
                    <a:pt x="2142" y="1996"/>
                  </a:lnTo>
                  <a:lnTo>
                    <a:pt x="2142" y="1996"/>
                  </a:lnTo>
                  <a:lnTo>
                    <a:pt x="2144" y="1992"/>
                  </a:lnTo>
                  <a:lnTo>
                    <a:pt x="2146" y="1994"/>
                  </a:lnTo>
                  <a:lnTo>
                    <a:pt x="2148" y="2000"/>
                  </a:lnTo>
                  <a:lnTo>
                    <a:pt x="2148" y="2000"/>
                  </a:lnTo>
                  <a:lnTo>
                    <a:pt x="2158" y="2012"/>
                  </a:lnTo>
                  <a:lnTo>
                    <a:pt x="2166" y="2020"/>
                  </a:lnTo>
                  <a:lnTo>
                    <a:pt x="2166" y="2020"/>
                  </a:lnTo>
                  <a:lnTo>
                    <a:pt x="2172" y="2024"/>
                  </a:lnTo>
                  <a:lnTo>
                    <a:pt x="2180" y="2026"/>
                  </a:lnTo>
                  <a:lnTo>
                    <a:pt x="2184" y="2026"/>
                  </a:lnTo>
                  <a:lnTo>
                    <a:pt x="2184" y="2026"/>
                  </a:lnTo>
                  <a:lnTo>
                    <a:pt x="2186" y="2026"/>
                  </a:lnTo>
                  <a:lnTo>
                    <a:pt x="2188" y="2024"/>
                  </a:lnTo>
                  <a:lnTo>
                    <a:pt x="2190" y="2022"/>
                  </a:lnTo>
                  <a:lnTo>
                    <a:pt x="2188" y="2020"/>
                  </a:lnTo>
                  <a:lnTo>
                    <a:pt x="2186" y="2014"/>
                  </a:lnTo>
                  <a:lnTo>
                    <a:pt x="2186" y="2014"/>
                  </a:lnTo>
                  <a:lnTo>
                    <a:pt x="2176" y="2002"/>
                  </a:lnTo>
                  <a:lnTo>
                    <a:pt x="2168" y="1992"/>
                  </a:lnTo>
                  <a:lnTo>
                    <a:pt x="2168" y="1992"/>
                  </a:lnTo>
                  <a:lnTo>
                    <a:pt x="2166" y="1988"/>
                  </a:lnTo>
                  <a:lnTo>
                    <a:pt x="2166" y="1984"/>
                  </a:lnTo>
                  <a:lnTo>
                    <a:pt x="2168" y="1982"/>
                  </a:lnTo>
                  <a:lnTo>
                    <a:pt x="2168" y="1982"/>
                  </a:lnTo>
                  <a:lnTo>
                    <a:pt x="2178" y="1972"/>
                  </a:lnTo>
                  <a:lnTo>
                    <a:pt x="2178" y="1972"/>
                  </a:lnTo>
                  <a:lnTo>
                    <a:pt x="2180" y="1968"/>
                  </a:lnTo>
                  <a:lnTo>
                    <a:pt x="2182" y="1962"/>
                  </a:lnTo>
                  <a:lnTo>
                    <a:pt x="2182" y="1962"/>
                  </a:lnTo>
                  <a:lnTo>
                    <a:pt x="2180" y="1960"/>
                  </a:lnTo>
                  <a:lnTo>
                    <a:pt x="2174" y="1958"/>
                  </a:lnTo>
                  <a:lnTo>
                    <a:pt x="2150" y="1958"/>
                  </a:lnTo>
                  <a:lnTo>
                    <a:pt x="2150" y="1958"/>
                  </a:lnTo>
                  <a:lnTo>
                    <a:pt x="2148" y="1958"/>
                  </a:lnTo>
                  <a:lnTo>
                    <a:pt x="2146" y="1956"/>
                  </a:lnTo>
                  <a:lnTo>
                    <a:pt x="2146" y="1954"/>
                  </a:lnTo>
                  <a:lnTo>
                    <a:pt x="2146" y="1950"/>
                  </a:lnTo>
                  <a:lnTo>
                    <a:pt x="2148" y="1946"/>
                  </a:lnTo>
                  <a:lnTo>
                    <a:pt x="2148" y="1946"/>
                  </a:lnTo>
                  <a:lnTo>
                    <a:pt x="2158" y="1934"/>
                  </a:lnTo>
                  <a:lnTo>
                    <a:pt x="2158" y="1934"/>
                  </a:lnTo>
                  <a:lnTo>
                    <a:pt x="2158" y="1932"/>
                  </a:lnTo>
                  <a:lnTo>
                    <a:pt x="2158" y="1930"/>
                  </a:lnTo>
                  <a:lnTo>
                    <a:pt x="2154" y="1928"/>
                  </a:lnTo>
                  <a:lnTo>
                    <a:pt x="2150" y="1928"/>
                  </a:lnTo>
                  <a:lnTo>
                    <a:pt x="2150" y="1928"/>
                  </a:lnTo>
                  <a:lnTo>
                    <a:pt x="2144" y="1930"/>
                  </a:lnTo>
                  <a:lnTo>
                    <a:pt x="2138" y="1934"/>
                  </a:lnTo>
                  <a:lnTo>
                    <a:pt x="2138" y="1934"/>
                  </a:lnTo>
                  <a:lnTo>
                    <a:pt x="2130" y="1946"/>
                  </a:lnTo>
                  <a:lnTo>
                    <a:pt x="2116" y="1970"/>
                  </a:lnTo>
                  <a:lnTo>
                    <a:pt x="2116" y="1970"/>
                  </a:lnTo>
                  <a:lnTo>
                    <a:pt x="2112" y="1982"/>
                  </a:lnTo>
                  <a:lnTo>
                    <a:pt x="2112" y="1982"/>
                  </a:lnTo>
                  <a:close/>
                  <a:moveTo>
                    <a:pt x="1966" y="1940"/>
                  </a:moveTo>
                  <a:lnTo>
                    <a:pt x="1966" y="1940"/>
                  </a:lnTo>
                  <a:lnTo>
                    <a:pt x="1968" y="1948"/>
                  </a:lnTo>
                  <a:lnTo>
                    <a:pt x="1970" y="1954"/>
                  </a:lnTo>
                  <a:lnTo>
                    <a:pt x="1972" y="1960"/>
                  </a:lnTo>
                  <a:lnTo>
                    <a:pt x="1972" y="1960"/>
                  </a:lnTo>
                  <a:lnTo>
                    <a:pt x="1980" y="1974"/>
                  </a:lnTo>
                  <a:lnTo>
                    <a:pt x="1982" y="1980"/>
                  </a:lnTo>
                  <a:lnTo>
                    <a:pt x="1982" y="1980"/>
                  </a:lnTo>
                  <a:lnTo>
                    <a:pt x="1988" y="1984"/>
                  </a:lnTo>
                  <a:lnTo>
                    <a:pt x="1994" y="1986"/>
                  </a:lnTo>
                  <a:lnTo>
                    <a:pt x="1998" y="1986"/>
                  </a:lnTo>
                  <a:lnTo>
                    <a:pt x="1998" y="1986"/>
                  </a:lnTo>
                  <a:lnTo>
                    <a:pt x="2014" y="1986"/>
                  </a:lnTo>
                  <a:lnTo>
                    <a:pt x="2018" y="1986"/>
                  </a:lnTo>
                  <a:lnTo>
                    <a:pt x="2018" y="1986"/>
                  </a:lnTo>
                  <a:lnTo>
                    <a:pt x="2024" y="1988"/>
                  </a:lnTo>
                  <a:lnTo>
                    <a:pt x="2032" y="1990"/>
                  </a:lnTo>
                  <a:lnTo>
                    <a:pt x="2038" y="1992"/>
                  </a:lnTo>
                  <a:lnTo>
                    <a:pt x="2038" y="1992"/>
                  </a:lnTo>
                  <a:lnTo>
                    <a:pt x="2044" y="1996"/>
                  </a:lnTo>
                  <a:lnTo>
                    <a:pt x="2052" y="1996"/>
                  </a:lnTo>
                  <a:lnTo>
                    <a:pt x="2056" y="1996"/>
                  </a:lnTo>
                  <a:lnTo>
                    <a:pt x="2056" y="1996"/>
                  </a:lnTo>
                  <a:lnTo>
                    <a:pt x="2062" y="1994"/>
                  </a:lnTo>
                  <a:lnTo>
                    <a:pt x="2066" y="1988"/>
                  </a:lnTo>
                  <a:lnTo>
                    <a:pt x="2072" y="1974"/>
                  </a:lnTo>
                  <a:lnTo>
                    <a:pt x="2072" y="1974"/>
                  </a:lnTo>
                  <a:lnTo>
                    <a:pt x="2074" y="1968"/>
                  </a:lnTo>
                  <a:lnTo>
                    <a:pt x="2078" y="1962"/>
                  </a:lnTo>
                  <a:lnTo>
                    <a:pt x="2078" y="1962"/>
                  </a:lnTo>
                  <a:lnTo>
                    <a:pt x="2088" y="1950"/>
                  </a:lnTo>
                  <a:lnTo>
                    <a:pt x="2090" y="1944"/>
                  </a:lnTo>
                  <a:lnTo>
                    <a:pt x="2090" y="1944"/>
                  </a:lnTo>
                  <a:lnTo>
                    <a:pt x="2094" y="1932"/>
                  </a:lnTo>
                  <a:lnTo>
                    <a:pt x="2094" y="1932"/>
                  </a:lnTo>
                  <a:lnTo>
                    <a:pt x="2096" y="1928"/>
                  </a:lnTo>
                  <a:lnTo>
                    <a:pt x="2100" y="1924"/>
                  </a:lnTo>
                  <a:lnTo>
                    <a:pt x="2106" y="1922"/>
                  </a:lnTo>
                  <a:lnTo>
                    <a:pt x="2106" y="1922"/>
                  </a:lnTo>
                  <a:lnTo>
                    <a:pt x="2108" y="1920"/>
                  </a:lnTo>
                  <a:lnTo>
                    <a:pt x="2108" y="1918"/>
                  </a:lnTo>
                  <a:lnTo>
                    <a:pt x="2108" y="1916"/>
                  </a:lnTo>
                  <a:lnTo>
                    <a:pt x="2106" y="1914"/>
                  </a:lnTo>
                  <a:lnTo>
                    <a:pt x="2100" y="1912"/>
                  </a:lnTo>
                  <a:lnTo>
                    <a:pt x="2100" y="1912"/>
                  </a:lnTo>
                  <a:lnTo>
                    <a:pt x="2096" y="1908"/>
                  </a:lnTo>
                  <a:lnTo>
                    <a:pt x="2094" y="1900"/>
                  </a:lnTo>
                  <a:lnTo>
                    <a:pt x="2094" y="1898"/>
                  </a:lnTo>
                  <a:lnTo>
                    <a:pt x="2094" y="1898"/>
                  </a:lnTo>
                  <a:lnTo>
                    <a:pt x="2094" y="1882"/>
                  </a:lnTo>
                  <a:lnTo>
                    <a:pt x="2094" y="1878"/>
                  </a:lnTo>
                  <a:lnTo>
                    <a:pt x="2094" y="1878"/>
                  </a:lnTo>
                  <a:lnTo>
                    <a:pt x="2096" y="1870"/>
                  </a:lnTo>
                  <a:lnTo>
                    <a:pt x="2100" y="1866"/>
                  </a:lnTo>
                  <a:lnTo>
                    <a:pt x="2106" y="1864"/>
                  </a:lnTo>
                  <a:lnTo>
                    <a:pt x="2106" y="1864"/>
                  </a:lnTo>
                  <a:lnTo>
                    <a:pt x="2108" y="1862"/>
                  </a:lnTo>
                  <a:lnTo>
                    <a:pt x="2110" y="1858"/>
                  </a:lnTo>
                  <a:lnTo>
                    <a:pt x="2110" y="1856"/>
                  </a:lnTo>
                  <a:lnTo>
                    <a:pt x="2110" y="1852"/>
                  </a:lnTo>
                  <a:lnTo>
                    <a:pt x="2106" y="1848"/>
                  </a:lnTo>
                  <a:lnTo>
                    <a:pt x="2106" y="1848"/>
                  </a:lnTo>
                  <a:lnTo>
                    <a:pt x="2102" y="1842"/>
                  </a:lnTo>
                  <a:lnTo>
                    <a:pt x="2096" y="1836"/>
                  </a:lnTo>
                  <a:lnTo>
                    <a:pt x="2090" y="1834"/>
                  </a:lnTo>
                  <a:lnTo>
                    <a:pt x="2090" y="1834"/>
                  </a:lnTo>
                  <a:lnTo>
                    <a:pt x="2084" y="1832"/>
                  </a:lnTo>
                  <a:lnTo>
                    <a:pt x="2076" y="1834"/>
                  </a:lnTo>
                  <a:lnTo>
                    <a:pt x="2052" y="1846"/>
                  </a:lnTo>
                  <a:lnTo>
                    <a:pt x="2052" y="1846"/>
                  </a:lnTo>
                  <a:lnTo>
                    <a:pt x="2046" y="1850"/>
                  </a:lnTo>
                  <a:lnTo>
                    <a:pt x="2040" y="1856"/>
                  </a:lnTo>
                  <a:lnTo>
                    <a:pt x="2020" y="1882"/>
                  </a:lnTo>
                  <a:lnTo>
                    <a:pt x="2020" y="1882"/>
                  </a:lnTo>
                  <a:lnTo>
                    <a:pt x="2014" y="1888"/>
                  </a:lnTo>
                  <a:lnTo>
                    <a:pt x="2008" y="1892"/>
                  </a:lnTo>
                  <a:lnTo>
                    <a:pt x="2004" y="1896"/>
                  </a:lnTo>
                  <a:lnTo>
                    <a:pt x="2004" y="1896"/>
                  </a:lnTo>
                  <a:lnTo>
                    <a:pt x="1988" y="1902"/>
                  </a:lnTo>
                  <a:lnTo>
                    <a:pt x="1984" y="1904"/>
                  </a:lnTo>
                  <a:lnTo>
                    <a:pt x="1984" y="1904"/>
                  </a:lnTo>
                  <a:lnTo>
                    <a:pt x="1972" y="1914"/>
                  </a:lnTo>
                  <a:lnTo>
                    <a:pt x="1972" y="1914"/>
                  </a:lnTo>
                  <a:lnTo>
                    <a:pt x="1968" y="1920"/>
                  </a:lnTo>
                  <a:lnTo>
                    <a:pt x="1966" y="1926"/>
                  </a:lnTo>
                  <a:lnTo>
                    <a:pt x="1966" y="1940"/>
                  </a:lnTo>
                  <a:close/>
                  <a:moveTo>
                    <a:pt x="2180" y="1810"/>
                  </a:moveTo>
                  <a:lnTo>
                    <a:pt x="2180" y="1810"/>
                  </a:lnTo>
                  <a:lnTo>
                    <a:pt x="2174" y="1814"/>
                  </a:lnTo>
                  <a:lnTo>
                    <a:pt x="2170" y="1818"/>
                  </a:lnTo>
                  <a:lnTo>
                    <a:pt x="2164" y="1832"/>
                  </a:lnTo>
                  <a:lnTo>
                    <a:pt x="2164" y="1832"/>
                  </a:lnTo>
                  <a:lnTo>
                    <a:pt x="2164" y="1834"/>
                  </a:lnTo>
                  <a:lnTo>
                    <a:pt x="2164" y="1836"/>
                  </a:lnTo>
                  <a:lnTo>
                    <a:pt x="2166" y="1838"/>
                  </a:lnTo>
                  <a:lnTo>
                    <a:pt x="2168" y="1836"/>
                  </a:lnTo>
                  <a:lnTo>
                    <a:pt x="2174" y="1834"/>
                  </a:lnTo>
                  <a:lnTo>
                    <a:pt x="2174" y="1834"/>
                  </a:lnTo>
                  <a:lnTo>
                    <a:pt x="2180" y="1832"/>
                  </a:lnTo>
                  <a:lnTo>
                    <a:pt x="2186" y="1834"/>
                  </a:lnTo>
                  <a:lnTo>
                    <a:pt x="2186" y="1834"/>
                  </a:lnTo>
                  <a:lnTo>
                    <a:pt x="2192" y="1838"/>
                  </a:lnTo>
                  <a:lnTo>
                    <a:pt x="2200" y="1840"/>
                  </a:lnTo>
                  <a:lnTo>
                    <a:pt x="2204" y="1840"/>
                  </a:lnTo>
                  <a:lnTo>
                    <a:pt x="2204" y="1840"/>
                  </a:lnTo>
                  <a:lnTo>
                    <a:pt x="2210" y="1840"/>
                  </a:lnTo>
                  <a:lnTo>
                    <a:pt x="2218" y="1844"/>
                  </a:lnTo>
                  <a:lnTo>
                    <a:pt x="2224" y="1846"/>
                  </a:lnTo>
                  <a:lnTo>
                    <a:pt x="2224" y="1846"/>
                  </a:lnTo>
                  <a:lnTo>
                    <a:pt x="2226" y="1846"/>
                  </a:lnTo>
                  <a:lnTo>
                    <a:pt x="2228" y="1846"/>
                  </a:lnTo>
                  <a:lnTo>
                    <a:pt x="2230" y="1844"/>
                  </a:lnTo>
                  <a:lnTo>
                    <a:pt x="2230" y="1842"/>
                  </a:lnTo>
                  <a:lnTo>
                    <a:pt x="2230" y="1818"/>
                  </a:lnTo>
                  <a:lnTo>
                    <a:pt x="2230" y="1818"/>
                  </a:lnTo>
                  <a:lnTo>
                    <a:pt x="2230" y="1812"/>
                  </a:lnTo>
                  <a:lnTo>
                    <a:pt x="2226" y="1806"/>
                  </a:lnTo>
                  <a:lnTo>
                    <a:pt x="2216" y="1798"/>
                  </a:lnTo>
                  <a:lnTo>
                    <a:pt x="2216" y="1798"/>
                  </a:lnTo>
                  <a:lnTo>
                    <a:pt x="2214" y="1796"/>
                  </a:lnTo>
                  <a:lnTo>
                    <a:pt x="2212" y="1794"/>
                  </a:lnTo>
                  <a:lnTo>
                    <a:pt x="2208" y="1796"/>
                  </a:lnTo>
                  <a:lnTo>
                    <a:pt x="2206" y="1798"/>
                  </a:lnTo>
                  <a:lnTo>
                    <a:pt x="2198" y="1806"/>
                  </a:lnTo>
                  <a:lnTo>
                    <a:pt x="2198" y="1806"/>
                  </a:lnTo>
                  <a:lnTo>
                    <a:pt x="2190" y="1810"/>
                  </a:lnTo>
                  <a:lnTo>
                    <a:pt x="2184" y="1810"/>
                  </a:lnTo>
                  <a:lnTo>
                    <a:pt x="2180" y="1810"/>
                  </a:lnTo>
                  <a:close/>
                  <a:moveTo>
                    <a:pt x="2152" y="1544"/>
                  </a:moveTo>
                  <a:lnTo>
                    <a:pt x="2152" y="1544"/>
                  </a:lnTo>
                  <a:lnTo>
                    <a:pt x="2152" y="1542"/>
                  </a:lnTo>
                  <a:lnTo>
                    <a:pt x="2152" y="1540"/>
                  </a:lnTo>
                  <a:lnTo>
                    <a:pt x="2150" y="1540"/>
                  </a:lnTo>
                  <a:lnTo>
                    <a:pt x="2148" y="1542"/>
                  </a:lnTo>
                  <a:lnTo>
                    <a:pt x="2138" y="1550"/>
                  </a:lnTo>
                  <a:lnTo>
                    <a:pt x="2138" y="1550"/>
                  </a:lnTo>
                  <a:lnTo>
                    <a:pt x="2134" y="1558"/>
                  </a:lnTo>
                  <a:lnTo>
                    <a:pt x="2132" y="1564"/>
                  </a:lnTo>
                  <a:lnTo>
                    <a:pt x="2132" y="1568"/>
                  </a:lnTo>
                  <a:lnTo>
                    <a:pt x="2132" y="1568"/>
                  </a:lnTo>
                  <a:lnTo>
                    <a:pt x="2134" y="1576"/>
                  </a:lnTo>
                  <a:lnTo>
                    <a:pt x="2136" y="1584"/>
                  </a:lnTo>
                  <a:lnTo>
                    <a:pt x="2140" y="1588"/>
                  </a:lnTo>
                  <a:lnTo>
                    <a:pt x="2140" y="1588"/>
                  </a:lnTo>
                  <a:lnTo>
                    <a:pt x="2140" y="1590"/>
                  </a:lnTo>
                  <a:lnTo>
                    <a:pt x="2142" y="1592"/>
                  </a:lnTo>
                  <a:lnTo>
                    <a:pt x="2144" y="1590"/>
                  </a:lnTo>
                  <a:lnTo>
                    <a:pt x="2144" y="1588"/>
                  </a:lnTo>
                  <a:lnTo>
                    <a:pt x="2150" y="1564"/>
                  </a:lnTo>
                  <a:lnTo>
                    <a:pt x="2150" y="1564"/>
                  </a:lnTo>
                  <a:lnTo>
                    <a:pt x="2152" y="1548"/>
                  </a:lnTo>
                  <a:lnTo>
                    <a:pt x="2152" y="1544"/>
                  </a:lnTo>
                  <a:close/>
                  <a:moveTo>
                    <a:pt x="2066" y="2082"/>
                  </a:moveTo>
                  <a:lnTo>
                    <a:pt x="2066" y="2082"/>
                  </a:lnTo>
                  <a:lnTo>
                    <a:pt x="2068" y="2082"/>
                  </a:lnTo>
                  <a:lnTo>
                    <a:pt x="2070" y="2082"/>
                  </a:lnTo>
                  <a:lnTo>
                    <a:pt x="2072" y="2080"/>
                  </a:lnTo>
                  <a:lnTo>
                    <a:pt x="2070" y="2078"/>
                  </a:lnTo>
                  <a:lnTo>
                    <a:pt x="2068" y="2072"/>
                  </a:lnTo>
                  <a:lnTo>
                    <a:pt x="2068" y="2072"/>
                  </a:lnTo>
                  <a:lnTo>
                    <a:pt x="2062" y="2066"/>
                  </a:lnTo>
                  <a:lnTo>
                    <a:pt x="2056" y="2062"/>
                  </a:lnTo>
                  <a:lnTo>
                    <a:pt x="2032" y="2058"/>
                  </a:lnTo>
                  <a:lnTo>
                    <a:pt x="2032" y="2058"/>
                  </a:lnTo>
                  <a:lnTo>
                    <a:pt x="2018" y="2052"/>
                  </a:lnTo>
                  <a:lnTo>
                    <a:pt x="2012" y="2048"/>
                  </a:lnTo>
                  <a:lnTo>
                    <a:pt x="2012" y="2048"/>
                  </a:lnTo>
                  <a:lnTo>
                    <a:pt x="2006" y="2046"/>
                  </a:lnTo>
                  <a:lnTo>
                    <a:pt x="1998" y="2046"/>
                  </a:lnTo>
                  <a:lnTo>
                    <a:pt x="1994" y="2046"/>
                  </a:lnTo>
                  <a:lnTo>
                    <a:pt x="1994" y="2046"/>
                  </a:lnTo>
                  <a:lnTo>
                    <a:pt x="1978" y="2046"/>
                  </a:lnTo>
                  <a:lnTo>
                    <a:pt x="1964" y="2046"/>
                  </a:lnTo>
                  <a:lnTo>
                    <a:pt x="1964" y="2046"/>
                  </a:lnTo>
                  <a:lnTo>
                    <a:pt x="1948" y="2046"/>
                  </a:lnTo>
                  <a:lnTo>
                    <a:pt x="1916" y="2046"/>
                  </a:lnTo>
                  <a:lnTo>
                    <a:pt x="1916" y="2046"/>
                  </a:lnTo>
                  <a:lnTo>
                    <a:pt x="1912" y="2046"/>
                  </a:lnTo>
                  <a:lnTo>
                    <a:pt x="1916" y="2048"/>
                  </a:lnTo>
                  <a:lnTo>
                    <a:pt x="1940" y="2062"/>
                  </a:lnTo>
                  <a:lnTo>
                    <a:pt x="1940" y="2062"/>
                  </a:lnTo>
                  <a:lnTo>
                    <a:pt x="1954" y="2066"/>
                  </a:lnTo>
                  <a:lnTo>
                    <a:pt x="1998" y="2074"/>
                  </a:lnTo>
                  <a:lnTo>
                    <a:pt x="1998" y="2074"/>
                  </a:lnTo>
                  <a:lnTo>
                    <a:pt x="2014" y="2074"/>
                  </a:lnTo>
                  <a:lnTo>
                    <a:pt x="2026" y="2074"/>
                  </a:lnTo>
                  <a:lnTo>
                    <a:pt x="2026" y="2074"/>
                  </a:lnTo>
                  <a:lnTo>
                    <a:pt x="2042" y="2076"/>
                  </a:lnTo>
                  <a:lnTo>
                    <a:pt x="2066" y="2082"/>
                  </a:lnTo>
                  <a:close/>
                  <a:moveTo>
                    <a:pt x="2126" y="1676"/>
                  </a:moveTo>
                  <a:lnTo>
                    <a:pt x="2126" y="1676"/>
                  </a:lnTo>
                  <a:lnTo>
                    <a:pt x="2124" y="1684"/>
                  </a:lnTo>
                  <a:lnTo>
                    <a:pt x="2126" y="1692"/>
                  </a:lnTo>
                  <a:lnTo>
                    <a:pt x="2130" y="1706"/>
                  </a:lnTo>
                  <a:lnTo>
                    <a:pt x="2130" y="1706"/>
                  </a:lnTo>
                  <a:lnTo>
                    <a:pt x="2134" y="1712"/>
                  </a:lnTo>
                  <a:lnTo>
                    <a:pt x="2138" y="1718"/>
                  </a:lnTo>
                  <a:lnTo>
                    <a:pt x="2138" y="1718"/>
                  </a:lnTo>
                  <a:lnTo>
                    <a:pt x="2142" y="1722"/>
                  </a:lnTo>
                  <a:lnTo>
                    <a:pt x="2148" y="1722"/>
                  </a:lnTo>
                  <a:lnTo>
                    <a:pt x="2148" y="1722"/>
                  </a:lnTo>
                  <a:lnTo>
                    <a:pt x="2152" y="1724"/>
                  </a:lnTo>
                  <a:lnTo>
                    <a:pt x="2158" y="1728"/>
                  </a:lnTo>
                  <a:lnTo>
                    <a:pt x="2174" y="1738"/>
                  </a:lnTo>
                  <a:lnTo>
                    <a:pt x="2174" y="1738"/>
                  </a:lnTo>
                  <a:lnTo>
                    <a:pt x="2180" y="1744"/>
                  </a:lnTo>
                  <a:lnTo>
                    <a:pt x="2186" y="1750"/>
                  </a:lnTo>
                  <a:lnTo>
                    <a:pt x="2188" y="1754"/>
                  </a:lnTo>
                  <a:lnTo>
                    <a:pt x="2188" y="1754"/>
                  </a:lnTo>
                  <a:lnTo>
                    <a:pt x="2192" y="1760"/>
                  </a:lnTo>
                  <a:lnTo>
                    <a:pt x="2198" y="1766"/>
                  </a:lnTo>
                  <a:lnTo>
                    <a:pt x="2204" y="1768"/>
                  </a:lnTo>
                  <a:lnTo>
                    <a:pt x="2204" y="1768"/>
                  </a:lnTo>
                  <a:lnTo>
                    <a:pt x="2206" y="1768"/>
                  </a:lnTo>
                  <a:lnTo>
                    <a:pt x="2208" y="1768"/>
                  </a:lnTo>
                  <a:lnTo>
                    <a:pt x="2210" y="1766"/>
                  </a:lnTo>
                  <a:lnTo>
                    <a:pt x="2210" y="1764"/>
                  </a:lnTo>
                  <a:lnTo>
                    <a:pt x="2210" y="1760"/>
                  </a:lnTo>
                  <a:lnTo>
                    <a:pt x="2210" y="1760"/>
                  </a:lnTo>
                  <a:lnTo>
                    <a:pt x="2210" y="1752"/>
                  </a:lnTo>
                  <a:lnTo>
                    <a:pt x="2206" y="1746"/>
                  </a:lnTo>
                  <a:lnTo>
                    <a:pt x="2196" y="1730"/>
                  </a:lnTo>
                  <a:lnTo>
                    <a:pt x="2196" y="1730"/>
                  </a:lnTo>
                  <a:lnTo>
                    <a:pt x="2190" y="1724"/>
                  </a:lnTo>
                  <a:lnTo>
                    <a:pt x="2184" y="1718"/>
                  </a:lnTo>
                  <a:lnTo>
                    <a:pt x="2168" y="1708"/>
                  </a:lnTo>
                  <a:lnTo>
                    <a:pt x="2168" y="1708"/>
                  </a:lnTo>
                  <a:lnTo>
                    <a:pt x="2164" y="1704"/>
                  </a:lnTo>
                  <a:lnTo>
                    <a:pt x="2162" y="1698"/>
                  </a:lnTo>
                  <a:lnTo>
                    <a:pt x="2162" y="1698"/>
                  </a:lnTo>
                  <a:lnTo>
                    <a:pt x="2164" y="1686"/>
                  </a:lnTo>
                  <a:lnTo>
                    <a:pt x="2170" y="1672"/>
                  </a:lnTo>
                  <a:lnTo>
                    <a:pt x="2170" y="1672"/>
                  </a:lnTo>
                  <a:lnTo>
                    <a:pt x="2168" y="1666"/>
                  </a:lnTo>
                  <a:lnTo>
                    <a:pt x="2164" y="1660"/>
                  </a:lnTo>
                  <a:lnTo>
                    <a:pt x="2160" y="1658"/>
                  </a:lnTo>
                  <a:lnTo>
                    <a:pt x="2160" y="1658"/>
                  </a:lnTo>
                  <a:lnTo>
                    <a:pt x="2152" y="1656"/>
                  </a:lnTo>
                  <a:lnTo>
                    <a:pt x="2146" y="1658"/>
                  </a:lnTo>
                  <a:lnTo>
                    <a:pt x="2140" y="1660"/>
                  </a:lnTo>
                  <a:lnTo>
                    <a:pt x="2140" y="1660"/>
                  </a:lnTo>
                  <a:lnTo>
                    <a:pt x="2134" y="1666"/>
                  </a:lnTo>
                  <a:lnTo>
                    <a:pt x="2130" y="1672"/>
                  </a:lnTo>
                  <a:lnTo>
                    <a:pt x="2126" y="1676"/>
                  </a:lnTo>
                  <a:close/>
                  <a:moveTo>
                    <a:pt x="3046" y="620"/>
                  </a:moveTo>
                  <a:lnTo>
                    <a:pt x="3046" y="620"/>
                  </a:lnTo>
                  <a:lnTo>
                    <a:pt x="3052" y="616"/>
                  </a:lnTo>
                  <a:lnTo>
                    <a:pt x="3054" y="610"/>
                  </a:lnTo>
                  <a:lnTo>
                    <a:pt x="3062" y="478"/>
                  </a:lnTo>
                  <a:lnTo>
                    <a:pt x="3062" y="478"/>
                  </a:lnTo>
                  <a:lnTo>
                    <a:pt x="3060" y="472"/>
                  </a:lnTo>
                  <a:lnTo>
                    <a:pt x="3056" y="466"/>
                  </a:lnTo>
                  <a:lnTo>
                    <a:pt x="3050" y="464"/>
                  </a:lnTo>
                  <a:lnTo>
                    <a:pt x="3050" y="464"/>
                  </a:lnTo>
                  <a:lnTo>
                    <a:pt x="3038" y="460"/>
                  </a:lnTo>
                  <a:lnTo>
                    <a:pt x="3038" y="460"/>
                  </a:lnTo>
                  <a:lnTo>
                    <a:pt x="3034" y="458"/>
                  </a:lnTo>
                  <a:lnTo>
                    <a:pt x="3028" y="454"/>
                  </a:lnTo>
                  <a:lnTo>
                    <a:pt x="3020" y="446"/>
                  </a:lnTo>
                  <a:lnTo>
                    <a:pt x="3020" y="446"/>
                  </a:lnTo>
                  <a:lnTo>
                    <a:pt x="3006" y="438"/>
                  </a:lnTo>
                  <a:lnTo>
                    <a:pt x="3002" y="434"/>
                  </a:lnTo>
                  <a:lnTo>
                    <a:pt x="3002" y="434"/>
                  </a:lnTo>
                  <a:lnTo>
                    <a:pt x="2994" y="432"/>
                  </a:lnTo>
                  <a:lnTo>
                    <a:pt x="2986" y="432"/>
                  </a:lnTo>
                  <a:lnTo>
                    <a:pt x="2972" y="432"/>
                  </a:lnTo>
                  <a:lnTo>
                    <a:pt x="2972" y="432"/>
                  </a:lnTo>
                  <a:lnTo>
                    <a:pt x="2966" y="430"/>
                  </a:lnTo>
                  <a:lnTo>
                    <a:pt x="2958" y="428"/>
                  </a:lnTo>
                  <a:lnTo>
                    <a:pt x="2952" y="424"/>
                  </a:lnTo>
                  <a:lnTo>
                    <a:pt x="2952" y="424"/>
                  </a:lnTo>
                  <a:lnTo>
                    <a:pt x="2946" y="422"/>
                  </a:lnTo>
                  <a:lnTo>
                    <a:pt x="2938" y="422"/>
                  </a:lnTo>
                  <a:lnTo>
                    <a:pt x="2934" y="422"/>
                  </a:lnTo>
                  <a:lnTo>
                    <a:pt x="2934" y="422"/>
                  </a:lnTo>
                  <a:lnTo>
                    <a:pt x="2920" y="422"/>
                  </a:lnTo>
                  <a:lnTo>
                    <a:pt x="2920" y="422"/>
                  </a:lnTo>
                  <a:lnTo>
                    <a:pt x="2920" y="422"/>
                  </a:lnTo>
                  <a:lnTo>
                    <a:pt x="2918" y="424"/>
                  </a:lnTo>
                  <a:lnTo>
                    <a:pt x="2918" y="430"/>
                  </a:lnTo>
                  <a:lnTo>
                    <a:pt x="2924" y="452"/>
                  </a:lnTo>
                  <a:lnTo>
                    <a:pt x="2924" y="452"/>
                  </a:lnTo>
                  <a:lnTo>
                    <a:pt x="2922" y="460"/>
                  </a:lnTo>
                  <a:lnTo>
                    <a:pt x="2918" y="464"/>
                  </a:lnTo>
                  <a:lnTo>
                    <a:pt x="2914" y="466"/>
                  </a:lnTo>
                  <a:lnTo>
                    <a:pt x="2914" y="466"/>
                  </a:lnTo>
                  <a:lnTo>
                    <a:pt x="2906" y="468"/>
                  </a:lnTo>
                  <a:lnTo>
                    <a:pt x="2900" y="466"/>
                  </a:lnTo>
                  <a:lnTo>
                    <a:pt x="2894" y="464"/>
                  </a:lnTo>
                  <a:lnTo>
                    <a:pt x="2894" y="464"/>
                  </a:lnTo>
                  <a:lnTo>
                    <a:pt x="2888" y="460"/>
                  </a:lnTo>
                  <a:lnTo>
                    <a:pt x="2882" y="454"/>
                  </a:lnTo>
                  <a:lnTo>
                    <a:pt x="2880" y="448"/>
                  </a:lnTo>
                  <a:lnTo>
                    <a:pt x="2880" y="448"/>
                  </a:lnTo>
                  <a:lnTo>
                    <a:pt x="2876" y="436"/>
                  </a:lnTo>
                  <a:lnTo>
                    <a:pt x="2876" y="436"/>
                  </a:lnTo>
                  <a:lnTo>
                    <a:pt x="2874" y="432"/>
                  </a:lnTo>
                  <a:lnTo>
                    <a:pt x="2868" y="432"/>
                  </a:lnTo>
                  <a:lnTo>
                    <a:pt x="2856" y="432"/>
                  </a:lnTo>
                  <a:lnTo>
                    <a:pt x="2856" y="432"/>
                  </a:lnTo>
                  <a:lnTo>
                    <a:pt x="2848" y="432"/>
                  </a:lnTo>
                  <a:lnTo>
                    <a:pt x="2842" y="436"/>
                  </a:lnTo>
                  <a:lnTo>
                    <a:pt x="2842" y="436"/>
                  </a:lnTo>
                  <a:lnTo>
                    <a:pt x="2836" y="438"/>
                  </a:lnTo>
                  <a:lnTo>
                    <a:pt x="2830" y="438"/>
                  </a:lnTo>
                  <a:lnTo>
                    <a:pt x="2816" y="434"/>
                  </a:lnTo>
                  <a:lnTo>
                    <a:pt x="2816" y="434"/>
                  </a:lnTo>
                  <a:lnTo>
                    <a:pt x="2800" y="432"/>
                  </a:lnTo>
                  <a:lnTo>
                    <a:pt x="2786" y="432"/>
                  </a:lnTo>
                  <a:lnTo>
                    <a:pt x="2786" y="432"/>
                  </a:lnTo>
                  <a:lnTo>
                    <a:pt x="2780" y="432"/>
                  </a:lnTo>
                  <a:lnTo>
                    <a:pt x="2774" y="436"/>
                  </a:lnTo>
                  <a:lnTo>
                    <a:pt x="2774" y="436"/>
                  </a:lnTo>
                  <a:lnTo>
                    <a:pt x="2772" y="438"/>
                  </a:lnTo>
                  <a:lnTo>
                    <a:pt x="2768" y="438"/>
                  </a:lnTo>
                  <a:lnTo>
                    <a:pt x="2764" y="436"/>
                  </a:lnTo>
                  <a:lnTo>
                    <a:pt x="2756" y="426"/>
                  </a:lnTo>
                  <a:lnTo>
                    <a:pt x="2756" y="426"/>
                  </a:lnTo>
                  <a:lnTo>
                    <a:pt x="2752" y="420"/>
                  </a:lnTo>
                  <a:lnTo>
                    <a:pt x="2750" y="414"/>
                  </a:lnTo>
                  <a:lnTo>
                    <a:pt x="2750" y="400"/>
                  </a:lnTo>
                  <a:lnTo>
                    <a:pt x="2750" y="400"/>
                  </a:lnTo>
                  <a:lnTo>
                    <a:pt x="2748" y="394"/>
                  </a:lnTo>
                  <a:lnTo>
                    <a:pt x="2742" y="388"/>
                  </a:lnTo>
                  <a:lnTo>
                    <a:pt x="2726" y="376"/>
                  </a:lnTo>
                  <a:lnTo>
                    <a:pt x="2726" y="376"/>
                  </a:lnTo>
                  <a:lnTo>
                    <a:pt x="2720" y="374"/>
                  </a:lnTo>
                  <a:lnTo>
                    <a:pt x="2712" y="372"/>
                  </a:lnTo>
                  <a:lnTo>
                    <a:pt x="2680" y="372"/>
                  </a:lnTo>
                  <a:lnTo>
                    <a:pt x="2680" y="372"/>
                  </a:lnTo>
                  <a:lnTo>
                    <a:pt x="2664" y="372"/>
                  </a:lnTo>
                  <a:lnTo>
                    <a:pt x="2630" y="372"/>
                  </a:lnTo>
                  <a:lnTo>
                    <a:pt x="2630" y="372"/>
                  </a:lnTo>
                  <a:lnTo>
                    <a:pt x="2624" y="370"/>
                  </a:lnTo>
                  <a:lnTo>
                    <a:pt x="2622" y="368"/>
                  </a:lnTo>
                  <a:lnTo>
                    <a:pt x="2622" y="368"/>
                  </a:lnTo>
                  <a:lnTo>
                    <a:pt x="2620" y="362"/>
                  </a:lnTo>
                  <a:lnTo>
                    <a:pt x="2618" y="358"/>
                  </a:lnTo>
                  <a:lnTo>
                    <a:pt x="2618" y="358"/>
                  </a:lnTo>
                  <a:lnTo>
                    <a:pt x="2606" y="348"/>
                  </a:lnTo>
                  <a:lnTo>
                    <a:pt x="2590" y="338"/>
                  </a:lnTo>
                  <a:lnTo>
                    <a:pt x="2590" y="338"/>
                  </a:lnTo>
                  <a:lnTo>
                    <a:pt x="2586" y="332"/>
                  </a:lnTo>
                  <a:lnTo>
                    <a:pt x="2584" y="326"/>
                  </a:lnTo>
                  <a:lnTo>
                    <a:pt x="2584" y="322"/>
                  </a:lnTo>
                  <a:lnTo>
                    <a:pt x="2584" y="322"/>
                  </a:lnTo>
                  <a:lnTo>
                    <a:pt x="2580" y="316"/>
                  </a:lnTo>
                  <a:lnTo>
                    <a:pt x="2576" y="312"/>
                  </a:lnTo>
                  <a:lnTo>
                    <a:pt x="2474" y="286"/>
                  </a:lnTo>
                  <a:lnTo>
                    <a:pt x="2474" y="286"/>
                  </a:lnTo>
                  <a:lnTo>
                    <a:pt x="2468" y="286"/>
                  </a:lnTo>
                  <a:lnTo>
                    <a:pt x="2466" y="288"/>
                  </a:lnTo>
                  <a:lnTo>
                    <a:pt x="2466" y="290"/>
                  </a:lnTo>
                  <a:lnTo>
                    <a:pt x="2466" y="290"/>
                  </a:lnTo>
                  <a:lnTo>
                    <a:pt x="2464" y="294"/>
                  </a:lnTo>
                  <a:lnTo>
                    <a:pt x="2458" y="298"/>
                  </a:lnTo>
                  <a:lnTo>
                    <a:pt x="2442" y="310"/>
                  </a:lnTo>
                  <a:lnTo>
                    <a:pt x="2442" y="310"/>
                  </a:lnTo>
                  <a:lnTo>
                    <a:pt x="2438" y="314"/>
                  </a:lnTo>
                  <a:lnTo>
                    <a:pt x="2438" y="322"/>
                  </a:lnTo>
                  <a:lnTo>
                    <a:pt x="2444" y="336"/>
                  </a:lnTo>
                  <a:lnTo>
                    <a:pt x="2444" y="336"/>
                  </a:lnTo>
                  <a:lnTo>
                    <a:pt x="2444" y="338"/>
                  </a:lnTo>
                  <a:lnTo>
                    <a:pt x="2444" y="342"/>
                  </a:lnTo>
                  <a:lnTo>
                    <a:pt x="2442" y="344"/>
                  </a:lnTo>
                  <a:lnTo>
                    <a:pt x="2438" y="346"/>
                  </a:lnTo>
                  <a:lnTo>
                    <a:pt x="2424" y="350"/>
                  </a:lnTo>
                  <a:lnTo>
                    <a:pt x="2424" y="350"/>
                  </a:lnTo>
                  <a:lnTo>
                    <a:pt x="2408" y="352"/>
                  </a:lnTo>
                  <a:lnTo>
                    <a:pt x="2406" y="352"/>
                  </a:lnTo>
                  <a:lnTo>
                    <a:pt x="2406" y="352"/>
                  </a:lnTo>
                  <a:lnTo>
                    <a:pt x="2390" y="350"/>
                  </a:lnTo>
                  <a:lnTo>
                    <a:pt x="2376" y="346"/>
                  </a:lnTo>
                  <a:lnTo>
                    <a:pt x="2376" y="346"/>
                  </a:lnTo>
                  <a:lnTo>
                    <a:pt x="2368" y="346"/>
                  </a:lnTo>
                  <a:lnTo>
                    <a:pt x="2362" y="348"/>
                  </a:lnTo>
                  <a:lnTo>
                    <a:pt x="2362" y="348"/>
                  </a:lnTo>
                  <a:lnTo>
                    <a:pt x="2358" y="350"/>
                  </a:lnTo>
                  <a:lnTo>
                    <a:pt x="2350" y="350"/>
                  </a:lnTo>
                  <a:lnTo>
                    <a:pt x="2346" y="346"/>
                  </a:lnTo>
                  <a:lnTo>
                    <a:pt x="2346" y="346"/>
                  </a:lnTo>
                  <a:lnTo>
                    <a:pt x="2332" y="340"/>
                  </a:lnTo>
                  <a:lnTo>
                    <a:pt x="2326" y="336"/>
                  </a:lnTo>
                  <a:lnTo>
                    <a:pt x="2326" y="336"/>
                  </a:lnTo>
                  <a:lnTo>
                    <a:pt x="2324" y="336"/>
                  </a:lnTo>
                  <a:lnTo>
                    <a:pt x="2322" y="336"/>
                  </a:lnTo>
                  <a:lnTo>
                    <a:pt x="2320" y="338"/>
                  </a:lnTo>
                  <a:lnTo>
                    <a:pt x="2318" y="342"/>
                  </a:lnTo>
                  <a:lnTo>
                    <a:pt x="2318" y="354"/>
                  </a:lnTo>
                  <a:lnTo>
                    <a:pt x="2318" y="354"/>
                  </a:lnTo>
                  <a:lnTo>
                    <a:pt x="2318" y="362"/>
                  </a:lnTo>
                  <a:lnTo>
                    <a:pt x="2314" y="368"/>
                  </a:lnTo>
                  <a:lnTo>
                    <a:pt x="2304" y="376"/>
                  </a:lnTo>
                  <a:lnTo>
                    <a:pt x="2304" y="376"/>
                  </a:lnTo>
                  <a:lnTo>
                    <a:pt x="2302" y="378"/>
                  </a:lnTo>
                  <a:lnTo>
                    <a:pt x="2300" y="378"/>
                  </a:lnTo>
                  <a:lnTo>
                    <a:pt x="2298" y="378"/>
                  </a:lnTo>
                  <a:lnTo>
                    <a:pt x="2294" y="376"/>
                  </a:lnTo>
                  <a:lnTo>
                    <a:pt x="2284" y="360"/>
                  </a:lnTo>
                  <a:lnTo>
                    <a:pt x="2284" y="360"/>
                  </a:lnTo>
                  <a:lnTo>
                    <a:pt x="2276" y="346"/>
                  </a:lnTo>
                  <a:lnTo>
                    <a:pt x="2264" y="330"/>
                  </a:lnTo>
                  <a:lnTo>
                    <a:pt x="2264" y="330"/>
                  </a:lnTo>
                  <a:lnTo>
                    <a:pt x="2262" y="324"/>
                  </a:lnTo>
                  <a:lnTo>
                    <a:pt x="2264" y="316"/>
                  </a:lnTo>
                  <a:lnTo>
                    <a:pt x="2276" y="300"/>
                  </a:lnTo>
                  <a:lnTo>
                    <a:pt x="2276" y="300"/>
                  </a:lnTo>
                  <a:lnTo>
                    <a:pt x="2278" y="294"/>
                  </a:lnTo>
                  <a:lnTo>
                    <a:pt x="2280" y="286"/>
                  </a:lnTo>
                  <a:lnTo>
                    <a:pt x="2280" y="282"/>
                  </a:lnTo>
                  <a:lnTo>
                    <a:pt x="2280" y="282"/>
                  </a:lnTo>
                  <a:lnTo>
                    <a:pt x="2278" y="276"/>
                  </a:lnTo>
                  <a:lnTo>
                    <a:pt x="2274" y="268"/>
                  </a:lnTo>
                  <a:lnTo>
                    <a:pt x="2266" y="260"/>
                  </a:lnTo>
                  <a:lnTo>
                    <a:pt x="2266" y="260"/>
                  </a:lnTo>
                  <a:lnTo>
                    <a:pt x="2252" y="252"/>
                  </a:lnTo>
                  <a:lnTo>
                    <a:pt x="2248" y="248"/>
                  </a:lnTo>
                  <a:lnTo>
                    <a:pt x="2248" y="248"/>
                  </a:lnTo>
                  <a:lnTo>
                    <a:pt x="2240" y="246"/>
                  </a:lnTo>
                  <a:lnTo>
                    <a:pt x="2232" y="246"/>
                  </a:lnTo>
                  <a:lnTo>
                    <a:pt x="2230" y="246"/>
                  </a:lnTo>
                  <a:lnTo>
                    <a:pt x="2230" y="246"/>
                  </a:lnTo>
                  <a:lnTo>
                    <a:pt x="2222" y="244"/>
                  </a:lnTo>
                  <a:lnTo>
                    <a:pt x="2216" y="240"/>
                  </a:lnTo>
                  <a:lnTo>
                    <a:pt x="2216" y="240"/>
                  </a:lnTo>
                  <a:lnTo>
                    <a:pt x="2204" y="232"/>
                  </a:lnTo>
                  <a:lnTo>
                    <a:pt x="2198" y="230"/>
                  </a:lnTo>
                  <a:lnTo>
                    <a:pt x="2198" y="230"/>
                  </a:lnTo>
                  <a:lnTo>
                    <a:pt x="2196" y="228"/>
                  </a:lnTo>
                  <a:lnTo>
                    <a:pt x="2192" y="228"/>
                  </a:lnTo>
                  <a:lnTo>
                    <a:pt x="2190" y="230"/>
                  </a:lnTo>
                  <a:lnTo>
                    <a:pt x="2188" y="232"/>
                  </a:lnTo>
                  <a:lnTo>
                    <a:pt x="2186" y="238"/>
                  </a:lnTo>
                  <a:lnTo>
                    <a:pt x="2186" y="238"/>
                  </a:lnTo>
                  <a:lnTo>
                    <a:pt x="2178" y="252"/>
                  </a:lnTo>
                  <a:lnTo>
                    <a:pt x="2176" y="258"/>
                  </a:lnTo>
                  <a:lnTo>
                    <a:pt x="2176" y="258"/>
                  </a:lnTo>
                  <a:lnTo>
                    <a:pt x="2170" y="262"/>
                  </a:lnTo>
                  <a:lnTo>
                    <a:pt x="2164" y="264"/>
                  </a:lnTo>
                  <a:lnTo>
                    <a:pt x="2132" y="264"/>
                  </a:lnTo>
                  <a:lnTo>
                    <a:pt x="2132" y="264"/>
                  </a:lnTo>
                  <a:lnTo>
                    <a:pt x="2124" y="264"/>
                  </a:lnTo>
                  <a:lnTo>
                    <a:pt x="2116" y="262"/>
                  </a:lnTo>
                  <a:lnTo>
                    <a:pt x="2110" y="258"/>
                  </a:lnTo>
                  <a:lnTo>
                    <a:pt x="2110" y="258"/>
                  </a:lnTo>
                  <a:lnTo>
                    <a:pt x="2104" y="254"/>
                  </a:lnTo>
                  <a:lnTo>
                    <a:pt x="2100" y="248"/>
                  </a:lnTo>
                  <a:lnTo>
                    <a:pt x="2098" y="242"/>
                  </a:lnTo>
                  <a:lnTo>
                    <a:pt x="2098" y="242"/>
                  </a:lnTo>
                  <a:lnTo>
                    <a:pt x="2092" y="238"/>
                  </a:lnTo>
                  <a:lnTo>
                    <a:pt x="2086" y="236"/>
                  </a:lnTo>
                  <a:lnTo>
                    <a:pt x="2062" y="236"/>
                  </a:lnTo>
                  <a:lnTo>
                    <a:pt x="2062" y="236"/>
                  </a:lnTo>
                  <a:lnTo>
                    <a:pt x="2054" y="236"/>
                  </a:lnTo>
                  <a:lnTo>
                    <a:pt x="2048" y="240"/>
                  </a:lnTo>
                  <a:lnTo>
                    <a:pt x="2032" y="250"/>
                  </a:lnTo>
                  <a:lnTo>
                    <a:pt x="2032" y="250"/>
                  </a:lnTo>
                  <a:lnTo>
                    <a:pt x="2030" y="252"/>
                  </a:lnTo>
                  <a:lnTo>
                    <a:pt x="2028" y="252"/>
                  </a:lnTo>
                  <a:lnTo>
                    <a:pt x="2026" y="250"/>
                  </a:lnTo>
                  <a:lnTo>
                    <a:pt x="2026" y="246"/>
                  </a:lnTo>
                  <a:lnTo>
                    <a:pt x="2026" y="244"/>
                  </a:lnTo>
                  <a:lnTo>
                    <a:pt x="2026" y="244"/>
                  </a:lnTo>
                  <a:lnTo>
                    <a:pt x="2024" y="236"/>
                  </a:lnTo>
                  <a:lnTo>
                    <a:pt x="2020" y="230"/>
                  </a:lnTo>
                  <a:lnTo>
                    <a:pt x="2012" y="222"/>
                  </a:lnTo>
                  <a:lnTo>
                    <a:pt x="2012" y="222"/>
                  </a:lnTo>
                  <a:lnTo>
                    <a:pt x="2004" y="218"/>
                  </a:lnTo>
                  <a:lnTo>
                    <a:pt x="1998" y="216"/>
                  </a:lnTo>
                  <a:lnTo>
                    <a:pt x="1994" y="216"/>
                  </a:lnTo>
                  <a:lnTo>
                    <a:pt x="1994" y="216"/>
                  </a:lnTo>
                  <a:lnTo>
                    <a:pt x="1986" y="218"/>
                  </a:lnTo>
                  <a:lnTo>
                    <a:pt x="1980" y="222"/>
                  </a:lnTo>
                  <a:lnTo>
                    <a:pt x="1972" y="230"/>
                  </a:lnTo>
                  <a:lnTo>
                    <a:pt x="1972" y="230"/>
                  </a:lnTo>
                  <a:lnTo>
                    <a:pt x="1960" y="240"/>
                  </a:lnTo>
                  <a:lnTo>
                    <a:pt x="1944" y="250"/>
                  </a:lnTo>
                  <a:lnTo>
                    <a:pt x="1944" y="250"/>
                  </a:lnTo>
                  <a:lnTo>
                    <a:pt x="1930" y="260"/>
                  </a:lnTo>
                  <a:lnTo>
                    <a:pt x="1914" y="270"/>
                  </a:lnTo>
                  <a:lnTo>
                    <a:pt x="1914" y="270"/>
                  </a:lnTo>
                  <a:lnTo>
                    <a:pt x="1910" y="272"/>
                  </a:lnTo>
                  <a:lnTo>
                    <a:pt x="1912" y="268"/>
                  </a:lnTo>
                  <a:lnTo>
                    <a:pt x="1922" y="252"/>
                  </a:lnTo>
                  <a:lnTo>
                    <a:pt x="1922" y="252"/>
                  </a:lnTo>
                  <a:lnTo>
                    <a:pt x="1928" y="246"/>
                  </a:lnTo>
                  <a:lnTo>
                    <a:pt x="1934" y="242"/>
                  </a:lnTo>
                  <a:lnTo>
                    <a:pt x="1940" y="238"/>
                  </a:lnTo>
                  <a:lnTo>
                    <a:pt x="1940" y="238"/>
                  </a:lnTo>
                  <a:lnTo>
                    <a:pt x="1946" y="234"/>
                  </a:lnTo>
                  <a:lnTo>
                    <a:pt x="1952" y="228"/>
                  </a:lnTo>
                  <a:lnTo>
                    <a:pt x="1972" y="194"/>
                  </a:lnTo>
                  <a:lnTo>
                    <a:pt x="1972" y="194"/>
                  </a:lnTo>
                  <a:lnTo>
                    <a:pt x="1982" y="180"/>
                  </a:lnTo>
                  <a:lnTo>
                    <a:pt x="1990" y="172"/>
                  </a:lnTo>
                  <a:lnTo>
                    <a:pt x="1990" y="172"/>
                  </a:lnTo>
                  <a:lnTo>
                    <a:pt x="2000" y="160"/>
                  </a:lnTo>
                  <a:lnTo>
                    <a:pt x="2010" y="144"/>
                  </a:lnTo>
                  <a:lnTo>
                    <a:pt x="2010" y="144"/>
                  </a:lnTo>
                  <a:lnTo>
                    <a:pt x="2014" y="138"/>
                  </a:lnTo>
                  <a:lnTo>
                    <a:pt x="2014" y="130"/>
                  </a:lnTo>
                  <a:lnTo>
                    <a:pt x="2008" y="96"/>
                  </a:lnTo>
                  <a:lnTo>
                    <a:pt x="2008" y="96"/>
                  </a:lnTo>
                  <a:lnTo>
                    <a:pt x="2004" y="90"/>
                  </a:lnTo>
                  <a:lnTo>
                    <a:pt x="2000" y="84"/>
                  </a:lnTo>
                  <a:lnTo>
                    <a:pt x="1972" y="64"/>
                  </a:lnTo>
                  <a:lnTo>
                    <a:pt x="1972" y="64"/>
                  </a:lnTo>
                  <a:lnTo>
                    <a:pt x="1958" y="56"/>
                  </a:lnTo>
                  <a:lnTo>
                    <a:pt x="1944" y="52"/>
                  </a:lnTo>
                  <a:lnTo>
                    <a:pt x="1944" y="52"/>
                  </a:lnTo>
                  <a:lnTo>
                    <a:pt x="1940" y="48"/>
                  </a:lnTo>
                  <a:lnTo>
                    <a:pt x="1938" y="44"/>
                  </a:lnTo>
                  <a:lnTo>
                    <a:pt x="1938" y="44"/>
                  </a:lnTo>
                  <a:lnTo>
                    <a:pt x="1934" y="32"/>
                  </a:lnTo>
                  <a:lnTo>
                    <a:pt x="1922" y="8"/>
                  </a:lnTo>
                  <a:lnTo>
                    <a:pt x="1922" y="8"/>
                  </a:lnTo>
                  <a:lnTo>
                    <a:pt x="1916" y="2"/>
                  </a:lnTo>
                  <a:lnTo>
                    <a:pt x="1910" y="0"/>
                  </a:lnTo>
                  <a:lnTo>
                    <a:pt x="1886" y="0"/>
                  </a:lnTo>
                  <a:lnTo>
                    <a:pt x="1886" y="0"/>
                  </a:lnTo>
                  <a:lnTo>
                    <a:pt x="1880" y="2"/>
                  </a:lnTo>
                  <a:lnTo>
                    <a:pt x="1872" y="6"/>
                  </a:lnTo>
                  <a:lnTo>
                    <a:pt x="1844" y="34"/>
                  </a:lnTo>
                  <a:lnTo>
                    <a:pt x="1844" y="34"/>
                  </a:lnTo>
                  <a:lnTo>
                    <a:pt x="1840" y="40"/>
                  </a:lnTo>
                  <a:lnTo>
                    <a:pt x="1838" y="48"/>
                  </a:lnTo>
                  <a:lnTo>
                    <a:pt x="1832" y="70"/>
                  </a:lnTo>
                  <a:lnTo>
                    <a:pt x="1832" y="70"/>
                  </a:lnTo>
                  <a:lnTo>
                    <a:pt x="1828" y="78"/>
                  </a:lnTo>
                  <a:lnTo>
                    <a:pt x="1822" y="82"/>
                  </a:lnTo>
                  <a:lnTo>
                    <a:pt x="1788" y="104"/>
                  </a:lnTo>
                  <a:lnTo>
                    <a:pt x="1788" y="104"/>
                  </a:lnTo>
                  <a:lnTo>
                    <a:pt x="1780" y="106"/>
                  </a:lnTo>
                  <a:lnTo>
                    <a:pt x="1774" y="104"/>
                  </a:lnTo>
                  <a:lnTo>
                    <a:pt x="1758" y="92"/>
                  </a:lnTo>
                  <a:lnTo>
                    <a:pt x="1758" y="92"/>
                  </a:lnTo>
                  <a:lnTo>
                    <a:pt x="1750" y="90"/>
                  </a:lnTo>
                  <a:lnTo>
                    <a:pt x="1744" y="92"/>
                  </a:lnTo>
                  <a:lnTo>
                    <a:pt x="1710" y="106"/>
                  </a:lnTo>
                  <a:lnTo>
                    <a:pt x="1710" y="106"/>
                  </a:lnTo>
                  <a:lnTo>
                    <a:pt x="1696" y="112"/>
                  </a:lnTo>
                  <a:lnTo>
                    <a:pt x="1660" y="134"/>
                  </a:lnTo>
                  <a:lnTo>
                    <a:pt x="1660" y="134"/>
                  </a:lnTo>
                  <a:lnTo>
                    <a:pt x="1648" y="144"/>
                  </a:lnTo>
                  <a:lnTo>
                    <a:pt x="1630" y="162"/>
                  </a:lnTo>
                  <a:lnTo>
                    <a:pt x="1630" y="162"/>
                  </a:lnTo>
                  <a:lnTo>
                    <a:pt x="1626" y="168"/>
                  </a:lnTo>
                  <a:lnTo>
                    <a:pt x="1622" y="174"/>
                  </a:lnTo>
                  <a:lnTo>
                    <a:pt x="1616" y="218"/>
                  </a:lnTo>
                  <a:lnTo>
                    <a:pt x="1616" y="218"/>
                  </a:lnTo>
                  <a:lnTo>
                    <a:pt x="1612" y="224"/>
                  </a:lnTo>
                  <a:lnTo>
                    <a:pt x="1606" y="228"/>
                  </a:lnTo>
                  <a:lnTo>
                    <a:pt x="1544" y="244"/>
                  </a:lnTo>
                  <a:lnTo>
                    <a:pt x="1544" y="244"/>
                  </a:lnTo>
                  <a:lnTo>
                    <a:pt x="1536" y="246"/>
                  </a:lnTo>
                  <a:lnTo>
                    <a:pt x="1532" y="252"/>
                  </a:lnTo>
                  <a:lnTo>
                    <a:pt x="1530" y="258"/>
                  </a:lnTo>
                  <a:lnTo>
                    <a:pt x="1530" y="258"/>
                  </a:lnTo>
                  <a:lnTo>
                    <a:pt x="1528" y="264"/>
                  </a:lnTo>
                  <a:lnTo>
                    <a:pt x="1526" y="272"/>
                  </a:lnTo>
                  <a:lnTo>
                    <a:pt x="1526" y="306"/>
                  </a:lnTo>
                  <a:lnTo>
                    <a:pt x="1526" y="306"/>
                  </a:lnTo>
                  <a:lnTo>
                    <a:pt x="1524" y="310"/>
                  </a:lnTo>
                  <a:lnTo>
                    <a:pt x="1524" y="310"/>
                  </a:lnTo>
                  <a:lnTo>
                    <a:pt x="1522" y="308"/>
                  </a:lnTo>
                  <a:lnTo>
                    <a:pt x="1522" y="308"/>
                  </a:lnTo>
                  <a:lnTo>
                    <a:pt x="1516" y="304"/>
                  </a:lnTo>
                  <a:lnTo>
                    <a:pt x="1508" y="302"/>
                  </a:lnTo>
                  <a:lnTo>
                    <a:pt x="1494" y="296"/>
                  </a:lnTo>
                  <a:lnTo>
                    <a:pt x="1494" y="296"/>
                  </a:lnTo>
                  <a:lnTo>
                    <a:pt x="1488" y="296"/>
                  </a:lnTo>
                  <a:lnTo>
                    <a:pt x="1482" y="300"/>
                  </a:lnTo>
                  <a:lnTo>
                    <a:pt x="1472" y="316"/>
                  </a:lnTo>
                  <a:lnTo>
                    <a:pt x="1472" y="316"/>
                  </a:lnTo>
                  <a:lnTo>
                    <a:pt x="1468" y="320"/>
                  </a:lnTo>
                  <a:lnTo>
                    <a:pt x="1464" y="320"/>
                  </a:lnTo>
                  <a:lnTo>
                    <a:pt x="1462" y="318"/>
                  </a:lnTo>
                  <a:lnTo>
                    <a:pt x="1462" y="318"/>
                  </a:lnTo>
                  <a:lnTo>
                    <a:pt x="1458" y="314"/>
                  </a:lnTo>
                  <a:lnTo>
                    <a:pt x="1458" y="308"/>
                  </a:lnTo>
                  <a:lnTo>
                    <a:pt x="1458" y="308"/>
                  </a:lnTo>
                  <a:lnTo>
                    <a:pt x="1456" y="304"/>
                  </a:lnTo>
                  <a:lnTo>
                    <a:pt x="1452" y="298"/>
                  </a:lnTo>
                  <a:lnTo>
                    <a:pt x="1444" y="290"/>
                  </a:lnTo>
                  <a:lnTo>
                    <a:pt x="1444" y="290"/>
                  </a:lnTo>
                  <a:lnTo>
                    <a:pt x="1438" y="286"/>
                  </a:lnTo>
                  <a:lnTo>
                    <a:pt x="1434" y="284"/>
                  </a:lnTo>
                  <a:lnTo>
                    <a:pt x="1434" y="284"/>
                  </a:lnTo>
                  <a:lnTo>
                    <a:pt x="1428" y="286"/>
                  </a:lnTo>
                  <a:lnTo>
                    <a:pt x="1426" y="292"/>
                  </a:lnTo>
                  <a:lnTo>
                    <a:pt x="1420" y="306"/>
                  </a:lnTo>
                  <a:lnTo>
                    <a:pt x="1420" y="306"/>
                  </a:lnTo>
                  <a:lnTo>
                    <a:pt x="1418" y="322"/>
                  </a:lnTo>
                  <a:lnTo>
                    <a:pt x="1418" y="336"/>
                  </a:lnTo>
                  <a:lnTo>
                    <a:pt x="1418" y="336"/>
                  </a:lnTo>
                  <a:lnTo>
                    <a:pt x="1418" y="352"/>
                  </a:lnTo>
                  <a:lnTo>
                    <a:pt x="1418" y="374"/>
                  </a:lnTo>
                  <a:lnTo>
                    <a:pt x="1418" y="374"/>
                  </a:lnTo>
                  <a:lnTo>
                    <a:pt x="1416" y="382"/>
                  </a:lnTo>
                  <a:lnTo>
                    <a:pt x="1414" y="388"/>
                  </a:lnTo>
                  <a:lnTo>
                    <a:pt x="1414" y="388"/>
                  </a:lnTo>
                  <a:lnTo>
                    <a:pt x="1412" y="388"/>
                  </a:lnTo>
                  <a:lnTo>
                    <a:pt x="1408" y="388"/>
                  </a:lnTo>
                  <a:lnTo>
                    <a:pt x="1404" y="384"/>
                  </a:lnTo>
                  <a:lnTo>
                    <a:pt x="1402" y="380"/>
                  </a:lnTo>
                  <a:lnTo>
                    <a:pt x="1402" y="380"/>
                  </a:lnTo>
                  <a:lnTo>
                    <a:pt x="1400" y="372"/>
                  </a:lnTo>
                  <a:lnTo>
                    <a:pt x="1400" y="364"/>
                  </a:lnTo>
                  <a:lnTo>
                    <a:pt x="1406" y="340"/>
                  </a:lnTo>
                  <a:lnTo>
                    <a:pt x="1406" y="340"/>
                  </a:lnTo>
                  <a:lnTo>
                    <a:pt x="1408" y="334"/>
                  </a:lnTo>
                  <a:lnTo>
                    <a:pt x="1406" y="326"/>
                  </a:lnTo>
                  <a:lnTo>
                    <a:pt x="1402" y="312"/>
                  </a:lnTo>
                  <a:lnTo>
                    <a:pt x="1402" y="312"/>
                  </a:lnTo>
                  <a:lnTo>
                    <a:pt x="1398" y="296"/>
                  </a:lnTo>
                  <a:lnTo>
                    <a:pt x="1398" y="292"/>
                  </a:lnTo>
                  <a:lnTo>
                    <a:pt x="1398" y="292"/>
                  </a:lnTo>
                  <a:lnTo>
                    <a:pt x="1396" y="286"/>
                  </a:lnTo>
                  <a:lnTo>
                    <a:pt x="1392" y="282"/>
                  </a:lnTo>
                  <a:lnTo>
                    <a:pt x="1376" y="278"/>
                  </a:lnTo>
                  <a:lnTo>
                    <a:pt x="1376" y="278"/>
                  </a:lnTo>
                  <a:lnTo>
                    <a:pt x="1362" y="274"/>
                  </a:lnTo>
                  <a:lnTo>
                    <a:pt x="1348" y="274"/>
                  </a:lnTo>
                  <a:lnTo>
                    <a:pt x="1348" y="274"/>
                  </a:lnTo>
                  <a:lnTo>
                    <a:pt x="1342" y="276"/>
                  </a:lnTo>
                  <a:lnTo>
                    <a:pt x="1338" y="282"/>
                  </a:lnTo>
                  <a:lnTo>
                    <a:pt x="1322" y="336"/>
                  </a:lnTo>
                  <a:lnTo>
                    <a:pt x="1322" y="336"/>
                  </a:lnTo>
                  <a:lnTo>
                    <a:pt x="1320" y="342"/>
                  </a:lnTo>
                  <a:lnTo>
                    <a:pt x="1316" y="348"/>
                  </a:lnTo>
                  <a:lnTo>
                    <a:pt x="1316" y="348"/>
                  </a:lnTo>
                  <a:lnTo>
                    <a:pt x="1308" y="360"/>
                  </a:lnTo>
                  <a:lnTo>
                    <a:pt x="1304" y="366"/>
                  </a:lnTo>
                  <a:lnTo>
                    <a:pt x="1304" y="366"/>
                  </a:lnTo>
                  <a:lnTo>
                    <a:pt x="1304" y="372"/>
                  </a:lnTo>
                  <a:lnTo>
                    <a:pt x="1304" y="380"/>
                  </a:lnTo>
                  <a:lnTo>
                    <a:pt x="1308" y="384"/>
                  </a:lnTo>
                  <a:lnTo>
                    <a:pt x="1308" y="384"/>
                  </a:lnTo>
                  <a:lnTo>
                    <a:pt x="1310" y="392"/>
                  </a:lnTo>
                  <a:lnTo>
                    <a:pt x="1310" y="400"/>
                  </a:lnTo>
                  <a:lnTo>
                    <a:pt x="1310" y="414"/>
                  </a:lnTo>
                  <a:lnTo>
                    <a:pt x="1310" y="414"/>
                  </a:lnTo>
                  <a:lnTo>
                    <a:pt x="1310" y="426"/>
                  </a:lnTo>
                  <a:lnTo>
                    <a:pt x="1310" y="426"/>
                  </a:lnTo>
                  <a:lnTo>
                    <a:pt x="1312" y="432"/>
                  </a:lnTo>
                  <a:lnTo>
                    <a:pt x="1316" y="436"/>
                  </a:lnTo>
                  <a:lnTo>
                    <a:pt x="1334" y="454"/>
                  </a:lnTo>
                  <a:lnTo>
                    <a:pt x="1334" y="454"/>
                  </a:lnTo>
                  <a:lnTo>
                    <a:pt x="1338" y="460"/>
                  </a:lnTo>
                  <a:lnTo>
                    <a:pt x="1336" y="468"/>
                  </a:lnTo>
                  <a:lnTo>
                    <a:pt x="1324" y="484"/>
                  </a:lnTo>
                  <a:lnTo>
                    <a:pt x="1324" y="484"/>
                  </a:lnTo>
                  <a:lnTo>
                    <a:pt x="1322" y="486"/>
                  </a:lnTo>
                  <a:lnTo>
                    <a:pt x="1320" y="486"/>
                  </a:lnTo>
                  <a:lnTo>
                    <a:pt x="1318" y="486"/>
                  </a:lnTo>
                  <a:lnTo>
                    <a:pt x="1314" y="484"/>
                  </a:lnTo>
                  <a:lnTo>
                    <a:pt x="1296" y="466"/>
                  </a:lnTo>
                  <a:lnTo>
                    <a:pt x="1296" y="466"/>
                  </a:lnTo>
                  <a:lnTo>
                    <a:pt x="1284" y="456"/>
                  </a:lnTo>
                  <a:lnTo>
                    <a:pt x="1258" y="436"/>
                  </a:lnTo>
                  <a:lnTo>
                    <a:pt x="1258" y="436"/>
                  </a:lnTo>
                  <a:lnTo>
                    <a:pt x="1252" y="432"/>
                  </a:lnTo>
                  <a:lnTo>
                    <a:pt x="1244" y="432"/>
                  </a:lnTo>
                  <a:lnTo>
                    <a:pt x="1230" y="432"/>
                  </a:lnTo>
                  <a:lnTo>
                    <a:pt x="1230" y="432"/>
                  </a:lnTo>
                  <a:lnTo>
                    <a:pt x="1214" y="432"/>
                  </a:lnTo>
                  <a:lnTo>
                    <a:pt x="1212" y="432"/>
                  </a:lnTo>
                  <a:lnTo>
                    <a:pt x="1212" y="432"/>
                  </a:lnTo>
                  <a:lnTo>
                    <a:pt x="1208" y="432"/>
                  </a:lnTo>
                  <a:lnTo>
                    <a:pt x="1206" y="434"/>
                  </a:lnTo>
                  <a:lnTo>
                    <a:pt x="1204" y="436"/>
                  </a:lnTo>
                  <a:lnTo>
                    <a:pt x="1204" y="440"/>
                  </a:lnTo>
                  <a:lnTo>
                    <a:pt x="1204" y="452"/>
                  </a:lnTo>
                  <a:lnTo>
                    <a:pt x="1204" y="452"/>
                  </a:lnTo>
                  <a:lnTo>
                    <a:pt x="1202" y="460"/>
                  </a:lnTo>
                  <a:lnTo>
                    <a:pt x="1198" y="466"/>
                  </a:lnTo>
                  <a:lnTo>
                    <a:pt x="1198" y="466"/>
                  </a:lnTo>
                  <a:lnTo>
                    <a:pt x="1192" y="468"/>
                  </a:lnTo>
                  <a:lnTo>
                    <a:pt x="1186" y="466"/>
                  </a:lnTo>
                  <a:lnTo>
                    <a:pt x="1180" y="464"/>
                  </a:lnTo>
                  <a:lnTo>
                    <a:pt x="1180" y="464"/>
                  </a:lnTo>
                  <a:lnTo>
                    <a:pt x="1174" y="462"/>
                  </a:lnTo>
                  <a:lnTo>
                    <a:pt x="1166" y="464"/>
                  </a:lnTo>
                  <a:lnTo>
                    <a:pt x="1162" y="466"/>
                  </a:lnTo>
                  <a:lnTo>
                    <a:pt x="1162" y="466"/>
                  </a:lnTo>
                  <a:lnTo>
                    <a:pt x="1146" y="474"/>
                  </a:lnTo>
                  <a:lnTo>
                    <a:pt x="1142" y="476"/>
                  </a:lnTo>
                  <a:lnTo>
                    <a:pt x="1142" y="476"/>
                  </a:lnTo>
                  <a:lnTo>
                    <a:pt x="1134" y="478"/>
                  </a:lnTo>
                  <a:lnTo>
                    <a:pt x="1126" y="480"/>
                  </a:lnTo>
                  <a:lnTo>
                    <a:pt x="1124" y="480"/>
                  </a:lnTo>
                  <a:lnTo>
                    <a:pt x="1124" y="480"/>
                  </a:lnTo>
                  <a:lnTo>
                    <a:pt x="1116" y="478"/>
                  </a:lnTo>
                  <a:lnTo>
                    <a:pt x="1110" y="476"/>
                  </a:lnTo>
                  <a:lnTo>
                    <a:pt x="1110" y="476"/>
                  </a:lnTo>
                  <a:lnTo>
                    <a:pt x="1104" y="472"/>
                  </a:lnTo>
                  <a:lnTo>
                    <a:pt x="1098" y="474"/>
                  </a:lnTo>
                  <a:lnTo>
                    <a:pt x="1092" y="476"/>
                  </a:lnTo>
                  <a:lnTo>
                    <a:pt x="1092" y="476"/>
                  </a:lnTo>
                  <a:lnTo>
                    <a:pt x="1078" y="484"/>
                  </a:lnTo>
                  <a:lnTo>
                    <a:pt x="1062" y="496"/>
                  </a:lnTo>
                  <a:lnTo>
                    <a:pt x="1062" y="496"/>
                  </a:lnTo>
                  <a:lnTo>
                    <a:pt x="1050" y="504"/>
                  </a:lnTo>
                  <a:lnTo>
                    <a:pt x="1024" y="516"/>
                  </a:lnTo>
                  <a:lnTo>
                    <a:pt x="1024" y="516"/>
                  </a:lnTo>
                  <a:lnTo>
                    <a:pt x="1012" y="520"/>
                  </a:lnTo>
                  <a:lnTo>
                    <a:pt x="1012" y="520"/>
                  </a:lnTo>
                  <a:lnTo>
                    <a:pt x="1008" y="522"/>
                  </a:lnTo>
                  <a:lnTo>
                    <a:pt x="1004" y="526"/>
                  </a:lnTo>
                  <a:lnTo>
                    <a:pt x="1000" y="540"/>
                  </a:lnTo>
                  <a:lnTo>
                    <a:pt x="1000" y="540"/>
                  </a:lnTo>
                  <a:lnTo>
                    <a:pt x="996" y="546"/>
                  </a:lnTo>
                  <a:lnTo>
                    <a:pt x="992" y="548"/>
                  </a:lnTo>
                  <a:lnTo>
                    <a:pt x="992" y="548"/>
                  </a:lnTo>
                  <a:lnTo>
                    <a:pt x="988" y="546"/>
                  </a:lnTo>
                  <a:lnTo>
                    <a:pt x="982" y="542"/>
                  </a:lnTo>
                  <a:lnTo>
                    <a:pt x="974" y="534"/>
                  </a:lnTo>
                  <a:lnTo>
                    <a:pt x="974" y="534"/>
                  </a:lnTo>
                  <a:lnTo>
                    <a:pt x="972" y="530"/>
                  </a:lnTo>
                  <a:lnTo>
                    <a:pt x="972" y="526"/>
                  </a:lnTo>
                  <a:lnTo>
                    <a:pt x="974" y="524"/>
                  </a:lnTo>
                  <a:lnTo>
                    <a:pt x="974" y="524"/>
                  </a:lnTo>
                  <a:lnTo>
                    <a:pt x="982" y="514"/>
                  </a:lnTo>
                  <a:lnTo>
                    <a:pt x="982" y="514"/>
                  </a:lnTo>
                  <a:lnTo>
                    <a:pt x="986" y="508"/>
                  </a:lnTo>
                  <a:lnTo>
                    <a:pt x="988" y="502"/>
                  </a:lnTo>
                  <a:lnTo>
                    <a:pt x="988" y="498"/>
                  </a:lnTo>
                  <a:lnTo>
                    <a:pt x="988" y="498"/>
                  </a:lnTo>
                  <a:lnTo>
                    <a:pt x="986" y="492"/>
                  </a:lnTo>
                  <a:lnTo>
                    <a:pt x="980" y="486"/>
                  </a:lnTo>
                  <a:lnTo>
                    <a:pt x="976" y="484"/>
                  </a:lnTo>
                  <a:lnTo>
                    <a:pt x="976" y="484"/>
                  </a:lnTo>
                  <a:lnTo>
                    <a:pt x="964" y="480"/>
                  </a:lnTo>
                  <a:lnTo>
                    <a:pt x="964" y="480"/>
                  </a:lnTo>
                  <a:lnTo>
                    <a:pt x="950" y="480"/>
                  </a:lnTo>
                  <a:lnTo>
                    <a:pt x="946" y="480"/>
                  </a:lnTo>
                  <a:lnTo>
                    <a:pt x="946" y="480"/>
                  </a:lnTo>
                  <a:lnTo>
                    <a:pt x="944" y="480"/>
                  </a:lnTo>
                  <a:lnTo>
                    <a:pt x="942" y="482"/>
                  </a:lnTo>
                  <a:lnTo>
                    <a:pt x="942" y="484"/>
                  </a:lnTo>
                  <a:lnTo>
                    <a:pt x="942" y="488"/>
                  </a:lnTo>
                  <a:lnTo>
                    <a:pt x="944" y="492"/>
                  </a:lnTo>
                  <a:lnTo>
                    <a:pt x="944" y="492"/>
                  </a:lnTo>
                  <a:lnTo>
                    <a:pt x="948" y="500"/>
                  </a:lnTo>
                  <a:lnTo>
                    <a:pt x="948" y="508"/>
                  </a:lnTo>
                  <a:lnTo>
                    <a:pt x="948" y="520"/>
                  </a:lnTo>
                  <a:lnTo>
                    <a:pt x="948" y="520"/>
                  </a:lnTo>
                  <a:lnTo>
                    <a:pt x="950" y="528"/>
                  </a:lnTo>
                  <a:lnTo>
                    <a:pt x="952" y="536"/>
                  </a:lnTo>
                  <a:lnTo>
                    <a:pt x="954" y="542"/>
                  </a:lnTo>
                  <a:lnTo>
                    <a:pt x="954" y="542"/>
                  </a:lnTo>
                  <a:lnTo>
                    <a:pt x="956" y="548"/>
                  </a:lnTo>
                  <a:lnTo>
                    <a:pt x="956" y="556"/>
                  </a:lnTo>
                  <a:lnTo>
                    <a:pt x="952" y="570"/>
                  </a:lnTo>
                  <a:lnTo>
                    <a:pt x="952" y="570"/>
                  </a:lnTo>
                  <a:lnTo>
                    <a:pt x="948" y="574"/>
                  </a:lnTo>
                  <a:lnTo>
                    <a:pt x="946" y="574"/>
                  </a:lnTo>
                  <a:lnTo>
                    <a:pt x="944" y="572"/>
                  </a:lnTo>
                  <a:lnTo>
                    <a:pt x="944" y="572"/>
                  </a:lnTo>
                  <a:lnTo>
                    <a:pt x="938" y="570"/>
                  </a:lnTo>
                  <a:lnTo>
                    <a:pt x="930" y="568"/>
                  </a:lnTo>
                  <a:lnTo>
                    <a:pt x="928" y="568"/>
                  </a:lnTo>
                  <a:lnTo>
                    <a:pt x="928" y="568"/>
                  </a:lnTo>
                  <a:lnTo>
                    <a:pt x="920" y="570"/>
                  </a:lnTo>
                  <a:lnTo>
                    <a:pt x="914" y="572"/>
                  </a:lnTo>
                  <a:lnTo>
                    <a:pt x="914" y="572"/>
                  </a:lnTo>
                  <a:lnTo>
                    <a:pt x="902" y="582"/>
                  </a:lnTo>
                  <a:lnTo>
                    <a:pt x="896" y="584"/>
                  </a:lnTo>
                  <a:lnTo>
                    <a:pt x="896" y="584"/>
                  </a:lnTo>
                  <a:lnTo>
                    <a:pt x="884" y="592"/>
                  </a:lnTo>
                  <a:lnTo>
                    <a:pt x="884" y="592"/>
                  </a:lnTo>
                  <a:lnTo>
                    <a:pt x="882" y="598"/>
                  </a:lnTo>
                  <a:lnTo>
                    <a:pt x="884" y="604"/>
                  </a:lnTo>
                  <a:lnTo>
                    <a:pt x="896" y="630"/>
                  </a:lnTo>
                  <a:lnTo>
                    <a:pt x="896" y="630"/>
                  </a:lnTo>
                  <a:lnTo>
                    <a:pt x="898" y="634"/>
                  </a:lnTo>
                  <a:lnTo>
                    <a:pt x="894" y="632"/>
                  </a:lnTo>
                  <a:lnTo>
                    <a:pt x="894" y="632"/>
                  </a:lnTo>
                  <a:lnTo>
                    <a:pt x="888" y="628"/>
                  </a:lnTo>
                  <a:lnTo>
                    <a:pt x="882" y="626"/>
                  </a:lnTo>
                  <a:lnTo>
                    <a:pt x="868" y="626"/>
                  </a:lnTo>
                  <a:lnTo>
                    <a:pt x="868" y="626"/>
                  </a:lnTo>
                  <a:lnTo>
                    <a:pt x="860" y="626"/>
                  </a:lnTo>
                  <a:lnTo>
                    <a:pt x="854" y="624"/>
                  </a:lnTo>
                  <a:lnTo>
                    <a:pt x="848" y="620"/>
                  </a:lnTo>
                  <a:lnTo>
                    <a:pt x="848" y="620"/>
                  </a:lnTo>
                  <a:lnTo>
                    <a:pt x="842" y="620"/>
                  </a:lnTo>
                  <a:lnTo>
                    <a:pt x="842" y="620"/>
                  </a:lnTo>
                  <a:lnTo>
                    <a:pt x="840" y="622"/>
                  </a:lnTo>
                  <a:lnTo>
                    <a:pt x="840" y="622"/>
                  </a:lnTo>
                  <a:lnTo>
                    <a:pt x="842" y="630"/>
                  </a:lnTo>
                  <a:lnTo>
                    <a:pt x="842" y="630"/>
                  </a:lnTo>
                  <a:lnTo>
                    <a:pt x="842" y="630"/>
                  </a:lnTo>
                  <a:lnTo>
                    <a:pt x="842" y="632"/>
                  </a:lnTo>
                  <a:lnTo>
                    <a:pt x="836" y="630"/>
                  </a:lnTo>
                  <a:lnTo>
                    <a:pt x="818" y="624"/>
                  </a:lnTo>
                  <a:lnTo>
                    <a:pt x="818" y="624"/>
                  </a:lnTo>
                  <a:lnTo>
                    <a:pt x="812" y="622"/>
                  </a:lnTo>
                  <a:lnTo>
                    <a:pt x="808" y="616"/>
                  </a:lnTo>
                  <a:lnTo>
                    <a:pt x="804" y="604"/>
                  </a:lnTo>
                  <a:lnTo>
                    <a:pt x="804" y="604"/>
                  </a:lnTo>
                  <a:lnTo>
                    <a:pt x="804" y="598"/>
                  </a:lnTo>
                  <a:lnTo>
                    <a:pt x="806" y="592"/>
                  </a:lnTo>
                  <a:lnTo>
                    <a:pt x="806" y="592"/>
                  </a:lnTo>
                  <a:lnTo>
                    <a:pt x="810" y="588"/>
                  </a:lnTo>
                  <a:lnTo>
                    <a:pt x="812" y="582"/>
                  </a:lnTo>
                  <a:lnTo>
                    <a:pt x="812" y="582"/>
                  </a:lnTo>
                  <a:lnTo>
                    <a:pt x="810" y="578"/>
                  </a:lnTo>
                  <a:lnTo>
                    <a:pt x="804" y="574"/>
                  </a:lnTo>
                  <a:lnTo>
                    <a:pt x="800" y="572"/>
                  </a:lnTo>
                  <a:lnTo>
                    <a:pt x="800" y="572"/>
                  </a:lnTo>
                  <a:lnTo>
                    <a:pt x="786" y="562"/>
                  </a:lnTo>
                  <a:lnTo>
                    <a:pt x="778" y="554"/>
                  </a:lnTo>
                  <a:lnTo>
                    <a:pt x="778" y="554"/>
                  </a:lnTo>
                  <a:lnTo>
                    <a:pt x="768" y="544"/>
                  </a:lnTo>
                  <a:lnTo>
                    <a:pt x="768" y="544"/>
                  </a:lnTo>
                  <a:lnTo>
                    <a:pt x="766" y="540"/>
                  </a:lnTo>
                  <a:lnTo>
                    <a:pt x="768" y="538"/>
                  </a:lnTo>
                  <a:lnTo>
                    <a:pt x="768" y="538"/>
                  </a:lnTo>
                  <a:lnTo>
                    <a:pt x="772" y="540"/>
                  </a:lnTo>
                  <a:lnTo>
                    <a:pt x="778" y="544"/>
                  </a:lnTo>
                  <a:lnTo>
                    <a:pt x="778" y="544"/>
                  </a:lnTo>
                  <a:lnTo>
                    <a:pt x="784" y="546"/>
                  </a:lnTo>
                  <a:lnTo>
                    <a:pt x="790" y="548"/>
                  </a:lnTo>
                  <a:lnTo>
                    <a:pt x="794" y="548"/>
                  </a:lnTo>
                  <a:lnTo>
                    <a:pt x="794" y="548"/>
                  </a:lnTo>
                  <a:lnTo>
                    <a:pt x="800" y="550"/>
                  </a:lnTo>
                  <a:lnTo>
                    <a:pt x="806" y="556"/>
                  </a:lnTo>
                  <a:lnTo>
                    <a:pt x="808" y="560"/>
                  </a:lnTo>
                  <a:lnTo>
                    <a:pt x="808" y="560"/>
                  </a:lnTo>
                  <a:lnTo>
                    <a:pt x="812" y="566"/>
                  </a:lnTo>
                  <a:lnTo>
                    <a:pt x="820" y="570"/>
                  </a:lnTo>
                  <a:lnTo>
                    <a:pt x="842" y="576"/>
                  </a:lnTo>
                  <a:lnTo>
                    <a:pt x="842" y="576"/>
                  </a:lnTo>
                  <a:lnTo>
                    <a:pt x="850" y="576"/>
                  </a:lnTo>
                  <a:lnTo>
                    <a:pt x="858" y="576"/>
                  </a:lnTo>
                  <a:lnTo>
                    <a:pt x="872" y="570"/>
                  </a:lnTo>
                  <a:lnTo>
                    <a:pt x="872" y="570"/>
                  </a:lnTo>
                  <a:lnTo>
                    <a:pt x="888" y="564"/>
                  </a:lnTo>
                  <a:lnTo>
                    <a:pt x="892" y="562"/>
                  </a:lnTo>
                  <a:lnTo>
                    <a:pt x="892" y="562"/>
                  </a:lnTo>
                  <a:lnTo>
                    <a:pt x="898" y="558"/>
                  </a:lnTo>
                  <a:lnTo>
                    <a:pt x="902" y="550"/>
                  </a:lnTo>
                  <a:lnTo>
                    <a:pt x="906" y="536"/>
                  </a:lnTo>
                  <a:lnTo>
                    <a:pt x="906" y="536"/>
                  </a:lnTo>
                  <a:lnTo>
                    <a:pt x="906" y="530"/>
                  </a:lnTo>
                  <a:lnTo>
                    <a:pt x="904" y="524"/>
                  </a:lnTo>
                  <a:lnTo>
                    <a:pt x="876" y="496"/>
                  </a:lnTo>
                  <a:lnTo>
                    <a:pt x="876" y="496"/>
                  </a:lnTo>
                  <a:lnTo>
                    <a:pt x="864" y="486"/>
                  </a:lnTo>
                  <a:lnTo>
                    <a:pt x="848" y="474"/>
                  </a:lnTo>
                  <a:lnTo>
                    <a:pt x="848" y="474"/>
                  </a:lnTo>
                  <a:lnTo>
                    <a:pt x="836" y="464"/>
                  </a:lnTo>
                  <a:lnTo>
                    <a:pt x="826" y="456"/>
                  </a:lnTo>
                  <a:lnTo>
                    <a:pt x="826" y="456"/>
                  </a:lnTo>
                  <a:lnTo>
                    <a:pt x="820" y="452"/>
                  </a:lnTo>
                  <a:lnTo>
                    <a:pt x="814" y="448"/>
                  </a:lnTo>
                  <a:lnTo>
                    <a:pt x="800" y="444"/>
                  </a:lnTo>
                  <a:lnTo>
                    <a:pt x="800" y="444"/>
                  </a:lnTo>
                  <a:lnTo>
                    <a:pt x="788" y="440"/>
                  </a:lnTo>
                  <a:lnTo>
                    <a:pt x="788" y="440"/>
                  </a:lnTo>
                  <a:lnTo>
                    <a:pt x="784" y="438"/>
                  </a:lnTo>
                  <a:lnTo>
                    <a:pt x="782" y="432"/>
                  </a:lnTo>
                  <a:lnTo>
                    <a:pt x="782" y="430"/>
                  </a:lnTo>
                  <a:lnTo>
                    <a:pt x="782" y="430"/>
                  </a:lnTo>
                  <a:lnTo>
                    <a:pt x="782" y="426"/>
                  </a:lnTo>
                  <a:lnTo>
                    <a:pt x="780" y="424"/>
                  </a:lnTo>
                  <a:lnTo>
                    <a:pt x="778" y="422"/>
                  </a:lnTo>
                  <a:lnTo>
                    <a:pt x="774" y="422"/>
                  </a:lnTo>
                  <a:lnTo>
                    <a:pt x="770" y="422"/>
                  </a:lnTo>
                  <a:lnTo>
                    <a:pt x="770" y="422"/>
                  </a:lnTo>
                  <a:lnTo>
                    <a:pt x="754" y="422"/>
                  </a:lnTo>
                  <a:lnTo>
                    <a:pt x="752" y="422"/>
                  </a:lnTo>
                  <a:lnTo>
                    <a:pt x="752" y="422"/>
                  </a:lnTo>
                  <a:lnTo>
                    <a:pt x="742" y="422"/>
                  </a:lnTo>
                  <a:lnTo>
                    <a:pt x="742" y="422"/>
                  </a:lnTo>
                  <a:lnTo>
                    <a:pt x="738" y="416"/>
                  </a:lnTo>
                  <a:lnTo>
                    <a:pt x="738" y="416"/>
                  </a:lnTo>
                  <a:lnTo>
                    <a:pt x="734" y="412"/>
                  </a:lnTo>
                  <a:lnTo>
                    <a:pt x="734" y="406"/>
                  </a:lnTo>
                  <a:lnTo>
                    <a:pt x="734" y="406"/>
                  </a:lnTo>
                  <a:lnTo>
                    <a:pt x="736" y="394"/>
                  </a:lnTo>
                  <a:lnTo>
                    <a:pt x="740" y="390"/>
                  </a:lnTo>
                  <a:lnTo>
                    <a:pt x="740" y="390"/>
                  </a:lnTo>
                  <a:lnTo>
                    <a:pt x="740" y="384"/>
                  </a:lnTo>
                  <a:lnTo>
                    <a:pt x="738" y="378"/>
                  </a:lnTo>
                  <a:lnTo>
                    <a:pt x="738" y="378"/>
                  </a:lnTo>
                  <a:lnTo>
                    <a:pt x="728" y="368"/>
                  </a:lnTo>
                  <a:lnTo>
                    <a:pt x="720" y="358"/>
                  </a:lnTo>
                  <a:lnTo>
                    <a:pt x="720" y="358"/>
                  </a:lnTo>
                  <a:lnTo>
                    <a:pt x="716" y="358"/>
                  </a:lnTo>
                  <a:lnTo>
                    <a:pt x="714" y="356"/>
                  </a:lnTo>
                  <a:lnTo>
                    <a:pt x="710" y="358"/>
                  </a:lnTo>
                  <a:lnTo>
                    <a:pt x="708" y="358"/>
                  </a:lnTo>
                  <a:lnTo>
                    <a:pt x="700" y="368"/>
                  </a:lnTo>
                  <a:lnTo>
                    <a:pt x="700" y="368"/>
                  </a:lnTo>
                  <a:lnTo>
                    <a:pt x="694" y="370"/>
                  </a:lnTo>
                  <a:lnTo>
                    <a:pt x="686" y="370"/>
                  </a:lnTo>
                  <a:lnTo>
                    <a:pt x="682" y="366"/>
                  </a:lnTo>
                  <a:lnTo>
                    <a:pt x="682" y="366"/>
                  </a:lnTo>
                  <a:lnTo>
                    <a:pt x="670" y="362"/>
                  </a:lnTo>
                  <a:lnTo>
                    <a:pt x="670" y="362"/>
                  </a:lnTo>
                  <a:lnTo>
                    <a:pt x="656" y="362"/>
                  </a:lnTo>
                  <a:lnTo>
                    <a:pt x="654" y="362"/>
                  </a:lnTo>
                  <a:lnTo>
                    <a:pt x="654" y="362"/>
                  </a:lnTo>
                  <a:lnTo>
                    <a:pt x="646" y="364"/>
                  </a:lnTo>
                  <a:lnTo>
                    <a:pt x="640" y="368"/>
                  </a:lnTo>
                  <a:lnTo>
                    <a:pt x="632" y="376"/>
                  </a:lnTo>
                  <a:lnTo>
                    <a:pt x="632" y="376"/>
                  </a:lnTo>
                  <a:lnTo>
                    <a:pt x="626" y="380"/>
                  </a:lnTo>
                  <a:lnTo>
                    <a:pt x="620" y="382"/>
                  </a:lnTo>
                  <a:lnTo>
                    <a:pt x="620" y="382"/>
                  </a:lnTo>
                  <a:lnTo>
                    <a:pt x="610" y="382"/>
                  </a:lnTo>
                  <a:lnTo>
                    <a:pt x="610" y="382"/>
                  </a:lnTo>
                  <a:lnTo>
                    <a:pt x="606" y="384"/>
                  </a:lnTo>
                  <a:lnTo>
                    <a:pt x="600" y="388"/>
                  </a:lnTo>
                  <a:lnTo>
                    <a:pt x="600" y="388"/>
                  </a:lnTo>
                  <a:lnTo>
                    <a:pt x="596" y="390"/>
                  </a:lnTo>
                  <a:lnTo>
                    <a:pt x="592" y="392"/>
                  </a:lnTo>
                  <a:lnTo>
                    <a:pt x="592" y="392"/>
                  </a:lnTo>
                  <a:lnTo>
                    <a:pt x="586" y="394"/>
                  </a:lnTo>
                  <a:lnTo>
                    <a:pt x="584" y="400"/>
                  </a:lnTo>
                  <a:lnTo>
                    <a:pt x="578" y="414"/>
                  </a:lnTo>
                  <a:lnTo>
                    <a:pt x="578" y="414"/>
                  </a:lnTo>
                  <a:lnTo>
                    <a:pt x="574" y="420"/>
                  </a:lnTo>
                  <a:lnTo>
                    <a:pt x="568" y="422"/>
                  </a:lnTo>
                  <a:lnTo>
                    <a:pt x="556" y="422"/>
                  </a:lnTo>
                  <a:lnTo>
                    <a:pt x="556" y="422"/>
                  </a:lnTo>
                  <a:lnTo>
                    <a:pt x="548" y="424"/>
                  </a:lnTo>
                  <a:lnTo>
                    <a:pt x="544" y="430"/>
                  </a:lnTo>
                  <a:lnTo>
                    <a:pt x="540" y="444"/>
                  </a:lnTo>
                  <a:lnTo>
                    <a:pt x="540" y="444"/>
                  </a:lnTo>
                  <a:lnTo>
                    <a:pt x="538" y="456"/>
                  </a:lnTo>
                  <a:lnTo>
                    <a:pt x="538" y="456"/>
                  </a:lnTo>
                  <a:lnTo>
                    <a:pt x="534" y="460"/>
                  </a:lnTo>
                  <a:lnTo>
                    <a:pt x="530" y="460"/>
                  </a:lnTo>
                  <a:lnTo>
                    <a:pt x="526" y="460"/>
                  </a:lnTo>
                  <a:lnTo>
                    <a:pt x="526" y="460"/>
                  </a:lnTo>
                  <a:lnTo>
                    <a:pt x="518" y="462"/>
                  </a:lnTo>
                  <a:lnTo>
                    <a:pt x="514" y="468"/>
                  </a:lnTo>
                  <a:lnTo>
                    <a:pt x="502" y="484"/>
                  </a:lnTo>
                  <a:lnTo>
                    <a:pt x="502" y="484"/>
                  </a:lnTo>
                  <a:lnTo>
                    <a:pt x="500" y="490"/>
                  </a:lnTo>
                  <a:lnTo>
                    <a:pt x="498" y="498"/>
                  </a:lnTo>
                  <a:lnTo>
                    <a:pt x="498" y="502"/>
                  </a:lnTo>
                  <a:lnTo>
                    <a:pt x="498" y="502"/>
                  </a:lnTo>
                  <a:lnTo>
                    <a:pt x="496" y="510"/>
                  </a:lnTo>
                  <a:lnTo>
                    <a:pt x="494" y="516"/>
                  </a:lnTo>
                  <a:lnTo>
                    <a:pt x="482" y="532"/>
                  </a:lnTo>
                  <a:lnTo>
                    <a:pt x="482" y="532"/>
                  </a:lnTo>
                  <a:lnTo>
                    <a:pt x="474" y="546"/>
                  </a:lnTo>
                  <a:lnTo>
                    <a:pt x="472" y="552"/>
                  </a:lnTo>
                  <a:lnTo>
                    <a:pt x="472" y="552"/>
                  </a:lnTo>
                  <a:lnTo>
                    <a:pt x="466" y="566"/>
                  </a:lnTo>
                  <a:lnTo>
                    <a:pt x="462" y="570"/>
                  </a:lnTo>
                  <a:lnTo>
                    <a:pt x="462" y="570"/>
                  </a:lnTo>
                  <a:lnTo>
                    <a:pt x="456" y="586"/>
                  </a:lnTo>
                  <a:lnTo>
                    <a:pt x="452" y="590"/>
                  </a:lnTo>
                  <a:lnTo>
                    <a:pt x="452" y="590"/>
                  </a:lnTo>
                  <a:lnTo>
                    <a:pt x="444" y="604"/>
                  </a:lnTo>
                  <a:lnTo>
                    <a:pt x="424" y="640"/>
                  </a:lnTo>
                  <a:lnTo>
                    <a:pt x="424" y="640"/>
                  </a:lnTo>
                  <a:lnTo>
                    <a:pt x="414" y="652"/>
                  </a:lnTo>
                  <a:lnTo>
                    <a:pt x="406" y="660"/>
                  </a:lnTo>
                  <a:lnTo>
                    <a:pt x="406" y="660"/>
                  </a:lnTo>
                  <a:lnTo>
                    <a:pt x="392" y="670"/>
                  </a:lnTo>
                  <a:lnTo>
                    <a:pt x="388" y="672"/>
                  </a:lnTo>
                  <a:lnTo>
                    <a:pt x="388" y="672"/>
                  </a:lnTo>
                  <a:lnTo>
                    <a:pt x="382" y="676"/>
                  </a:lnTo>
                  <a:lnTo>
                    <a:pt x="376" y="682"/>
                  </a:lnTo>
                  <a:lnTo>
                    <a:pt x="374" y="688"/>
                  </a:lnTo>
                  <a:lnTo>
                    <a:pt x="374" y="688"/>
                  </a:lnTo>
                  <a:lnTo>
                    <a:pt x="366" y="700"/>
                  </a:lnTo>
                  <a:lnTo>
                    <a:pt x="366" y="700"/>
                  </a:lnTo>
                  <a:lnTo>
                    <a:pt x="356" y="710"/>
                  </a:lnTo>
                  <a:lnTo>
                    <a:pt x="356" y="710"/>
                  </a:lnTo>
                  <a:lnTo>
                    <a:pt x="352" y="714"/>
                  </a:lnTo>
                  <a:lnTo>
                    <a:pt x="350" y="720"/>
                  </a:lnTo>
                  <a:lnTo>
                    <a:pt x="350" y="720"/>
                  </a:lnTo>
                  <a:lnTo>
                    <a:pt x="346" y="732"/>
                  </a:lnTo>
                  <a:lnTo>
                    <a:pt x="344" y="736"/>
                  </a:lnTo>
                  <a:lnTo>
                    <a:pt x="344" y="736"/>
                  </a:lnTo>
                  <a:lnTo>
                    <a:pt x="342" y="744"/>
                  </a:lnTo>
                  <a:lnTo>
                    <a:pt x="340" y="752"/>
                  </a:lnTo>
                  <a:lnTo>
                    <a:pt x="340" y="756"/>
                  </a:lnTo>
                  <a:lnTo>
                    <a:pt x="340" y="756"/>
                  </a:lnTo>
                  <a:lnTo>
                    <a:pt x="342" y="764"/>
                  </a:lnTo>
                  <a:lnTo>
                    <a:pt x="344" y="770"/>
                  </a:lnTo>
                  <a:lnTo>
                    <a:pt x="346" y="776"/>
                  </a:lnTo>
                  <a:lnTo>
                    <a:pt x="346" y="776"/>
                  </a:lnTo>
                  <a:lnTo>
                    <a:pt x="348" y="784"/>
                  </a:lnTo>
                  <a:lnTo>
                    <a:pt x="350" y="792"/>
                  </a:lnTo>
                  <a:lnTo>
                    <a:pt x="350" y="794"/>
                  </a:lnTo>
                  <a:lnTo>
                    <a:pt x="350" y="794"/>
                  </a:lnTo>
                  <a:lnTo>
                    <a:pt x="350" y="810"/>
                  </a:lnTo>
                  <a:lnTo>
                    <a:pt x="350" y="814"/>
                  </a:lnTo>
                  <a:lnTo>
                    <a:pt x="350" y="814"/>
                  </a:lnTo>
                  <a:lnTo>
                    <a:pt x="352" y="820"/>
                  </a:lnTo>
                  <a:lnTo>
                    <a:pt x="356" y="826"/>
                  </a:lnTo>
                  <a:lnTo>
                    <a:pt x="364" y="828"/>
                  </a:lnTo>
                  <a:lnTo>
                    <a:pt x="364" y="828"/>
                  </a:lnTo>
                  <a:lnTo>
                    <a:pt x="370" y="830"/>
                  </a:lnTo>
                  <a:lnTo>
                    <a:pt x="378" y="832"/>
                  </a:lnTo>
                  <a:lnTo>
                    <a:pt x="382" y="832"/>
                  </a:lnTo>
                  <a:lnTo>
                    <a:pt x="382" y="832"/>
                  </a:lnTo>
                  <a:lnTo>
                    <a:pt x="390" y="830"/>
                  </a:lnTo>
                  <a:lnTo>
                    <a:pt x="396" y="828"/>
                  </a:lnTo>
                  <a:lnTo>
                    <a:pt x="412" y="816"/>
                  </a:lnTo>
                  <a:lnTo>
                    <a:pt x="412" y="816"/>
                  </a:lnTo>
                  <a:lnTo>
                    <a:pt x="424" y="808"/>
                  </a:lnTo>
                  <a:lnTo>
                    <a:pt x="424" y="808"/>
                  </a:lnTo>
                  <a:lnTo>
                    <a:pt x="430" y="804"/>
                  </a:lnTo>
                  <a:lnTo>
                    <a:pt x="434" y="802"/>
                  </a:lnTo>
                  <a:lnTo>
                    <a:pt x="434" y="802"/>
                  </a:lnTo>
                  <a:lnTo>
                    <a:pt x="438" y="800"/>
                  </a:lnTo>
                  <a:lnTo>
                    <a:pt x="442" y="796"/>
                  </a:lnTo>
                  <a:lnTo>
                    <a:pt x="446" y="790"/>
                  </a:lnTo>
                  <a:lnTo>
                    <a:pt x="446" y="790"/>
                  </a:lnTo>
                  <a:lnTo>
                    <a:pt x="454" y="778"/>
                  </a:lnTo>
                  <a:lnTo>
                    <a:pt x="454" y="778"/>
                  </a:lnTo>
                  <a:lnTo>
                    <a:pt x="458" y="774"/>
                  </a:lnTo>
                  <a:lnTo>
                    <a:pt x="458" y="774"/>
                  </a:lnTo>
                  <a:lnTo>
                    <a:pt x="454" y="778"/>
                  </a:lnTo>
                  <a:lnTo>
                    <a:pt x="454" y="778"/>
                  </a:lnTo>
                  <a:lnTo>
                    <a:pt x="446" y="790"/>
                  </a:lnTo>
                  <a:lnTo>
                    <a:pt x="442" y="796"/>
                  </a:lnTo>
                  <a:lnTo>
                    <a:pt x="442" y="796"/>
                  </a:lnTo>
                  <a:lnTo>
                    <a:pt x="440" y="808"/>
                  </a:lnTo>
                  <a:lnTo>
                    <a:pt x="440" y="808"/>
                  </a:lnTo>
                  <a:lnTo>
                    <a:pt x="442" y="820"/>
                  </a:lnTo>
                  <a:lnTo>
                    <a:pt x="446" y="826"/>
                  </a:lnTo>
                  <a:lnTo>
                    <a:pt x="446" y="826"/>
                  </a:lnTo>
                  <a:lnTo>
                    <a:pt x="448" y="832"/>
                  </a:lnTo>
                  <a:lnTo>
                    <a:pt x="448" y="840"/>
                  </a:lnTo>
                  <a:lnTo>
                    <a:pt x="448" y="844"/>
                  </a:lnTo>
                  <a:lnTo>
                    <a:pt x="448" y="844"/>
                  </a:lnTo>
                  <a:lnTo>
                    <a:pt x="452" y="860"/>
                  </a:lnTo>
                  <a:lnTo>
                    <a:pt x="456" y="874"/>
                  </a:lnTo>
                  <a:lnTo>
                    <a:pt x="456" y="874"/>
                  </a:lnTo>
                  <a:lnTo>
                    <a:pt x="458" y="886"/>
                  </a:lnTo>
                  <a:lnTo>
                    <a:pt x="458" y="886"/>
                  </a:lnTo>
                  <a:lnTo>
                    <a:pt x="460" y="892"/>
                  </a:lnTo>
                  <a:lnTo>
                    <a:pt x="464" y="896"/>
                  </a:lnTo>
                  <a:lnTo>
                    <a:pt x="464" y="896"/>
                  </a:lnTo>
                  <a:lnTo>
                    <a:pt x="466" y="902"/>
                  </a:lnTo>
                  <a:lnTo>
                    <a:pt x="468" y="906"/>
                  </a:lnTo>
                  <a:lnTo>
                    <a:pt x="468" y="906"/>
                  </a:lnTo>
                  <a:lnTo>
                    <a:pt x="470" y="910"/>
                  </a:lnTo>
                  <a:lnTo>
                    <a:pt x="476" y="910"/>
                  </a:lnTo>
                  <a:lnTo>
                    <a:pt x="480" y="910"/>
                  </a:lnTo>
                  <a:lnTo>
                    <a:pt x="480" y="910"/>
                  </a:lnTo>
                  <a:lnTo>
                    <a:pt x="486" y="910"/>
                  </a:lnTo>
                  <a:lnTo>
                    <a:pt x="488" y="906"/>
                  </a:lnTo>
                  <a:lnTo>
                    <a:pt x="488" y="906"/>
                  </a:lnTo>
                  <a:lnTo>
                    <a:pt x="490" y="902"/>
                  </a:lnTo>
                  <a:lnTo>
                    <a:pt x="492" y="896"/>
                  </a:lnTo>
                  <a:lnTo>
                    <a:pt x="492" y="896"/>
                  </a:lnTo>
                  <a:lnTo>
                    <a:pt x="498" y="892"/>
                  </a:lnTo>
                  <a:lnTo>
                    <a:pt x="506" y="892"/>
                  </a:lnTo>
                  <a:lnTo>
                    <a:pt x="510" y="892"/>
                  </a:lnTo>
                  <a:lnTo>
                    <a:pt x="510" y="892"/>
                  </a:lnTo>
                  <a:lnTo>
                    <a:pt x="516" y="890"/>
                  </a:lnTo>
                  <a:lnTo>
                    <a:pt x="520" y="884"/>
                  </a:lnTo>
                  <a:lnTo>
                    <a:pt x="524" y="878"/>
                  </a:lnTo>
                  <a:lnTo>
                    <a:pt x="524" y="878"/>
                  </a:lnTo>
                  <a:lnTo>
                    <a:pt x="526" y="872"/>
                  </a:lnTo>
                  <a:lnTo>
                    <a:pt x="528" y="864"/>
                  </a:lnTo>
                  <a:lnTo>
                    <a:pt x="528" y="840"/>
                  </a:lnTo>
                  <a:lnTo>
                    <a:pt x="528" y="840"/>
                  </a:lnTo>
                  <a:lnTo>
                    <a:pt x="528" y="824"/>
                  </a:lnTo>
                  <a:lnTo>
                    <a:pt x="528" y="822"/>
                  </a:lnTo>
                  <a:lnTo>
                    <a:pt x="528" y="822"/>
                  </a:lnTo>
                  <a:lnTo>
                    <a:pt x="528" y="816"/>
                  </a:lnTo>
                  <a:lnTo>
                    <a:pt x="532" y="814"/>
                  </a:lnTo>
                  <a:lnTo>
                    <a:pt x="532" y="814"/>
                  </a:lnTo>
                  <a:lnTo>
                    <a:pt x="544" y="810"/>
                  </a:lnTo>
                  <a:lnTo>
                    <a:pt x="550" y="806"/>
                  </a:lnTo>
                  <a:lnTo>
                    <a:pt x="550" y="806"/>
                  </a:lnTo>
                  <a:lnTo>
                    <a:pt x="554" y="802"/>
                  </a:lnTo>
                  <a:lnTo>
                    <a:pt x="556" y="796"/>
                  </a:lnTo>
                  <a:lnTo>
                    <a:pt x="556" y="792"/>
                  </a:lnTo>
                  <a:lnTo>
                    <a:pt x="556" y="792"/>
                  </a:lnTo>
                  <a:lnTo>
                    <a:pt x="556" y="784"/>
                  </a:lnTo>
                  <a:lnTo>
                    <a:pt x="554" y="776"/>
                  </a:lnTo>
                  <a:lnTo>
                    <a:pt x="550" y="772"/>
                  </a:lnTo>
                  <a:lnTo>
                    <a:pt x="550" y="772"/>
                  </a:lnTo>
                  <a:lnTo>
                    <a:pt x="542" y="760"/>
                  </a:lnTo>
                  <a:lnTo>
                    <a:pt x="542" y="760"/>
                  </a:lnTo>
                  <a:lnTo>
                    <a:pt x="538" y="754"/>
                  </a:lnTo>
                  <a:lnTo>
                    <a:pt x="536" y="746"/>
                  </a:lnTo>
                  <a:lnTo>
                    <a:pt x="536" y="732"/>
                  </a:lnTo>
                  <a:lnTo>
                    <a:pt x="536" y="732"/>
                  </a:lnTo>
                  <a:lnTo>
                    <a:pt x="536" y="716"/>
                  </a:lnTo>
                  <a:lnTo>
                    <a:pt x="536" y="704"/>
                  </a:lnTo>
                  <a:lnTo>
                    <a:pt x="536" y="704"/>
                  </a:lnTo>
                  <a:lnTo>
                    <a:pt x="538" y="696"/>
                  </a:lnTo>
                  <a:lnTo>
                    <a:pt x="542" y="690"/>
                  </a:lnTo>
                  <a:lnTo>
                    <a:pt x="550" y="682"/>
                  </a:lnTo>
                  <a:lnTo>
                    <a:pt x="550" y="682"/>
                  </a:lnTo>
                  <a:lnTo>
                    <a:pt x="562" y="672"/>
                  </a:lnTo>
                  <a:lnTo>
                    <a:pt x="562" y="672"/>
                  </a:lnTo>
                  <a:lnTo>
                    <a:pt x="572" y="662"/>
                  </a:lnTo>
                  <a:lnTo>
                    <a:pt x="590" y="652"/>
                  </a:lnTo>
                  <a:lnTo>
                    <a:pt x="590" y="652"/>
                  </a:lnTo>
                  <a:lnTo>
                    <a:pt x="594" y="646"/>
                  </a:lnTo>
                  <a:lnTo>
                    <a:pt x="600" y="640"/>
                  </a:lnTo>
                  <a:lnTo>
                    <a:pt x="602" y="634"/>
                  </a:lnTo>
                  <a:lnTo>
                    <a:pt x="602" y="634"/>
                  </a:lnTo>
                  <a:lnTo>
                    <a:pt x="604" y="628"/>
                  </a:lnTo>
                  <a:lnTo>
                    <a:pt x="600" y="622"/>
                  </a:lnTo>
                  <a:lnTo>
                    <a:pt x="600" y="622"/>
                  </a:lnTo>
                  <a:lnTo>
                    <a:pt x="598" y="616"/>
                  </a:lnTo>
                  <a:lnTo>
                    <a:pt x="600" y="610"/>
                  </a:lnTo>
                  <a:lnTo>
                    <a:pt x="602" y="604"/>
                  </a:lnTo>
                  <a:lnTo>
                    <a:pt x="602" y="604"/>
                  </a:lnTo>
                  <a:lnTo>
                    <a:pt x="612" y="592"/>
                  </a:lnTo>
                  <a:lnTo>
                    <a:pt x="620" y="584"/>
                  </a:lnTo>
                  <a:lnTo>
                    <a:pt x="620" y="584"/>
                  </a:lnTo>
                  <a:lnTo>
                    <a:pt x="624" y="580"/>
                  </a:lnTo>
                  <a:lnTo>
                    <a:pt x="630" y="576"/>
                  </a:lnTo>
                  <a:lnTo>
                    <a:pt x="630" y="576"/>
                  </a:lnTo>
                  <a:lnTo>
                    <a:pt x="634" y="578"/>
                  </a:lnTo>
                  <a:lnTo>
                    <a:pt x="640" y="582"/>
                  </a:lnTo>
                  <a:lnTo>
                    <a:pt x="640" y="582"/>
                  </a:lnTo>
                  <a:lnTo>
                    <a:pt x="648" y="594"/>
                  </a:lnTo>
                  <a:lnTo>
                    <a:pt x="652" y="600"/>
                  </a:lnTo>
                  <a:lnTo>
                    <a:pt x="652" y="600"/>
                  </a:lnTo>
                  <a:lnTo>
                    <a:pt x="652" y="608"/>
                  </a:lnTo>
                  <a:lnTo>
                    <a:pt x="652" y="614"/>
                  </a:lnTo>
                  <a:lnTo>
                    <a:pt x="638" y="640"/>
                  </a:lnTo>
                  <a:lnTo>
                    <a:pt x="638" y="640"/>
                  </a:lnTo>
                  <a:lnTo>
                    <a:pt x="634" y="646"/>
                  </a:lnTo>
                  <a:lnTo>
                    <a:pt x="628" y="650"/>
                  </a:lnTo>
                  <a:lnTo>
                    <a:pt x="612" y="662"/>
                  </a:lnTo>
                  <a:lnTo>
                    <a:pt x="612" y="662"/>
                  </a:lnTo>
                  <a:lnTo>
                    <a:pt x="606" y="666"/>
                  </a:lnTo>
                  <a:lnTo>
                    <a:pt x="604" y="674"/>
                  </a:lnTo>
                  <a:lnTo>
                    <a:pt x="598" y="688"/>
                  </a:lnTo>
                  <a:lnTo>
                    <a:pt x="598" y="688"/>
                  </a:lnTo>
                  <a:lnTo>
                    <a:pt x="596" y="704"/>
                  </a:lnTo>
                  <a:lnTo>
                    <a:pt x="596" y="726"/>
                  </a:lnTo>
                  <a:lnTo>
                    <a:pt x="596" y="726"/>
                  </a:lnTo>
                  <a:lnTo>
                    <a:pt x="596" y="734"/>
                  </a:lnTo>
                  <a:lnTo>
                    <a:pt x="600" y="742"/>
                  </a:lnTo>
                  <a:lnTo>
                    <a:pt x="602" y="748"/>
                  </a:lnTo>
                  <a:lnTo>
                    <a:pt x="602" y="748"/>
                  </a:lnTo>
                  <a:lnTo>
                    <a:pt x="610" y="760"/>
                  </a:lnTo>
                  <a:lnTo>
                    <a:pt x="610" y="760"/>
                  </a:lnTo>
                  <a:lnTo>
                    <a:pt x="620" y="770"/>
                  </a:lnTo>
                  <a:lnTo>
                    <a:pt x="620" y="770"/>
                  </a:lnTo>
                  <a:lnTo>
                    <a:pt x="626" y="772"/>
                  </a:lnTo>
                  <a:lnTo>
                    <a:pt x="634" y="774"/>
                  </a:lnTo>
                  <a:lnTo>
                    <a:pt x="636" y="774"/>
                  </a:lnTo>
                  <a:lnTo>
                    <a:pt x="636" y="774"/>
                  </a:lnTo>
                  <a:lnTo>
                    <a:pt x="652" y="772"/>
                  </a:lnTo>
                  <a:lnTo>
                    <a:pt x="676" y="766"/>
                  </a:lnTo>
                  <a:lnTo>
                    <a:pt x="676" y="766"/>
                  </a:lnTo>
                  <a:lnTo>
                    <a:pt x="690" y="764"/>
                  </a:lnTo>
                  <a:lnTo>
                    <a:pt x="690" y="764"/>
                  </a:lnTo>
                  <a:lnTo>
                    <a:pt x="694" y="764"/>
                  </a:lnTo>
                  <a:lnTo>
                    <a:pt x="694" y="764"/>
                  </a:lnTo>
                  <a:lnTo>
                    <a:pt x="700" y="764"/>
                  </a:lnTo>
                  <a:lnTo>
                    <a:pt x="700" y="764"/>
                  </a:lnTo>
                  <a:lnTo>
                    <a:pt x="704" y="766"/>
                  </a:lnTo>
                  <a:lnTo>
                    <a:pt x="708" y="768"/>
                  </a:lnTo>
                  <a:lnTo>
                    <a:pt x="708" y="768"/>
                  </a:lnTo>
                  <a:lnTo>
                    <a:pt x="712" y="774"/>
                  </a:lnTo>
                  <a:lnTo>
                    <a:pt x="714" y="782"/>
                  </a:lnTo>
                  <a:lnTo>
                    <a:pt x="714" y="786"/>
                  </a:lnTo>
                  <a:lnTo>
                    <a:pt x="714" y="786"/>
                  </a:lnTo>
                  <a:lnTo>
                    <a:pt x="712" y="790"/>
                  </a:lnTo>
                  <a:lnTo>
                    <a:pt x="708" y="794"/>
                  </a:lnTo>
                  <a:lnTo>
                    <a:pt x="708" y="794"/>
                  </a:lnTo>
                  <a:lnTo>
                    <a:pt x="704" y="794"/>
                  </a:lnTo>
                  <a:lnTo>
                    <a:pt x="704" y="794"/>
                  </a:lnTo>
                  <a:lnTo>
                    <a:pt x="700" y="792"/>
                  </a:lnTo>
                  <a:lnTo>
                    <a:pt x="700" y="792"/>
                  </a:lnTo>
                  <a:lnTo>
                    <a:pt x="686" y="792"/>
                  </a:lnTo>
                  <a:lnTo>
                    <a:pt x="672" y="792"/>
                  </a:lnTo>
                  <a:lnTo>
                    <a:pt x="672" y="792"/>
                  </a:lnTo>
                  <a:lnTo>
                    <a:pt x="658" y="796"/>
                  </a:lnTo>
                  <a:lnTo>
                    <a:pt x="642" y="800"/>
                  </a:lnTo>
                  <a:lnTo>
                    <a:pt x="642" y="800"/>
                  </a:lnTo>
                  <a:lnTo>
                    <a:pt x="638" y="804"/>
                  </a:lnTo>
                  <a:lnTo>
                    <a:pt x="634" y="808"/>
                  </a:lnTo>
                  <a:lnTo>
                    <a:pt x="634" y="808"/>
                  </a:lnTo>
                  <a:lnTo>
                    <a:pt x="634" y="818"/>
                  </a:lnTo>
                  <a:lnTo>
                    <a:pt x="634" y="818"/>
                  </a:lnTo>
                  <a:lnTo>
                    <a:pt x="636" y="822"/>
                  </a:lnTo>
                  <a:lnTo>
                    <a:pt x="640" y="828"/>
                  </a:lnTo>
                  <a:lnTo>
                    <a:pt x="640" y="828"/>
                  </a:lnTo>
                  <a:lnTo>
                    <a:pt x="644" y="832"/>
                  </a:lnTo>
                  <a:lnTo>
                    <a:pt x="644" y="838"/>
                  </a:lnTo>
                  <a:lnTo>
                    <a:pt x="644" y="838"/>
                  </a:lnTo>
                  <a:lnTo>
                    <a:pt x="644" y="842"/>
                  </a:lnTo>
                  <a:lnTo>
                    <a:pt x="644" y="842"/>
                  </a:lnTo>
                  <a:lnTo>
                    <a:pt x="642" y="850"/>
                  </a:lnTo>
                  <a:lnTo>
                    <a:pt x="638" y="854"/>
                  </a:lnTo>
                  <a:lnTo>
                    <a:pt x="638" y="854"/>
                  </a:lnTo>
                  <a:lnTo>
                    <a:pt x="636" y="856"/>
                  </a:lnTo>
                  <a:lnTo>
                    <a:pt x="634" y="858"/>
                  </a:lnTo>
                  <a:lnTo>
                    <a:pt x="632" y="858"/>
                  </a:lnTo>
                  <a:lnTo>
                    <a:pt x="628" y="858"/>
                  </a:lnTo>
                  <a:lnTo>
                    <a:pt x="622" y="856"/>
                  </a:lnTo>
                  <a:lnTo>
                    <a:pt x="622" y="856"/>
                  </a:lnTo>
                  <a:lnTo>
                    <a:pt x="610" y="852"/>
                  </a:lnTo>
                  <a:lnTo>
                    <a:pt x="610" y="852"/>
                  </a:lnTo>
                  <a:lnTo>
                    <a:pt x="606" y="854"/>
                  </a:lnTo>
                  <a:lnTo>
                    <a:pt x="602" y="858"/>
                  </a:lnTo>
                  <a:lnTo>
                    <a:pt x="600" y="864"/>
                  </a:lnTo>
                  <a:lnTo>
                    <a:pt x="600" y="864"/>
                  </a:lnTo>
                  <a:lnTo>
                    <a:pt x="598" y="872"/>
                  </a:lnTo>
                  <a:lnTo>
                    <a:pt x="596" y="880"/>
                  </a:lnTo>
                  <a:lnTo>
                    <a:pt x="596" y="882"/>
                  </a:lnTo>
                  <a:lnTo>
                    <a:pt x="596" y="882"/>
                  </a:lnTo>
                  <a:lnTo>
                    <a:pt x="596" y="890"/>
                  </a:lnTo>
                  <a:lnTo>
                    <a:pt x="596" y="890"/>
                  </a:lnTo>
                  <a:lnTo>
                    <a:pt x="596" y="898"/>
                  </a:lnTo>
                  <a:lnTo>
                    <a:pt x="596" y="902"/>
                  </a:lnTo>
                  <a:lnTo>
                    <a:pt x="596" y="902"/>
                  </a:lnTo>
                  <a:lnTo>
                    <a:pt x="596" y="910"/>
                  </a:lnTo>
                  <a:lnTo>
                    <a:pt x="596" y="910"/>
                  </a:lnTo>
                  <a:lnTo>
                    <a:pt x="592" y="910"/>
                  </a:lnTo>
                  <a:lnTo>
                    <a:pt x="592" y="910"/>
                  </a:lnTo>
                  <a:lnTo>
                    <a:pt x="586" y="912"/>
                  </a:lnTo>
                  <a:lnTo>
                    <a:pt x="582" y="916"/>
                  </a:lnTo>
                  <a:lnTo>
                    <a:pt x="582" y="916"/>
                  </a:lnTo>
                  <a:lnTo>
                    <a:pt x="578" y="920"/>
                  </a:lnTo>
                  <a:lnTo>
                    <a:pt x="576" y="926"/>
                  </a:lnTo>
                  <a:lnTo>
                    <a:pt x="576" y="926"/>
                  </a:lnTo>
                  <a:lnTo>
                    <a:pt x="574" y="928"/>
                  </a:lnTo>
                  <a:lnTo>
                    <a:pt x="568" y="930"/>
                  </a:lnTo>
                  <a:lnTo>
                    <a:pt x="564" y="930"/>
                  </a:lnTo>
                  <a:lnTo>
                    <a:pt x="564" y="930"/>
                  </a:lnTo>
                  <a:lnTo>
                    <a:pt x="552" y="930"/>
                  </a:lnTo>
                  <a:lnTo>
                    <a:pt x="552" y="930"/>
                  </a:lnTo>
                  <a:lnTo>
                    <a:pt x="540" y="932"/>
                  </a:lnTo>
                  <a:lnTo>
                    <a:pt x="516" y="938"/>
                  </a:lnTo>
                  <a:lnTo>
                    <a:pt x="516" y="938"/>
                  </a:lnTo>
                  <a:lnTo>
                    <a:pt x="500" y="944"/>
                  </a:lnTo>
                  <a:lnTo>
                    <a:pt x="496" y="946"/>
                  </a:lnTo>
                  <a:lnTo>
                    <a:pt x="496" y="946"/>
                  </a:lnTo>
                  <a:lnTo>
                    <a:pt x="488" y="950"/>
                  </a:lnTo>
                  <a:lnTo>
                    <a:pt x="488" y="950"/>
                  </a:lnTo>
                  <a:lnTo>
                    <a:pt x="482" y="946"/>
                  </a:lnTo>
                  <a:lnTo>
                    <a:pt x="476" y="944"/>
                  </a:lnTo>
                  <a:lnTo>
                    <a:pt x="476" y="944"/>
                  </a:lnTo>
                  <a:lnTo>
                    <a:pt x="468" y="942"/>
                  </a:lnTo>
                  <a:lnTo>
                    <a:pt x="462" y="944"/>
                  </a:lnTo>
                  <a:lnTo>
                    <a:pt x="456" y="946"/>
                  </a:lnTo>
                  <a:lnTo>
                    <a:pt x="456" y="946"/>
                  </a:lnTo>
                  <a:lnTo>
                    <a:pt x="450" y="946"/>
                  </a:lnTo>
                  <a:lnTo>
                    <a:pt x="444" y="944"/>
                  </a:lnTo>
                  <a:lnTo>
                    <a:pt x="444" y="944"/>
                  </a:lnTo>
                  <a:lnTo>
                    <a:pt x="440" y="940"/>
                  </a:lnTo>
                  <a:lnTo>
                    <a:pt x="440" y="934"/>
                  </a:lnTo>
                  <a:lnTo>
                    <a:pt x="440" y="934"/>
                  </a:lnTo>
                  <a:lnTo>
                    <a:pt x="436" y="932"/>
                  </a:lnTo>
                  <a:lnTo>
                    <a:pt x="432" y="930"/>
                  </a:lnTo>
                  <a:lnTo>
                    <a:pt x="428" y="930"/>
                  </a:lnTo>
                  <a:lnTo>
                    <a:pt x="428" y="930"/>
                  </a:lnTo>
                  <a:lnTo>
                    <a:pt x="424" y="930"/>
                  </a:lnTo>
                  <a:lnTo>
                    <a:pt x="422" y="928"/>
                  </a:lnTo>
                  <a:lnTo>
                    <a:pt x="420" y="924"/>
                  </a:lnTo>
                  <a:lnTo>
                    <a:pt x="420" y="922"/>
                  </a:lnTo>
                  <a:lnTo>
                    <a:pt x="420" y="918"/>
                  </a:lnTo>
                  <a:lnTo>
                    <a:pt x="420" y="918"/>
                  </a:lnTo>
                  <a:lnTo>
                    <a:pt x="420" y="902"/>
                  </a:lnTo>
                  <a:lnTo>
                    <a:pt x="420" y="898"/>
                  </a:lnTo>
                  <a:lnTo>
                    <a:pt x="420" y="898"/>
                  </a:lnTo>
                  <a:lnTo>
                    <a:pt x="422" y="894"/>
                  </a:lnTo>
                  <a:lnTo>
                    <a:pt x="424" y="890"/>
                  </a:lnTo>
                  <a:lnTo>
                    <a:pt x="424" y="890"/>
                  </a:lnTo>
                  <a:lnTo>
                    <a:pt x="430" y="890"/>
                  </a:lnTo>
                  <a:lnTo>
                    <a:pt x="434" y="886"/>
                  </a:lnTo>
                  <a:lnTo>
                    <a:pt x="434" y="886"/>
                  </a:lnTo>
                  <a:lnTo>
                    <a:pt x="436" y="882"/>
                  </a:lnTo>
                  <a:lnTo>
                    <a:pt x="434" y="882"/>
                  </a:lnTo>
                  <a:lnTo>
                    <a:pt x="434" y="882"/>
                  </a:lnTo>
                  <a:lnTo>
                    <a:pt x="430" y="880"/>
                  </a:lnTo>
                  <a:lnTo>
                    <a:pt x="430" y="876"/>
                  </a:lnTo>
                  <a:lnTo>
                    <a:pt x="430" y="876"/>
                  </a:lnTo>
                  <a:lnTo>
                    <a:pt x="430" y="864"/>
                  </a:lnTo>
                  <a:lnTo>
                    <a:pt x="430" y="860"/>
                  </a:lnTo>
                  <a:lnTo>
                    <a:pt x="430" y="860"/>
                  </a:lnTo>
                  <a:lnTo>
                    <a:pt x="428" y="858"/>
                  </a:lnTo>
                  <a:lnTo>
                    <a:pt x="428" y="856"/>
                  </a:lnTo>
                  <a:lnTo>
                    <a:pt x="426" y="854"/>
                  </a:lnTo>
                  <a:lnTo>
                    <a:pt x="422" y="856"/>
                  </a:lnTo>
                  <a:lnTo>
                    <a:pt x="418" y="858"/>
                  </a:lnTo>
                  <a:lnTo>
                    <a:pt x="418" y="858"/>
                  </a:lnTo>
                  <a:lnTo>
                    <a:pt x="406" y="862"/>
                  </a:lnTo>
                  <a:lnTo>
                    <a:pt x="406" y="862"/>
                  </a:lnTo>
                  <a:lnTo>
                    <a:pt x="400" y="864"/>
                  </a:lnTo>
                  <a:lnTo>
                    <a:pt x="398" y="868"/>
                  </a:lnTo>
                  <a:lnTo>
                    <a:pt x="394" y="874"/>
                  </a:lnTo>
                  <a:lnTo>
                    <a:pt x="394" y="874"/>
                  </a:lnTo>
                  <a:lnTo>
                    <a:pt x="392" y="882"/>
                  </a:lnTo>
                  <a:lnTo>
                    <a:pt x="392" y="890"/>
                  </a:lnTo>
                  <a:lnTo>
                    <a:pt x="392" y="892"/>
                  </a:lnTo>
                  <a:lnTo>
                    <a:pt x="392" y="892"/>
                  </a:lnTo>
                  <a:lnTo>
                    <a:pt x="392" y="900"/>
                  </a:lnTo>
                  <a:lnTo>
                    <a:pt x="396" y="906"/>
                  </a:lnTo>
                  <a:lnTo>
                    <a:pt x="396" y="906"/>
                  </a:lnTo>
                  <a:lnTo>
                    <a:pt x="404" y="918"/>
                  </a:lnTo>
                  <a:lnTo>
                    <a:pt x="406" y="922"/>
                  </a:lnTo>
                  <a:lnTo>
                    <a:pt x="406" y="922"/>
                  </a:lnTo>
                  <a:lnTo>
                    <a:pt x="410" y="930"/>
                  </a:lnTo>
                  <a:lnTo>
                    <a:pt x="410" y="930"/>
                  </a:lnTo>
                  <a:lnTo>
                    <a:pt x="406" y="936"/>
                  </a:lnTo>
                  <a:lnTo>
                    <a:pt x="404" y="942"/>
                  </a:lnTo>
                  <a:lnTo>
                    <a:pt x="404" y="942"/>
                  </a:lnTo>
                  <a:lnTo>
                    <a:pt x="400" y="954"/>
                  </a:lnTo>
                  <a:lnTo>
                    <a:pt x="400" y="954"/>
                  </a:lnTo>
                  <a:lnTo>
                    <a:pt x="398" y="958"/>
                  </a:lnTo>
                  <a:lnTo>
                    <a:pt x="396" y="958"/>
                  </a:lnTo>
                  <a:lnTo>
                    <a:pt x="396" y="958"/>
                  </a:lnTo>
                  <a:lnTo>
                    <a:pt x="386" y="958"/>
                  </a:lnTo>
                  <a:lnTo>
                    <a:pt x="386" y="958"/>
                  </a:lnTo>
                  <a:lnTo>
                    <a:pt x="380" y="960"/>
                  </a:lnTo>
                  <a:lnTo>
                    <a:pt x="380" y="960"/>
                  </a:lnTo>
                  <a:lnTo>
                    <a:pt x="376" y="960"/>
                  </a:lnTo>
                  <a:lnTo>
                    <a:pt x="376" y="960"/>
                  </a:lnTo>
                  <a:lnTo>
                    <a:pt x="364" y="964"/>
                  </a:lnTo>
                  <a:lnTo>
                    <a:pt x="358" y="966"/>
                  </a:lnTo>
                  <a:lnTo>
                    <a:pt x="358" y="966"/>
                  </a:lnTo>
                  <a:lnTo>
                    <a:pt x="352" y="970"/>
                  </a:lnTo>
                  <a:lnTo>
                    <a:pt x="346" y="976"/>
                  </a:lnTo>
                  <a:lnTo>
                    <a:pt x="336" y="992"/>
                  </a:lnTo>
                  <a:lnTo>
                    <a:pt x="336" y="992"/>
                  </a:lnTo>
                  <a:lnTo>
                    <a:pt x="326" y="1004"/>
                  </a:lnTo>
                  <a:lnTo>
                    <a:pt x="326" y="1004"/>
                  </a:lnTo>
                  <a:lnTo>
                    <a:pt x="320" y="1008"/>
                  </a:lnTo>
                  <a:lnTo>
                    <a:pt x="320" y="1008"/>
                  </a:lnTo>
                  <a:lnTo>
                    <a:pt x="316" y="1012"/>
                  </a:lnTo>
                  <a:lnTo>
                    <a:pt x="316" y="1012"/>
                  </a:lnTo>
                  <a:lnTo>
                    <a:pt x="312" y="1018"/>
                  </a:lnTo>
                  <a:lnTo>
                    <a:pt x="312" y="1018"/>
                  </a:lnTo>
                  <a:lnTo>
                    <a:pt x="306" y="1024"/>
                  </a:lnTo>
                  <a:lnTo>
                    <a:pt x="306" y="1024"/>
                  </a:lnTo>
                  <a:lnTo>
                    <a:pt x="298" y="1034"/>
                  </a:lnTo>
                  <a:lnTo>
                    <a:pt x="296" y="1040"/>
                  </a:lnTo>
                  <a:lnTo>
                    <a:pt x="296" y="1040"/>
                  </a:lnTo>
                  <a:lnTo>
                    <a:pt x="292" y="1046"/>
                  </a:lnTo>
                  <a:lnTo>
                    <a:pt x="288" y="1048"/>
                  </a:lnTo>
                  <a:lnTo>
                    <a:pt x="288" y="1048"/>
                  </a:lnTo>
                  <a:lnTo>
                    <a:pt x="282" y="1050"/>
                  </a:lnTo>
                  <a:lnTo>
                    <a:pt x="278" y="1054"/>
                  </a:lnTo>
                  <a:lnTo>
                    <a:pt x="276" y="1060"/>
                  </a:lnTo>
                  <a:lnTo>
                    <a:pt x="276" y="1060"/>
                  </a:lnTo>
                  <a:lnTo>
                    <a:pt x="272" y="1064"/>
                  </a:lnTo>
                  <a:lnTo>
                    <a:pt x="264" y="1066"/>
                  </a:lnTo>
                  <a:lnTo>
                    <a:pt x="260" y="1066"/>
                  </a:lnTo>
                  <a:lnTo>
                    <a:pt x="260" y="1066"/>
                  </a:lnTo>
                  <a:lnTo>
                    <a:pt x="256" y="1066"/>
                  </a:lnTo>
                  <a:lnTo>
                    <a:pt x="252" y="1062"/>
                  </a:lnTo>
                  <a:lnTo>
                    <a:pt x="252" y="1062"/>
                  </a:lnTo>
                  <a:lnTo>
                    <a:pt x="252" y="1058"/>
                  </a:lnTo>
                  <a:lnTo>
                    <a:pt x="248" y="1058"/>
                  </a:lnTo>
                  <a:lnTo>
                    <a:pt x="248" y="1058"/>
                  </a:lnTo>
                  <a:lnTo>
                    <a:pt x="244" y="1058"/>
                  </a:lnTo>
                  <a:lnTo>
                    <a:pt x="242" y="1062"/>
                  </a:lnTo>
                  <a:lnTo>
                    <a:pt x="242" y="1062"/>
                  </a:lnTo>
                  <a:lnTo>
                    <a:pt x="242" y="1072"/>
                  </a:lnTo>
                  <a:lnTo>
                    <a:pt x="242" y="1072"/>
                  </a:lnTo>
                  <a:lnTo>
                    <a:pt x="242" y="1076"/>
                  </a:lnTo>
                  <a:lnTo>
                    <a:pt x="238" y="1076"/>
                  </a:lnTo>
                  <a:lnTo>
                    <a:pt x="238" y="1076"/>
                  </a:lnTo>
                  <a:lnTo>
                    <a:pt x="228" y="1076"/>
                  </a:lnTo>
                  <a:lnTo>
                    <a:pt x="228" y="1076"/>
                  </a:lnTo>
                  <a:lnTo>
                    <a:pt x="218" y="1076"/>
                  </a:lnTo>
                  <a:lnTo>
                    <a:pt x="218" y="1076"/>
                  </a:lnTo>
                  <a:lnTo>
                    <a:pt x="206" y="1080"/>
                  </a:lnTo>
                  <a:lnTo>
                    <a:pt x="202" y="1082"/>
                  </a:lnTo>
                  <a:lnTo>
                    <a:pt x="202" y="1082"/>
                  </a:lnTo>
                  <a:lnTo>
                    <a:pt x="196" y="1086"/>
                  </a:lnTo>
                  <a:lnTo>
                    <a:pt x="194" y="1092"/>
                  </a:lnTo>
                  <a:lnTo>
                    <a:pt x="194" y="1092"/>
                  </a:lnTo>
                  <a:lnTo>
                    <a:pt x="196" y="1096"/>
                  </a:lnTo>
                  <a:lnTo>
                    <a:pt x="202" y="1100"/>
                  </a:lnTo>
                  <a:lnTo>
                    <a:pt x="206" y="1102"/>
                  </a:lnTo>
                  <a:lnTo>
                    <a:pt x="206" y="1102"/>
                  </a:lnTo>
                  <a:lnTo>
                    <a:pt x="214" y="1106"/>
                  </a:lnTo>
                  <a:lnTo>
                    <a:pt x="222" y="1106"/>
                  </a:lnTo>
                  <a:lnTo>
                    <a:pt x="226" y="1106"/>
                  </a:lnTo>
                  <a:lnTo>
                    <a:pt x="226" y="1106"/>
                  </a:lnTo>
                  <a:lnTo>
                    <a:pt x="230" y="1108"/>
                  </a:lnTo>
                  <a:lnTo>
                    <a:pt x="234" y="1110"/>
                  </a:lnTo>
                  <a:lnTo>
                    <a:pt x="234" y="1110"/>
                  </a:lnTo>
                  <a:lnTo>
                    <a:pt x="234" y="1116"/>
                  </a:lnTo>
                  <a:lnTo>
                    <a:pt x="238" y="1120"/>
                  </a:lnTo>
                  <a:lnTo>
                    <a:pt x="238" y="1120"/>
                  </a:lnTo>
                  <a:lnTo>
                    <a:pt x="242" y="1126"/>
                  </a:lnTo>
                  <a:lnTo>
                    <a:pt x="242" y="1134"/>
                  </a:lnTo>
                  <a:lnTo>
                    <a:pt x="242" y="1138"/>
                  </a:lnTo>
                  <a:lnTo>
                    <a:pt x="242" y="1138"/>
                  </a:lnTo>
                  <a:lnTo>
                    <a:pt x="244" y="1142"/>
                  </a:lnTo>
                  <a:lnTo>
                    <a:pt x="248" y="1146"/>
                  </a:lnTo>
                  <a:lnTo>
                    <a:pt x="248" y="1146"/>
                  </a:lnTo>
                  <a:lnTo>
                    <a:pt x="252" y="1148"/>
                  </a:lnTo>
                  <a:lnTo>
                    <a:pt x="252" y="1154"/>
                  </a:lnTo>
                  <a:lnTo>
                    <a:pt x="252" y="1156"/>
                  </a:lnTo>
                  <a:lnTo>
                    <a:pt x="252" y="1156"/>
                  </a:lnTo>
                  <a:lnTo>
                    <a:pt x="250" y="1172"/>
                  </a:lnTo>
                  <a:lnTo>
                    <a:pt x="244" y="1196"/>
                  </a:lnTo>
                  <a:lnTo>
                    <a:pt x="244" y="1196"/>
                  </a:lnTo>
                  <a:lnTo>
                    <a:pt x="242" y="1204"/>
                  </a:lnTo>
                  <a:lnTo>
                    <a:pt x="242" y="1204"/>
                  </a:lnTo>
                  <a:lnTo>
                    <a:pt x="234" y="1202"/>
                  </a:lnTo>
                  <a:lnTo>
                    <a:pt x="192" y="1194"/>
                  </a:lnTo>
                  <a:lnTo>
                    <a:pt x="192" y="1194"/>
                  </a:lnTo>
                  <a:lnTo>
                    <a:pt x="176" y="1194"/>
                  </a:lnTo>
                  <a:lnTo>
                    <a:pt x="162" y="1194"/>
                  </a:lnTo>
                  <a:lnTo>
                    <a:pt x="162" y="1194"/>
                  </a:lnTo>
                  <a:lnTo>
                    <a:pt x="150" y="1194"/>
                  </a:lnTo>
                  <a:lnTo>
                    <a:pt x="150" y="1194"/>
                  </a:lnTo>
                  <a:lnTo>
                    <a:pt x="140" y="1194"/>
                  </a:lnTo>
                  <a:lnTo>
                    <a:pt x="140" y="1194"/>
                  </a:lnTo>
                  <a:lnTo>
                    <a:pt x="134" y="1196"/>
                  </a:lnTo>
                  <a:lnTo>
                    <a:pt x="130" y="1198"/>
                  </a:lnTo>
                  <a:lnTo>
                    <a:pt x="130" y="1198"/>
                  </a:lnTo>
                  <a:lnTo>
                    <a:pt x="128" y="1204"/>
                  </a:lnTo>
                  <a:lnTo>
                    <a:pt x="128" y="1212"/>
                  </a:lnTo>
                  <a:lnTo>
                    <a:pt x="132" y="1226"/>
                  </a:lnTo>
                  <a:lnTo>
                    <a:pt x="132" y="1226"/>
                  </a:lnTo>
                  <a:lnTo>
                    <a:pt x="134" y="1234"/>
                  </a:lnTo>
                  <a:lnTo>
                    <a:pt x="134" y="1234"/>
                  </a:lnTo>
                  <a:lnTo>
                    <a:pt x="130" y="1234"/>
                  </a:lnTo>
                  <a:lnTo>
                    <a:pt x="130" y="1234"/>
                  </a:lnTo>
                  <a:lnTo>
                    <a:pt x="128" y="1234"/>
                  </a:lnTo>
                  <a:lnTo>
                    <a:pt x="128" y="1236"/>
                  </a:lnTo>
                  <a:lnTo>
                    <a:pt x="128" y="1240"/>
                  </a:lnTo>
                  <a:lnTo>
                    <a:pt x="132" y="1246"/>
                  </a:lnTo>
                  <a:lnTo>
                    <a:pt x="132" y="1246"/>
                  </a:lnTo>
                  <a:lnTo>
                    <a:pt x="134" y="1254"/>
                  </a:lnTo>
                  <a:lnTo>
                    <a:pt x="134" y="1262"/>
                  </a:lnTo>
                  <a:lnTo>
                    <a:pt x="134" y="1264"/>
                  </a:lnTo>
                  <a:lnTo>
                    <a:pt x="134" y="1264"/>
                  </a:lnTo>
                  <a:lnTo>
                    <a:pt x="134" y="1272"/>
                  </a:lnTo>
                  <a:lnTo>
                    <a:pt x="132" y="1280"/>
                  </a:lnTo>
                  <a:lnTo>
                    <a:pt x="128" y="1286"/>
                  </a:lnTo>
                  <a:lnTo>
                    <a:pt x="128" y="1286"/>
                  </a:lnTo>
                  <a:lnTo>
                    <a:pt x="128" y="1292"/>
                  </a:lnTo>
                  <a:lnTo>
                    <a:pt x="130" y="1298"/>
                  </a:lnTo>
                  <a:lnTo>
                    <a:pt x="130" y="1298"/>
                  </a:lnTo>
                  <a:lnTo>
                    <a:pt x="134" y="1304"/>
                  </a:lnTo>
                  <a:lnTo>
                    <a:pt x="134" y="1310"/>
                  </a:lnTo>
                  <a:lnTo>
                    <a:pt x="134" y="1314"/>
                  </a:lnTo>
                  <a:lnTo>
                    <a:pt x="134" y="1314"/>
                  </a:lnTo>
                  <a:lnTo>
                    <a:pt x="136" y="1316"/>
                  </a:lnTo>
                  <a:lnTo>
                    <a:pt x="138" y="1320"/>
                  </a:lnTo>
                  <a:lnTo>
                    <a:pt x="140" y="1322"/>
                  </a:lnTo>
                  <a:lnTo>
                    <a:pt x="142" y="1322"/>
                  </a:lnTo>
                  <a:lnTo>
                    <a:pt x="146" y="1322"/>
                  </a:lnTo>
                  <a:lnTo>
                    <a:pt x="146" y="1322"/>
                  </a:lnTo>
                  <a:lnTo>
                    <a:pt x="154" y="1322"/>
                  </a:lnTo>
                  <a:lnTo>
                    <a:pt x="154" y="1322"/>
                  </a:lnTo>
                  <a:lnTo>
                    <a:pt x="160" y="1322"/>
                  </a:lnTo>
                  <a:lnTo>
                    <a:pt x="160" y="1322"/>
                  </a:lnTo>
                  <a:lnTo>
                    <a:pt x="164" y="1322"/>
                  </a:lnTo>
                  <a:lnTo>
                    <a:pt x="170" y="1326"/>
                  </a:lnTo>
                  <a:lnTo>
                    <a:pt x="178" y="1334"/>
                  </a:lnTo>
                  <a:lnTo>
                    <a:pt x="178" y="1334"/>
                  </a:lnTo>
                  <a:lnTo>
                    <a:pt x="184" y="1338"/>
                  </a:lnTo>
                  <a:lnTo>
                    <a:pt x="192" y="1338"/>
                  </a:lnTo>
                  <a:lnTo>
                    <a:pt x="206" y="1334"/>
                  </a:lnTo>
                  <a:lnTo>
                    <a:pt x="206" y="1334"/>
                  </a:lnTo>
                  <a:lnTo>
                    <a:pt x="220" y="1328"/>
                  </a:lnTo>
                  <a:lnTo>
                    <a:pt x="234" y="1324"/>
                  </a:lnTo>
                  <a:lnTo>
                    <a:pt x="234" y="1324"/>
                  </a:lnTo>
                  <a:lnTo>
                    <a:pt x="242" y="1320"/>
                  </a:lnTo>
                  <a:lnTo>
                    <a:pt x="246" y="1314"/>
                  </a:lnTo>
                  <a:lnTo>
                    <a:pt x="248" y="1308"/>
                  </a:lnTo>
                  <a:lnTo>
                    <a:pt x="248" y="1308"/>
                  </a:lnTo>
                  <a:lnTo>
                    <a:pt x="258" y="1296"/>
                  </a:lnTo>
                  <a:lnTo>
                    <a:pt x="266" y="1288"/>
                  </a:lnTo>
                  <a:lnTo>
                    <a:pt x="266" y="1288"/>
                  </a:lnTo>
                  <a:lnTo>
                    <a:pt x="270" y="1282"/>
                  </a:lnTo>
                  <a:lnTo>
                    <a:pt x="272" y="1276"/>
                  </a:lnTo>
                  <a:lnTo>
                    <a:pt x="272" y="1276"/>
                  </a:lnTo>
                  <a:lnTo>
                    <a:pt x="274" y="1264"/>
                  </a:lnTo>
                  <a:lnTo>
                    <a:pt x="280" y="1250"/>
                  </a:lnTo>
                  <a:lnTo>
                    <a:pt x="280" y="1250"/>
                  </a:lnTo>
                  <a:lnTo>
                    <a:pt x="282" y="1244"/>
                  </a:lnTo>
                  <a:lnTo>
                    <a:pt x="288" y="1238"/>
                  </a:lnTo>
                  <a:lnTo>
                    <a:pt x="304" y="1228"/>
                  </a:lnTo>
                  <a:lnTo>
                    <a:pt x="304" y="1228"/>
                  </a:lnTo>
                  <a:lnTo>
                    <a:pt x="310" y="1224"/>
                  </a:lnTo>
                  <a:lnTo>
                    <a:pt x="310" y="1224"/>
                  </a:lnTo>
                  <a:lnTo>
                    <a:pt x="316" y="1216"/>
                  </a:lnTo>
                  <a:lnTo>
                    <a:pt x="318" y="1212"/>
                  </a:lnTo>
                  <a:lnTo>
                    <a:pt x="318" y="1212"/>
                  </a:lnTo>
                  <a:lnTo>
                    <a:pt x="322" y="1206"/>
                  </a:lnTo>
                  <a:lnTo>
                    <a:pt x="326" y="1204"/>
                  </a:lnTo>
                  <a:lnTo>
                    <a:pt x="326" y="1204"/>
                  </a:lnTo>
                  <a:lnTo>
                    <a:pt x="340" y="1204"/>
                  </a:lnTo>
                  <a:lnTo>
                    <a:pt x="342" y="1204"/>
                  </a:lnTo>
                  <a:lnTo>
                    <a:pt x="342" y="1204"/>
                  </a:lnTo>
                  <a:lnTo>
                    <a:pt x="350" y="1202"/>
                  </a:lnTo>
                  <a:lnTo>
                    <a:pt x="358" y="1200"/>
                  </a:lnTo>
                  <a:lnTo>
                    <a:pt x="374" y="1188"/>
                  </a:lnTo>
                  <a:lnTo>
                    <a:pt x="374" y="1188"/>
                  </a:lnTo>
                  <a:lnTo>
                    <a:pt x="380" y="1186"/>
                  </a:lnTo>
                  <a:lnTo>
                    <a:pt x="386" y="1184"/>
                  </a:lnTo>
                  <a:lnTo>
                    <a:pt x="386" y="1184"/>
                  </a:lnTo>
                  <a:lnTo>
                    <a:pt x="390" y="1182"/>
                  </a:lnTo>
                  <a:lnTo>
                    <a:pt x="396" y="1180"/>
                  </a:lnTo>
                  <a:lnTo>
                    <a:pt x="396" y="1180"/>
                  </a:lnTo>
                  <a:lnTo>
                    <a:pt x="402" y="1178"/>
                  </a:lnTo>
                  <a:lnTo>
                    <a:pt x="408" y="1178"/>
                  </a:lnTo>
                  <a:lnTo>
                    <a:pt x="412" y="1180"/>
                  </a:lnTo>
                  <a:lnTo>
                    <a:pt x="412" y="1180"/>
                  </a:lnTo>
                  <a:lnTo>
                    <a:pt x="420" y="1186"/>
                  </a:lnTo>
                  <a:lnTo>
                    <a:pt x="424" y="1192"/>
                  </a:lnTo>
                  <a:lnTo>
                    <a:pt x="436" y="1208"/>
                  </a:lnTo>
                  <a:lnTo>
                    <a:pt x="436" y="1208"/>
                  </a:lnTo>
                  <a:lnTo>
                    <a:pt x="444" y="1220"/>
                  </a:lnTo>
                  <a:lnTo>
                    <a:pt x="446" y="1226"/>
                  </a:lnTo>
                  <a:lnTo>
                    <a:pt x="446" y="1226"/>
                  </a:lnTo>
                  <a:lnTo>
                    <a:pt x="450" y="1232"/>
                  </a:lnTo>
                  <a:lnTo>
                    <a:pt x="456" y="1236"/>
                  </a:lnTo>
                  <a:lnTo>
                    <a:pt x="482" y="1250"/>
                  </a:lnTo>
                  <a:lnTo>
                    <a:pt x="482" y="1250"/>
                  </a:lnTo>
                  <a:lnTo>
                    <a:pt x="488" y="1254"/>
                  </a:lnTo>
                  <a:lnTo>
                    <a:pt x="492" y="1260"/>
                  </a:lnTo>
                  <a:lnTo>
                    <a:pt x="502" y="1274"/>
                  </a:lnTo>
                  <a:lnTo>
                    <a:pt x="502" y="1274"/>
                  </a:lnTo>
                  <a:lnTo>
                    <a:pt x="506" y="1282"/>
                  </a:lnTo>
                  <a:lnTo>
                    <a:pt x="506" y="1290"/>
                  </a:lnTo>
                  <a:lnTo>
                    <a:pt x="506" y="1304"/>
                  </a:lnTo>
                  <a:lnTo>
                    <a:pt x="506" y="1304"/>
                  </a:lnTo>
                  <a:lnTo>
                    <a:pt x="506" y="1312"/>
                  </a:lnTo>
                  <a:lnTo>
                    <a:pt x="508" y="1316"/>
                  </a:lnTo>
                  <a:lnTo>
                    <a:pt x="508" y="1316"/>
                  </a:lnTo>
                  <a:lnTo>
                    <a:pt x="510" y="1316"/>
                  </a:lnTo>
                  <a:lnTo>
                    <a:pt x="512" y="1316"/>
                  </a:lnTo>
                  <a:lnTo>
                    <a:pt x="514" y="1312"/>
                  </a:lnTo>
                  <a:lnTo>
                    <a:pt x="518" y="1302"/>
                  </a:lnTo>
                  <a:lnTo>
                    <a:pt x="518" y="1302"/>
                  </a:lnTo>
                  <a:lnTo>
                    <a:pt x="522" y="1294"/>
                  </a:lnTo>
                  <a:lnTo>
                    <a:pt x="522" y="1294"/>
                  </a:lnTo>
                  <a:lnTo>
                    <a:pt x="524" y="1288"/>
                  </a:lnTo>
                  <a:lnTo>
                    <a:pt x="524" y="1288"/>
                  </a:lnTo>
                  <a:lnTo>
                    <a:pt x="526" y="1282"/>
                  </a:lnTo>
                  <a:lnTo>
                    <a:pt x="528" y="1274"/>
                  </a:lnTo>
                  <a:lnTo>
                    <a:pt x="528" y="1270"/>
                  </a:lnTo>
                  <a:lnTo>
                    <a:pt x="528" y="1270"/>
                  </a:lnTo>
                  <a:lnTo>
                    <a:pt x="528" y="1268"/>
                  </a:lnTo>
                  <a:lnTo>
                    <a:pt x="530" y="1266"/>
                  </a:lnTo>
                  <a:lnTo>
                    <a:pt x="532" y="1266"/>
                  </a:lnTo>
                  <a:lnTo>
                    <a:pt x="534" y="1266"/>
                  </a:lnTo>
                  <a:lnTo>
                    <a:pt x="540" y="1268"/>
                  </a:lnTo>
                  <a:lnTo>
                    <a:pt x="540" y="1268"/>
                  </a:lnTo>
                  <a:lnTo>
                    <a:pt x="552" y="1272"/>
                  </a:lnTo>
                  <a:lnTo>
                    <a:pt x="552" y="1272"/>
                  </a:lnTo>
                  <a:lnTo>
                    <a:pt x="554" y="1272"/>
                  </a:lnTo>
                  <a:lnTo>
                    <a:pt x="554" y="1270"/>
                  </a:lnTo>
                  <a:lnTo>
                    <a:pt x="552" y="1266"/>
                  </a:lnTo>
                  <a:lnTo>
                    <a:pt x="534" y="1248"/>
                  </a:lnTo>
                  <a:lnTo>
                    <a:pt x="534" y="1248"/>
                  </a:lnTo>
                  <a:lnTo>
                    <a:pt x="520" y="1240"/>
                  </a:lnTo>
                  <a:lnTo>
                    <a:pt x="516" y="1236"/>
                  </a:lnTo>
                  <a:lnTo>
                    <a:pt x="516" y="1236"/>
                  </a:lnTo>
                  <a:lnTo>
                    <a:pt x="504" y="1228"/>
                  </a:lnTo>
                  <a:lnTo>
                    <a:pt x="504" y="1228"/>
                  </a:lnTo>
                  <a:lnTo>
                    <a:pt x="494" y="1216"/>
                  </a:lnTo>
                  <a:lnTo>
                    <a:pt x="484" y="1200"/>
                  </a:lnTo>
                  <a:lnTo>
                    <a:pt x="484" y="1200"/>
                  </a:lnTo>
                  <a:lnTo>
                    <a:pt x="476" y="1188"/>
                  </a:lnTo>
                  <a:lnTo>
                    <a:pt x="472" y="1182"/>
                  </a:lnTo>
                  <a:lnTo>
                    <a:pt x="472" y="1182"/>
                  </a:lnTo>
                  <a:lnTo>
                    <a:pt x="470" y="1174"/>
                  </a:lnTo>
                  <a:lnTo>
                    <a:pt x="468" y="1166"/>
                  </a:lnTo>
                  <a:lnTo>
                    <a:pt x="468" y="1164"/>
                  </a:lnTo>
                  <a:lnTo>
                    <a:pt x="468" y="1164"/>
                  </a:lnTo>
                  <a:lnTo>
                    <a:pt x="470" y="1158"/>
                  </a:lnTo>
                  <a:lnTo>
                    <a:pt x="474" y="1156"/>
                  </a:lnTo>
                  <a:lnTo>
                    <a:pt x="474" y="1156"/>
                  </a:lnTo>
                  <a:lnTo>
                    <a:pt x="478" y="1154"/>
                  </a:lnTo>
                  <a:lnTo>
                    <a:pt x="478" y="1154"/>
                  </a:lnTo>
                  <a:lnTo>
                    <a:pt x="478" y="1154"/>
                  </a:lnTo>
                  <a:lnTo>
                    <a:pt x="478" y="1154"/>
                  </a:lnTo>
                  <a:lnTo>
                    <a:pt x="478" y="1154"/>
                  </a:lnTo>
                  <a:lnTo>
                    <a:pt x="478" y="1154"/>
                  </a:lnTo>
                  <a:lnTo>
                    <a:pt x="482" y="1156"/>
                  </a:lnTo>
                  <a:lnTo>
                    <a:pt x="482" y="1156"/>
                  </a:lnTo>
                  <a:lnTo>
                    <a:pt x="488" y="1156"/>
                  </a:lnTo>
                  <a:lnTo>
                    <a:pt x="488" y="1156"/>
                  </a:lnTo>
                  <a:lnTo>
                    <a:pt x="496" y="1162"/>
                  </a:lnTo>
                  <a:lnTo>
                    <a:pt x="502" y="1168"/>
                  </a:lnTo>
                  <a:lnTo>
                    <a:pt x="502" y="1168"/>
                  </a:lnTo>
                  <a:lnTo>
                    <a:pt x="508" y="1176"/>
                  </a:lnTo>
                  <a:lnTo>
                    <a:pt x="510" y="1182"/>
                  </a:lnTo>
                  <a:lnTo>
                    <a:pt x="516" y="1196"/>
                  </a:lnTo>
                  <a:lnTo>
                    <a:pt x="516" y="1196"/>
                  </a:lnTo>
                  <a:lnTo>
                    <a:pt x="520" y="1204"/>
                  </a:lnTo>
                  <a:lnTo>
                    <a:pt x="524" y="1208"/>
                  </a:lnTo>
                  <a:lnTo>
                    <a:pt x="540" y="1220"/>
                  </a:lnTo>
                  <a:lnTo>
                    <a:pt x="540" y="1220"/>
                  </a:lnTo>
                  <a:lnTo>
                    <a:pt x="548" y="1224"/>
                  </a:lnTo>
                  <a:lnTo>
                    <a:pt x="548" y="1224"/>
                  </a:lnTo>
                  <a:lnTo>
                    <a:pt x="552" y="1230"/>
                  </a:lnTo>
                  <a:lnTo>
                    <a:pt x="560" y="1238"/>
                  </a:lnTo>
                  <a:lnTo>
                    <a:pt x="560" y="1238"/>
                  </a:lnTo>
                  <a:lnTo>
                    <a:pt x="564" y="1244"/>
                  </a:lnTo>
                  <a:lnTo>
                    <a:pt x="566" y="1248"/>
                  </a:lnTo>
                  <a:lnTo>
                    <a:pt x="566" y="1248"/>
                  </a:lnTo>
                  <a:lnTo>
                    <a:pt x="570" y="1260"/>
                  </a:lnTo>
                  <a:lnTo>
                    <a:pt x="572" y="1266"/>
                  </a:lnTo>
                  <a:lnTo>
                    <a:pt x="572" y="1266"/>
                  </a:lnTo>
                  <a:lnTo>
                    <a:pt x="576" y="1272"/>
                  </a:lnTo>
                  <a:lnTo>
                    <a:pt x="576" y="1272"/>
                  </a:lnTo>
                  <a:lnTo>
                    <a:pt x="580" y="1280"/>
                  </a:lnTo>
                  <a:lnTo>
                    <a:pt x="584" y="1286"/>
                  </a:lnTo>
                  <a:lnTo>
                    <a:pt x="584" y="1286"/>
                  </a:lnTo>
                  <a:lnTo>
                    <a:pt x="588" y="1290"/>
                  </a:lnTo>
                  <a:lnTo>
                    <a:pt x="594" y="1292"/>
                  </a:lnTo>
                  <a:lnTo>
                    <a:pt x="598" y="1292"/>
                  </a:lnTo>
                  <a:lnTo>
                    <a:pt x="598" y="1292"/>
                  </a:lnTo>
                  <a:lnTo>
                    <a:pt x="602" y="1294"/>
                  </a:lnTo>
                  <a:lnTo>
                    <a:pt x="602" y="1296"/>
                  </a:lnTo>
                  <a:lnTo>
                    <a:pt x="602" y="1298"/>
                  </a:lnTo>
                  <a:lnTo>
                    <a:pt x="602" y="1298"/>
                  </a:lnTo>
                  <a:lnTo>
                    <a:pt x="598" y="1304"/>
                  </a:lnTo>
                  <a:lnTo>
                    <a:pt x="596" y="1310"/>
                  </a:lnTo>
                  <a:lnTo>
                    <a:pt x="596" y="1314"/>
                  </a:lnTo>
                  <a:lnTo>
                    <a:pt x="596" y="1314"/>
                  </a:lnTo>
                  <a:lnTo>
                    <a:pt x="598" y="1320"/>
                  </a:lnTo>
                  <a:lnTo>
                    <a:pt x="604" y="1326"/>
                  </a:lnTo>
                  <a:lnTo>
                    <a:pt x="608" y="1328"/>
                  </a:lnTo>
                  <a:lnTo>
                    <a:pt x="608" y="1328"/>
                  </a:lnTo>
                  <a:lnTo>
                    <a:pt x="616" y="1330"/>
                  </a:lnTo>
                  <a:lnTo>
                    <a:pt x="620" y="1326"/>
                  </a:lnTo>
                  <a:lnTo>
                    <a:pt x="620" y="1326"/>
                  </a:lnTo>
                  <a:lnTo>
                    <a:pt x="624" y="1322"/>
                  </a:lnTo>
                  <a:lnTo>
                    <a:pt x="626" y="1316"/>
                  </a:lnTo>
                  <a:lnTo>
                    <a:pt x="626" y="1316"/>
                  </a:lnTo>
                  <a:lnTo>
                    <a:pt x="628" y="1312"/>
                  </a:lnTo>
                  <a:lnTo>
                    <a:pt x="632" y="1308"/>
                  </a:lnTo>
                  <a:lnTo>
                    <a:pt x="638" y="1306"/>
                  </a:lnTo>
                  <a:lnTo>
                    <a:pt x="638" y="1306"/>
                  </a:lnTo>
                  <a:lnTo>
                    <a:pt x="640" y="1304"/>
                  </a:lnTo>
                  <a:lnTo>
                    <a:pt x="642" y="1302"/>
                  </a:lnTo>
                  <a:lnTo>
                    <a:pt x="640" y="1300"/>
                  </a:lnTo>
                  <a:lnTo>
                    <a:pt x="640" y="1296"/>
                  </a:lnTo>
                  <a:lnTo>
                    <a:pt x="632" y="1288"/>
                  </a:lnTo>
                  <a:lnTo>
                    <a:pt x="632" y="1288"/>
                  </a:lnTo>
                  <a:lnTo>
                    <a:pt x="628" y="1282"/>
                  </a:lnTo>
                  <a:lnTo>
                    <a:pt x="626" y="1278"/>
                  </a:lnTo>
                  <a:lnTo>
                    <a:pt x="626" y="1278"/>
                  </a:lnTo>
                  <a:lnTo>
                    <a:pt x="624" y="1272"/>
                  </a:lnTo>
                  <a:lnTo>
                    <a:pt x="620" y="1268"/>
                  </a:lnTo>
                  <a:lnTo>
                    <a:pt x="620" y="1268"/>
                  </a:lnTo>
                  <a:lnTo>
                    <a:pt x="620" y="1266"/>
                  </a:lnTo>
                  <a:lnTo>
                    <a:pt x="620" y="1264"/>
                  </a:lnTo>
                  <a:lnTo>
                    <a:pt x="624" y="1260"/>
                  </a:lnTo>
                  <a:lnTo>
                    <a:pt x="638" y="1256"/>
                  </a:lnTo>
                  <a:lnTo>
                    <a:pt x="638" y="1256"/>
                  </a:lnTo>
                  <a:lnTo>
                    <a:pt x="652" y="1254"/>
                  </a:lnTo>
                  <a:lnTo>
                    <a:pt x="656" y="1254"/>
                  </a:lnTo>
                  <a:lnTo>
                    <a:pt x="656" y="1254"/>
                  </a:lnTo>
                  <a:lnTo>
                    <a:pt x="664" y="1254"/>
                  </a:lnTo>
                  <a:lnTo>
                    <a:pt x="664" y="1254"/>
                  </a:lnTo>
                  <a:lnTo>
                    <a:pt x="668" y="1260"/>
                  </a:lnTo>
                  <a:lnTo>
                    <a:pt x="670" y="1266"/>
                  </a:lnTo>
                  <a:lnTo>
                    <a:pt x="670" y="1266"/>
                  </a:lnTo>
                  <a:lnTo>
                    <a:pt x="674" y="1272"/>
                  </a:lnTo>
                  <a:lnTo>
                    <a:pt x="674" y="1272"/>
                  </a:lnTo>
                  <a:lnTo>
                    <a:pt x="678" y="1280"/>
                  </a:lnTo>
                  <a:lnTo>
                    <a:pt x="680" y="1284"/>
                  </a:lnTo>
                  <a:lnTo>
                    <a:pt x="680" y="1284"/>
                  </a:lnTo>
                  <a:lnTo>
                    <a:pt x="688" y="1300"/>
                  </a:lnTo>
                  <a:lnTo>
                    <a:pt x="690" y="1304"/>
                  </a:lnTo>
                  <a:lnTo>
                    <a:pt x="690" y="1304"/>
                  </a:lnTo>
                  <a:lnTo>
                    <a:pt x="698" y="1318"/>
                  </a:lnTo>
                  <a:lnTo>
                    <a:pt x="700" y="1324"/>
                  </a:lnTo>
                  <a:lnTo>
                    <a:pt x="700" y="1324"/>
                  </a:lnTo>
                  <a:lnTo>
                    <a:pt x="704" y="1328"/>
                  </a:lnTo>
                  <a:lnTo>
                    <a:pt x="712" y="1330"/>
                  </a:lnTo>
                  <a:lnTo>
                    <a:pt x="734" y="1330"/>
                  </a:lnTo>
                  <a:lnTo>
                    <a:pt x="734" y="1330"/>
                  </a:lnTo>
                  <a:lnTo>
                    <a:pt x="748" y="1330"/>
                  </a:lnTo>
                  <a:lnTo>
                    <a:pt x="748" y="1330"/>
                  </a:lnTo>
                  <a:lnTo>
                    <a:pt x="760" y="1334"/>
                  </a:lnTo>
                  <a:lnTo>
                    <a:pt x="774" y="1338"/>
                  </a:lnTo>
                  <a:lnTo>
                    <a:pt x="774" y="1338"/>
                  </a:lnTo>
                  <a:lnTo>
                    <a:pt x="782" y="1338"/>
                  </a:lnTo>
                  <a:lnTo>
                    <a:pt x="788" y="1338"/>
                  </a:lnTo>
                  <a:lnTo>
                    <a:pt x="794" y="1334"/>
                  </a:lnTo>
                  <a:lnTo>
                    <a:pt x="794" y="1334"/>
                  </a:lnTo>
                  <a:lnTo>
                    <a:pt x="802" y="1332"/>
                  </a:lnTo>
                  <a:lnTo>
                    <a:pt x="808" y="1334"/>
                  </a:lnTo>
                  <a:lnTo>
                    <a:pt x="814" y="1338"/>
                  </a:lnTo>
                  <a:lnTo>
                    <a:pt x="814" y="1338"/>
                  </a:lnTo>
                  <a:lnTo>
                    <a:pt x="820" y="1340"/>
                  </a:lnTo>
                  <a:lnTo>
                    <a:pt x="820" y="1340"/>
                  </a:lnTo>
                  <a:lnTo>
                    <a:pt x="824" y="1348"/>
                  </a:lnTo>
                  <a:lnTo>
                    <a:pt x="826" y="1354"/>
                  </a:lnTo>
                  <a:lnTo>
                    <a:pt x="826" y="1354"/>
                  </a:lnTo>
                  <a:lnTo>
                    <a:pt x="828" y="1360"/>
                  </a:lnTo>
                  <a:lnTo>
                    <a:pt x="828" y="1368"/>
                  </a:lnTo>
                  <a:lnTo>
                    <a:pt x="814" y="1402"/>
                  </a:lnTo>
                  <a:lnTo>
                    <a:pt x="814" y="1402"/>
                  </a:lnTo>
                  <a:lnTo>
                    <a:pt x="810" y="1408"/>
                  </a:lnTo>
                  <a:lnTo>
                    <a:pt x="806" y="1410"/>
                  </a:lnTo>
                  <a:lnTo>
                    <a:pt x="806" y="1410"/>
                  </a:lnTo>
                  <a:lnTo>
                    <a:pt x="802" y="1412"/>
                  </a:lnTo>
                  <a:lnTo>
                    <a:pt x="798" y="1416"/>
                  </a:lnTo>
                  <a:lnTo>
                    <a:pt x="796" y="1422"/>
                  </a:lnTo>
                  <a:lnTo>
                    <a:pt x="796" y="1422"/>
                  </a:lnTo>
                  <a:lnTo>
                    <a:pt x="792" y="1428"/>
                  </a:lnTo>
                  <a:lnTo>
                    <a:pt x="792" y="1428"/>
                  </a:lnTo>
                  <a:lnTo>
                    <a:pt x="786" y="1434"/>
                  </a:lnTo>
                  <a:lnTo>
                    <a:pt x="786" y="1434"/>
                  </a:lnTo>
                  <a:lnTo>
                    <a:pt x="780" y="1438"/>
                  </a:lnTo>
                  <a:lnTo>
                    <a:pt x="774" y="1438"/>
                  </a:lnTo>
                  <a:lnTo>
                    <a:pt x="760" y="1438"/>
                  </a:lnTo>
                  <a:lnTo>
                    <a:pt x="760" y="1438"/>
                  </a:lnTo>
                  <a:lnTo>
                    <a:pt x="754" y="1438"/>
                  </a:lnTo>
                  <a:lnTo>
                    <a:pt x="748" y="1434"/>
                  </a:lnTo>
                  <a:lnTo>
                    <a:pt x="748" y="1434"/>
                  </a:lnTo>
                  <a:lnTo>
                    <a:pt x="742" y="1430"/>
                  </a:lnTo>
                  <a:lnTo>
                    <a:pt x="734" y="1430"/>
                  </a:lnTo>
                  <a:lnTo>
                    <a:pt x="712" y="1436"/>
                  </a:lnTo>
                  <a:lnTo>
                    <a:pt x="712" y="1436"/>
                  </a:lnTo>
                  <a:lnTo>
                    <a:pt x="704" y="1438"/>
                  </a:lnTo>
                  <a:lnTo>
                    <a:pt x="696" y="1436"/>
                  </a:lnTo>
                  <a:lnTo>
                    <a:pt x="682" y="1432"/>
                  </a:lnTo>
                  <a:lnTo>
                    <a:pt x="682" y="1432"/>
                  </a:lnTo>
                  <a:lnTo>
                    <a:pt x="666" y="1428"/>
                  </a:lnTo>
                  <a:lnTo>
                    <a:pt x="662" y="1428"/>
                  </a:lnTo>
                  <a:lnTo>
                    <a:pt x="662" y="1428"/>
                  </a:lnTo>
                  <a:lnTo>
                    <a:pt x="656" y="1428"/>
                  </a:lnTo>
                  <a:lnTo>
                    <a:pt x="650" y="1424"/>
                  </a:lnTo>
                  <a:lnTo>
                    <a:pt x="650" y="1424"/>
                  </a:lnTo>
                  <a:lnTo>
                    <a:pt x="638" y="1416"/>
                  </a:lnTo>
                  <a:lnTo>
                    <a:pt x="632" y="1412"/>
                  </a:lnTo>
                  <a:lnTo>
                    <a:pt x="632" y="1412"/>
                  </a:lnTo>
                  <a:lnTo>
                    <a:pt x="626" y="1410"/>
                  </a:lnTo>
                  <a:lnTo>
                    <a:pt x="618" y="1410"/>
                  </a:lnTo>
                  <a:lnTo>
                    <a:pt x="614" y="1410"/>
                  </a:lnTo>
                  <a:lnTo>
                    <a:pt x="614" y="1410"/>
                  </a:lnTo>
                  <a:lnTo>
                    <a:pt x="598" y="1412"/>
                  </a:lnTo>
                  <a:lnTo>
                    <a:pt x="584" y="1416"/>
                  </a:lnTo>
                  <a:lnTo>
                    <a:pt x="584" y="1416"/>
                  </a:lnTo>
                  <a:lnTo>
                    <a:pt x="578" y="1420"/>
                  </a:lnTo>
                  <a:lnTo>
                    <a:pt x="576" y="1428"/>
                  </a:lnTo>
                  <a:lnTo>
                    <a:pt x="576" y="1430"/>
                  </a:lnTo>
                  <a:lnTo>
                    <a:pt x="576" y="1430"/>
                  </a:lnTo>
                  <a:lnTo>
                    <a:pt x="574" y="1438"/>
                  </a:lnTo>
                  <a:lnTo>
                    <a:pt x="570" y="1442"/>
                  </a:lnTo>
                  <a:lnTo>
                    <a:pt x="554" y="1446"/>
                  </a:lnTo>
                  <a:lnTo>
                    <a:pt x="554" y="1446"/>
                  </a:lnTo>
                  <a:lnTo>
                    <a:pt x="548" y="1446"/>
                  </a:lnTo>
                  <a:lnTo>
                    <a:pt x="542" y="1442"/>
                  </a:lnTo>
                  <a:lnTo>
                    <a:pt x="534" y="1434"/>
                  </a:lnTo>
                  <a:lnTo>
                    <a:pt x="534" y="1434"/>
                  </a:lnTo>
                  <a:lnTo>
                    <a:pt x="522" y="1424"/>
                  </a:lnTo>
                  <a:lnTo>
                    <a:pt x="522" y="1424"/>
                  </a:lnTo>
                  <a:lnTo>
                    <a:pt x="512" y="1414"/>
                  </a:lnTo>
                  <a:lnTo>
                    <a:pt x="512" y="1414"/>
                  </a:lnTo>
                  <a:lnTo>
                    <a:pt x="508" y="1410"/>
                  </a:lnTo>
                  <a:lnTo>
                    <a:pt x="500" y="1410"/>
                  </a:lnTo>
                  <a:lnTo>
                    <a:pt x="476" y="1410"/>
                  </a:lnTo>
                  <a:lnTo>
                    <a:pt x="476" y="1410"/>
                  </a:lnTo>
                  <a:lnTo>
                    <a:pt x="470" y="1408"/>
                  </a:lnTo>
                  <a:lnTo>
                    <a:pt x="462" y="1406"/>
                  </a:lnTo>
                  <a:lnTo>
                    <a:pt x="456" y="1404"/>
                  </a:lnTo>
                  <a:lnTo>
                    <a:pt x="456" y="1404"/>
                  </a:lnTo>
                  <a:lnTo>
                    <a:pt x="442" y="1396"/>
                  </a:lnTo>
                  <a:lnTo>
                    <a:pt x="436" y="1394"/>
                  </a:lnTo>
                  <a:lnTo>
                    <a:pt x="436" y="1394"/>
                  </a:lnTo>
                  <a:lnTo>
                    <a:pt x="424" y="1386"/>
                  </a:lnTo>
                  <a:lnTo>
                    <a:pt x="424" y="1386"/>
                  </a:lnTo>
                  <a:lnTo>
                    <a:pt x="422" y="1380"/>
                  </a:lnTo>
                  <a:lnTo>
                    <a:pt x="424" y="1374"/>
                  </a:lnTo>
                  <a:lnTo>
                    <a:pt x="434" y="1358"/>
                  </a:lnTo>
                  <a:lnTo>
                    <a:pt x="434" y="1358"/>
                  </a:lnTo>
                  <a:lnTo>
                    <a:pt x="436" y="1350"/>
                  </a:lnTo>
                  <a:lnTo>
                    <a:pt x="436" y="1344"/>
                  </a:lnTo>
                  <a:lnTo>
                    <a:pt x="434" y="1338"/>
                  </a:lnTo>
                  <a:lnTo>
                    <a:pt x="434" y="1338"/>
                  </a:lnTo>
                  <a:lnTo>
                    <a:pt x="428" y="1332"/>
                  </a:lnTo>
                  <a:lnTo>
                    <a:pt x="422" y="1328"/>
                  </a:lnTo>
                  <a:lnTo>
                    <a:pt x="418" y="1326"/>
                  </a:lnTo>
                  <a:lnTo>
                    <a:pt x="418" y="1326"/>
                  </a:lnTo>
                  <a:lnTo>
                    <a:pt x="406" y="1322"/>
                  </a:lnTo>
                  <a:lnTo>
                    <a:pt x="406" y="1322"/>
                  </a:lnTo>
                  <a:lnTo>
                    <a:pt x="402" y="1322"/>
                  </a:lnTo>
                  <a:lnTo>
                    <a:pt x="400" y="1324"/>
                  </a:lnTo>
                  <a:lnTo>
                    <a:pt x="400" y="1324"/>
                  </a:lnTo>
                  <a:lnTo>
                    <a:pt x="400" y="1328"/>
                  </a:lnTo>
                  <a:lnTo>
                    <a:pt x="400" y="1328"/>
                  </a:lnTo>
                  <a:lnTo>
                    <a:pt x="400" y="1324"/>
                  </a:lnTo>
                  <a:lnTo>
                    <a:pt x="400" y="1324"/>
                  </a:lnTo>
                  <a:lnTo>
                    <a:pt x="398" y="1324"/>
                  </a:lnTo>
                  <a:lnTo>
                    <a:pt x="396" y="1326"/>
                  </a:lnTo>
                  <a:lnTo>
                    <a:pt x="396" y="1326"/>
                  </a:lnTo>
                  <a:lnTo>
                    <a:pt x="390" y="1330"/>
                  </a:lnTo>
                  <a:lnTo>
                    <a:pt x="382" y="1332"/>
                  </a:lnTo>
                  <a:lnTo>
                    <a:pt x="378" y="1332"/>
                  </a:lnTo>
                  <a:lnTo>
                    <a:pt x="378" y="1332"/>
                  </a:lnTo>
                  <a:lnTo>
                    <a:pt x="362" y="1332"/>
                  </a:lnTo>
                  <a:lnTo>
                    <a:pt x="320" y="1332"/>
                  </a:lnTo>
                  <a:lnTo>
                    <a:pt x="320" y="1332"/>
                  </a:lnTo>
                  <a:lnTo>
                    <a:pt x="312" y="1332"/>
                  </a:lnTo>
                  <a:lnTo>
                    <a:pt x="304" y="1334"/>
                  </a:lnTo>
                  <a:lnTo>
                    <a:pt x="270" y="1348"/>
                  </a:lnTo>
                  <a:lnTo>
                    <a:pt x="270" y="1348"/>
                  </a:lnTo>
                  <a:lnTo>
                    <a:pt x="254" y="1354"/>
                  </a:lnTo>
                  <a:lnTo>
                    <a:pt x="250" y="1358"/>
                  </a:lnTo>
                  <a:lnTo>
                    <a:pt x="250" y="1358"/>
                  </a:lnTo>
                  <a:lnTo>
                    <a:pt x="244" y="1360"/>
                  </a:lnTo>
                  <a:lnTo>
                    <a:pt x="242" y="1362"/>
                  </a:lnTo>
                  <a:lnTo>
                    <a:pt x="242" y="1362"/>
                  </a:lnTo>
                  <a:lnTo>
                    <a:pt x="242" y="1364"/>
                  </a:lnTo>
                  <a:lnTo>
                    <a:pt x="242" y="1364"/>
                  </a:lnTo>
                  <a:lnTo>
                    <a:pt x="242" y="1362"/>
                  </a:lnTo>
                  <a:lnTo>
                    <a:pt x="242" y="1362"/>
                  </a:lnTo>
                  <a:lnTo>
                    <a:pt x="240" y="1362"/>
                  </a:lnTo>
                  <a:lnTo>
                    <a:pt x="238" y="1360"/>
                  </a:lnTo>
                  <a:lnTo>
                    <a:pt x="238" y="1360"/>
                  </a:lnTo>
                  <a:lnTo>
                    <a:pt x="224" y="1360"/>
                  </a:lnTo>
                  <a:lnTo>
                    <a:pt x="220" y="1360"/>
                  </a:lnTo>
                  <a:lnTo>
                    <a:pt x="220" y="1360"/>
                  </a:lnTo>
                  <a:lnTo>
                    <a:pt x="208" y="1360"/>
                  </a:lnTo>
                  <a:lnTo>
                    <a:pt x="208" y="1360"/>
                  </a:lnTo>
                  <a:lnTo>
                    <a:pt x="196" y="1356"/>
                  </a:lnTo>
                  <a:lnTo>
                    <a:pt x="190" y="1354"/>
                  </a:lnTo>
                  <a:lnTo>
                    <a:pt x="190" y="1354"/>
                  </a:lnTo>
                  <a:lnTo>
                    <a:pt x="188" y="1354"/>
                  </a:lnTo>
                  <a:lnTo>
                    <a:pt x="184" y="1354"/>
                  </a:lnTo>
                  <a:lnTo>
                    <a:pt x="182" y="1356"/>
                  </a:lnTo>
                  <a:lnTo>
                    <a:pt x="180" y="1358"/>
                  </a:lnTo>
                  <a:lnTo>
                    <a:pt x="168" y="1374"/>
                  </a:lnTo>
                  <a:lnTo>
                    <a:pt x="168" y="1374"/>
                  </a:lnTo>
                  <a:lnTo>
                    <a:pt x="158" y="1386"/>
                  </a:lnTo>
                  <a:lnTo>
                    <a:pt x="150" y="1394"/>
                  </a:lnTo>
                  <a:lnTo>
                    <a:pt x="150" y="1394"/>
                  </a:lnTo>
                  <a:lnTo>
                    <a:pt x="140" y="1406"/>
                  </a:lnTo>
                  <a:lnTo>
                    <a:pt x="130" y="1422"/>
                  </a:lnTo>
                  <a:lnTo>
                    <a:pt x="130" y="1422"/>
                  </a:lnTo>
                  <a:lnTo>
                    <a:pt x="122" y="1436"/>
                  </a:lnTo>
                  <a:lnTo>
                    <a:pt x="116" y="1460"/>
                  </a:lnTo>
                  <a:lnTo>
                    <a:pt x="116" y="1460"/>
                  </a:lnTo>
                  <a:lnTo>
                    <a:pt x="114" y="1466"/>
                  </a:lnTo>
                  <a:lnTo>
                    <a:pt x="108" y="1472"/>
                  </a:lnTo>
                  <a:lnTo>
                    <a:pt x="82" y="1484"/>
                  </a:lnTo>
                  <a:lnTo>
                    <a:pt x="82" y="1484"/>
                  </a:lnTo>
                  <a:lnTo>
                    <a:pt x="70" y="1492"/>
                  </a:lnTo>
                  <a:lnTo>
                    <a:pt x="70" y="1492"/>
                  </a:lnTo>
                  <a:lnTo>
                    <a:pt x="66" y="1498"/>
                  </a:lnTo>
                  <a:lnTo>
                    <a:pt x="66" y="1498"/>
                  </a:lnTo>
                  <a:lnTo>
                    <a:pt x="62" y="1502"/>
                  </a:lnTo>
                  <a:lnTo>
                    <a:pt x="62" y="1502"/>
                  </a:lnTo>
                  <a:lnTo>
                    <a:pt x="52" y="1514"/>
                  </a:lnTo>
                  <a:lnTo>
                    <a:pt x="32" y="1550"/>
                  </a:lnTo>
                  <a:lnTo>
                    <a:pt x="32" y="1550"/>
                  </a:lnTo>
                  <a:lnTo>
                    <a:pt x="24" y="1564"/>
                  </a:lnTo>
                  <a:lnTo>
                    <a:pt x="12" y="1598"/>
                  </a:lnTo>
                  <a:lnTo>
                    <a:pt x="12" y="1598"/>
                  </a:lnTo>
                  <a:lnTo>
                    <a:pt x="8" y="1606"/>
                  </a:lnTo>
                  <a:lnTo>
                    <a:pt x="8" y="1606"/>
                  </a:lnTo>
                  <a:lnTo>
                    <a:pt x="10" y="1614"/>
                  </a:lnTo>
                  <a:lnTo>
                    <a:pt x="16" y="1626"/>
                  </a:lnTo>
                  <a:lnTo>
                    <a:pt x="16" y="1626"/>
                  </a:lnTo>
                  <a:lnTo>
                    <a:pt x="18" y="1642"/>
                  </a:lnTo>
                  <a:lnTo>
                    <a:pt x="18" y="1666"/>
                  </a:lnTo>
                  <a:lnTo>
                    <a:pt x="18" y="1666"/>
                  </a:lnTo>
                  <a:lnTo>
                    <a:pt x="16" y="1672"/>
                  </a:lnTo>
                  <a:lnTo>
                    <a:pt x="12" y="1678"/>
                  </a:lnTo>
                  <a:lnTo>
                    <a:pt x="12" y="1678"/>
                  </a:lnTo>
                  <a:lnTo>
                    <a:pt x="8" y="1684"/>
                  </a:lnTo>
                  <a:lnTo>
                    <a:pt x="8" y="1684"/>
                  </a:lnTo>
                  <a:lnTo>
                    <a:pt x="8" y="1684"/>
                  </a:lnTo>
                  <a:lnTo>
                    <a:pt x="8" y="1684"/>
                  </a:lnTo>
                  <a:lnTo>
                    <a:pt x="6" y="1692"/>
                  </a:lnTo>
                  <a:lnTo>
                    <a:pt x="0" y="1706"/>
                  </a:lnTo>
                  <a:lnTo>
                    <a:pt x="0" y="1706"/>
                  </a:lnTo>
                  <a:lnTo>
                    <a:pt x="0" y="1712"/>
                  </a:lnTo>
                  <a:lnTo>
                    <a:pt x="0" y="1720"/>
                  </a:lnTo>
                  <a:lnTo>
                    <a:pt x="6" y="1744"/>
                  </a:lnTo>
                  <a:lnTo>
                    <a:pt x="6" y="1744"/>
                  </a:lnTo>
                  <a:lnTo>
                    <a:pt x="8" y="1750"/>
                  </a:lnTo>
                  <a:lnTo>
                    <a:pt x="12" y="1752"/>
                  </a:lnTo>
                  <a:lnTo>
                    <a:pt x="12" y="1752"/>
                  </a:lnTo>
                  <a:lnTo>
                    <a:pt x="18" y="1752"/>
                  </a:lnTo>
                  <a:lnTo>
                    <a:pt x="18" y="1752"/>
                  </a:lnTo>
                  <a:lnTo>
                    <a:pt x="20" y="1752"/>
                  </a:lnTo>
                  <a:lnTo>
                    <a:pt x="20" y="1752"/>
                  </a:lnTo>
                  <a:lnTo>
                    <a:pt x="18" y="1752"/>
                  </a:lnTo>
                  <a:lnTo>
                    <a:pt x="18" y="1752"/>
                  </a:lnTo>
                  <a:lnTo>
                    <a:pt x="20" y="1760"/>
                  </a:lnTo>
                  <a:lnTo>
                    <a:pt x="24" y="1764"/>
                  </a:lnTo>
                  <a:lnTo>
                    <a:pt x="24" y="1764"/>
                  </a:lnTo>
                  <a:lnTo>
                    <a:pt x="26" y="1768"/>
                  </a:lnTo>
                  <a:lnTo>
                    <a:pt x="30" y="1770"/>
                  </a:lnTo>
                  <a:lnTo>
                    <a:pt x="30" y="1770"/>
                  </a:lnTo>
                  <a:lnTo>
                    <a:pt x="32" y="1768"/>
                  </a:lnTo>
                  <a:lnTo>
                    <a:pt x="32" y="1768"/>
                  </a:lnTo>
                  <a:lnTo>
                    <a:pt x="30" y="1770"/>
                  </a:lnTo>
                  <a:lnTo>
                    <a:pt x="30" y="1770"/>
                  </a:lnTo>
                  <a:lnTo>
                    <a:pt x="30" y="1772"/>
                  </a:lnTo>
                  <a:lnTo>
                    <a:pt x="32" y="1772"/>
                  </a:lnTo>
                  <a:lnTo>
                    <a:pt x="32" y="1772"/>
                  </a:lnTo>
                  <a:lnTo>
                    <a:pt x="36" y="1774"/>
                  </a:lnTo>
                  <a:lnTo>
                    <a:pt x="40" y="1778"/>
                  </a:lnTo>
                  <a:lnTo>
                    <a:pt x="52" y="1804"/>
                  </a:lnTo>
                  <a:lnTo>
                    <a:pt x="52" y="1804"/>
                  </a:lnTo>
                  <a:lnTo>
                    <a:pt x="56" y="1810"/>
                  </a:lnTo>
                  <a:lnTo>
                    <a:pt x="56" y="1810"/>
                  </a:lnTo>
                  <a:lnTo>
                    <a:pt x="60" y="1816"/>
                  </a:lnTo>
                  <a:lnTo>
                    <a:pt x="60" y="1816"/>
                  </a:lnTo>
                  <a:lnTo>
                    <a:pt x="72" y="1824"/>
                  </a:lnTo>
                  <a:lnTo>
                    <a:pt x="84" y="1832"/>
                  </a:lnTo>
                  <a:lnTo>
                    <a:pt x="84" y="1832"/>
                  </a:lnTo>
                  <a:lnTo>
                    <a:pt x="94" y="1838"/>
                  </a:lnTo>
                  <a:lnTo>
                    <a:pt x="94" y="1838"/>
                  </a:lnTo>
                  <a:lnTo>
                    <a:pt x="102" y="1844"/>
                  </a:lnTo>
                  <a:lnTo>
                    <a:pt x="128" y="1864"/>
                  </a:lnTo>
                  <a:lnTo>
                    <a:pt x="128" y="1864"/>
                  </a:lnTo>
                  <a:lnTo>
                    <a:pt x="136" y="1868"/>
                  </a:lnTo>
                  <a:lnTo>
                    <a:pt x="142" y="1870"/>
                  </a:lnTo>
                  <a:lnTo>
                    <a:pt x="146" y="1870"/>
                  </a:lnTo>
                  <a:lnTo>
                    <a:pt x="146" y="1870"/>
                  </a:lnTo>
                  <a:lnTo>
                    <a:pt x="152" y="1868"/>
                  </a:lnTo>
                  <a:lnTo>
                    <a:pt x="154" y="1868"/>
                  </a:lnTo>
                  <a:lnTo>
                    <a:pt x="154" y="1868"/>
                  </a:lnTo>
                  <a:lnTo>
                    <a:pt x="154" y="1866"/>
                  </a:lnTo>
                  <a:lnTo>
                    <a:pt x="154" y="1866"/>
                  </a:lnTo>
                  <a:lnTo>
                    <a:pt x="154" y="1868"/>
                  </a:lnTo>
                  <a:lnTo>
                    <a:pt x="154" y="1868"/>
                  </a:lnTo>
                  <a:lnTo>
                    <a:pt x="158" y="1868"/>
                  </a:lnTo>
                  <a:lnTo>
                    <a:pt x="162" y="1870"/>
                  </a:lnTo>
                  <a:lnTo>
                    <a:pt x="166" y="1870"/>
                  </a:lnTo>
                  <a:lnTo>
                    <a:pt x="166" y="1870"/>
                  </a:lnTo>
                  <a:lnTo>
                    <a:pt x="182" y="1868"/>
                  </a:lnTo>
                  <a:lnTo>
                    <a:pt x="206" y="1862"/>
                  </a:lnTo>
                  <a:lnTo>
                    <a:pt x="206" y="1862"/>
                  </a:lnTo>
                  <a:lnTo>
                    <a:pt x="218" y="1860"/>
                  </a:lnTo>
                  <a:lnTo>
                    <a:pt x="218" y="1860"/>
                  </a:lnTo>
                  <a:lnTo>
                    <a:pt x="224" y="1860"/>
                  </a:lnTo>
                  <a:lnTo>
                    <a:pt x="224" y="1860"/>
                  </a:lnTo>
                  <a:lnTo>
                    <a:pt x="232" y="1860"/>
                  </a:lnTo>
                  <a:lnTo>
                    <a:pt x="244" y="1860"/>
                  </a:lnTo>
                  <a:lnTo>
                    <a:pt x="244" y="1860"/>
                  </a:lnTo>
                  <a:lnTo>
                    <a:pt x="260" y="1856"/>
                  </a:lnTo>
                  <a:lnTo>
                    <a:pt x="274" y="1852"/>
                  </a:lnTo>
                  <a:lnTo>
                    <a:pt x="274" y="1852"/>
                  </a:lnTo>
                  <a:lnTo>
                    <a:pt x="282" y="1850"/>
                  </a:lnTo>
                  <a:lnTo>
                    <a:pt x="282" y="1850"/>
                  </a:lnTo>
                  <a:lnTo>
                    <a:pt x="288" y="1844"/>
                  </a:lnTo>
                  <a:lnTo>
                    <a:pt x="294" y="1842"/>
                  </a:lnTo>
                  <a:lnTo>
                    <a:pt x="294" y="1842"/>
                  </a:lnTo>
                  <a:lnTo>
                    <a:pt x="300" y="1838"/>
                  </a:lnTo>
                  <a:lnTo>
                    <a:pt x="300" y="1838"/>
                  </a:lnTo>
                  <a:lnTo>
                    <a:pt x="306" y="1838"/>
                  </a:lnTo>
                  <a:lnTo>
                    <a:pt x="306" y="1838"/>
                  </a:lnTo>
                  <a:lnTo>
                    <a:pt x="312" y="1840"/>
                  </a:lnTo>
                  <a:lnTo>
                    <a:pt x="312" y="1840"/>
                  </a:lnTo>
                  <a:lnTo>
                    <a:pt x="320" y="1840"/>
                  </a:lnTo>
                  <a:lnTo>
                    <a:pt x="322" y="1840"/>
                  </a:lnTo>
                  <a:lnTo>
                    <a:pt x="322" y="1840"/>
                  </a:lnTo>
                  <a:lnTo>
                    <a:pt x="330" y="1842"/>
                  </a:lnTo>
                  <a:lnTo>
                    <a:pt x="334" y="1846"/>
                  </a:lnTo>
                  <a:lnTo>
                    <a:pt x="346" y="1862"/>
                  </a:lnTo>
                  <a:lnTo>
                    <a:pt x="346" y="1862"/>
                  </a:lnTo>
                  <a:lnTo>
                    <a:pt x="352" y="1868"/>
                  </a:lnTo>
                  <a:lnTo>
                    <a:pt x="358" y="1870"/>
                  </a:lnTo>
                  <a:lnTo>
                    <a:pt x="362" y="1870"/>
                  </a:lnTo>
                  <a:lnTo>
                    <a:pt x="362" y="1870"/>
                  </a:lnTo>
                  <a:lnTo>
                    <a:pt x="370" y="1870"/>
                  </a:lnTo>
                  <a:lnTo>
                    <a:pt x="378" y="1874"/>
                  </a:lnTo>
                  <a:lnTo>
                    <a:pt x="384" y="1876"/>
                  </a:lnTo>
                  <a:lnTo>
                    <a:pt x="384" y="1876"/>
                  </a:lnTo>
                  <a:lnTo>
                    <a:pt x="388" y="1878"/>
                  </a:lnTo>
                  <a:lnTo>
                    <a:pt x="392" y="1878"/>
                  </a:lnTo>
                  <a:lnTo>
                    <a:pt x="392" y="1878"/>
                  </a:lnTo>
                  <a:lnTo>
                    <a:pt x="392" y="1876"/>
                  </a:lnTo>
                  <a:lnTo>
                    <a:pt x="392" y="1876"/>
                  </a:lnTo>
                  <a:lnTo>
                    <a:pt x="392" y="1878"/>
                  </a:lnTo>
                  <a:lnTo>
                    <a:pt x="392" y="1878"/>
                  </a:lnTo>
                  <a:lnTo>
                    <a:pt x="394" y="1878"/>
                  </a:lnTo>
                  <a:lnTo>
                    <a:pt x="398" y="1878"/>
                  </a:lnTo>
                  <a:lnTo>
                    <a:pt x="398" y="1878"/>
                  </a:lnTo>
                  <a:lnTo>
                    <a:pt x="404" y="1880"/>
                  </a:lnTo>
                  <a:lnTo>
                    <a:pt x="408" y="1884"/>
                  </a:lnTo>
                  <a:lnTo>
                    <a:pt x="408" y="1884"/>
                  </a:lnTo>
                  <a:lnTo>
                    <a:pt x="410" y="1890"/>
                  </a:lnTo>
                  <a:lnTo>
                    <a:pt x="410" y="1896"/>
                  </a:lnTo>
                  <a:lnTo>
                    <a:pt x="410" y="1900"/>
                  </a:lnTo>
                  <a:lnTo>
                    <a:pt x="410" y="1900"/>
                  </a:lnTo>
                  <a:lnTo>
                    <a:pt x="410" y="1908"/>
                  </a:lnTo>
                  <a:lnTo>
                    <a:pt x="410" y="1908"/>
                  </a:lnTo>
                  <a:lnTo>
                    <a:pt x="410" y="1916"/>
                  </a:lnTo>
                  <a:lnTo>
                    <a:pt x="410" y="1920"/>
                  </a:lnTo>
                  <a:lnTo>
                    <a:pt x="410" y="1920"/>
                  </a:lnTo>
                  <a:lnTo>
                    <a:pt x="410" y="1936"/>
                  </a:lnTo>
                  <a:lnTo>
                    <a:pt x="410" y="1950"/>
                  </a:lnTo>
                  <a:lnTo>
                    <a:pt x="410" y="1950"/>
                  </a:lnTo>
                  <a:lnTo>
                    <a:pt x="412" y="1956"/>
                  </a:lnTo>
                  <a:lnTo>
                    <a:pt x="414" y="1964"/>
                  </a:lnTo>
                  <a:lnTo>
                    <a:pt x="434" y="1990"/>
                  </a:lnTo>
                  <a:lnTo>
                    <a:pt x="434" y="1990"/>
                  </a:lnTo>
                  <a:lnTo>
                    <a:pt x="438" y="1994"/>
                  </a:lnTo>
                  <a:lnTo>
                    <a:pt x="440" y="1994"/>
                  </a:lnTo>
                  <a:lnTo>
                    <a:pt x="440" y="1994"/>
                  </a:lnTo>
                  <a:lnTo>
                    <a:pt x="442" y="1994"/>
                  </a:lnTo>
                  <a:lnTo>
                    <a:pt x="442" y="1994"/>
                  </a:lnTo>
                  <a:lnTo>
                    <a:pt x="440" y="1996"/>
                  </a:lnTo>
                  <a:lnTo>
                    <a:pt x="440" y="1996"/>
                  </a:lnTo>
                  <a:lnTo>
                    <a:pt x="440" y="1998"/>
                  </a:lnTo>
                  <a:lnTo>
                    <a:pt x="444" y="2002"/>
                  </a:lnTo>
                  <a:lnTo>
                    <a:pt x="444" y="2002"/>
                  </a:lnTo>
                  <a:lnTo>
                    <a:pt x="452" y="2014"/>
                  </a:lnTo>
                  <a:lnTo>
                    <a:pt x="456" y="2020"/>
                  </a:lnTo>
                  <a:lnTo>
                    <a:pt x="456" y="2020"/>
                  </a:lnTo>
                  <a:lnTo>
                    <a:pt x="458" y="2026"/>
                  </a:lnTo>
                  <a:lnTo>
                    <a:pt x="458" y="2026"/>
                  </a:lnTo>
                  <a:lnTo>
                    <a:pt x="458" y="2034"/>
                  </a:lnTo>
                  <a:lnTo>
                    <a:pt x="458" y="2038"/>
                  </a:lnTo>
                  <a:lnTo>
                    <a:pt x="458" y="2038"/>
                  </a:lnTo>
                  <a:lnTo>
                    <a:pt x="458" y="2046"/>
                  </a:lnTo>
                  <a:lnTo>
                    <a:pt x="458" y="2046"/>
                  </a:lnTo>
                  <a:lnTo>
                    <a:pt x="460" y="2054"/>
                  </a:lnTo>
                  <a:lnTo>
                    <a:pt x="468" y="2096"/>
                  </a:lnTo>
                  <a:lnTo>
                    <a:pt x="468" y="2096"/>
                  </a:lnTo>
                  <a:lnTo>
                    <a:pt x="472" y="2112"/>
                  </a:lnTo>
                  <a:lnTo>
                    <a:pt x="476" y="2124"/>
                  </a:lnTo>
                  <a:lnTo>
                    <a:pt x="476" y="2124"/>
                  </a:lnTo>
                  <a:lnTo>
                    <a:pt x="478" y="2134"/>
                  </a:lnTo>
                  <a:lnTo>
                    <a:pt x="478" y="2134"/>
                  </a:lnTo>
                  <a:lnTo>
                    <a:pt x="472" y="2144"/>
                  </a:lnTo>
                  <a:lnTo>
                    <a:pt x="462" y="2166"/>
                  </a:lnTo>
                  <a:lnTo>
                    <a:pt x="462" y="2166"/>
                  </a:lnTo>
                  <a:lnTo>
                    <a:pt x="460" y="2172"/>
                  </a:lnTo>
                  <a:lnTo>
                    <a:pt x="458" y="2180"/>
                  </a:lnTo>
                  <a:lnTo>
                    <a:pt x="458" y="2204"/>
                  </a:lnTo>
                  <a:lnTo>
                    <a:pt x="458" y="2204"/>
                  </a:lnTo>
                  <a:lnTo>
                    <a:pt x="460" y="2212"/>
                  </a:lnTo>
                  <a:lnTo>
                    <a:pt x="460" y="2212"/>
                  </a:lnTo>
                  <a:lnTo>
                    <a:pt x="460" y="2210"/>
                  </a:lnTo>
                  <a:lnTo>
                    <a:pt x="460" y="2210"/>
                  </a:lnTo>
                  <a:lnTo>
                    <a:pt x="460" y="2212"/>
                  </a:lnTo>
                  <a:lnTo>
                    <a:pt x="460" y="2212"/>
                  </a:lnTo>
                  <a:lnTo>
                    <a:pt x="456" y="2220"/>
                  </a:lnTo>
                  <a:lnTo>
                    <a:pt x="452" y="2234"/>
                  </a:lnTo>
                  <a:lnTo>
                    <a:pt x="452" y="2234"/>
                  </a:lnTo>
                  <a:lnTo>
                    <a:pt x="450" y="2242"/>
                  </a:lnTo>
                  <a:lnTo>
                    <a:pt x="452" y="2248"/>
                  </a:lnTo>
                  <a:lnTo>
                    <a:pt x="484" y="2302"/>
                  </a:lnTo>
                  <a:lnTo>
                    <a:pt x="484" y="2302"/>
                  </a:lnTo>
                  <a:lnTo>
                    <a:pt x="488" y="2308"/>
                  </a:lnTo>
                  <a:lnTo>
                    <a:pt x="488" y="2314"/>
                  </a:lnTo>
                  <a:lnTo>
                    <a:pt x="488" y="2314"/>
                  </a:lnTo>
                  <a:lnTo>
                    <a:pt x="490" y="2328"/>
                  </a:lnTo>
                  <a:lnTo>
                    <a:pt x="496" y="2380"/>
                  </a:lnTo>
                  <a:lnTo>
                    <a:pt x="496" y="2380"/>
                  </a:lnTo>
                  <a:lnTo>
                    <a:pt x="500" y="2386"/>
                  </a:lnTo>
                  <a:lnTo>
                    <a:pt x="504" y="2392"/>
                  </a:lnTo>
                  <a:lnTo>
                    <a:pt x="520" y="2402"/>
                  </a:lnTo>
                  <a:lnTo>
                    <a:pt x="520" y="2402"/>
                  </a:lnTo>
                  <a:lnTo>
                    <a:pt x="528" y="2406"/>
                  </a:lnTo>
                  <a:lnTo>
                    <a:pt x="528" y="2406"/>
                  </a:lnTo>
                  <a:lnTo>
                    <a:pt x="528" y="2404"/>
                  </a:lnTo>
                  <a:lnTo>
                    <a:pt x="528" y="2404"/>
                  </a:lnTo>
                  <a:lnTo>
                    <a:pt x="528" y="2406"/>
                  </a:lnTo>
                  <a:lnTo>
                    <a:pt x="528" y="2406"/>
                  </a:lnTo>
                  <a:lnTo>
                    <a:pt x="532" y="2414"/>
                  </a:lnTo>
                  <a:lnTo>
                    <a:pt x="534" y="2420"/>
                  </a:lnTo>
                  <a:lnTo>
                    <a:pt x="534" y="2420"/>
                  </a:lnTo>
                  <a:lnTo>
                    <a:pt x="540" y="2434"/>
                  </a:lnTo>
                  <a:lnTo>
                    <a:pt x="546" y="2458"/>
                  </a:lnTo>
                  <a:lnTo>
                    <a:pt x="546" y="2458"/>
                  </a:lnTo>
                  <a:lnTo>
                    <a:pt x="548" y="2474"/>
                  </a:lnTo>
                  <a:lnTo>
                    <a:pt x="548" y="2478"/>
                  </a:lnTo>
                  <a:lnTo>
                    <a:pt x="548" y="2478"/>
                  </a:lnTo>
                  <a:lnTo>
                    <a:pt x="548" y="2486"/>
                  </a:lnTo>
                  <a:lnTo>
                    <a:pt x="552" y="2492"/>
                  </a:lnTo>
                  <a:lnTo>
                    <a:pt x="562" y="2508"/>
                  </a:lnTo>
                  <a:lnTo>
                    <a:pt x="562" y="2508"/>
                  </a:lnTo>
                  <a:lnTo>
                    <a:pt x="568" y="2512"/>
                  </a:lnTo>
                  <a:lnTo>
                    <a:pt x="574" y="2514"/>
                  </a:lnTo>
                  <a:lnTo>
                    <a:pt x="598" y="2508"/>
                  </a:lnTo>
                  <a:lnTo>
                    <a:pt x="598" y="2508"/>
                  </a:lnTo>
                  <a:lnTo>
                    <a:pt x="614" y="2504"/>
                  </a:lnTo>
                  <a:lnTo>
                    <a:pt x="638" y="2498"/>
                  </a:lnTo>
                  <a:lnTo>
                    <a:pt x="638" y="2498"/>
                  </a:lnTo>
                  <a:lnTo>
                    <a:pt x="654" y="2496"/>
                  </a:lnTo>
                  <a:lnTo>
                    <a:pt x="676" y="2496"/>
                  </a:lnTo>
                  <a:lnTo>
                    <a:pt x="676" y="2496"/>
                  </a:lnTo>
                  <a:lnTo>
                    <a:pt x="684" y="2494"/>
                  </a:lnTo>
                  <a:lnTo>
                    <a:pt x="690" y="2490"/>
                  </a:lnTo>
                  <a:lnTo>
                    <a:pt x="748" y="2424"/>
                  </a:lnTo>
                  <a:lnTo>
                    <a:pt x="748" y="2424"/>
                  </a:lnTo>
                  <a:lnTo>
                    <a:pt x="756" y="2410"/>
                  </a:lnTo>
                  <a:lnTo>
                    <a:pt x="770" y="2376"/>
                  </a:lnTo>
                  <a:lnTo>
                    <a:pt x="770" y="2376"/>
                  </a:lnTo>
                  <a:lnTo>
                    <a:pt x="770" y="2370"/>
                  </a:lnTo>
                  <a:lnTo>
                    <a:pt x="770" y="2368"/>
                  </a:lnTo>
                  <a:lnTo>
                    <a:pt x="770" y="2368"/>
                  </a:lnTo>
                  <a:lnTo>
                    <a:pt x="768" y="2368"/>
                  </a:lnTo>
                  <a:lnTo>
                    <a:pt x="768" y="2368"/>
                  </a:lnTo>
                  <a:lnTo>
                    <a:pt x="770" y="2368"/>
                  </a:lnTo>
                  <a:lnTo>
                    <a:pt x="770" y="2368"/>
                  </a:lnTo>
                  <a:lnTo>
                    <a:pt x="772" y="2366"/>
                  </a:lnTo>
                  <a:lnTo>
                    <a:pt x="772" y="2364"/>
                  </a:lnTo>
                  <a:lnTo>
                    <a:pt x="772" y="2364"/>
                  </a:lnTo>
                  <a:lnTo>
                    <a:pt x="774" y="2358"/>
                  </a:lnTo>
                  <a:lnTo>
                    <a:pt x="778" y="2354"/>
                  </a:lnTo>
                  <a:lnTo>
                    <a:pt x="806" y="2334"/>
                  </a:lnTo>
                  <a:lnTo>
                    <a:pt x="806" y="2334"/>
                  </a:lnTo>
                  <a:lnTo>
                    <a:pt x="810" y="2328"/>
                  </a:lnTo>
                  <a:lnTo>
                    <a:pt x="814" y="2322"/>
                  </a:lnTo>
                  <a:lnTo>
                    <a:pt x="818" y="2308"/>
                  </a:lnTo>
                  <a:lnTo>
                    <a:pt x="818" y="2308"/>
                  </a:lnTo>
                  <a:lnTo>
                    <a:pt x="820" y="2300"/>
                  </a:lnTo>
                  <a:lnTo>
                    <a:pt x="820" y="2292"/>
                  </a:lnTo>
                  <a:lnTo>
                    <a:pt x="814" y="2268"/>
                  </a:lnTo>
                  <a:lnTo>
                    <a:pt x="814" y="2268"/>
                  </a:lnTo>
                  <a:lnTo>
                    <a:pt x="814" y="2260"/>
                  </a:lnTo>
                  <a:lnTo>
                    <a:pt x="816" y="2254"/>
                  </a:lnTo>
                  <a:lnTo>
                    <a:pt x="826" y="2238"/>
                  </a:lnTo>
                  <a:lnTo>
                    <a:pt x="826" y="2238"/>
                  </a:lnTo>
                  <a:lnTo>
                    <a:pt x="832" y="2232"/>
                  </a:lnTo>
                  <a:lnTo>
                    <a:pt x="838" y="2228"/>
                  </a:lnTo>
                  <a:lnTo>
                    <a:pt x="874" y="2206"/>
                  </a:lnTo>
                  <a:lnTo>
                    <a:pt x="874" y="2206"/>
                  </a:lnTo>
                  <a:lnTo>
                    <a:pt x="880" y="2202"/>
                  </a:lnTo>
                  <a:lnTo>
                    <a:pt x="884" y="2194"/>
                  </a:lnTo>
                  <a:lnTo>
                    <a:pt x="886" y="2190"/>
                  </a:lnTo>
                  <a:lnTo>
                    <a:pt x="886" y="2190"/>
                  </a:lnTo>
                  <a:lnTo>
                    <a:pt x="894" y="2176"/>
                  </a:lnTo>
                  <a:lnTo>
                    <a:pt x="896" y="2170"/>
                  </a:lnTo>
                  <a:lnTo>
                    <a:pt x="896" y="2170"/>
                  </a:lnTo>
                  <a:lnTo>
                    <a:pt x="898" y="2162"/>
                  </a:lnTo>
                  <a:lnTo>
                    <a:pt x="898" y="2156"/>
                  </a:lnTo>
                  <a:lnTo>
                    <a:pt x="892" y="2132"/>
                  </a:lnTo>
                  <a:lnTo>
                    <a:pt x="892" y="2132"/>
                  </a:lnTo>
                  <a:lnTo>
                    <a:pt x="890" y="2116"/>
                  </a:lnTo>
                  <a:lnTo>
                    <a:pt x="890" y="2112"/>
                  </a:lnTo>
                  <a:lnTo>
                    <a:pt x="890" y="2112"/>
                  </a:lnTo>
                  <a:lnTo>
                    <a:pt x="890" y="2108"/>
                  </a:lnTo>
                  <a:lnTo>
                    <a:pt x="888" y="2106"/>
                  </a:lnTo>
                  <a:lnTo>
                    <a:pt x="888" y="2106"/>
                  </a:lnTo>
                  <a:lnTo>
                    <a:pt x="886" y="2108"/>
                  </a:lnTo>
                  <a:lnTo>
                    <a:pt x="886" y="2108"/>
                  </a:lnTo>
                  <a:lnTo>
                    <a:pt x="888" y="2106"/>
                  </a:lnTo>
                  <a:lnTo>
                    <a:pt x="888" y="2106"/>
                  </a:lnTo>
                  <a:lnTo>
                    <a:pt x="888" y="2102"/>
                  </a:lnTo>
                  <a:lnTo>
                    <a:pt x="886" y="2098"/>
                  </a:lnTo>
                  <a:lnTo>
                    <a:pt x="886" y="2098"/>
                  </a:lnTo>
                  <a:lnTo>
                    <a:pt x="882" y="2094"/>
                  </a:lnTo>
                  <a:lnTo>
                    <a:pt x="880" y="2086"/>
                  </a:lnTo>
                  <a:lnTo>
                    <a:pt x="880" y="2054"/>
                  </a:lnTo>
                  <a:lnTo>
                    <a:pt x="880" y="2054"/>
                  </a:lnTo>
                  <a:lnTo>
                    <a:pt x="880" y="2046"/>
                  </a:lnTo>
                  <a:lnTo>
                    <a:pt x="876" y="2038"/>
                  </a:lnTo>
                  <a:lnTo>
                    <a:pt x="874" y="2032"/>
                  </a:lnTo>
                  <a:lnTo>
                    <a:pt x="874" y="2032"/>
                  </a:lnTo>
                  <a:lnTo>
                    <a:pt x="872" y="2026"/>
                  </a:lnTo>
                  <a:lnTo>
                    <a:pt x="876" y="2020"/>
                  </a:lnTo>
                  <a:lnTo>
                    <a:pt x="876" y="2020"/>
                  </a:lnTo>
                  <a:lnTo>
                    <a:pt x="880" y="2016"/>
                  </a:lnTo>
                  <a:lnTo>
                    <a:pt x="880" y="2016"/>
                  </a:lnTo>
                  <a:lnTo>
                    <a:pt x="880" y="2016"/>
                  </a:lnTo>
                  <a:lnTo>
                    <a:pt x="880" y="2016"/>
                  </a:lnTo>
                  <a:lnTo>
                    <a:pt x="880" y="2016"/>
                  </a:lnTo>
                  <a:lnTo>
                    <a:pt x="880" y="2016"/>
                  </a:lnTo>
                  <a:lnTo>
                    <a:pt x="880" y="2016"/>
                  </a:lnTo>
                  <a:lnTo>
                    <a:pt x="880" y="2016"/>
                  </a:lnTo>
                  <a:lnTo>
                    <a:pt x="880" y="2012"/>
                  </a:lnTo>
                  <a:lnTo>
                    <a:pt x="880" y="2012"/>
                  </a:lnTo>
                  <a:lnTo>
                    <a:pt x="882" y="2006"/>
                  </a:lnTo>
                  <a:lnTo>
                    <a:pt x="884" y="2000"/>
                  </a:lnTo>
                  <a:lnTo>
                    <a:pt x="894" y="1984"/>
                  </a:lnTo>
                  <a:lnTo>
                    <a:pt x="894" y="1984"/>
                  </a:lnTo>
                  <a:lnTo>
                    <a:pt x="900" y="1978"/>
                  </a:lnTo>
                  <a:lnTo>
                    <a:pt x="906" y="1974"/>
                  </a:lnTo>
                  <a:lnTo>
                    <a:pt x="912" y="1970"/>
                  </a:lnTo>
                  <a:lnTo>
                    <a:pt x="912" y="1970"/>
                  </a:lnTo>
                  <a:lnTo>
                    <a:pt x="918" y="1968"/>
                  </a:lnTo>
                  <a:lnTo>
                    <a:pt x="918" y="1968"/>
                  </a:lnTo>
                  <a:lnTo>
                    <a:pt x="922" y="1960"/>
                  </a:lnTo>
                  <a:lnTo>
                    <a:pt x="934" y="1936"/>
                  </a:lnTo>
                  <a:lnTo>
                    <a:pt x="934" y="1936"/>
                  </a:lnTo>
                  <a:lnTo>
                    <a:pt x="940" y="1930"/>
                  </a:lnTo>
                  <a:lnTo>
                    <a:pt x="946" y="1924"/>
                  </a:lnTo>
                  <a:lnTo>
                    <a:pt x="970" y="1912"/>
                  </a:lnTo>
                  <a:lnTo>
                    <a:pt x="970" y="1912"/>
                  </a:lnTo>
                  <a:lnTo>
                    <a:pt x="984" y="1902"/>
                  </a:lnTo>
                  <a:lnTo>
                    <a:pt x="1012" y="1874"/>
                  </a:lnTo>
                  <a:lnTo>
                    <a:pt x="1012" y="1874"/>
                  </a:lnTo>
                  <a:lnTo>
                    <a:pt x="1016" y="1868"/>
                  </a:lnTo>
                  <a:lnTo>
                    <a:pt x="1020" y="1862"/>
                  </a:lnTo>
                  <a:lnTo>
                    <a:pt x="1044" y="1808"/>
                  </a:lnTo>
                  <a:lnTo>
                    <a:pt x="1044" y="1808"/>
                  </a:lnTo>
                  <a:lnTo>
                    <a:pt x="1048" y="1792"/>
                  </a:lnTo>
                  <a:lnTo>
                    <a:pt x="1054" y="1770"/>
                  </a:lnTo>
                  <a:lnTo>
                    <a:pt x="1054" y="1770"/>
                  </a:lnTo>
                  <a:lnTo>
                    <a:pt x="1054" y="1766"/>
                  </a:lnTo>
                  <a:lnTo>
                    <a:pt x="1054" y="1764"/>
                  </a:lnTo>
                  <a:lnTo>
                    <a:pt x="1050" y="1764"/>
                  </a:lnTo>
                  <a:lnTo>
                    <a:pt x="1048" y="1764"/>
                  </a:lnTo>
                  <a:lnTo>
                    <a:pt x="976" y="1780"/>
                  </a:lnTo>
                  <a:lnTo>
                    <a:pt x="976" y="1780"/>
                  </a:lnTo>
                  <a:lnTo>
                    <a:pt x="968" y="1780"/>
                  </a:lnTo>
                  <a:lnTo>
                    <a:pt x="960" y="1778"/>
                  </a:lnTo>
                  <a:lnTo>
                    <a:pt x="956" y="1774"/>
                  </a:lnTo>
                  <a:lnTo>
                    <a:pt x="956" y="1774"/>
                  </a:lnTo>
                  <a:lnTo>
                    <a:pt x="944" y="1766"/>
                  </a:lnTo>
                  <a:lnTo>
                    <a:pt x="944" y="1766"/>
                  </a:lnTo>
                  <a:lnTo>
                    <a:pt x="934" y="1754"/>
                  </a:lnTo>
                  <a:lnTo>
                    <a:pt x="904" y="1710"/>
                  </a:lnTo>
                  <a:lnTo>
                    <a:pt x="904" y="1710"/>
                  </a:lnTo>
                  <a:lnTo>
                    <a:pt x="898" y="1704"/>
                  </a:lnTo>
                  <a:lnTo>
                    <a:pt x="892" y="1700"/>
                  </a:lnTo>
                  <a:lnTo>
                    <a:pt x="886" y="1696"/>
                  </a:lnTo>
                  <a:lnTo>
                    <a:pt x="886" y="1696"/>
                  </a:lnTo>
                  <a:lnTo>
                    <a:pt x="880" y="1692"/>
                  </a:lnTo>
                  <a:lnTo>
                    <a:pt x="876" y="1686"/>
                  </a:lnTo>
                  <a:lnTo>
                    <a:pt x="864" y="1670"/>
                  </a:lnTo>
                  <a:lnTo>
                    <a:pt x="864" y="1670"/>
                  </a:lnTo>
                  <a:lnTo>
                    <a:pt x="860" y="1664"/>
                  </a:lnTo>
                  <a:lnTo>
                    <a:pt x="860" y="1664"/>
                  </a:lnTo>
                  <a:lnTo>
                    <a:pt x="858" y="1656"/>
                  </a:lnTo>
                  <a:lnTo>
                    <a:pt x="852" y="1642"/>
                  </a:lnTo>
                  <a:lnTo>
                    <a:pt x="852" y="1642"/>
                  </a:lnTo>
                  <a:lnTo>
                    <a:pt x="848" y="1626"/>
                  </a:lnTo>
                  <a:lnTo>
                    <a:pt x="842" y="1602"/>
                  </a:lnTo>
                  <a:lnTo>
                    <a:pt x="842" y="1602"/>
                  </a:lnTo>
                  <a:lnTo>
                    <a:pt x="840" y="1596"/>
                  </a:lnTo>
                  <a:lnTo>
                    <a:pt x="834" y="1590"/>
                  </a:lnTo>
                  <a:lnTo>
                    <a:pt x="826" y="1582"/>
                  </a:lnTo>
                  <a:lnTo>
                    <a:pt x="826" y="1582"/>
                  </a:lnTo>
                  <a:lnTo>
                    <a:pt x="822" y="1574"/>
                  </a:lnTo>
                  <a:lnTo>
                    <a:pt x="818" y="1568"/>
                  </a:lnTo>
                  <a:lnTo>
                    <a:pt x="814" y="1544"/>
                  </a:lnTo>
                  <a:lnTo>
                    <a:pt x="814" y="1544"/>
                  </a:lnTo>
                  <a:lnTo>
                    <a:pt x="808" y="1530"/>
                  </a:lnTo>
                  <a:lnTo>
                    <a:pt x="796" y="1504"/>
                  </a:lnTo>
                  <a:lnTo>
                    <a:pt x="796" y="1504"/>
                  </a:lnTo>
                  <a:lnTo>
                    <a:pt x="786" y="1492"/>
                  </a:lnTo>
                  <a:lnTo>
                    <a:pt x="768" y="1474"/>
                  </a:lnTo>
                  <a:lnTo>
                    <a:pt x="768" y="1474"/>
                  </a:lnTo>
                  <a:lnTo>
                    <a:pt x="766" y="1470"/>
                  </a:lnTo>
                  <a:lnTo>
                    <a:pt x="770" y="1472"/>
                  </a:lnTo>
                  <a:lnTo>
                    <a:pt x="794" y="1484"/>
                  </a:lnTo>
                  <a:lnTo>
                    <a:pt x="794" y="1484"/>
                  </a:lnTo>
                  <a:lnTo>
                    <a:pt x="798" y="1484"/>
                  </a:lnTo>
                  <a:lnTo>
                    <a:pt x="800" y="1484"/>
                  </a:lnTo>
                  <a:lnTo>
                    <a:pt x="804" y="1482"/>
                  </a:lnTo>
                  <a:lnTo>
                    <a:pt x="804" y="1480"/>
                  </a:lnTo>
                  <a:lnTo>
                    <a:pt x="808" y="1476"/>
                  </a:lnTo>
                  <a:lnTo>
                    <a:pt x="808" y="1476"/>
                  </a:lnTo>
                  <a:lnTo>
                    <a:pt x="810" y="1474"/>
                  </a:lnTo>
                  <a:lnTo>
                    <a:pt x="810" y="1472"/>
                  </a:lnTo>
                  <a:lnTo>
                    <a:pt x="812" y="1474"/>
                  </a:lnTo>
                  <a:lnTo>
                    <a:pt x="814" y="1476"/>
                  </a:lnTo>
                  <a:lnTo>
                    <a:pt x="818" y="1480"/>
                  </a:lnTo>
                  <a:lnTo>
                    <a:pt x="818" y="1480"/>
                  </a:lnTo>
                  <a:lnTo>
                    <a:pt x="824" y="1494"/>
                  </a:lnTo>
                  <a:lnTo>
                    <a:pt x="856" y="1550"/>
                  </a:lnTo>
                  <a:lnTo>
                    <a:pt x="856" y="1550"/>
                  </a:lnTo>
                  <a:lnTo>
                    <a:pt x="866" y="1562"/>
                  </a:lnTo>
                  <a:lnTo>
                    <a:pt x="874" y="1570"/>
                  </a:lnTo>
                  <a:lnTo>
                    <a:pt x="874" y="1570"/>
                  </a:lnTo>
                  <a:lnTo>
                    <a:pt x="878" y="1576"/>
                  </a:lnTo>
                  <a:lnTo>
                    <a:pt x="882" y="1584"/>
                  </a:lnTo>
                  <a:lnTo>
                    <a:pt x="886" y="1598"/>
                  </a:lnTo>
                  <a:lnTo>
                    <a:pt x="886" y="1598"/>
                  </a:lnTo>
                  <a:lnTo>
                    <a:pt x="892" y="1614"/>
                  </a:lnTo>
                  <a:lnTo>
                    <a:pt x="898" y="1636"/>
                  </a:lnTo>
                  <a:lnTo>
                    <a:pt x="898" y="1636"/>
                  </a:lnTo>
                  <a:lnTo>
                    <a:pt x="900" y="1644"/>
                  </a:lnTo>
                  <a:lnTo>
                    <a:pt x="904" y="1650"/>
                  </a:lnTo>
                  <a:lnTo>
                    <a:pt x="924" y="1668"/>
                  </a:lnTo>
                  <a:lnTo>
                    <a:pt x="924" y="1668"/>
                  </a:lnTo>
                  <a:lnTo>
                    <a:pt x="928" y="1674"/>
                  </a:lnTo>
                  <a:lnTo>
                    <a:pt x="928" y="1678"/>
                  </a:lnTo>
                  <a:lnTo>
                    <a:pt x="928" y="1678"/>
                  </a:lnTo>
                  <a:lnTo>
                    <a:pt x="928" y="1684"/>
                  </a:lnTo>
                  <a:lnTo>
                    <a:pt x="928" y="1684"/>
                  </a:lnTo>
                  <a:lnTo>
                    <a:pt x="932" y="1690"/>
                  </a:lnTo>
                  <a:lnTo>
                    <a:pt x="936" y="1696"/>
                  </a:lnTo>
                  <a:lnTo>
                    <a:pt x="936" y="1696"/>
                  </a:lnTo>
                  <a:lnTo>
                    <a:pt x="942" y="1710"/>
                  </a:lnTo>
                  <a:lnTo>
                    <a:pt x="954" y="1736"/>
                  </a:lnTo>
                  <a:lnTo>
                    <a:pt x="954" y="1736"/>
                  </a:lnTo>
                  <a:lnTo>
                    <a:pt x="960" y="1740"/>
                  </a:lnTo>
                  <a:lnTo>
                    <a:pt x="966" y="1740"/>
                  </a:lnTo>
                  <a:lnTo>
                    <a:pt x="980" y="1736"/>
                  </a:lnTo>
                  <a:lnTo>
                    <a:pt x="980" y="1736"/>
                  </a:lnTo>
                  <a:lnTo>
                    <a:pt x="996" y="1732"/>
                  </a:lnTo>
                  <a:lnTo>
                    <a:pt x="1000" y="1732"/>
                  </a:lnTo>
                  <a:lnTo>
                    <a:pt x="1000" y="1732"/>
                  </a:lnTo>
                  <a:lnTo>
                    <a:pt x="1006" y="1732"/>
                  </a:lnTo>
                  <a:lnTo>
                    <a:pt x="1012" y="1728"/>
                  </a:lnTo>
                  <a:lnTo>
                    <a:pt x="1020" y="1718"/>
                  </a:lnTo>
                  <a:lnTo>
                    <a:pt x="1020" y="1718"/>
                  </a:lnTo>
                  <a:lnTo>
                    <a:pt x="1028" y="1714"/>
                  </a:lnTo>
                  <a:lnTo>
                    <a:pt x="1034" y="1710"/>
                  </a:lnTo>
                  <a:lnTo>
                    <a:pt x="1048" y="1706"/>
                  </a:lnTo>
                  <a:lnTo>
                    <a:pt x="1048" y="1706"/>
                  </a:lnTo>
                  <a:lnTo>
                    <a:pt x="1064" y="1700"/>
                  </a:lnTo>
                  <a:lnTo>
                    <a:pt x="1088" y="1688"/>
                  </a:lnTo>
                  <a:lnTo>
                    <a:pt x="1088" y="1688"/>
                  </a:lnTo>
                  <a:lnTo>
                    <a:pt x="1096" y="1684"/>
                  </a:lnTo>
                  <a:lnTo>
                    <a:pt x="1096" y="1684"/>
                  </a:lnTo>
                  <a:lnTo>
                    <a:pt x="1102" y="1680"/>
                  </a:lnTo>
                  <a:lnTo>
                    <a:pt x="1128" y="1668"/>
                  </a:lnTo>
                  <a:lnTo>
                    <a:pt x="1128" y="1668"/>
                  </a:lnTo>
                  <a:lnTo>
                    <a:pt x="1134" y="1664"/>
                  </a:lnTo>
                  <a:lnTo>
                    <a:pt x="1140" y="1658"/>
                  </a:lnTo>
                  <a:lnTo>
                    <a:pt x="1158" y="1632"/>
                  </a:lnTo>
                  <a:lnTo>
                    <a:pt x="1158" y="1632"/>
                  </a:lnTo>
                  <a:lnTo>
                    <a:pt x="1168" y="1618"/>
                  </a:lnTo>
                  <a:lnTo>
                    <a:pt x="1170" y="1612"/>
                  </a:lnTo>
                  <a:lnTo>
                    <a:pt x="1170" y="1612"/>
                  </a:lnTo>
                  <a:lnTo>
                    <a:pt x="1180" y="1600"/>
                  </a:lnTo>
                  <a:lnTo>
                    <a:pt x="1188" y="1592"/>
                  </a:lnTo>
                  <a:lnTo>
                    <a:pt x="1188" y="1592"/>
                  </a:lnTo>
                  <a:lnTo>
                    <a:pt x="1188" y="1588"/>
                  </a:lnTo>
                  <a:lnTo>
                    <a:pt x="1190" y="1586"/>
                  </a:lnTo>
                  <a:lnTo>
                    <a:pt x="1188" y="1584"/>
                  </a:lnTo>
                  <a:lnTo>
                    <a:pt x="1186" y="1582"/>
                  </a:lnTo>
                  <a:lnTo>
                    <a:pt x="1160" y="1562"/>
                  </a:lnTo>
                  <a:lnTo>
                    <a:pt x="1160" y="1562"/>
                  </a:lnTo>
                  <a:lnTo>
                    <a:pt x="1154" y="1558"/>
                  </a:lnTo>
                  <a:lnTo>
                    <a:pt x="1148" y="1556"/>
                  </a:lnTo>
                  <a:lnTo>
                    <a:pt x="1148" y="1556"/>
                  </a:lnTo>
                  <a:lnTo>
                    <a:pt x="1144" y="1554"/>
                  </a:lnTo>
                  <a:lnTo>
                    <a:pt x="1140" y="1548"/>
                  </a:lnTo>
                  <a:lnTo>
                    <a:pt x="1138" y="1544"/>
                  </a:lnTo>
                  <a:lnTo>
                    <a:pt x="1138" y="1544"/>
                  </a:lnTo>
                  <a:lnTo>
                    <a:pt x="1132" y="1540"/>
                  </a:lnTo>
                  <a:lnTo>
                    <a:pt x="1126" y="1538"/>
                  </a:lnTo>
                  <a:lnTo>
                    <a:pt x="1102" y="1544"/>
                  </a:lnTo>
                  <a:lnTo>
                    <a:pt x="1102" y="1544"/>
                  </a:lnTo>
                  <a:lnTo>
                    <a:pt x="1096" y="1544"/>
                  </a:lnTo>
                  <a:lnTo>
                    <a:pt x="1088" y="1542"/>
                  </a:lnTo>
                  <a:lnTo>
                    <a:pt x="1082" y="1540"/>
                  </a:lnTo>
                  <a:lnTo>
                    <a:pt x="1082" y="1540"/>
                  </a:lnTo>
                  <a:lnTo>
                    <a:pt x="1076" y="1536"/>
                  </a:lnTo>
                  <a:lnTo>
                    <a:pt x="1076" y="1536"/>
                  </a:lnTo>
                  <a:lnTo>
                    <a:pt x="1070" y="1536"/>
                  </a:lnTo>
                  <a:lnTo>
                    <a:pt x="1070" y="1536"/>
                  </a:lnTo>
                  <a:lnTo>
                    <a:pt x="1058" y="1534"/>
                  </a:lnTo>
                  <a:lnTo>
                    <a:pt x="1054" y="1530"/>
                  </a:lnTo>
                  <a:lnTo>
                    <a:pt x="1054" y="1530"/>
                  </a:lnTo>
                  <a:lnTo>
                    <a:pt x="1048" y="1526"/>
                  </a:lnTo>
                  <a:lnTo>
                    <a:pt x="1044" y="1520"/>
                  </a:lnTo>
                  <a:lnTo>
                    <a:pt x="1040" y="1506"/>
                  </a:lnTo>
                  <a:lnTo>
                    <a:pt x="1040" y="1506"/>
                  </a:lnTo>
                  <a:lnTo>
                    <a:pt x="1036" y="1498"/>
                  </a:lnTo>
                  <a:lnTo>
                    <a:pt x="1032" y="1492"/>
                  </a:lnTo>
                  <a:lnTo>
                    <a:pt x="1022" y="1484"/>
                  </a:lnTo>
                  <a:lnTo>
                    <a:pt x="1022" y="1484"/>
                  </a:lnTo>
                  <a:lnTo>
                    <a:pt x="1018" y="1478"/>
                  </a:lnTo>
                  <a:lnTo>
                    <a:pt x="1018" y="1478"/>
                  </a:lnTo>
                  <a:lnTo>
                    <a:pt x="1018" y="1472"/>
                  </a:lnTo>
                  <a:lnTo>
                    <a:pt x="1018" y="1472"/>
                  </a:lnTo>
                  <a:lnTo>
                    <a:pt x="1018" y="1468"/>
                  </a:lnTo>
                  <a:lnTo>
                    <a:pt x="1022" y="1462"/>
                  </a:lnTo>
                  <a:lnTo>
                    <a:pt x="1022" y="1462"/>
                  </a:lnTo>
                  <a:lnTo>
                    <a:pt x="1026" y="1458"/>
                  </a:lnTo>
                  <a:lnTo>
                    <a:pt x="1026" y="1458"/>
                  </a:lnTo>
                  <a:lnTo>
                    <a:pt x="1026" y="1452"/>
                  </a:lnTo>
                  <a:lnTo>
                    <a:pt x="1026" y="1452"/>
                  </a:lnTo>
                  <a:lnTo>
                    <a:pt x="1026" y="1452"/>
                  </a:lnTo>
                  <a:lnTo>
                    <a:pt x="1028" y="1452"/>
                  </a:lnTo>
                  <a:lnTo>
                    <a:pt x="1032" y="1454"/>
                  </a:lnTo>
                  <a:lnTo>
                    <a:pt x="1040" y="1462"/>
                  </a:lnTo>
                  <a:lnTo>
                    <a:pt x="1040" y="1462"/>
                  </a:lnTo>
                  <a:lnTo>
                    <a:pt x="1052" y="1474"/>
                  </a:lnTo>
                  <a:lnTo>
                    <a:pt x="1060" y="1482"/>
                  </a:lnTo>
                  <a:lnTo>
                    <a:pt x="1060" y="1482"/>
                  </a:lnTo>
                  <a:lnTo>
                    <a:pt x="1072" y="1492"/>
                  </a:lnTo>
                  <a:lnTo>
                    <a:pt x="1088" y="1504"/>
                  </a:lnTo>
                  <a:lnTo>
                    <a:pt x="1088" y="1504"/>
                  </a:lnTo>
                  <a:lnTo>
                    <a:pt x="1102" y="1510"/>
                  </a:lnTo>
                  <a:lnTo>
                    <a:pt x="1116" y="1514"/>
                  </a:lnTo>
                  <a:lnTo>
                    <a:pt x="1116" y="1514"/>
                  </a:lnTo>
                  <a:lnTo>
                    <a:pt x="1124" y="1516"/>
                  </a:lnTo>
                  <a:lnTo>
                    <a:pt x="1132" y="1514"/>
                  </a:lnTo>
                  <a:lnTo>
                    <a:pt x="1136" y="1510"/>
                  </a:lnTo>
                  <a:lnTo>
                    <a:pt x="1136" y="1510"/>
                  </a:lnTo>
                  <a:lnTo>
                    <a:pt x="1144" y="1510"/>
                  </a:lnTo>
                  <a:lnTo>
                    <a:pt x="1150" y="1514"/>
                  </a:lnTo>
                  <a:lnTo>
                    <a:pt x="1158" y="1522"/>
                  </a:lnTo>
                  <a:lnTo>
                    <a:pt x="1158" y="1522"/>
                  </a:lnTo>
                  <a:lnTo>
                    <a:pt x="1164" y="1526"/>
                  </a:lnTo>
                  <a:lnTo>
                    <a:pt x="1172" y="1530"/>
                  </a:lnTo>
                  <a:lnTo>
                    <a:pt x="1206" y="1544"/>
                  </a:lnTo>
                  <a:lnTo>
                    <a:pt x="1206" y="1544"/>
                  </a:lnTo>
                  <a:lnTo>
                    <a:pt x="1218" y="1546"/>
                  </a:lnTo>
                  <a:lnTo>
                    <a:pt x="1218" y="1546"/>
                  </a:lnTo>
                  <a:lnTo>
                    <a:pt x="1222" y="1546"/>
                  </a:lnTo>
                  <a:lnTo>
                    <a:pt x="1222" y="1546"/>
                  </a:lnTo>
                  <a:lnTo>
                    <a:pt x="1230" y="1544"/>
                  </a:lnTo>
                  <a:lnTo>
                    <a:pt x="1244" y="1538"/>
                  </a:lnTo>
                  <a:lnTo>
                    <a:pt x="1244" y="1538"/>
                  </a:lnTo>
                  <a:lnTo>
                    <a:pt x="1260" y="1536"/>
                  </a:lnTo>
                  <a:lnTo>
                    <a:pt x="1292" y="1536"/>
                  </a:lnTo>
                  <a:lnTo>
                    <a:pt x="1292" y="1536"/>
                  </a:lnTo>
                  <a:lnTo>
                    <a:pt x="1300" y="1538"/>
                  </a:lnTo>
                  <a:lnTo>
                    <a:pt x="1306" y="1544"/>
                  </a:lnTo>
                  <a:lnTo>
                    <a:pt x="1316" y="1558"/>
                  </a:lnTo>
                  <a:lnTo>
                    <a:pt x="1316" y="1558"/>
                  </a:lnTo>
                  <a:lnTo>
                    <a:pt x="1320" y="1566"/>
                  </a:lnTo>
                  <a:lnTo>
                    <a:pt x="1320" y="1566"/>
                  </a:lnTo>
                  <a:lnTo>
                    <a:pt x="1326" y="1572"/>
                  </a:lnTo>
                  <a:lnTo>
                    <a:pt x="1336" y="1588"/>
                  </a:lnTo>
                  <a:lnTo>
                    <a:pt x="1336" y="1588"/>
                  </a:lnTo>
                  <a:lnTo>
                    <a:pt x="1346" y="1602"/>
                  </a:lnTo>
                  <a:lnTo>
                    <a:pt x="1354" y="1610"/>
                  </a:lnTo>
                  <a:lnTo>
                    <a:pt x="1354" y="1610"/>
                  </a:lnTo>
                  <a:lnTo>
                    <a:pt x="1360" y="1612"/>
                  </a:lnTo>
                  <a:lnTo>
                    <a:pt x="1366" y="1610"/>
                  </a:lnTo>
                  <a:lnTo>
                    <a:pt x="1382" y="1600"/>
                  </a:lnTo>
                  <a:lnTo>
                    <a:pt x="1382" y="1600"/>
                  </a:lnTo>
                  <a:lnTo>
                    <a:pt x="1386" y="1598"/>
                  </a:lnTo>
                  <a:lnTo>
                    <a:pt x="1388" y="1600"/>
                  </a:lnTo>
                  <a:lnTo>
                    <a:pt x="1390" y="1600"/>
                  </a:lnTo>
                  <a:lnTo>
                    <a:pt x="1390" y="1604"/>
                  </a:lnTo>
                  <a:lnTo>
                    <a:pt x="1398" y="1676"/>
                  </a:lnTo>
                  <a:lnTo>
                    <a:pt x="1398" y="1676"/>
                  </a:lnTo>
                  <a:lnTo>
                    <a:pt x="1402" y="1692"/>
                  </a:lnTo>
                  <a:lnTo>
                    <a:pt x="1408" y="1714"/>
                  </a:lnTo>
                  <a:lnTo>
                    <a:pt x="1408" y="1714"/>
                  </a:lnTo>
                  <a:lnTo>
                    <a:pt x="1414" y="1730"/>
                  </a:lnTo>
                  <a:lnTo>
                    <a:pt x="1434" y="1764"/>
                  </a:lnTo>
                  <a:lnTo>
                    <a:pt x="1434" y="1764"/>
                  </a:lnTo>
                  <a:lnTo>
                    <a:pt x="1442" y="1778"/>
                  </a:lnTo>
                  <a:lnTo>
                    <a:pt x="1444" y="1784"/>
                  </a:lnTo>
                  <a:lnTo>
                    <a:pt x="1444" y="1784"/>
                  </a:lnTo>
                  <a:lnTo>
                    <a:pt x="1452" y="1798"/>
                  </a:lnTo>
                  <a:lnTo>
                    <a:pt x="1464" y="1814"/>
                  </a:lnTo>
                  <a:lnTo>
                    <a:pt x="1464" y="1814"/>
                  </a:lnTo>
                  <a:lnTo>
                    <a:pt x="1466" y="1816"/>
                  </a:lnTo>
                  <a:lnTo>
                    <a:pt x="1468" y="1816"/>
                  </a:lnTo>
                  <a:lnTo>
                    <a:pt x="1470" y="1816"/>
                  </a:lnTo>
                  <a:lnTo>
                    <a:pt x="1472" y="1814"/>
                  </a:lnTo>
                  <a:lnTo>
                    <a:pt x="1474" y="1808"/>
                  </a:lnTo>
                  <a:lnTo>
                    <a:pt x="1474" y="1808"/>
                  </a:lnTo>
                  <a:lnTo>
                    <a:pt x="1484" y="1796"/>
                  </a:lnTo>
                  <a:lnTo>
                    <a:pt x="1492" y="1786"/>
                  </a:lnTo>
                  <a:lnTo>
                    <a:pt x="1492" y="1786"/>
                  </a:lnTo>
                  <a:lnTo>
                    <a:pt x="1500" y="1774"/>
                  </a:lnTo>
                  <a:lnTo>
                    <a:pt x="1504" y="1768"/>
                  </a:lnTo>
                  <a:lnTo>
                    <a:pt x="1504" y="1768"/>
                  </a:lnTo>
                  <a:lnTo>
                    <a:pt x="1506" y="1762"/>
                  </a:lnTo>
                  <a:lnTo>
                    <a:pt x="1506" y="1754"/>
                  </a:lnTo>
                  <a:lnTo>
                    <a:pt x="1506" y="1730"/>
                  </a:lnTo>
                  <a:lnTo>
                    <a:pt x="1506" y="1730"/>
                  </a:lnTo>
                  <a:lnTo>
                    <a:pt x="1510" y="1716"/>
                  </a:lnTo>
                  <a:lnTo>
                    <a:pt x="1514" y="1700"/>
                  </a:lnTo>
                  <a:lnTo>
                    <a:pt x="1514" y="1700"/>
                  </a:lnTo>
                  <a:lnTo>
                    <a:pt x="1518" y="1694"/>
                  </a:lnTo>
                  <a:lnTo>
                    <a:pt x="1522" y="1688"/>
                  </a:lnTo>
                  <a:lnTo>
                    <a:pt x="1540" y="1670"/>
                  </a:lnTo>
                  <a:lnTo>
                    <a:pt x="1540" y="1670"/>
                  </a:lnTo>
                  <a:lnTo>
                    <a:pt x="1554" y="1660"/>
                  </a:lnTo>
                  <a:lnTo>
                    <a:pt x="1578" y="1648"/>
                  </a:lnTo>
                  <a:lnTo>
                    <a:pt x="1578" y="1648"/>
                  </a:lnTo>
                  <a:lnTo>
                    <a:pt x="1590" y="1638"/>
                  </a:lnTo>
                  <a:lnTo>
                    <a:pt x="1598" y="1630"/>
                  </a:lnTo>
                  <a:lnTo>
                    <a:pt x="1598" y="1630"/>
                  </a:lnTo>
                  <a:lnTo>
                    <a:pt x="1604" y="1624"/>
                  </a:lnTo>
                  <a:lnTo>
                    <a:pt x="1608" y="1618"/>
                  </a:lnTo>
                  <a:lnTo>
                    <a:pt x="1612" y="1604"/>
                  </a:lnTo>
                  <a:lnTo>
                    <a:pt x="1612" y="1604"/>
                  </a:lnTo>
                  <a:lnTo>
                    <a:pt x="1616" y="1598"/>
                  </a:lnTo>
                  <a:lnTo>
                    <a:pt x="1622" y="1596"/>
                  </a:lnTo>
                  <a:lnTo>
                    <a:pt x="1636" y="1596"/>
                  </a:lnTo>
                  <a:lnTo>
                    <a:pt x="1636" y="1596"/>
                  </a:lnTo>
                  <a:lnTo>
                    <a:pt x="1644" y="1596"/>
                  </a:lnTo>
                  <a:lnTo>
                    <a:pt x="1644" y="1596"/>
                  </a:lnTo>
                  <a:lnTo>
                    <a:pt x="1652" y="1592"/>
                  </a:lnTo>
                  <a:lnTo>
                    <a:pt x="1666" y="1588"/>
                  </a:lnTo>
                  <a:lnTo>
                    <a:pt x="1666" y="1588"/>
                  </a:lnTo>
                  <a:lnTo>
                    <a:pt x="1676" y="1586"/>
                  </a:lnTo>
                  <a:lnTo>
                    <a:pt x="1676" y="1586"/>
                  </a:lnTo>
                  <a:lnTo>
                    <a:pt x="1686" y="1588"/>
                  </a:lnTo>
                  <a:lnTo>
                    <a:pt x="1688" y="1590"/>
                  </a:lnTo>
                  <a:lnTo>
                    <a:pt x="1688" y="1590"/>
                  </a:lnTo>
                  <a:lnTo>
                    <a:pt x="1694" y="1594"/>
                  </a:lnTo>
                  <a:lnTo>
                    <a:pt x="1700" y="1598"/>
                  </a:lnTo>
                  <a:lnTo>
                    <a:pt x="1700" y="1598"/>
                  </a:lnTo>
                  <a:lnTo>
                    <a:pt x="1702" y="1604"/>
                  </a:lnTo>
                  <a:lnTo>
                    <a:pt x="1702" y="1604"/>
                  </a:lnTo>
                  <a:lnTo>
                    <a:pt x="1706" y="1612"/>
                  </a:lnTo>
                  <a:lnTo>
                    <a:pt x="1708" y="1618"/>
                  </a:lnTo>
                  <a:lnTo>
                    <a:pt x="1708" y="1618"/>
                  </a:lnTo>
                  <a:lnTo>
                    <a:pt x="1714" y="1632"/>
                  </a:lnTo>
                  <a:lnTo>
                    <a:pt x="1728" y="1676"/>
                  </a:lnTo>
                  <a:lnTo>
                    <a:pt x="1728" y="1676"/>
                  </a:lnTo>
                  <a:lnTo>
                    <a:pt x="1732" y="1682"/>
                  </a:lnTo>
                  <a:lnTo>
                    <a:pt x="1738" y="1688"/>
                  </a:lnTo>
                  <a:lnTo>
                    <a:pt x="1744" y="1690"/>
                  </a:lnTo>
                  <a:lnTo>
                    <a:pt x="1744" y="1690"/>
                  </a:lnTo>
                  <a:lnTo>
                    <a:pt x="1750" y="1692"/>
                  </a:lnTo>
                  <a:lnTo>
                    <a:pt x="1758" y="1690"/>
                  </a:lnTo>
                  <a:lnTo>
                    <a:pt x="1764" y="1688"/>
                  </a:lnTo>
                  <a:lnTo>
                    <a:pt x="1764" y="1688"/>
                  </a:lnTo>
                  <a:lnTo>
                    <a:pt x="1770" y="1686"/>
                  </a:lnTo>
                  <a:lnTo>
                    <a:pt x="1776" y="1688"/>
                  </a:lnTo>
                  <a:lnTo>
                    <a:pt x="1776" y="1688"/>
                  </a:lnTo>
                  <a:lnTo>
                    <a:pt x="1780" y="1694"/>
                  </a:lnTo>
                  <a:lnTo>
                    <a:pt x="1782" y="1700"/>
                  </a:lnTo>
                  <a:lnTo>
                    <a:pt x="1788" y="1716"/>
                  </a:lnTo>
                  <a:lnTo>
                    <a:pt x="1788" y="1716"/>
                  </a:lnTo>
                  <a:lnTo>
                    <a:pt x="1790" y="1730"/>
                  </a:lnTo>
                  <a:lnTo>
                    <a:pt x="1790" y="1754"/>
                  </a:lnTo>
                  <a:lnTo>
                    <a:pt x="1790" y="1754"/>
                  </a:lnTo>
                  <a:lnTo>
                    <a:pt x="1790" y="1770"/>
                  </a:lnTo>
                  <a:lnTo>
                    <a:pt x="1790" y="1802"/>
                  </a:lnTo>
                  <a:lnTo>
                    <a:pt x="1790" y="1802"/>
                  </a:lnTo>
                  <a:lnTo>
                    <a:pt x="1792" y="1810"/>
                  </a:lnTo>
                  <a:lnTo>
                    <a:pt x="1796" y="1816"/>
                  </a:lnTo>
                  <a:lnTo>
                    <a:pt x="1804" y="1824"/>
                  </a:lnTo>
                  <a:lnTo>
                    <a:pt x="1804" y="1824"/>
                  </a:lnTo>
                  <a:lnTo>
                    <a:pt x="1814" y="1838"/>
                  </a:lnTo>
                  <a:lnTo>
                    <a:pt x="1816" y="1842"/>
                  </a:lnTo>
                  <a:lnTo>
                    <a:pt x="1816" y="1842"/>
                  </a:lnTo>
                  <a:lnTo>
                    <a:pt x="1822" y="1858"/>
                  </a:lnTo>
                  <a:lnTo>
                    <a:pt x="1826" y="1862"/>
                  </a:lnTo>
                  <a:lnTo>
                    <a:pt x="1826" y="1862"/>
                  </a:lnTo>
                  <a:lnTo>
                    <a:pt x="1834" y="1876"/>
                  </a:lnTo>
                  <a:lnTo>
                    <a:pt x="1842" y="1884"/>
                  </a:lnTo>
                  <a:lnTo>
                    <a:pt x="1842" y="1884"/>
                  </a:lnTo>
                  <a:lnTo>
                    <a:pt x="1854" y="1894"/>
                  </a:lnTo>
                  <a:lnTo>
                    <a:pt x="1872" y="1912"/>
                  </a:lnTo>
                  <a:lnTo>
                    <a:pt x="1872" y="1912"/>
                  </a:lnTo>
                  <a:lnTo>
                    <a:pt x="1878" y="1916"/>
                  </a:lnTo>
                  <a:lnTo>
                    <a:pt x="1880" y="1914"/>
                  </a:lnTo>
                  <a:lnTo>
                    <a:pt x="1884" y="1914"/>
                  </a:lnTo>
                  <a:lnTo>
                    <a:pt x="1884" y="1914"/>
                  </a:lnTo>
                  <a:lnTo>
                    <a:pt x="1886" y="1908"/>
                  </a:lnTo>
                  <a:lnTo>
                    <a:pt x="1886" y="1900"/>
                  </a:lnTo>
                  <a:lnTo>
                    <a:pt x="1880" y="1886"/>
                  </a:lnTo>
                  <a:lnTo>
                    <a:pt x="1880" y="1886"/>
                  </a:lnTo>
                  <a:lnTo>
                    <a:pt x="1874" y="1872"/>
                  </a:lnTo>
                  <a:lnTo>
                    <a:pt x="1872" y="1866"/>
                  </a:lnTo>
                  <a:lnTo>
                    <a:pt x="1872" y="1866"/>
                  </a:lnTo>
                  <a:lnTo>
                    <a:pt x="1862" y="1854"/>
                  </a:lnTo>
                  <a:lnTo>
                    <a:pt x="1854" y="1846"/>
                  </a:lnTo>
                  <a:lnTo>
                    <a:pt x="1854" y="1846"/>
                  </a:lnTo>
                  <a:lnTo>
                    <a:pt x="1842" y="1836"/>
                  </a:lnTo>
                  <a:lnTo>
                    <a:pt x="1836" y="1834"/>
                  </a:lnTo>
                  <a:lnTo>
                    <a:pt x="1836" y="1834"/>
                  </a:lnTo>
                  <a:lnTo>
                    <a:pt x="1824" y="1826"/>
                  </a:lnTo>
                  <a:lnTo>
                    <a:pt x="1824" y="1826"/>
                  </a:lnTo>
                  <a:lnTo>
                    <a:pt x="1820" y="1820"/>
                  </a:lnTo>
                  <a:lnTo>
                    <a:pt x="1818" y="1812"/>
                  </a:lnTo>
                  <a:lnTo>
                    <a:pt x="1812" y="1790"/>
                  </a:lnTo>
                  <a:lnTo>
                    <a:pt x="1812" y="1790"/>
                  </a:lnTo>
                  <a:lnTo>
                    <a:pt x="1810" y="1774"/>
                  </a:lnTo>
                  <a:lnTo>
                    <a:pt x="1810" y="1770"/>
                  </a:lnTo>
                  <a:lnTo>
                    <a:pt x="1810" y="1770"/>
                  </a:lnTo>
                  <a:lnTo>
                    <a:pt x="1812" y="1754"/>
                  </a:lnTo>
                  <a:lnTo>
                    <a:pt x="1816" y="1740"/>
                  </a:lnTo>
                  <a:lnTo>
                    <a:pt x="1816" y="1740"/>
                  </a:lnTo>
                  <a:lnTo>
                    <a:pt x="1818" y="1736"/>
                  </a:lnTo>
                  <a:lnTo>
                    <a:pt x="1820" y="1734"/>
                  </a:lnTo>
                  <a:lnTo>
                    <a:pt x="1824" y="1734"/>
                  </a:lnTo>
                  <a:lnTo>
                    <a:pt x="1826" y="1734"/>
                  </a:lnTo>
                  <a:lnTo>
                    <a:pt x="1842" y="1740"/>
                  </a:lnTo>
                  <a:lnTo>
                    <a:pt x="1842" y="1740"/>
                  </a:lnTo>
                  <a:lnTo>
                    <a:pt x="1848" y="1742"/>
                  </a:lnTo>
                  <a:lnTo>
                    <a:pt x="1854" y="1746"/>
                  </a:lnTo>
                  <a:lnTo>
                    <a:pt x="1854" y="1746"/>
                  </a:lnTo>
                  <a:lnTo>
                    <a:pt x="1858" y="1752"/>
                  </a:lnTo>
                  <a:lnTo>
                    <a:pt x="1858" y="1752"/>
                  </a:lnTo>
                  <a:lnTo>
                    <a:pt x="1864" y="1758"/>
                  </a:lnTo>
                  <a:lnTo>
                    <a:pt x="1872" y="1766"/>
                  </a:lnTo>
                  <a:lnTo>
                    <a:pt x="1872" y="1766"/>
                  </a:lnTo>
                  <a:lnTo>
                    <a:pt x="1884" y="1776"/>
                  </a:lnTo>
                  <a:lnTo>
                    <a:pt x="1884" y="1776"/>
                  </a:lnTo>
                  <a:lnTo>
                    <a:pt x="1888" y="1782"/>
                  </a:lnTo>
                  <a:lnTo>
                    <a:pt x="1888" y="1782"/>
                  </a:lnTo>
                  <a:lnTo>
                    <a:pt x="1894" y="1780"/>
                  </a:lnTo>
                  <a:lnTo>
                    <a:pt x="1894" y="1780"/>
                  </a:lnTo>
                  <a:lnTo>
                    <a:pt x="1898" y="1782"/>
                  </a:lnTo>
                  <a:lnTo>
                    <a:pt x="1902" y="1788"/>
                  </a:lnTo>
                  <a:lnTo>
                    <a:pt x="1904" y="1794"/>
                  </a:lnTo>
                  <a:lnTo>
                    <a:pt x="1904" y="1794"/>
                  </a:lnTo>
                  <a:lnTo>
                    <a:pt x="1906" y="1796"/>
                  </a:lnTo>
                  <a:lnTo>
                    <a:pt x="1908" y="1798"/>
                  </a:lnTo>
                  <a:lnTo>
                    <a:pt x="1912" y="1798"/>
                  </a:lnTo>
                  <a:lnTo>
                    <a:pt x="1914" y="1796"/>
                  </a:lnTo>
                  <a:lnTo>
                    <a:pt x="1940" y="1776"/>
                  </a:lnTo>
                  <a:lnTo>
                    <a:pt x="1940" y="1776"/>
                  </a:lnTo>
                  <a:lnTo>
                    <a:pt x="1952" y="1766"/>
                  </a:lnTo>
                  <a:lnTo>
                    <a:pt x="1962" y="1758"/>
                  </a:lnTo>
                  <a:lnTo>
                    <a:pt x="1962" y="1758"/>
                  </a:lnTo>
                  <a:lnTo>
                    <a:pt x="1964" y="1752"/>
                  </a:lnTo>
                  <a:lnTo>
                    <a:pt x="1964" y="1744"/>
                  </a:lnTo>
                  <a:lnTo>
                    <a:pt x="1950" y="1690"/>
                  </a:lnTo>
                  <a:lnTo>
                    <a:pt x="1950" y="1690"/>
                  </a:lnTo>
                  <a:lnTo>
                    <a:pt x="1946" y="1684"/>
                  </a:lnTo>
                  <a:lnTo>
                    <a:pt x="1942" y="1678"/>
                  </a:lnTo>
                  <a:lnTo>
                    <a:pt x="1942" y="1678"/>
                  </a:lnTo>
                  <a:lnTo>
                    <a:pt x="1932" y="1666"/>
                  </a:lnTo>
                  <a:lnTo>
                    <a:pt x="1922" y="1650"/>
                  </a:lnTo>
                  <a:lnTo>
                    <a:pt x="1922" y="1650"/>
                  </a:lnTo>
                  <a:lnTo>
                    <a:pt x="1914" y="1636"/>
                  </a:lnTo>
                  <a:lnTo>
                    <a:pt x="1912" y="1632"/>
                  </a:lnTo>
                  <a:lnTo>
                    <a:pt x="1912" y="1632"/>
                  </a:lnTo>
                  <a:lnTo>
                    <a:pt x="1910" y="1626"/>
                  </a:lnTo>
                  <a:lnTo>
                    <a:pt x="1912" y="1620"/>
                  </a:lnTo>
                  <a:lnTo>
                    <a:pt x="1912" y="1620"/>
                  </a:lnTo>
                  <a:lnTo>
                    <a:pt x="1924" y="1612"/>
                  </a:lnTo>
                  <a:lnTo>
                    <a:pt x="1930" y="1608"/>
                  </a:lnTo>
                  <a:lnTo>
                    <a:pt x="1930" y="1608"/>
                  </a:lnTo>
                  <a:lnTo>
                    <a:pt x="1942" y="1606"/>
                  </a:lnTo>
                  <a:lnTo>
                    <a:pt x="1942" y="1606"/>
                  </a:lnTo>
                  <a:lnTo>
                    <a:pt x="1948" y="1606"/>
                  </a:lnTo>
                  <a:lnTo>
                    <a:pt x="1954" y="1610"/>
                  </a:lnTo>
                  <a:lnTo>
                    <a:pt x="1970" y="1620"/>
                  </a:lnTo>
                  <a:lnTo>
                    <a:pt x="1970" y="1620"/>
                  </a:lnTo>
                  <a:lnTo>
                    <a:pt x="1972" y="1622"/>
                  </a:lnTo>
                  <a:lnTo>
                    <a:pt x="1974" y="1620"/>
                  </a:lnTo>
                  <a:lnTo>
                    <a:pt x="1976" y="1620"/>
                  </a:lnTo>
                  <a:lnTo>
                    <a:pt x="1976" y="1616"/>
                  </a:lnTo>
                  <a:lnTo>
                    <a:pt x="1976" y="1614"/>
                  </a:lnTo>
                  <a:lnTo>
                    <a:pt x="1976" y="1614"/>
                  </a:lnTo>
                  <a:lnTo>
                    <a:pt x="1978" y="1606"/>
                  </a:lnTo>
                  <a:lnTo>
                    <a:pt x="1984" y="1604"/>
                  </a:lnTo>
                  <a:lnTo>
                    <a:pt x="2008" y="1598"/>
                  </a:lnTo>
                  <a:lnTo>
                    <a:pt x="2008" y="1598"/>
                  </a:lnTo>
                  <a:lnTo>
                    <a:pt x="2014" y="1594"/>
                  </a:lnTo>
                  <a:lnTo>
                    <a:pt x="2020" y="1590"/>
                  </a:lnTo>
                  <a:lnTo>
                    <a:pt x="2020" y="1590"/>
                  </a:lnTo>
                  <a:lnTo>
                    <a:pt x="2024" y="1586"/>
                  </a:lnTo>
                  <a:lnTo>
                    <a:pt x="2030" y="1586"/>
                  </a:lnTo>
                  <a:lnTo>
                    <a:pt x="2030" y="1586"/>
                  </a:lnTo>
                  <a:lnTo>
                    <a:pt x="2040" y="1586"/>
                  </a:lnTo>
                  <a:lnTo>
                    <a:pt x="2040" y="1586"/>
                  </a:lnTo>
                  <a:lnTo>
                    <a:pt x="2052" y="1582"/>
                  </a:lnTo>
                  <a:lnTo>
                    <a:pt x="2056" y="1580"/>
                  </a:lnTo>
                  <a:lnTo>
                    <a:pt x="2056" y="1580"/>
                  </a:lnTo>
                  <a:lnTo>
                    <a:pt x="2072" y="1572"/>
                  </a:lnTo>
                  <a:lnTo>
                    <a:pt x="2076" y="1570"/>
                  </a:lnTo>
                  <a:lnTo>
                    <a:pt x="2076" y="1570"/>
                  </a:lnTo>
                  <a:lnTo>
                    <a:pt x="2090" y="1562"/>
                  </a:lnTo>
                  <a:lnTo>
                    <a:pt x="2106" y="1550"/>
                  </a:lnTo>
                  <a:lnTo>
                    <a:pt x="2106" y="1550"/>
                  </a:lnTo>
                  <a:lnTo>
                    <a:pt x="2112" y="1546"/>
                  </a:lnTo>
                  <a:lnTo>
                    <a:pt x="2116" y="1540"/>
                  </a:lnTo>
                  <a:lnTo>
                    <a:pt x="2120" y="1534"/>
                  </a:lnTo>
                  <a:lnTo>
                    <a:pt x="2120" y="1534"/>
                  </a:lnTo>
                  <a:lnTo>
                    <a:pt x="2126" y="1520"/>
                  </a:lnTo>
                  <a:lnTo>
                    <a:pt x="2130" y="1514"/>
                  </a:lnTo>
                  <a:lnTo>
                    <a:pt x="2130" y="1514"/>
                  </a:lnTo>
                  <a:lnTo>
                    <a:pt x="2138" y="1500"/>
                  </a:lnTo>
                  <a:lnTo>
                    <a:pt x="2148" y="1484"/>
                  </a:lnTo>
                  <a:lnTo>
                    <a:pt x="2148" y="1484"/>
                  </a:lnTo>
                  <a:lnTo>
                    <a:pt x="2150" y="1478"/>
                  </a:lnTo>
                  <a:lnTo>
                    <a:pt x="2152" y="1470"/>
                  </a:lnTo>
                  <a:lnTo>
                    <a:pt x="2152" y="1466"/>
                  </a:lnTo>
                  <a:lnTo>
                    <a:pt x="2152" y="1466"/>
                  </a:lnTo>
                  <a:lnTo>
                    <a:pt x="2150" y="1460"/>
                  </a:lnTo>
                  <a:lnTo>
                    <a:pt x="2148" y="1454"/>
                  </a:lnTo>
                  <a:lnTo>
                    <a:pt x="2148" y="1454"/>
                  </a:lnTo>
                  <a:lnTo>
                    <a:pt x="2146" y="1448"/>
                  </a:lnTo>
                  <a:lnTo>
                    <a:pt x="2148" y="1444"/>
                  </a:lnTo>
                  <a:lnTo>
                    <a:pt x="2148" y="1444"/>
                  </a:lnTo>
                  <a:lnTo>
                    <a:pt x="2150" y="1438"/>
                  </a:lnTo>
                  <a:lnTo>
                    <a:pt x="2148" y="1432"/>
                  </a:lnTo>
                  <a:lnTo>
                    <a:pt x="2146" y="1426"/>
                  </a:lnTo>
                  <a:lnTo>
                    <a:pt x="2146" y="1426"/>
                  </a:lnTo>
                  <a:lnTo>
                    <a:pt x="2140" y="1412"/>
                  </a:lnTo>
                  <a:lnTo>
                    <a:pt x="2126" y="1378"/>
                  </a:lnTo>
                  <a:lnTo>
                    <a:pt x="2126" y="1378"/>
                  </a:lnTo>
                  <a:lnTo>
                    <a:pt x="2122" y="1366"/>
                  </a:lnTo>
                  <a:lnTo>
                    <a:pt x="2122" y="1366"/>
                  </a:lnTo>
                  <a:lnTo>
                    <a:pt x="2124" y="1360"/>
                  </a:lnTo>
                  <a:lnTo>
                    <a:pt x="2128" y="1354"/>
                  </a:lnTo>
                  <a:lnTo>
                    <a:pt x="2136" y="1346"/>
                  </a:lnTo>
                  <a:lnTo>
                    <a:pt x="2136" y="1346"/>
                  </a:lnTo>
                  <a:lnTo>
                    <a:pt x="2150" y="1338"/>
                  </a:lnTo>
                  <a:lnTo>
                    <a:pt x="2154" y="1334"/>
                  </a:lnTo>
                  <a:lnTo>
                    <a:pt x="2154" y="1334"/>
                  </a:lnTo>
                  <a:lnTo>
                    <a:pt x="2160" y="1330"/>
                  </a:lnTo>
                  <a:lnTo>
                    <a:pt x="2162" y="1326"/>
                  </a:lnTo>
                  <a:lnTo>
                    <a:pt x="2162" y="1326"/>
                  </a:lnTo>
                  <a:lnTo>
                    <a:pt x="2160" y="1322"/>
                  </a:lnTo>
                  <a:lnTo>
                    <a:pt x="2154" y="1322"/>
                  </a:lnTo>
                  <a:lnTo>
                    <a:pt x="2140" y="1322"/>
                  </a:lnTo>
                  <a:lnTo>
                    <a:pt x="2140" y="1322"/>
                  </a:lnTo>
                  <a:lnTo>
                    <a:pt x="2128" y="1322"/>
                  </a:lnTo>
                  <a:lnTo>
                    <a:pt x="2128" y="1322"/>
                  </a:lnTo>
                  <a:lnTo>
                    <a:pt x="2118" y="1322"/>
                  </a:lnTo>
                  <a:lnTo>
                    <a:pt x="2118" y="1322"/>
                  </a:lnTo>
                  <a:lnTo>
                    <a:pt x="2114" y="1320"/>
                  </a:lnTo>
                  <a:lnTo>
                    <a:pt x="2110" y="1314"/>
                  </a:lnTo>
                  <a:lnTo>
                    <a:pt x="2106" y="1308"/>
                  </a:lnTo>
                  <a:lnTo>
                    <a:pt x="2106" y="1308"/>
                  </a:lnTo>
                  <a:lnTo>
                    <a:pt x="2098" y="1296"/>
                  </a:lnTo>
                  <a:lnTo>
                    <a:pt x="2098" y="1296"/>
                  </a:lnTo>
                  <a:lnTo>
                    <a:pt x="2096" y="1294"/>
                  </a:lnTo>
                  <a:lnTo>
                    <a:pt x="2096" y="1292"/>
                  </a:lnTo>
                  <a:lnTo>
                    <a:pt x="2100" y="1288"/>
                  </a:lnTo>
                  <a:lnTo>
                    <a:pt x="2106" y="1286"/>
                  </a:lnTo>
                  <a:lnTo>
                    <a:pt x="2106" y="1286"/>
                  </a:lnTo>
                  <a:lnTo>
                    <a:pt x="2120" y="1278"/>
                  </a:lnTo>
                  <a:lnTo>
                    <a:pt x="2126" y="1276"/>
                  </a:lnTo>
                  <a:lnTo>
                    <a:pt x="2126" y="1276"/>
                  </a:lnTo>
                  <a:lnTo>
                    <a:pt x="2138" y="1266"/>
                  </a:lnTo>
                  <a:lnTo>
                    <a:pt x="2146" y="1258"/>
                  </a:lnTo>
                  <a:lnTo>
                    <a:pt x="2146" y="1258"/>
                  </a:lnTo>
                  <a:lnTo>
                    <a:pt x="2152" y="1254"/>
                  </a:lnTo>
                  <a:lnTo>
                    <a:pt x="2158" y="1252"/>
                  </a:lnTo>
                  <a:lnTo>
                    <a:pt x="2158" y="1252"/>
                  </a:lnTo>
                  <a:lnTo>
                    <a:pt x="2158" y="1254"/>
                  </a:lnTo>
                  <a:lnTo>
                    <a:pt x="2160" y="1254"/>
                  </a:lnTo>
                  <a:lnTo>
                    <a:pt x="2158" y="1260"/>
                  </a:lnTo>
                  <a:lnTo>
                    <a:pt x="2156" y="1266"/>
                  </a:lnTo>
                  <a:lnTo>
                    <a:pt x="2156" y="1266"/>
                  </a:lnTo>
                  <a:lnTo>
                    <a:pt x="2154" y="1272"/>
                  </a:lnTo>
                  <a:lnTo>
                    <a:pt x="2158" y="1278"/>
                  </a:lnTo>
                  <a:lnTo>
                    <a:pt x="2158" y="1278"/>
                  </a:lnTo>
                  <a:lnTo>
                    <a:pt x="2162" y="1280"/>
                  </a:lnTo>
                  <a:lnTo>
                    <a:pt x="2166" y="1282"/>
                  </a:lnTo>
                  <a:lnTo>
                    <a:pt x="2166" y="1282"/>
                  </a:lnTo>
                  <a:lnTo>
                    <a:pt x="2180" y="1280"/>
                  </a:lnTo>
                  <a:lnTo>
                    <a:pt x="2194" y="1274"/>
                  </a:lnTo>
                  <a:lnTo>
                    <a:pt x="2194" y="1274"/>
                  </a:lnTo>
                  <a:lnTo>
                    <a:pt x="2202" y="1274"/>
                  </a:lnTo>
                  <a:lnTo>
                    <a:pt x="2208" y="1276"/>
                  </a:lnTo>
                  <a:lnTo>
                    <a:pt x="2214" y="1278"/>
                  </a:lnTo>
                  <a:lnTo>
                    <a:pt x="2214" y="1278"/>
                  </a:lnTo>
                  <a:lnTo>
                    <a:pt x="2220" y="1284"/>
                  </a:lnTo>
                  <a:lnTo>
                    <a:pt x="2224" y="1290"/>
                  </a:lnTo>
                  <a:lnTo>
                    <a:pt x="2228" y="1294"/>
                  </a:lnTo>
                  <a:lnTo>
                    <a:pt x="2228" y="1294"/>
                  </a:lnTo>
                  <a:lnTo>
                    <a:pt x="2230" y="1306"/>
                  </a:lnTo>
                  <a:lnTo>
                    <a:pt x="2230" y="1306"/>
                  </a:lnTo>
                  <a:lnTo>
                    <a:pt x="2230" y="1320"/>
                  </a:lnTo>
                  <a:lnTo>
                    <a:pt x="2230" y="1332"/>
                  </a:lnTo>
                  <a:lnTo>
                    <a:pt x="2230" y="1332"/>
                  </a:lnTo>
                  <a:lnTo>
                    <a:pt x="2228" y="1348"/>
                  </a:lnTo>
                  <a:lnTo>
                    <a:pt x="2224" y="1362"/>
                  </a:lnTo>
                  <a:lnTo>
                    <a:pt x="2224" y="1362"/>
                  </a:lnTo>
                  <a:lnTo>
                    <a:pt x="2222" y="1366"/>
                  </a:lnTo>
                  <a:lnTo>
                    <a:pt x="2224" y="1368"/>
                  </a:lnTo>
                  <a:lnTo>
                    <a:pt x="2226" y="1370"/>
                  </a:lnTo>
                  <a:lnTo>
                    <a:pt x="2228" y="1370"/>
                  </a:lnTo>
                  <a:lnTo>
                    <a:pt x="2232" y="1370"/>
                  </a:lnTo>
                  <a:lnTo>
                    <a:pt x="2232" y="1370"/>
                  </a:lnTo>
                  <a:lnTo>
                    <a:pt x="2240" y="1370"/>
                  </a:lnTo>
                  <a:lnTo>
                    <a:pt x="2248" y="1366"/>
                  </a:lnTo>
                  <a:lnTo>
                    <a:pt x="2252" y="1364"/>
                  </a:lnTo>
                  <a:lnTo>
                    <a:pt x="2252" y="1364"/>
                  </a:lnTo>
                  <a:lnTo>
                    <a:pt x="2264" y="1356"/>
                  </a:lnTo>
                  <a:lnTo>
                    <a:pt x="2264" y="1356"/>
                  </a:lnTo>
                  <a:lnTo>
                    <a:pt x="2274" y="1346"/>
                  </a:lnTo>
                  <a:lnTo>
                    <a:pt x="2274" y="1346"/>
                  </a:lnTo>
                  <a:lnTo>
                    <a:pt x="2278" y="1340"/>
                  </a:lnTo>
                  <a:lnTo>
                    <a:pt x="2276" y="1334"/>
                  </a:lnTo>
                  <a:lnTo>
                    <a:pt x="2264" y="1308"/>
                  </a:lnTo>
                  <a:lnTo>
                    <a:pt x="2264" y="1308"/>
                  </a:lnTo>
                  <a:lnTo>
                    <a:pt x="2260" y="1296"/>
                  </a:lnTo>
                  <a:lnTo>
                    <a:pt x="2260" y="1296"/>
                  </a:lnTo>
                  <a:lnTo>
                    <a:pt x="2260" y="1284"/>
                  </a:lnTo>
                  <a:lnTo>
                    <a:pt x="2260" y="1280"/>
                  </a:lnTo>
                  <a:lnTo>
                    <a:pt x="2260" y="1280"/>
                  </a:lnTo>
                  <a:lnTo>
                    <a:pt x="2260" y="1268"/>
                  </a:lnTo>
                  <a:lnTo>
                    <a:pt x="2260" y="1268"/>
                  </a:lnTo>
                  <a:lnTo>
                    <a:pt x="2256" y="1256"/>
                  </a:lnTo>
                  <a:lnTo>
                    <a:pt x="2254" y="1250"/>
                  </a:lnTo>
                  <a:lnTo>
                    <a:pt x="2254" y="1250"/>
                  </a:lnTo>
                  <a:lnTo>
                    <a:pt x="2252" y="1244"/>
                  </a:lnTo>
                  <a:lnTo>
                    <a:pt x="2256" y="1238"/>
                  </a:lnTo>
                  <a:lnTo>
                    <a:pt x="2256" y="1238"/>
                  </a:lnTo>
                  <a:lnTo>
                    <a:pt x="2266" y="1228"/>
                  </a:lnTo>
                  <a:lnTo>
                    <a:pt x="2274" y="1220"/>
                  </a:lnTo>
                  <a:lnTo>
                    <a:pt x="2274" y="1220"/>
                  </a:lnTo>
                  <a:lnTo>
                    <a:pt x="2280" y="1216"/>
                  </a:lnTo>
                  <a:lnTo>
                    <a:pt x="2286" y="1214"/>
                  </a:lnTo>
                  <a:lnTo>
                    <a:pt x="2286" y="1214"/>
                  </a:lnTo>
                  <a:lnTo>
                    <a:pt x="2290" y="1216"/>
                  </a:lnTo>
                  <a:lnTo>
                    <a:pt x="2292" y="1218"/>
                  </a:lnTo>
                  <a:lnTo>
                    <a:pt x="2292" y="1218"/>
                  </a:lnTo>
                  <a:lnTo>
                    <a:pt x="2292" y="1222"/>
                  </a:lnTo>
                  <a:lnTo>
                    <a:pt x="2294" y="1224"/>
                  </a:lnTo>
                  <a:lnTo>
                    <a:pt x="2294" y="1224"/>
                  </a:lnTo>
                  <a:lnTo>
                    <a:pt x="2304" y="1224"/>
                  </a:lnTo>
                  <a:lnTo>
                    <a:pt x="2304" y="1224"/>
                  </a:lnTo>
                  <a:lnTo>
                    <a:pt x="2310" y="1222"/>
                  </a:lnTo>
                  <a:lnTo>
                    <a:pt x="2314" y="1218"/>
                  </a:lnTo>
                  <a:lnTo>
                    <a:pt x="2314" y="1218"/>
                  </a:lnTo>
                  <a:lnTo>
                    <a:pt x="2320" y="1216"/>
                  </a:lnTo>
                  <a:lnTo>
                    <a:pt x="2326" y="1218"/>
                  </a:lnTo>
                  <a:lnTo>
                    <a:pt x="2332" y="1220"/>
                  </a:lnTo>
                  <a:lnTo>
                    <a:pt x="2332" y="1220"/>
                  </a:lnTo>
                  <a:lnTo>
                    <a:pt x="2338" y="1222"/>
                  </a:lnTo>
                  <a:lnTo>
                    <a:pt x="2344" y="1218"/>
                  </a:lnTo>
                  <a:lnTo>
                    <a:pt x="2362" y="1200"/>
                  </a:lnTo>
                  <a:lnTo>
                    <a:pt x="2362" y="1200"/>
                  </a:lnTo>
                  <a:lnTo>
                    <a:pt x="2374" y="1188"/>
                  </a:lnTo>
                  <a:lnTo>
                    <a:pt x="2382" y="1180"/>
                  </a:lnTo>
                  <a:lnTo>
                    <a:pt x="2382" y="1180"/>
                  </a:lnTo>
                  <a:lnTo>
                    <a:pt x="2392" y="1168"/>
                  </a:lnTo>
                  <a:lnTo>
                    <a:pt x="2422" y="1132"/>
                  </a:lnTo>
                  <a:lnTo>
                    <a:pt x="2422" y="1132"/>
                  </a:lnTo>
                  <a:lnTo>
                    <a:pt x="2430" y="1118"/>
                  </a:lnTo>
                  <a:lnTo>
                    <a:pt x="2442" y="1094"/>
                  </a:lnTo>
                  <a:lnTo>
                    <a:pt x="2442" y="1094"/>
                  </a:lnTo>
                  <a:lnTo>
                    <a:pt x="2446" y="1086"/>
                  </a:lnTo>
                  <a:lnTo>
                    <a:pt x="2446" y="1078"/>
                  </a:lnTo>
                  <a:lnTo>
                    <a:pt x="2446" y="1056"/>
                  </a:lnTo>
                  <a:lnTo>
                    <a:pt x="2446" y="1056"/>
                  </a:lnTo>
                  <a:lnTo>
                    <a:pt x="2448" y="1040"/>
                  </a:lnTo>
                  <a:lnTo>
                    <a:pt x="2454" y="996"/>
                  </a:lnTo>
                  <a:lnTo>
                    <a:pt x="2454" y="996"/>
                  </a:lnTo>
                  <a:lnTo>
                    <a:pt x="2456" y="980"/>
                  </a:lnTo>
                  <a:lnTo>
                    <a:pt x="2456" y="978"/>
                  </a:lnTo>
                  <a:lnTo>
                    <a:pt x="2456" y="978"/>
                  </a:lnTo>
                  <a:lnTo>
                    <a:pt x="2454" y="970"/>
                  </a:lnTo>
                  <a:lnTo>
                    <a:pt x="2450" y="964"/>
                  </a:lnTo>
                  <a:lnTo>
                    <a:pt x="2442" y="956"/>
                  </a:lnTo>
                  <a:lnTo>
                    <a:pt x="2442" y="956"/>
                  </a:lnTo>
                  <a:lnTo>
                    <a:pt x="2436" y="952"/>
                  </a:lnTo>
                  <a:lnTo>
                    <a:pt x="2430" y="954"/>
                  </a:lnTo>
                  <a:lnTo>
                    <a:pt x="2414" y="964"/>
                  </a:lnTo>
                  <a:lnTo>
                    <a:pt x="2414" y="964"/>
                  </a:lnTo>
                  <a:lnTo>
                    <a:pt x="2406" y="968"/>
                  </a:lnTo>
                  <a:lnTo>
                    <a:pt x="2400" y="966"/>
                  </a:lnTo>
                  <a:lnTo>
                    <a:pt x="2394" y="964"/>
                  </a:lnTo>
                  <a:lnTo>
                    <a:pt x="2394" y="964"/>
                  </a:lnTo>
                  <a:lnTo>
                    <a:pt x="2388" y="958"/>
                  </a:lnTo>
                  <a:lnTo>
                    <a:pt x="2384" y="952"/>
                  </a:lnTo>
                  <a:lnTo>
                    <a:pt x="2382" y="948"/>
                  </a:lnTo>
                  <a:lnTo>
                    <a:pt x="2382" y="948"/>
                  </a:lnTo>
                  <a:lnTo>
                    <a:pt x="2378" y="942"/>
                  </a:lnTo>
                  <a:lnTo>
                    <a:pt x="2372" y="940"/>
                  </a:lnTo>
                  <a:lnTo>
                    <a:pt x="2372" y="940"/>
                  </a:lnTo>
                  <a:lnTo>
                    <a:pt x="2370" y="938"/>
                  </a:lnTo>
                  <a:lnTo>
                    <a:pt x="2372" y="936"/>
                  </a:lnTo>
                  <a:lnTo>
                    <a:pt x="2372" y="936"/>
                  </a:lnTo>
                  <a:lnTo>
                    <a:pt x="2384" y="924"/>
                  </a:lnTo>
                  <a:lnTo>
                    <a:pt x="2402" y="906"/>
                  </a:lnTo>
                  <a:lnTo>
                    <a:pt x="2402" y="906"/>
                  </a:lnTo>
                  <a:lnTo>
                    <a:pt x="2412" y="896"/>
                  </a:lnTo>
                  <a:lnTo>
                    <a:pt x="2420" y="888"/>
                  </a:lnTo>
                  <a:lnTo>
                    <a:pt x="2420" y="888"/>
                  </a:lnTo>
                  <a:lnTo>
                    <a:pt x="2424" y="882"/>
                  </a:lnTo>
                  <a:lnTo>
                    <a:pt x="2426" y="876"/>
                  </a:lnTo>
                  <a:lnTo>
                    <a:pt x="2426" y="876"/>
                  </a:lnTo>
                  <a:lnTo>
                    <a:pt x="2428" y="872"/>
                  </a:lnTo>
                  <a:lnTo>
                    <a:pt x="2432" y="866"/>
                  </a:lnTo>
                  <a:lnTo>
                    <a:pt x="2490" y="808"/>
                  </a:lnTo>
                  <a:lnTo>
                    <a:pt x="2490" y="808"/>
                  </a:lnTo>
                  <a:lnTo>
                    <a:pt x="2496" y="804"/>
                  </a:lnTo>
                  <a:lnTo>
                    <a:pt x="2504" y="802"/>
                  </a:lnTo>
                  <a:lnTo>
                    <a:pt x="2506" y="802"/>
                  </a:lnTo>
                  <a:lnTo>
                    <a:pt x="2506" y="802"/>
                  </a:lnTo>
                  <a:lnTo>
                    <a:pt x="2522" y="802"/>
                  </a:lnTo>
                  <a:lnTo>
                    <a:pt x="2556" y="802"/>
                  </a:lnTo>
                  <a:lnTo>
                    <a:pt x="2556" y="802"/>
                  </a:lnTo>
                  <a:lnTo>
                    <a:pt x="2564" y="802"/>
                  </a:lnTo>
                  <a:lnTo>
                    <a:pt x="2570" y="800"/>
                  </a:lnTo>
                  <a:lnTo>
                    <a:pt x="2576" y="796"/>
                  </a:lnTo>
                  <a:lnTo>
                    <a:pt x="2576" y="796"/>
                  </a:lnTo>
                  <a:lnTo>
                    <a:pt x="2584" y="794"/>
                  </a:lnTo>
                  <a:lnTo>
                    <a:pt x="2590" y="796"/>
                  </a:lnTo>
                  <a:lnTo>
                    <a:pt x="2604" y="800"/>
                  </a:lnTo>
                  <a:lnTo>
                    <a:pt x="2604" y="800"/>
                  </a:lnTo>
                  <a:lnTo>
                    <a:pt x="2610" y="804"/>
                  </a:lnTo>
                  <a:lnTo>
                    <a:pt x="2612" y="810"/>
                  </a:lnTo>
                  <a:lnTo>
                    <a:pt x="2612" y="814"/>
                  </a:lnTo>
                  <a:lnTo>
                    <a:pt x="2612" y="814"/>
                  </a:lnTo>
                  <a:lnTo>
                    <a:pt x="2614" y="818"/>
                  </a:lnTo>
                  <a:lnTo>
                    <a:pt x="2614" y="820"/>
                  </a:lnTo>
                  <a:lnTo>
                    <a:pt x="2618" y="820"/>
                  </a:lnTo>
                  <a:lnTo>
                    <a:pt x="2620" y="822"/>
                  </a:lnTo>
                  <a:lnTo>
                    <a:pt x="2654" y="814"/>
                  </a:lnTo>
                  <a:lnTo>
                    <a:pt x="2654" y="814"/>
                  </a:lnTo>
                  <a:lnTo>
                    <a:pt x="2666" y="812"/>
                  </a:lnTo>
                  <a:lnTo>
                    <a:pt x="2666" y="812"/>
                  </a:lnTo>
                  <a:lnTo>
                    <a:pt x="2668" y="812"/>
                  </a:lnTo>
                  <a:lnTo>
                    <a:pt x="2666" y="808"/>
                  </a:lnTo>
                  <a:lnTo>
                    <a:pt x="2666" y="808"/>
                  </a:lnTo>
                  <a:lnTo>
                    <a:pt x="2664" y="802"/>
                  </a:lnTo>
                  <a:lnTo>
                    <a:pt x="2664" y="796"/>
                  </a:lnTo>
                  <a:lnTo>
                    <a:pt x="2668" y="782"/>
                  </a:lnTo>
                  <a:lnTo>
                    <a:pt x="2668" y="782"/>
                  </a:lnTo>
                  <a:lnTo>
                    <a:pt x="2674" y="766"/>
                  </a:lnTo>
                  <a:lnTo>
                    <a:pt x="2678" y="752"/>
                  </a:lnTo>
                  <a:lnTo>
                    <a:pt x="2678" y="752"/>
                  </a:lnTo>
                  <a:lnTo>
                    <a:pt x="2682" y="746"/>
                  </a:lnTo>
                  <a:lnTo>
                    <a:pt x="2688" y="740"/>
                  </a:lnTo>
                  <a:lnTo>
                    <a:pt x="2704" y="730"/>
                  </a:lnTo>
                  <a:lnTo>
                    <a:pt x="2704" y="730"/>
                  </a:lnTo>
                  <a:lnTo>
                    <a:pt x="2710" y="726"/>
                  </a:lnTo>
                  <a:lnTo>
                    <a:pt x="2718" y="726"/>
                  </a:lnTo>
                  <a:lnTo>
                    <a:pt x="2742" y="732"/>
                  </a:lnTo>
                  <a:lnTo>
                    <a:pt x="2742" y="732"/>
                  </a:lnTo>
                  <a:lnTo>
                    <a:pt x="2748" y="736"/>
                  </a:lnTo>
                  <a:lnTo>
                    <a:pt x="2754" y="742"/>
                  </a:lnTo>
                  <a:lnTo>
                    <a:pt x="2756" y="746"/>
                  </a:lnTo>
                  <a:lnTo>
                    <a:pt x="2756" y="746"/>
                  </a:lnTo>
                  <a:lnTo>
                    <a:pt x="2758" y="750"/>
                  </a:lnTo>
                  <a:lnTo>
                    <a:pt x="2760" y="750"/>
                  </a:lnTo>
                  <a:lnTo>
                    <a:pt x="2762" y="750"/>
                  </a:lnTo>
                  <a:lnTo>
                    <a:pt x="2764" y="748"/>
                  </a:lnTo>
                  <a:lnTo>
                    <a:pt x="2774" y="740"/>
                  </a:lnTo>
                  <a:lnTo>
                    <a:pt x="2774" y="740"/>
                  </a:lnTo>
                  <a:lnTo>
                    <a:pt x="2786" y="730"/>
                  </a:lnTo>
                  <a:lnTo>
                    <a:pt x="2812" y="710"/>
                  </a:lnTo>
                  <a:lnTo>
                    <a:pt x="2812" y="710"/>
                  </a:lnTo>
                  <a:lnTo>
                    <a:pt x="2814" y="708"/>
                  </a:lnTo>
                  <a:lnTo>
                    <a:pt x="2816" y="708"/>
                  </a:lnTo>
                  <a:lnTo>
                    <a:pt x="2818" y="710"/>
                  </a:lnTo>
                  <a:lnTo>
                    <a:pt x="2818" y="714"/>
                  </a:lnTo>
                  <a:lnTo>
                    <a:pt x="2818" y="736"/>
                  </a:lnTo>
                  <a:lnTo>
                    <a:pt x="2818" y="736"/>
                  </a:lnTo>
                  <a:lnTo>
                    <a:pt x="2816" y="744"/>
                  </a:lnTo>
                  <a:lnTo>
                    <a:pt x="2812" y="750"/>
                  </a:lnTo>
                  <a:lnTo>
                    <a:pt x="2794" y="768"/>
                  </a:lnTo>
                  <a:lnTo>
                    <a:pt x="2794" y="768"/>
                  </a:lnTo>
                  <a:lnTo>
                    <a:pt x="2782" y="778"/>
                  </a:lnTo>
                  <a:lnTo>
                    <a:pt x="2776" y="780"/>
                  </a:lnTo>
                  <a:lnTo>
                    <a:pt x="2776" y="780"/>
                  </a:lnTo>
                  <a:lnTo>
                    <a:pt x="2770" y="784"/>
                  </a:lnTo>
                  <a:lnTo>
                    <a:pt x="2764" y="790"/>
                  </a:lnTo>
                  <a:lnTo>
                    <a:pt x="2754" y="806"/>
                  </a:lnTo>
                  <a:lnTo>
                    <a:pt x="2754" y="806"/>
                  </a:lnTo>
                  <a:lnTo>
                    <a:pt x="2744" y="818"/>
                  </a:lnTo>
                  <a:lnTo>
                    <a:pt x="2736" y="826"/>
                  </a:lnTo>
                  <a:lnTo>
                    <a:pt x="2736" y="826"/>
                  </a:lnTo>
                  <a:lnTo>
                    <a:pt x="2724" y="838"/>
                  </a:lnTo>
                  <a:lnTo>
                    <a:pt x="2716" y="846"/>
                  </a:lnTo>
                  <a:lnTo>
                    <a:pt x="2716" y="846"/>
                  </a:lnTo>
                  <a:lnTo>
                    <a:pt x="2710" y="850"/>
                  </a:lnTo>
                  <a:lnTo>
                    <a:pt x="2706" y="852"/>
                  </a:lnTo>
                  <a:lnTo>
                    <a:pt x="2706" y="852"/>
                  </a:lnTo>
                  <a:lnTo>
                    <a:pt x="2702" y="854"/>
                  </a:lnTo>
                  <a:lnTo>
                    <a:pt x="2698" y="860"/>
                  </a:lnTo>
                  <a:lnTo>
                    <a:pt x="2684" y="904"/>
                  </a:lnTo>
                  <a:lnTo>
                    <a:pt x="2684" y="904"/>
                  </a:lnTo>
                  <a:lnTo>
                    <a:pt x="2682" y="910"/>
                  </a:lnTo>
                  <a:lnTo>
                    <a:pt x="2682" y="918"/>
                  </a:lnTo>
                  <a:lnTo>
                    <a:pt x="2700" y="1020"/>
                  </a:lnTo>
                  <a:lnTo>
                    <a:pt x="2700" y="1020"/>
                  </a:lnTo>
                  <a:lnTo>
                    <a:pt x="2700" y="1022"/>
                  </a:lnTo>
                  <a:lnTo>
                    <a:pt x="2702" y="1024"/>
                  </a:lnTo>
                  <a:lnTo>
                    <a:pt x="2704" y="1024"/>
                  </a:lnTo>
                  <a:lnTo>
                    <a:pt x="2706" y="1022"/>
                  </a:lnTo>
                  <a:lnTo>
                    <a:pt x="2726" y="996"/>
                  </a:lnTo>
                  <a:lnTo>
                    <a:pt x="2726" y="996"/>
                  </a:lnTo>
                  <a:lnTo>
                    <a:pt x="2734" y="984"/>
                  </a:lnTo>
                  <a:lnTo>
                    <a:pt x="2734" y="984"/>
                  </a:lnTo>
                  <a:lnTo>
                    <a:pt x="2744" y="972"/>
                  </a:lnTo>
                  <a:lnTo>
                    <a:pt x="2746" y="966"/>
                  </a:lnTo>
                  <a:lnTo>
                    <a:pt x="2746" y="966"/>
                  </a:lnTo>
                  <a:lnTo>
                    <a:pt x="2754" y="952"/>
                  </a:lnTo>
                  <a:lnTo>
                    <a:pt x="2756" y="948"/>
                  </a:lnTo>
                  <a:lnTo>
                    <a:pt x="2756" y="948"/>
                  </a:lnTo>
                  <a:lnTo>
                    <a:pt x="2760" y="940"/>
                  </a:lnTo>
                  <a:lnTo>
                    <a:pt x="2766" y="936"/>
                  </a:lnTo>
                  <a:lnTo>
                    <a:pt x="2772" y="934"/>
                  </a:lnTo>
                  <a:lnTo>
                    <a:pt x="2772" y="934"/>
                  </a:lnTo>
                  <a:lnTo>
                    <a:pt x="2776" y="928"/>
                  </a:lnTo>
                  <a:lnTo>
                    <a:pt x="2778" y="922"/>
                  </a:lnTo>
                  <a:lnTo>
                    <a:pt x="2778" y="918"/>
                  </a:lnTo>
                  <a:lnTo>
                    <a:pt x="2778" y="918"/>
                  </a:lnTo>
                  <a:lnTo>
                    <a:pt x="2780" y="912"/>
                  </a:lnTo>
                  <a:lnTo>
                    <a:pt x="2784" y="906"/>
                  </a:lnTo>
                  <a:lnTo>
                    <a:pt x="2784" y="906"/>
                  </a:lnTo>
                  <a:lnTo>
                    <a:pt x="2788" y="900"/>
                  </a:lnTo>
                  <a:lnTo>
                    <a:pt x="2790" y="894"/>
                  </a:lnTo>
                  <a:lnTo>
                    <a:pt x="2796" y="870"/>
                  </a:lnTo>
                  <a:lnTo>
                    <a:pt x="2796" y="870"/>
                  </a:lnTo>
                  <a:lnTo>
                    <a:pt x="2798" y="856"/>
                  </a:lnTo>
                  <a:lnTo>
                    <a:pt x="2798" y="856"/>
                  </a:lnTo>
                  <a:lnTo>
                    <a:pt x="2796" y="854"/>
                  </a:lnTo>
                  <a:lnTo>
                    <a:pt x="2790" y="852"/>
                  </a:lnTo>
                  <a:lnTo>
                    <a:pt x="2786" y="852"/>
                  </a:lnTo>
                  <a:lnTo>
                    <a:pt x="2786" y="852"/>
                  </a:lnTo>
                  <a:lnTo>
                    <a:pt x="2784" y="852"/>
                  </a:lnTo>
                  <a:lnTo>
                    <a:pt x="2782" y="850"/>
                  </a:lnTo>
                  <a:lnTo>
                    <a:pt x="2782" y="848"/>
                  </a:lnTo>
                  <a:lnTo>
                    <a:pt x="2782" y="844"/>
                  </a:lnTo>
                  <a:lnTo>
                    <a:pt x="2796" y="810"/>
                  </a:lnTo>
                  <a:lnTo>
                    <a:pt x="2796" y="810"/>
                  </a:lnTo>
                  <a:lnTo>
                    <a:pt x="2798" y="804"/>
                  </a:lnTo>
                  <a:lnTo>
                    <a:pt x="2804" y="798"/>
                  </a:lnTo>
                  <a:lnTo>
                    <a:pt x="2804" y="798"/>
                  </a:lnTo>
                  <a:lnTo>
                    <a:pt x="2816" y="790"/>
                  </a:lnTo>
                  <a:lnTo>
                    <a:pt x="2820" y="786"/>
                  </a:lnTo>
                  <a:lnTo>
                    <a:pt x="2820" y="786"/>
                  </a:lnTo>
                  <a:lnTo>
                    <a:pt x="2832" y="784"/>
                  </a:lnTo>
                  <a:lnTo>
                    <a:pt x="2832" y="784"/>
                  </a:lnTo>
                  <a:lnTo>
                    <a:pt x="2838" y="784"/>
                  </a:lnTo>
                  <a:lnTo>
                    <a:pt x="2842" y="788"/>
                  </a:lnTo>
                  <a:lnTo>
                    <a:pt x="2842" y="788"/>
                  </a:lnTo>
                  <a:lnTo>
                    <a:pt x="2844" y="790"/>
                  </a:lnTo>
                  <a:lnTo>
                    <a:pt x="2848" y="790"/>
                  </a:lnTo>
                  <a:lnTo>
                    <a:pt x="2854" y="788"/>
                  </a:lnTo>
                  <a:lnTo>
                    <a:pt x="2870" y="770"/>
                  </a:lnTo>
                  <a:lnTo>
                    <a:pt x="2870" y="770"/>
                  </a:lnTo>
                  <a:lnTo>
                    <a:pt x="2874" y="768"/>
                  </a:lnTo>
                  <a:lnTo>
                    <a:pt x="2876" y="768"/>
                  </a:lnTo>
                  <a:lnTo>
                    <a:pt x="2880" y="768"/>
                  </a:lnTo>
                  <a:lnTo>
                    <a:pt x="2882" y="770"/>
                  </a:lnTo>
                  <a:lnTo>
                    <a:pt x="2900" y="788"/>
                  </a:lnTo>
                  <a:lnTo>
                    <a:pt x="2900" y="788"/>
                  </a:lnTo>
                  <a:lnTo>
                    <a:pt x="2902" y="790"/>
                  </a:lnTo>
                  <a:lnTo>
                    <a:pt x="2906" y="790"/>
                  </a:lnTo>
                  <a:lnTo>
                    <a:pt x="2908" y="788"/>
                  </a:lnTo>
                  <a:lnTo>
                    <a:pt x="2908" y="786"/>
                  </a:lnTo>
                  <a:lnTo>
                    <a:pt x="2914" y="772"/>
                  </a:lnTo>
                  <a:lnTo>
                    <a:pt x="2914" y="772"/>
                  </a:lnTo>
                  <a:lnTo>
                    <a:pt x="2918" y="766"/>
                  </a:lnTo>
                  <a:lnTo>
                    <a:pt x="2924" y="764"/>
                  </a:lnTo>
                  <a:lnTo>
                    <a:pt x="2928" y="764"/>
                  </a:lnTo>
                  <a:lnTo>
                    <a:pt x="2928" y="764"/>
                  </a:lnTo>
                  <a:lnTo>
                    <a:pt x="2934" y="762"/>
                  </a:lnTo>
                  <a:lnTo>
                    <a:pt x="2940" y="758"/>
                  </a:lnTo>
                  <a:lnTo>
                    <a:pt x="2960" y="732"/>
                  </a:lnTo>
                  <a:lnTo>
                    <a:pt x="2960" y="732"/>
                  </a:lnTo>
                  <a:lnTo>
                    <a:pt x="2966" y="726"/>
                  </a:lnTo>
                  <a:lnTo>
                    <a:pt x="2972" y="722"/>
                  </a:lnTo>
                  <a:lnTo>
                    <a:pt x="2996" y="708"/>
                  </a:lnTo>
                  <a:lnTo>
                    <a:pt x="2996" y="708"/>
                  </a:lnTo>
                  <a:lnTo>
                    <a:pt x="3004" y="706"/>
                  </a:lnTo>
                  <a:lnTo>
                    <a:pt x="3012" y="706"/>
                  </a:lnTo>
                  <a:lnTo>
                    <a:pt x="3016" y="706"/>
                  </a:lnTo>
                  <a:lnTo>
                    <a:pt x="3016" y="706"/>
                  </a:lnTo>
                  <a:lnTo>
                    <a:pt x="3024" y="706"/>
                  </a:lnTo>
                  <a:lnTo>
                    <a:pt x="3030" y="708"/>
                  </a:lnTo>
                  <a:lnTo>
                    <a:pt x="3036" y="712"/>
                  </a:lnTo>
                  <a:lnTo>
                    <a:pt x="3036" y="712"/>
                  </a:lnTo>
                  <a:lnTo>
                    <a:pt x="3042" y="712"/>
                  </a:lnTo>
                  <a:lnTo>
                    <a:pt x="3042" y="712"/>
                  </a:lnTo>
                  <a:lnTo>
                    <a:pt x="3044" y="710"/>
                  </a:lnTo>
                  <a:lnTo>
                    <a:pt x="3044" y="710"/>
                  </a:lnTo>
                  <a:lnTo>
                    <a:pt x="3044" y="698"/>
                  </a:lnTo>
                  <a:lnTo>
                    <a:pt x="3044" y="694"/>
                  </a:lnTo>
                  <a:lnTo>
                    <a:pt x="3044" y="694"/>
                  </a:lnTo>
                  <a:lnTo>
                    <a:pt x="3040" y="678"/>
                  </a:lnTo>
                  <a:lnTo>
                    <a:pt x="3036" y="664"/>
                  </a:lnTo>
                  <a:lnTo>
                    <a:pt x="3036" y="664"/>
                  </a:lnTo>
                  <a:lnTo>
                    <a:pt x="3032" y="656"/>
                  </a:lnTo>
                  <a:lnTo>
                    <a:pt x="3028" y="650"/>
                  </a:lnTo>
                  <a:lnTo>
                    <a:pt x="3020" y="642"/>
                  </a:lnTo>
                  <a:lnTo>
                    <a:pt x="3020" y="642"/>
                  </a:lnTo>
                  <a:lnTo>
                    <a:pt x="3018" y="640"/>
                  </a:lnTo>
                  <a:lnTo>
                    <a:pt x="3018" y="638"/>
                  </a:lnTo>
                  <a:lnTo>
                    <a:pt x="3018" y="634"/>
                  </a:lnTo>
                  <a:lnTo>
                    <a:pt x="3022" y="634"/>
                  </a:lnTo>
                  <a:lnTo>
                    <a:pt x="3026" y="630"/>
                  </a:lnTo>
                  <a:lnTo>
                    <a:pt x="3026" y="630"/>
                  </a:lnTo>
                  <a:lnTo>
                    <a:pt x="3040" y="624"/>
                  </a:lnTo>
                  <a:lnTo>
                    <a:pt x="3046" y="620"/>
                  </a:lnTo>
                  <a:close/>
                  <a:moveTo>
                    <a:pt x="420" y="930"/>
                  </a:moveTo>
                  <a:lnTo>
                    <a:pt x="420" y="930"/>
                  </a:lnTo>
                  <a:lnTo>
                    <a:pt x="414" y="924"/>
                  </a:lnTo>
                  <a:lnTo>
                    <a:pt x="414" y="924"/>
                  </a:lnTo>
                  <a:lnTo>
                    <a:pt x="410" y="920"/>
                  </a:lnTo>
                  <a:lnTo>
                    <a:pt x="410" y="920"/>
                  </a:lnTo>
                  <a:lnTo>
                    <a:pt x="414" y="924"/>
                  </a:lnTo>
                  <a:lnTo>
                    <a:pt x="414" y="924"/>
                  </a:lnTo>
                  <a:lnTo>
                    <a:pt x="420" y="930"/>
                  </a:lnTo>
                  <a:lnTo>
                    <a:pt x="420" y="930"/>
                  </a:lnTo>
                  <a:close/>
                  <a:moveTo>
                    <a:pt x="938" y="1244"/>
                  </a:moveTo>
                  <a:lnTo>
                    <a:pt x="938" y="1244"/>
                  </a:lnTo>
                  <a:lnTo>
                    <a:pt x="938" y="1244"/>
                  </a:lnTo>
                  <a:lnTo>
                    <a:pt x="938" y="1244"/>
                  </a:lnTo>
                  <a:lnTo>
                    <a:pt x="934" y="1238"/>
                  </a:lnTo>
                  <a:lnTo>
                    <a:pt x="934" y="1238"/>
                  </a:lnTo>
                  <a:lnTo>
                    <a:pt x="928" y="1236"/>
                  </a:lnTo>
                  <a:lnTo>
                    <a:pt x="924" y="1234"/>
                  </a:lnTo>
                  <a:lnTo>
                    <a:pt x="924" y="1234"/>
                  </a:lnTo>
                  <a:lnTo>
                    <a:pt x="914" y="1234"/>
                  </a:lnTo>
                  <a:lnTo>
                    <a:pt x="914" y="1234"/>
                  </a:lnTo>
                  <a:lnTo>
                    <a:pt x="902" y="1238"/>
                  </a:lnTo>
                  <a:lnTo>
                    <a:pt x="896" y="1240"/>
                  </a:lnTo>
                  <a:lnTo>
                    <a:pt x="896" y="1240"/>
                  </a:lnTo>
                  <a:lnTo>
                    <a:pt x="890" y="1242"/>
                  </a:lnTo>
                  <a:lnTo>
                    <a:pt x="882" y="1244"/>
                  </a:lnTo>
                  <a:lnTo>
                    <a:pt x="878" y="1244"/>
                  </a:lnTo>
                  <a:lnTo>
                    <a:pt x="878" y="1244"/>
                  </a:lnTo>
                  <a:lnTo>
                    <a:pt x="864" y="1244"/>
                  </a:lnTo>
                  <a:lnTo>
                    <a:pt x="864" y="1244"/>
                  </a:lnTo>
                  <a:lnTo>
                    <a:pt x="852" y="1240"/>
                  </a:lnTo>
                  <a:lnTo>
                    <a:pt x="848" y="1238"/>
                  </a:lnTo>
                  <a:lnTo>
                    <a:pt x="848" y="1238"/>
                  </a:lnTo>
                  <a:lnTo>
                    <a:pt x="836" y="1234"/>
                  </a:lnTo>
                  <a:lnTo>
                    <a:pt x="836" y="1234"/>
                  </a:lnTo>
                  <a:lnTo>
                    <a:pt x="822" y="1234"/>
                  </a:lnTo>
                  <a:lnTo>
                    <a:pt x="800" y="1234"/>
                  </a:lnTo>
                  <a:lnTo>
                    <a:pt x="800" y="1234"/>
                  </a:lnTo>
                  <a:lnTo>
                    <a:pt x="786" y="1234"/>
                  </a:lnTo>
                  <a:lnTo>
                    <a:pt x="786" y="1234"/>
                  </a:lnTo>
                  <a:lnTo>
                    <a:pt x="774" y="1234"/>
                  </a:lnTo>
                  <a:lnTo>
                    <a:pt x="770" y="1234"/>
                  </a:lnTo>
                  <a:lnTo>
                    <a:pt x="770" y="1234"/>
                  </a:lnTo>
                  <a:lnTo>
                    <a:pt x="764" y="1236"/>
                  </a:lnTo>
                  <a:lnTo>
                    <a:pt x="758" y="1238"/>
                  </a:lnTo>
                  <a:lnTo>
                    <a:pt x="758" y="1238"/>
                  </a:lnTo>
                  <a:lnTo>
                    <a:pt x="746" y="1248"/>
                  </a:lnTo>
                  <a:lnTo>
                    <a:pt x="740" y="1250"/>
                  </a:lnTo>
                  <a:lnTo>
                    <a:pt x="740" y="1250"/>
                  </a:lnTo>
                  <a:lnTo>
                    <a:pt x="734" y="1250"/>
                  </a:lnTo>
                  <a:lnTo>
                    <a:pt x="728" y="1248"/>
                  </a:lnTo>
                  <a:lnTo>
                    <a:pt x="728" y="1248"/>
                  </a:lnTo>
                  <a:lnTo>
                    <a:pt x="722" y="1244"/>
                  </a:lnTo>
                  <a:lnTo>
                    <a:pt x="722" y="1244"/>
                  </a:lnTo>
                  <a:lnTo>
                    <a:pt x="716" y="1240"/>
                  </a:lnTo>
                  <a:lnTo>
                    <a:pt x="702" y="1236"/>
                  </a:lnTo>
                  <a:lnTo>
                    <a:pt x="702" y="1236"/>
                  </a:lnTo>
                  <a:lnTo>
                    <a:pt x="696" y="1232"/>
                  </a:lnTo>
                  <a:lnTo>
                    <a:pt x="694" y="1226"/>
                  </a:lnTo>
                  <a:lnTo>
                    <a:pt x="694" y="1222"/>
                  </a:lnTo>
                  <a:lnTo>
                    <a:pt x="694" y="1222"/>
                  </a:lnTo>
                  <a:lnTo>
                    <a:pt x="696" y="1214"/>
                  </a:lnTo>
                  <a:lnTo>
                    <a:pt x="700" y="1208"/>
                  </a:lnTo>
                  <a:lnTo>
                    <a:pt x="708" y="1200"/>
                  </a:lnTo>
                  <a:lnTo>
                    <a:pt x="708" y="1200"/>
                  </a:lnTo>
                  <a:lnTo>
                    <a:pt x="714" y="1194"/>
                  </a:lnTo>
                  <a:lnTo>
                    <a:pt x="714" y="1194"/>
                  </a:lnTo>
                  <a:lnTo>
                    <a:pt x="714" y="1186"/>
                  </a:lnTo>
                  <a:lnTo>
                    <a:pt x="714" y="1172"/>
                  </a:lnTo>
                  <a:lnTo>
                    <a:pt x="714" y="1172"/>
                  </a:lnTo>
                  <a:lnTo>
                    <a:pt x="714" y="1166"/>
                  </a:lnTo>
                  <a:lnTo>
                    <a:pt x="718" y="1160"/>
                  </a:lnTo>
                  <a:lnTo>
                    <a:pt x="718" y="1160"/>
                  </a:lnTo>
                  <a:lnTo>
                    <a:pt x="724" y="1156"/>
                  </a:lnTo>
                  <a:lnTo>
                    <a:pt x="724" y="1156"/>
                  </a:lnTo>
                  <a:lnTo>
                    <a:pt x="728" y="1150"/>
                  </a:lnTo>
                  <a:lnTo>
                    <a:pt x="728" y="1150"/>
                  </a:lnTo>
                  <a:lnTo>
                    <a:pt x="740" y="1142"/>
                  </a:lnTo>
                  <a:lnTo>
                    <a:pt x="746" y="1140"/>
                  </a:lnTo>
                  <a:lnTo>
                    <a:pt x="746" y="1140"/>
                  </a:lnTo>
                  <a:lnTo>
                    <a:pt x="754" y="1136"/>
                  </a:lnTo>
                  <a:lnTo>
                    <a:pt x="760" y="1136"/>
                  </a:lnTo>
                  <a:lnTo>
                    <a:pt x="764" y="1136"/>
                  </a:lnTo>
                  <a:lnTo>
                    <a:pt x="764" y="1136"/>
                  </a:lnTo>
                  <a:lnTo>
                    <a:pt x="772" y="1138"/>
                  </a:lnTo>
                  <a:lnTo>
                    <a:pt x="778" y="1140"/>
                  </a:lnTo>
                  <a:lnTo>
                    <a:pt x="778" y="1140"/>
                  </a:lnTo>
                  <a:lnTo>
                    <a:pt x="780" y="1146"/>
                  </a:lnTo>
                  <a:lnTo>
                    <a:pt x="778" y="1150"/>
                  </a:lnTo>
                  <a:lnTo>
                    <a:pt x="778" y="1150"/>
                  </a:lnTo>
                  <a:lnTo>
                    <a:pt x="776" y="1152"/>
                  </a:lnTo>
                  <a:lnTo>
                    <a:pt x="776" y="1156"/>
                  </a:lnTo>
                  <a:lnTo>
                    <a:pt x="778" y="1160"/>
                  </a:lnTo>
                  <a:lnTo>
                    <a:pt x="786" y="1170"/>
                  </a:lnTo>
                  <a:lnTo>
                    <a:pt x="786" y="1170"/>
                  </a:lnTo>
                  <a:lnTo>
                    <a:pt x="792" y="1172"/>
                  </a:lnTo>
                  <a:lnTo>
                    <a:pt x="800" y="1172"/>
                  </a:lnTo>
                  <a:lnTo>
                    <a:pt x="824" y="1158"/>
                  </a:lnTo>
                  <a:lnTo>
                    <a:pt x="824" y="1158"/>
                  </a:lnTo>
                  <a:lnTo>
                    <a:pt x="832" y="1156"/>
                  </a:lnTo>
                  <a:lnTo>
                    <a:pt x="838" y="1158"/>
                  </a:lnTo>
                  <a:lnTo>
                    <a:pt x="862" y="1164"/>
                  </a:lnTo>
                  <a:lnTo>
                    <a:pt x="862" y="1164"/>
                  </a:lnTo>
                  <a:lnTo>
                    <a:pt x="870" y="1166"/>
                  </a:lnTo>
                  <a:lnTo>
                    <a:pt x="874" y="1172"/>
                  </a:lnTo>
                  <a:lnTo>
                    <a:pt x="886" y="1188"/>
                  </a:lnTo>
                  <a:lnTo>
                    <a:pt x="886" y="1188"/>
                  </a:lnTo>
                  <a:lnTo>
                    <a:pt x="888" y="1194"/>
                  </a:lnTo>
                  <a:lnTo>
                    <a:pt x="890" y="1200"/>
                  </a:lnTo>
                  <a:lnTo>
                    <a:pt x="890" y="1200"/>
                  </a:lnTo>
                  <a:lnTo>
                    <a:pt x="892" y="1204"/>
                  </a:lnTo>
                  <a:lnTo>
                    <a:pt x="894" y="1210"/>
                  </a:lnTo>
                  <a:lnTo>
                    <a:pt x="894" y="1210"/>
                  </a:lnTo>
                  <a:lnTo>
                    <a:pt x="900" y="1212"/>
                  </a:lnTo>
                  <a:lnTo>
                    <a:pt x="908" y="1214"/>
                  </a:lnTo>
                  <a:lnTo>
                    <a:pt x="912" y="1214"/>
                  </a:lnTo>
                  <a:lnTo>
                    <a:pt x="912" y="1214"/>
                  </a:lnTo>
                  <a:lnTo>
                    <a:pt x="918" y="1216"/>
                  </a:lnTo>
                  <a:lnTo>
                    <a:pt x="924" y="1218"/>
                  </a:lnTo>
                  <a:lnTo>
                    <a:pt x="924" y="1218"/>
                  </a:lnTo>
                  <a:lnTo>
                    <a:pt x="932" y="1232"/>
                  </a:lnTo>
                  <a:lnTo>
                    <a:pt x="936" y="1236"/>
                  </a:lnTo>
                  <a:lnTo>
                    <a:pt x="936" y="1236"/>
                  </a:lnTo>
                  <a:lnTo>
                    <a:pt x="938" y="1244"/>
                  </a:lnTo>
                  <a:lnTo>
                    <a:pt x="938" y="1244"/>
                  </a:lnTo>
                  <a:close/>
                  <a:moveTo>
                    <a:pt x="1094" y="1156"/>
                  </a:moveTo>
                  <a:lnTo>
                    <a:pt x="1094" y="1156"/>
                  </a:lnTo>
                  <a:lnTo>
                    <a:pt x="1078" y="1156"/>
                  </a:lnTo>
                  <a:lnTo>
                    <a:pt x="1074" y="1156"/>
                  </a:lnTo>
                  <a:lnTo>
                    <a:pt x="1074" y="1156"/>
                  </a:lnTo>
                  <a:lnTo>
                    <a:pt x="1068" y="1156"/>
                  </a:lnTo>
                  <a:lnTo>
                    <a:pt x="1062" y="1160"/>
                  </a:lnTo>
                  <a:lnTo>
                    <a:pt x="1062" y="1160"/>
                  </a:lnTo>
                  <a:lnTo>
                    <a:pt x="1058" y="1166"/>
                  </a:lnTo>
                  <a:lnTo>
                    <a:pt x="1058" y="1172"/>
                  </a:lnTo>
                  <a:lnTo>
                    <a:pt x="1064" y="1196"/>
                  </a:lnTo>
                  <a:lnTo>
                    <a:pt x="1064" y="1196"/>
                  </a:lnTo>
                  <a:lnTo>
                    <a:pt x="1068" y="1204"/>
                  </a:lnTo>
                  <a:lnTo>
                    <a:pt x="1072" y="1210"/>
                  </a:lnTo>
                  <a:lnTo>
                    <a:pt x="1080" y="1218"/>
                  </a:lnTo>
                  <a:lnTo>
                    <a:pt x="1080" y="1218"/>
                  </a:lnTo>
                  <a:lnTo>
                    <a:pt x="1084" y="1224"/>
                  </a:lnTo>
                  <a:lnTo>
                    <a:pt x="1086" y="1232"/>
                  </a:lnTo>
                  <a:lnTo>
                    <a:pt x="1086" y="1256"/>
                  </a:lnTo>
                  <a:lnTo>
                    <a:pt x="1086" y="1256"/>
                  </a:lnTo>
                  <a:lnTo>
                    <a:pt x="1086" y="1264"/>
                  </a:lnTo>
                  <a:lnTo>
                    <a:pt x="1086" y="1264"/>
                  </a:lnTo>
                  <a:lnTo>
                    <a:pt x="1080" y="1266"/>
                  </a:lnTo>
                  <a:lnTo>
                    <a:pt x="1020" y="1278"/>
                  </a:lnTo>
                  <a:lnTo>
                    <a:pt x="1020" y="1278"/>
                  </a:lnTo>
                  <a:lnTo>
                    <a:pt x="1014" y="1278"/>
                  </a:lnTo>
                  <a:lnTo>
                    <a:pt x="1010" y="1276"/>
                  </a:lnTo>
                  <a:lnTo>
                    <a:pt x="1010" y="1276"/>
                  </a:lnTo>
                  <a:lnTo>
                    <a:pt x="1006" y="1274"/>
                  </a:lnTo>
                  <a:lnTo>
                    <a:pt x="1002" y="1278"/>
                  </a:lnTo>
                  <a:lnTo>
                    <a:pt x="1002" y="1278"/>
                  </a:lnTo>
                  <a:lnTo>
                    <a:pt x="998" y="1280"/>
                  </a:lnTo>
                  <a:lnTo>
                    <a:pt x="990" y="1282"/>
                  </a:lnTo>
                  <a:lnTo>
                    <a:pt x="982" y="1284"/>
                  </a:lnTo>
                  <a:lnTo>
                    <a:pt x="982" y="1284"/>
                  </a:lnTo>
                  <a:lnTo>
                    <a:pt x="976" y="1284"/>
                  </a:lnTo>
                  <a:lnTo>
                    <a:pt x="972" y="1284"/>
                  </a:lnTo>
                  <a:lnTo>
                    <a:pt x="972" y="1284"/>
                  </a:lnTo>
                  <a:lnTo>
                    <a:pt x="962" y="1278"/>
                  </a:lnTo>
                  <a:lnTo>
                    <a:pt x="962" y="1278"/>
                  </a:lnTo>
                  <a:lnTo>
                    <a:pt x="958" y="1272"/>
                  </a:lnTo>
                  <a:lnTo>
                    <a:pt x="958" y="1272"/>
                  </a:lnTo>
                  <a:lnTo>
                    <a:pt x="954" y="1268"/>
                  </a:lnTo>
                  <a:lnTo>
                    <a:pt x="954" y="1268"/>
                  </a:lnTo>
                  <a:lnTo>
                    <a:pt x="954" y="1266"/>
                  </a:lnTo>
                  <a:lnTo>
                    <a:pt x="954" y="1264"/>
                  </a:lnTo>
                  <a:lnTo>
                    <a:pt x="960" y="1264"/>
                  </a:lnTo>
                  <a:lnTo>
                    <a:pt x="960" y="1264"/>
                  </a:lnTo>
                  <a:lnTo>
                    <a:pt x="960" y="1264"/>
                  </a:lnTo>
                  <a:lnTo>
                    <a:pt x="968" y="1262"/>
                  </a:lnTo>
                  <a:lnTo>
                    <a:pt x="976" y="1260"/>
                  </a:lnTo>
                  <a:lnTo>
                    <a:pt x="980" y="1256"/>
                  </a:lnTo>
                  <a:lnTo>
                    <a:pt x="980" y="1256"/>
                  </a:lnTo>
                  <a:lnTo>
                    <a:pt x="986" y="1256"/>
                  </a:lnTo>
                  <a:lnTo>
                    <a:pt x="992" y="1258"/>
                  </a:lnTo>
                  <a:lnTo>
                    <a:pt x="992" y="1258"/>
                  </a:lnTo>
                  <a:lnTo>
                    <a:pt x="996" y="1264"/>
                  </a:lnTo>
                  <a:lnTo>
                    <a:pt x="998" y="1268"/>
                  </a:lnTo>
                  <a:lnTo>
                    <a:pt x="998" y="1268"/>
                  </a:lnTo>
                  <a:lnTo>
                    <a:pt x="998" y="1270"/>
                  </a:lnTo>
                  <a:lnTo>
                    <a:pt x="998" y="1270"/>
                  </a:lnTo>
                  <a:lnTo>
                    <a:pt x="1002" y="1266"/>
                  </a:lnTo>
                  <a:lnTo>
                    <a:pt x="1004" y="1260"/>
                  </a:lnTo>
                  <a:lnTo>
                    <a:pt x="1004" y="1260"/>
                  </a:lnTo>
                  <a:lnTo>
                    <a:pt x="1012" y="1248"/>
                  </a:lnTo>
                  <a:lnTo>
                    <a:pt x="1022" y="1240"/>
                  </a:lnTo>
                  <a:lnTo>
                    <a:pt x="1022" y="1240"/>
                  </a:lnTo>
                  <a:lnTo>
                    <a:pt x="1024" y="1234"/>
                  </a:lnTo>
                  <a:lnTo>
                    <a:pt x="1024" y="1226"/>
                  </a:lnTo>
                  <a:lnTo>
                    <a:pt x="1010" y="1202"/>
                  </a:lnTo>
                  <a:lnTo>
                    <a:pt x="1010" y="1202"/>
                  </a:lnTo>
                  <a:lnTo>
                    <a:pt x="1002" y="1188"/>
                  </a:lnTo>
                  <a:lnTo>
                    <a:pt x="974" y="1152"/>
                  </a:lnTo>
                  <a:lnTo>
                    <a:pt x="974" y="1152"/>
                  </a:lnTo>
                  <a:lnTo>
                    <a:pt x="970" y="1146"/>
                  </a:lnTo>
                  <a:lnTo>
                    <a:pt x="972" y="1138"/>
                  </a:lnTo>
                  <a:lnTo>
                    <a:pt x="984" y="1122"/>
                  </a:lnTo>
                  <a:lnTo>
                    <a:pt x="984" y="1122"/>
                  </a:lnTo>
                  <a:lnTo>
                    <a:pt x="988" y="1118"/>
                  </a:lnTo>
                  <a:lnTo>
                    <a:pt x="994" y="1112"/>
                  </a:lnTo>
                  <a:lnTo>
                    <a:pt x="1000" y="1110"/>
                  </a:lnTo>
                  <a:lnTo>
                    <a:pt x="1000" y="1110"/>
                  </a:lnTo>
                  <a:lnTo>
                    <a:pt x="1006" y="1108"/>
                  </a:lnTo>
                  <a:lnTo>
                    <a:pt x="1012" y="1112"/>
                  </a:lnTo>
                  <a:lnTo>
                    <a:pt x="1012" y="1112"/>
                  </a:lnTo>
                  <a:lnTo>
                    <a:pt x="1018" y="1114"/>
                  </a:lnTo>
                  <a:lnTo>
                    <a:pt x="1026" y="1116"/>
                  </a:lnTo>
                  <a:lnTo>
                    <a:pt x="1048" y="1116"/>
                  </a:lnTo>
                  <a:lnTo>
                    <a:pt x="1048" y="1116"/>
                  </a:lnTo>
                  <a:lnTo>
                    <a:pt x="1064" y="1116"/>
                  </a:lnTo>
                  <a:lnTo>
                    <a:pt x="1078" y="1116"/>
                  </a:lnTo>
                  <a:lnTo>
                    <a:pt x="1078" y="1116"/>
                  </a:lnTo>
                  <a:lnTo>
                    <a:pt x="1084" y="1118"/>
                  </a:lnTo>
                  <a:lnTo>
                    <a:pt x="1090" y="1122"/>
                  </a:lnTo>
                  <a:lnTo>
                    <a:pt x="1110" y="1148"/>
                  </a:lnTo>
                  <a:lnTo>
                    <a:pt x="1110" y="1148"/>
                  </a:lnTo>
                  <a:lnTo>
                    <a:pt x="1112" y="1152"/>
                  </a:lnTo>
                  <a:lnTo>
                    <a:pt x="1112" y="1154"/>
                  </a:lnTo>
                  <a:lnTo>
                    <a:pt x="1110" y="1154"/>
                  </a:lnTo>
                  <a:lnTo>
                    <a:pt x="1108" y="1156"/>
                  </a:lnTo>
                  <a:lnTo>
                    <a:pt x="1094" y="1156"/>
                  </a:lnTo>
                  <a:close/>
                  <a:moveTo>
                    <a:pt x="1098" y="350"/>
                  </a:moveTo>
                  <a:lnTo>
                    <a:pt x="1098" y="350"/>
                  </a:lnTo>
                  <a:lnTo>
                    <a:pt x="1102" y="354"/>
                  </a:lnTo>
                  <a:lnTo>
                    <a:pt x="1106" y="358"/>
                  </a:lnTo>
                  <a:lnTo>
                    <a:pt x="1106" y="358"/>
                  </a:lnTo>
                  <a:lnTo>
                    <a:pt x="1108" y="362"/>
                  </a:lnTo>
                  <a:lnTo>
                    <a:pt x="1112" y="366"/>
                  </a:lnTo>
                  <a:lnTo>
                    <a:pt x="1118" y="368"/>
                  </a:lnTo>
                  <a:lnTo>
                    <a:pt x="1118" y="368"/>
                  </a:lnTo>
                  <a:lnTo>
                    <a:pt x="1124" y="372"/>
                  </a:lnTo>
                  <a:lnTo>
                    <a:pt x="1132" y="372"/>
                  </a:lnTo>
                  <a:lnTo>
                    <a:pt x="1156" y="372"/>
                  </a:lnTo>
                  <a:lnTo>
                    <a:pt x="1156" y="372"/>
                  </a:lnTo>
                  <a:lnTo>
                    <a:pt x="1158" y="372"/>
                  </a:lnTo>
                  <a:lnTo>
                    <a:pt x="1160" y="370"/>
                  </a:lnTo>
                  <a:lnTo>
                    <a:pt x="1160" y="368"/>
                  </a:lnTo>
                  <a:lnTo>
                    <a:pt x="1158" y="366"/>
                  </a:lnTo>
                  <a:lnTo>
                    <a:pt x="1150" y="358"/>
                  </a:lnTo>
                  <a:lnTo>
                    <a:pt x="1150" y="358"/>
                  </a:lnTo>
                  <a:lnTo>
                    <a:pt x="1146" y="352"/>
                  </a:lnTo>
                  <a:lnTo>
                    <a:pt x="1142" y="346"/>
                  </a:lnTo>
                  <a:lnTo>
                    <a:pt x="1128" y="302"/>
                  </a:lnTo>
                  <a:lnTo>
                    <a:pt x="1128" y="302"/>
                  </a:lnTo>
                  <a:lnTo>
                    <a:pt x="1126" y="294"/>
                  </a:lnTo>
                  <a:lnTo>
                    <a:pt x="1128" y="286"/>
                  </a:lnTo>
                  <a:lnTo>
                    <a:pt x="1140" y="262"/>
                  </a:lnTo>
                  <a:lnTo>
                    <a:pt x="1140" y="262"/>
                  </a:lnTo>
                  <a:lnTo>
                    <a:pt x="1148" y="248"/>
                  </a:lnTo>
                  <a:lnTo>
                    <a:pt x="1180" y="184"/>
                  </a:lnTo>
                  <a:lnTo>
                    <a:pt x="1180" y="184"/>
                  </a:lnTo>
                  <a:lnTo>
                    <a:pt x="1184" y="178"/>
                  </a:lnTo>
                  <a:lnTo>
                    <a:pt x="1190" y="172"/>
                  </a:lnTo>
                  <a:lnTo>
                    <a:pt x="1216" y="152"/>
                  </a:lnTo>
                  <a:lnTo>
                    <a:pt x="1216" y="152"/>
                  </a:lnTo>
                  <a:lnTo>
                    <a:pt x="1226" y="140"/>
                  </a:lnTo>
                  <a:lnTo>
                    <a:pt x="1238" y="124"/>
                  </a:lnTo>
                  <a:lnTo>
                    <a:pt x="1238" y="124"/>
                  </a:lnTo>
                  <a:lnTo>
                    <a:pt x="1244" y="120"/>
                  </a:lnTo>
                  <a:lnTo>
                    <a:pt x="1250" y="116"/>
                  </a:lnTo>
                  <a:lnTo>
                    <a:pt x="1264" y="110"/>
                  </a:lnTo>
                  <a:lnTo>
                    <a:pt x="1264" y="110"/>
                  </a:lnTo>
                  <a:lnTo>
                    <a:pt x="1278" y="104"/>
                  </a:lnTo>
                  <a:lnTo>
                    <a:pt x="1294" y="94"/>
                  </a:lnTo>
                  <a:lnTo>
                    <a:pt x="1294" y="94"/>
                  </a:lnTo>
                  <a:lnTo>
                    <a:pt x="1306" y="84"/>
                  </a:lnTo>
                  <a:lnTo>
                    <a:pt x="1334" y="56"/>
                  </a:lnTo>
                  <a:lnTo>
                    <a:pt x="1334" y="56"/>
                  </a:lnTo>
                  <a:lnTo>
                    <a:pt x="1338" y="50"/>
                  </a:lnTo>
                  <a:lnTo>
                    <a:pt x="1336" y="42"/>
                  </a:lnTo>
                  <a:lnTo>
                    <a:pt x="1334" y="38"/>
                  </a:lnTo>
                  <a:lnTo>
                    <a:pt x="1334" y="38"/>
                  </a:lnTo>
                  <a:lnTo>
                    <a:pt x="1328" y="32"/>
                  </a:lnTo>
                  <a:lnTo>
                    <a:pt x="1322" y="30"/>
                  </a:lnTo>
                  <a:lnTo>
                    <a:pt x="1308" y="30"/>
                  </a:lnTo>
                  <a:lnTo>
                    <a:pt x="1308" y="30"/>
                  </a:lnTo>
                  <a:lnTo>
                    <a:pt x="1302" y="32"/>
                  </a:lnTo>
                  <a:lnTo>
                    <a:pt x="1296" y="36"/>
                  </a:lnTo>
                  <a:lnTo>
                    <a:pt x="1286" y="44"/>
                  </a:lnTo>
                  <a:lnTo>
                    <a:pt x="1286" y="44"/>
                  </a:lnTo>
                  <a:lnTo>
                    <a:pt x="1276" y="54"/>
                  </a:lnTo>
                  <a:lnTo>
                    <a:pt x="1276" y="54"/>
                  </a:lnTo>
                  <a:lnTo>
                    <a:pt x="1270" y="58"/>
                  </a:lnTo>
                  <a:lnTo>
                    <a:pt x="1264" y="62"/>
                  </a:lnTo>
                  <a:lnTo>
                    <a:pt x="1250" y="66"/>
                  </a:lnTo>
                  <a:lnTo>
                    <a:pt x="1250" y="66"/>
                  </a:lnTo>
                  <a:lnTo>
                    <a:pt x="1234" y="70"/>
                  </a:lnTo>
                  <a:lnTo>
                    <a:pt x="1220" y="70"/>
                  </a:lnTo>
                  <a:lnTo>
                    <a:pt x="1220" y="70"/>
                  </a:lnTo>
                  <a:lnTo>
                    <a:pt x="1214" y="70"/>
                  </a:lnTo>
                  <a:lnTo>
                    <a:pt x="1208" y="74"/>
                  </a:lnTo>
                  <a:lnTo>
                    <a:pt x="1208" y="74"/>
                  </a:lnTo>
                  <a:lnTo>
                    <a:pt x="1198" y="84"/>
                  </a:lnTo>
                  <a:lnTo>
                    <a:pt x="1198" y="84"/>
                  </a:lnTo>
                  <a:lnTo>
                    <a:pt x="1188" y="94"/>
                  </a:lnTo>
                  <a:lnTo>
                    <a:pt x="1160" y="122"/>
                  </a:lnTo>
                  <a:lnTo>
                    <a:pt x="1160" y="122"/>
                  </a:lnTo>
                  <a:lnTo>
                    <a:pt x="1146" y="132"/>
                  </a:lnTo>
                  <a:lnTo>
                    <a:pt x="1142" y="134"/>
                  </a:lnTo>
                  <a:lnTo>
                    <a:pt x="1142" y="134"/>
                  </a:lnTo>
                  <a:lnTo>
                    <a:pt x="1136" y="140"/>
                  </a:lnTo>
                  <a:lnTo>
                    <a:pt x="1134" y="146"/>
                  </a:lnTo>
                  <a:lnTo>
                    <a:pt x="1134" y="160"/>
                  </a:lnTo>
                  <a:lnTo>
                    <a:pt x="1134" y="160"/>
                  </a:lnTo>
                  <a:lnTo>
                    <a:pt x="1132" y="166"/>
                  </a:lnTo>
                  <a:lnTo>
                    <a:pt x="1128" y="170"/>
                  </a:lnTo>
                  <a:lnTo>
                    <a:pt x="1122" y="174"/>
                  </a:lnTo>
                  <a:lnTo>
                    <a:pt x="1122" y="174"/>
                  </a:lnTo>
                  <a:lnTo>
                    <a:pt x="1116" y="178"/>
                  </a:lnTo>
                  <a:lnTo>
                    <a:pt x="1110" y="184"/>
                  </a:lnTo>
                  <a:lnTo>
                    <a:pt x="1100" y="200"/>
                  </a:lnTo>
                  <a:lnTo>
                    <a:pt x="1100" y="200"/>
                  </a:lnTo>
                  <a:lnTo>
                    <a:pt x="1096" y="206"/>
                  </a:lnTo>
                  <a:lnTo>
                    <a:pt x="1096" y="214"/>
                  </a:lnTo>
                  <a:lnTo>
                    <a:pt x="1096" y="218"/>
                  </a:lnTo>
                  <a:lnTo>
                    <a:pt x="1096" y="218"/>
                  </a:lnTo>
                  <a:lnTo>
                    <a:pt x="1094" y="226"/>
                  </a:lnTo>
                  <a:lnTo>
                    <a:pt x="1092" y="232"/>
                  </a:lnTo>
                  <a:lnTo>
                    <a:pt x="1090" y="238"/>
                  </a:lnTo>
                  <a:lnTo>
                    <a:pt x="1090" y="238"/>
                  </a:lnTo>
                  <a:lnTo>
                    <a:pt x="1082" y="252"/>
                  </a:lnTo>
                  <a:lnTo>
                    <a:pt x="1080" y="258"/>
                  </a:lnTo>
                  <a:lnTo>
                    <a:pt x="1080" y="258"/>
                  </a:lnTo>
                  <a:lnTo>
                    <a:pt x="1076" y="266"/>
                  </a:lnTo>
                  <a:lnTo>
                    <a:pt x="1076" y="272"/>
                  </a:lnTo>
                  <a:lnTo>
                    <a:pt x="1076" y="286"/>
                  </a:lnTo>
                  <a:lnTo>
                    <a:pt x="1076" y="286"/>
                  </a:lnTo>
                  <a:lnTo>
                    <a:pt x="1074" y="294"/>
                  </a:lnTo>
                  <a:lnTo>
                    <a:pt x="1072" y="302"/>
                  </a:lnTo>
                  <a:lnTo>
                    <a:pt x="1070" y="306"/>
                  </a:lnTo>
                  <a:lnTo>
                    <a:pt x="1070" y="306"/>
                  </a:lnTo>
                  <a:lnTo>
                    <a:pt x="1068" y="314"/>
                  </a:lnTo>
                  <a:lnTo>
                    <a:pt x="1068" y="322"/>
                  </a:lnTo>
                  <a:lnTo>
                    <a:pt x="1074" y="336"/>
                  </a:lnTo>
                  <a:lnTo>
                    <a:pt x="1074" y="336"/>
                  </a:lnTo>
                  <a:lnTo>
                    <a:pt x="1078" y="342"/>
                  </a:lnTo>
                  <a:lnTo>
                    <a:pt x="1084" y="346"/>
                  </a:lnTo>
                  <a:lnTo>
                    <a:pt x="1098" y="350"/>
                  </a:lnTo>
                  <a:close/>
                  <a:moveTo>
                    <a:pt x="148" y="1002"/>
                  </a:moveTo>
                  <a:lnTo>
                    <a:pt x="148" y="1002"/>
                  </a:lnTo>
                  <a:lnTo>
                    <a:pt x="162" y="994"/>
                  </a:lnTo>
                  <a:lnTo>
                    <a:pt x="168" y="992"/>
                  </a:lnTo>
                  <a:lnTo>
                    <a:pt x="168" y="992"/>
                  </a:lnTo>
                  <a:lnTo>
                    <a:pt x="172" y="988"/>
                  </a:lnTo>
                  <a:lnTo>
                    <a:pt x="174" y="980"/>
                  </a:lnTo>
                  <a:lnTo>
                    <a:pt x="174" y="978"/>
                  </a:lnTo>
                  <a:lnTo>
                    <a:pt x="174" y="978"/>
                  </a:lnTo>
                  <a:lnTo>
                    <a:pt x="174" y="962"/>
                  </a:lnTo>
                  <a:lnTo>
                    <a:pt x="174" y="958"/>
                  </a:lnTo>
                  <a:lnTo>
                    <a:pt x="174" y="958"/>
                  </a:lnTo>
                  <a:lnTo>
                    <a:pt x="176" y="950"/>
                  </a:lnTo>
                  <a:lnTo>
                    <a:pt x="180" y="944"/>
                  </a:lnTo>
                  <a:lnTo>
                    <a:pt x="180" y="944"/>
                  </a:lnTo>
                  <a:lnTo>
                    <a:pt x="182" y="940"/>
                  </a:lnTo>
                  <a:lnTo>
                    <a:pt x="180" y="936"/>
                  </a:lnTo>
                  <a:lnTo>
                    <a:pt x="180" y="936"/>
                  </a:lnTo>
                  <a:lnTo>
                    <a:pt x="176" y="930"/>
                  </a:lnTo>
                  <a:lnTo>
                    <a:pt x="174" y="926"/>
                  </a:lnTo>
                  <a:lnTo>
                    <a:pt x="174" y="926"/>
                  </a:lnTo>
                  <a:lnTo>
                    <a:pt x="172" y="922"/>
                  </a:lnTo>
                  <a:lnTo>
                    <a:pt x="170" y="920"/>
                  </a:lnTo>
                  <a:lnTo>
                    <a:pt x="170" y="920"/>
                  </a:lnTo>
                  <a:lnTo>
                    <a:pt x="164" y="920"/>
                  </a:lnTo>
                  <a:lnTo>
                    <a:pt x="160" y="916"/>
                  </a:lnTo>
                  <a:lnTo>
                    <a:pt x="160" y="916"/>
                  </a:lnTo>
                  <a:lnTo>
                    <a:pt x="158" y="914"/>
                  </a:lnTo>
                  <a:lnTo>
                    <a:pt x="154" y="914"/>
                  </a:lnTo>
                  <a:lnTo>
                    <a:pt x="148" y="916"/>
                  </a:lnTo>
                  <a:lnTo>
                    <a:pt x="140" y="924"/>
                  </a:lnTo>
                  <a:lnTo>
                    <a:pt x="140" y="924"/>
                  </a:lnTo>
                  <a:lnTo>
                    <a:pt x="136" y="930"/>
                  </a:lnTo>
                  <a:lnTo>
                    <a:pt x="134" y="936"/>
                  </a:lnTo>
                  <a:lnTo>
                    <a:pt x="134" y="936"/>
                  </a:lnTo>
                  <a:lnTo>
                    <a:pt x="132" y="938"/>
                  </a:lnTo>
                  <a:lnTo>
                    <a:pt x="126" y="940"/>
                  </a:lnTo>
                  <a:lnTo>
                    <a:pt x="124" y="940"/>
                  </a:lnTo>
                  <a:lnTo>
                    <a:pt x="124" y="940"/>
                  </a:lnTo>
                  <a:lnTo>
                    <a:pt x="120" y="940"/>
                  </a:lnTo>
                  <a:lnTo>
                    <a:pt x="118" y="942"/>
                  </a:lnTo>
                  <a:lnTo>
                    <a:pt x="118" y="944"/>
                  </a:lnTo>
                  <a:lnTo>
                    <a:pt x="118" y="948"/>
                  </a:lnTo>
                  <a:lnTo>
                    <a:pt x="122" y="952"/>
                  </a:lnTo>
                  <a:lnTo>
                    <a:pt x="122" y="952"/>
                  </a:lnTo>
                  <a:lnTo>
                    <a:pt x="122" y="958"/>
                  </a:lnTo>
                  <a:lnTo>
                    <a:pt x="122" y="958"/>
                  </a:lnTo>
                  <a:lnTo>
                    <a:pt x="120" y="960"/>
                  </a:lnTo>
                  <a:lnTo>
                    <a:pt x="120" y="960"/>
                  </a:lnTo>
                  <a:lnTo>
                    <a:pt x="118" y="960"/>
                  </a:lnTo>
                  <a:lnTo>
                    <a:pt x="120" y="964"/>
                  </a:lnTo>
                  <a:lnTo>
                    <a:pt x="120" y="964"/>
                  </a:lnTo>
                  <a:lnTo>
                    <a:pt x="124" y="970"/>
                  </a:lnTo>
                  <a:lnTo>
                    <a:pt x="124" y="974"/>
                  </a:lnTo>
                  <a:lnTo>
                    <a:pt x="124" y="974"/>
                  </a:lnTo>
                  <a:lnTo>
                    <a:pt x="124" y="978"/>
                  </a:lnTo>
                  <a:lnTo>
                    <a:pt x="120" y="984"/>
                  </a:lnTo>
                  <a:lnTo>
                    <a:pt x="120" y="984"/>
                  </a:lnTo>
                  <a:lnTo>
                    <a:pt x="116" y="988"/>
                  </a:lnTo>
                  <a:lnTo>
                    <a:pt x="116" y="994"/>
                  </a:lnTo>
                  <a:lnTo>
                    <a:pt x="116" y="994"/>
                  </a:lnTo>
                  <a:lnTo>
                    <a:pt x="116" y="1004"/>
                  </a:lnTo>
                  <a:lnTo>
                    <a:pt x="116" y="1004"/>
                  </a:lnTo>
                  <a:lnTo>
                    <a:pt x="116" y="1008"/>
                  </a:lnTo>
                  <a:lnTo>
                    <a:pt x="120" y="1012"/>
                  </a:lnTo>
                  <a:lnTo>
                    <a:pt x="120" y="1012"/>
                  </a:lnTo>
                  <a:lnTo>
                    <a:pt x="126" y="1016"/>
                  </a:lnTo>
                  <a:lnTo>
                    <a:pt x="132" y="1014"/>
                  </a:lnTo>
                  <a:lnTo>
                    <a:pt x="148" y="1002"/>
                  </a:lnTo>
                  <a:close/>
                  <a:moveTo>
                    <a:pt x="1506" y="1812"/>
                  </a:moveTo>
                  <a:lnTo>
                    <a:pt x="1506" y="1812"/>
                  </a:lnTo>
                  <a:lnTo>
                    <a:pt x="1506" y="1828"/>
                  </a:lnTo>
                  <a:lnTo>
                    <a:pt x="1506" y="1832"/>
                  </a:lnTo>
                  <a:lnTo>
                    <a:pt x="1506" y="1832"/>
                  </a:lnTo>
                  <a:lnTo>
                    <a:pt x="1508" y="1836"/>
                  </a:lnTo>
                  <a:lnTo>
                    <a:pt x="1510" y="1838"/>
                  </a:lnTo>
                  <a:lnTo>
                    <a:pt x="1512" y="1840"/>
                  </a:lnTo>
                  <a:lnTo>
                    <a:pt x="1514" y="1840"/>
                  </a:lnTo>
                  <a:lnTo>
                    <a:pt x="1518" y="1840"/>
                  </a:lnTo>
                  <a:lnTo>
                    <a:pt x="1518" y="1840"/>
                  </a:lnTo>
                  <a:lnTo>
                    <a:pt x="1524" y="1838"/>
                  </a:lnTo>
                  <a:lnTo>
                    <a:pt x="1530" y="1834"/>
                  </a:lnTo>
                  <a:lnTo>
                    <a:pt x="1532" y="1828"/>
                  </a:lnTo>
                  <a:lnTo>
                    <a:pt x="1532" y="1828"/>
                  </a:lnTo>
                  <a:lnTo>
                    <a:pt x="1532" y="1822"/>
                  </a:lnTo>
                  <a:lnTo>
                    <a:pt x="1530" y="1816"/>
                  </a:lnTo>
                  <a:lnTo>
                    <a:pt x="1514" y="1806"/>
                  </a:lnTo>
                  <a:lnTo>
                    <a:pt x="1514" y="1806"/>
                  </a:lnTo>
                  <a:lnTo>
                    <a:pt x="1510" y="1804"/>
                  </a:lnTo>
                  <a:lnTo>
                    <a:pt x="1508" y="1804"/>
                  </a:lnTo>
                  <a:lnTo>
                    <a:pt x="1508" y="1806"/>
                  </a:lnTo>
                  <a:lnTo>
                    <a:pt x="1506" y="1808"/>
                  </a:lnTo>
                  <a:lnTo>
                    <a:pt x="1506" y="1812"/>
                  </a:lnTo>
                  <a:close/>
                  <a:moveTo>
                    <a:pt x="1910" y="1994"/>
                  </a:moveTo>
                  <a:lnTo>
                    <a:pt x="1910" y="1994"/>
                  </a:lnTo>
                  <a:lnTo>
                    <a:pt x="1904" y="1980"/>
                  </a:lnTo>
                  <a:lnTo>
                    <a:pt x="1892" y="1964"/>
                  </a:lnTo>
                  <a:lnTo>
                    <a:pt x="1892" y="1964"/>
                  </a:lnTo>
                  <a:lnTo>
                    <a:pt x="1884" y="1952"/>
                  </a:lnTo>
                  <a:lnTo>
                    <a:pt x="1884" y="1952"/>
                  </a:lnTo>
                  <a:lnTo>
                    <a:pt x="1872" y="1942"/>
                  </a:lnTo>
                  <a:lnTo>
                    <a:pt x="1846" y="1914"/>
                  </a:lnTo>
                  <a:lnTo>
                    <a:pt x="1846" y="1914"/>
                  </a:lnTo>
                  <a:lnTo>
                    <a:pt x="1832" y="1904"/>
                  </a:lnTo>
                  <a:lnTo>
                    <a:pt x="1826" y="1902"/>
                  </a:lnTo>
                  <a:lnTo>
                    <a:pt x="1826" y="1902"/>
                  </a:lnTo>
                  <a:lnTo>
                    <a:pt x="1812" y="1896"/>
                  </a:lnTo>
                  <a:lnTo>
                    <a:pt x="1808" y="1892"/>
                  </a:lnTo>
                  <a:lnTo>
                    <a:pt x="1808" y="1892"/>
                  </a:lnTo>
                  <a:lnTo>
                    <a:pt x="1800" y="1888"/>
                  </a:lnTo>
                  <a:lnTo>
                    <a:pt x="1796" y="1882"/>
                  </a:lnTo>
                  <a:lnTo>
                    <a:pt x="1784" y="1866"/>
                  </a:lnTo>
                  <a:lnTo>
                    <a:pt x="1784" y="1866"/>
                  </a:lnTo>
                  <a:lnTo>
                    <a:pt x="1780" y="1862"/>
                  </a:lnTo>
                  <a:lnTo>
                    <a:pt x="1772" y="1860"/>
                  </a:lnTo>
                  <a:lnTo>
                    <a:pt x="1768" y="1860"/>
                  </a:lnTo>
                  <a:lnTo>
                    <a:pt x="1768" y="1860"/>
                  </a:lnTo>
                  <a:lnTo>
                    <a:pt x="1766" y="1860"/>
                  </a:lnTo>
                  <a:lnTo>
                    <a:pt x="1764" y="1862"/>
                  </a:lnTo>
                  <a:lnTo>
                    <a:pt x="1762" y="1864"/>
                  </a:lnTo>
                  <a:lnTo>
                    <a:pt x="1762" y="1868"/>
                  </a:lnTo>
                  <a:lnTo>
                    <a:pt x="1768" y="1890"/>
                  </a:lnTo>
                  <a:lnTo>
                    <a:pt x="1768" y="1890"/>
                  </a:lnTo>
                  <a:lnTo>
                    <a:pt x="1772" y="1898"/>
                  </a:lnTo>
                  <a:lnTo>
                    <a:pt x="1776" y="1904"/>
                  </a:lnTo>
                  <a:lnTo>
                    <a:pt x="1784" y="1912"/>
                  </a:lnTo>
                  <a:lnTo>
                    <a:pt x="1784" y="1912"/>
                  </a:lnTo>
                  <a:lnTo>
                    <a:pt x="1796" y="1924"/>
                  </a:lnTo>
                  <a:lnTo>
                    <a:pt x="1804" y="1932"/>
                  </a:lnTo>
                  <a:lnTo>
                    <a:pt x="1804" y="1932"/>
                  </a:lnTo>
                  <a:lnTo>
                    <a:pt x="1814" y="1942"/>
                  </a:lnTo>
                  <a:lnTo>
                    <a:pt x="1814" y="1942"/>
                  </a:lnTo>
                  <a:lnTo>
                    <a:pt x="1824" y="1956"/>
                  </a:lnTo>
                  <a:lnTo>
                    <a:pt x="1836" y="1980"/>
                  </a:lnTo>
                  <a:lnTo>
                    <a:pt x="1836" y="1980"/>
                  </a:lnTo>
                  <a:lnTo>
                    <a:pt x="1840" y="1986"/>
                  </a:lnTo>
                  <a:lnTo>
                    <a:pt x="1846" y="1992"/>
                  </a:lnTo>
                  <a:lnTo>
                    <a:pt x="1862" y="2002"/>
                  </a:lnTo>
                  <a:lnTo>
                    <a:pt x="1862" y="2002"/>
                  </a:lnTo>
                  <a:lnTo>
                    <a:pt x="1876" y="2012"/>
                  </a:lnTo>
                  <a:lnTo>
                    <a:pt x="1892" y="2022"/>
                  </a:lnTo>
                  <a:lnTo>
                    <a:pt x="1892" y="2022"/>
                  </a:lnTo>
                  <a:lnTo>
                    <a:pt x="1898" y="2024"/>
                  </a:lnTo>
                  <a:lnTo>
                    <a:pt x="1906" y="2022"/>
                  </a:lnTo>
                  <a:lnTo>
                    <a:pt x="1910" y="2020"/>
                  </a:lnTo>
                  <a:lnTo>
                    <a:pt x="1910" y="2020"/>
                  </a:lnTo>
                  <a:lnTo>
                    <a:pt x="1916" y="2016"/>
                  </a:lnTo>
                  <a:lnTo>
                    <a:pt x="1916" y="2008"/>
                  </a:lnTo>
                  <a:lnTo>
                    <a:pt x="1910" y="1994"/>
                  </a:lnTo>
                  <a:close/>
                  <a:moveTo>
                    <a:pt x="1004" y="2148"/>
                  </a:moveTo>
                  <a:lnTo>
                    <a:pt x="1004" y="2148"/>
                  </a:lnTo>
                  <a:lnTo>
                    <a:pt x="998" y="2154"/>
                  </a:lnTo>
                  <a:lnTo>
                    <a:pt x="994" y="2160"/>
                  </a:lnTo>
                  <a:lnTo>
                    <a:pt x="982" y="2176"/>
                  </a:lnTo>
                  <a:lnTo>
                    <a:pt x="982" y="2176"/>
                  </a:lnTo>
                  <a:lnTo>
                    <a:pt x="978" y="2182"/>
                  </a:lnTo>
                  <a:lnTo>
                    <a:pt x="970" y="2186"/>
                  </a:lnTo>
                  <a:lnTo>
                    <a:pt x="966" y="2188"/>
                  </a:lnTo>
                  <a:lnTo>
                    <a:pt x="966" y="2188"/>
                  </a:lnTo>
                  <a:lnTo>
                    <a:pt x="954" y="2198"/>
                  </a:lnTo>
                  <a:lnTo>
                    <a:pt x="954" y="2198"/>
                  </a:lnTo>
                  <a:lnTo>
                    <a:pt x="950" y="2202"/>
                  </a:lnTo>
                  <a:lnTo>
                    <a:pt x="950" y="2210"/>
                  </a:lnTo>
                  <a:lnTo>
                    <a:pt x="956" y="2234"/>
                  </a:lnTo>
                  <a:lnTo>
                    <a:pt x="956" y="2234"/>
                  </a:lnTo>
                  <a:lnTo>
                    <a:pt x="958" y="2242"/>
                  </a:lnTo>
                  <a:lnTo>
                    <a:pt x="956" y="2248"/>
                  </a:lnTo>
                  <a:lnTo>
                    <a:pt x="952" y="2264"/>
                  </a:lnTo>
                  <a:lnTo>
                    <a:pt x="952" y="2264"/>
                  </a:lnTo>
                  <a:lnTo>
                    <a:pt x="946" y="2278"/>
                  </a:lnTo>
                  <a:lnTo>
                    <a:pt x="942" y="2284"/>
                  </a:lnTo>
                  <a:lnTo>
                    <a:pt x="942" y="2284"/>
                  </a:lnTo>
                  <a:lnTo>
                    <a:pt x="940" y="2290"/>
                  </a:lnTo>
                  <a:lnTo>
                    <a:pt x="938" y="2298"/>
                  </a:lnTo>
                  <a:lnTo>
                    <a:pt x="938" y="2302"/>
                  </a:lnTo>
                  <a:lnTo>
                    <a:pt x="938" y="2302"/>
                  </a:lnTo>
                  <a:lnTo>
                    <a:pt x="938" y="2318"/>
                  </a:lnTo>
                  <a:lnTo>
                    <a:pt x="938" y="2322"/>
                  </a:lnTo>
                  <a:lnTo>
                    <a:pt x="938" y="2322"/>
                  </a:lnTo>
                  <a:lnTo>
                    <a:pt x="940" y="2328"/>
                  </a:lnTo>
                  <a:lnTo>
                    <a:pt x="944" y="2336"/>
                  </a:lnTo>
                  <a:lnTo>
                    <a:pt x="952" y="2344"/>
                  </a:lnTo>
                  <a:lnTo>
                    <a:pt x="952" y="2344"/>
                  </a:lnTo>
                  <a:lnTo>
                    <a:pt x="958" y="2346"/>
                  </a:lnTo>
                  <a:lnTo>
                    <a:pt x="966" y="2346"/>
                  </a:lnTo>
                  <a:lnTo>
                    <a:pt x="970" y="2342"/>
                  </a:lnTo>
                  <a:lnTo>
                    <a:pt x="970" y="2342"/>
                  </a:lnTo>
                  <a:lnTo>
                    <a:pt x="978" y="2340"/>
                  </a:lnTo>
                  <a:lnTo>
                    <a:pt x="986" y="2340"/>
                  </a:lnTo>
                  <a:lnTo>
                    <a:pt x="990" y="2340"/>
                  </a:lnTo>
                  <a:lnTo>
                    <a:pt x="990" y="2340"/>
                  </a:lnTo>
                  <a:lnTo>
                    <a:pt x="996" y="2338"/>
                  </a:lnTo>
                  <a:lnTo>
                    <a:pt x="1000" y="2332"/>
                  </a:lnTo>
                  <a:lnTo>
                    <a:pt x="1034" y="2210"/>
                  </a:lnTo>
                  <a:lnTo>
                    <a:pt x="1034" y="2210"/>
                  </a:lnTo>
                  <a:lnTo>
                    <a:pt x="1036" y="2194"/>
                  </a:lnTo>
                  <a:lnTo>
                    <a:pt x="1036" y="2190"/>
                  </a:lnTo>
                  <a:lnTo>
                    <a:pt x="1036" y="2190"/>
                  </a:lnTo>
                  <a:lnTo>
                    <a:pt x="1036" y="2174"/>
                  </a:lnTo>
                  <a:lnTo>
                    <a:pt x="1036" y="2160"/>
                  </a:lnTo>
                  <a:lnTo>
                    <a:pt x="1036" y="2160"/>
                  </a:lnTo>
                  <a:lnTo>
                    <a:pt x="1036" y="2154"/>
                  </a:lnTo>
                  <a:lnTo>
                    <a:pt x="1034" y="2146"/>
                  </a:lnTo>
                  <a:lnTo>
                    <a:pt x="1030" y="2140"/>
                  </a:lnTo>
                  <a:lnTo>
                    <a:pt x="1030" y="2140"/>
                  </a:lnTo>
                  <a:lnTo>
                    <a:pt x="1028" y="2138"/>
                  </a:lnTo>
                  <a:lnTo>
                    <a:pt x="1026" y="2136"/>
                  </a:lnTo>
                  <a:lnTo>
                    <a:pt x="1024" y="2136"/>
                  </a:lnTo>
                  <a:lnTo>
                    <a:pt x="1020" y="2138"/>
                  </a:lnTo>
                  <a:lnTo>
                    <a:pt x="1004" y="2148"/>
                  </a:lnTo>
                  <a:close/>
                  <a:moveTo>
                    <a:pt x="184" y="906"/>
                  </a:moveTo>
                  <a:lnTo>
                    <a:pt x="184" y="906"/>
                  </a:lnTo>
                  <a:lnTo>
                    <a:pt x="186" y="902"/>
                  </a:lnTo>
                  <a:lnTo>
                    <a:pt x="188" y="900"/>
                  </a:lnTo>
                  <a:lnTo>
                    <a:pt x="188" y="900"/>
                  </a:lnTo>
                  <a:lnTo>
                    <a:pt x="192" y="902"/>
                  </a:lnTo>
                  <a:lnTo>
                    <a:pt x="194" y="908"/>
                  </a:lnTo>
                  <a:lnTo>
                    <a:pt x="194" y="912"/>
                  </a:lnTo>
                  <a:lnTo>
                    <a:pt x="194" y="912"/>
                  </a:lnTo>
                  <a:lnTo>
                    <a:pt x="194" y="926"/>
                  </a:lnTo>
                  <a:lnTo>
                    <a:pt x="194" y="926"/>
                  </a:lnTo>
                  <a:lnTo>
                    <a:pt x="194" y="928"/>
                  </a:lnTo>
                  <a:lnTo>
                    <a:pt x="198" y="930"/>
                  </a:lnTo>
                  <a:lnTo>
                    <a:pt x="198" y="930"/>
                  </a:lnTo>
                  <a:lnTo>
                    <a:pt x="208" y="930"/>
                  </a:lnTo>
                  <a:lnTo>
                    <a:pt x="208" y="930"/>
                  </a:lnTo>
                  <a:lnTo>
                    <a:pt x="212" y="932"/>
                  </a:lnTo>
                  <a:lnTo>
                    <a:pt x="218" y="934"/>
                  </a:lnTo>
                  <a:lnTo>
                    <a:pt x="218" y="934"/>
                  </a:lnTo>
                  <a:lnTo>
                    <a:pt x="222" y="940"/>
                  </a:lnTo>
                  <a:lnTo>
                    <a:pt x="222" y="944"/>
                  </a:lnTo>
                  <a:lnTo>
                    <a:pt x="222" y="944"/>
                  </a:lnTo>
                  <a:lnTo>
                    <a:pt x="222" y="954"/>
                  </a:lnTo>
                  <a:lnTo>
                    <a:pt x="222" y="954"/>
                  </a:lnTo>
                  <a:lnTo>
                    <a:pt x="220" y="960"/>
                  </a:lnTo>
                  <a:lnTo>
                    <a:pt x="216" y="964"/>
                  </a:lnTo>
                  <a:lnTo>
                    <a:pt x="210" y="966"/>
                  </a:lnTo>
                  <a:lnTo>
                    <a:pt x="210" y="966"/>
                  </a:lnTo>
                  <a:lnTo>
                    <a:pt x="198" y="974"/>
                  </a:lnTo>
                  <a:lnTo>
                    <a:pt x="198" y="974"/>
                  </a:lnTo>
                  <a:lnTo>
                    <a:pt x="196" y="978"/>
                  </a:lnTo>
                  <a:lnTo>
                    <a:pt x="198" y="980"/>
                  </a:lnTo>
                  <a:lnTo>
                    <a:pt x="198" y="980"/>
                  </a:lnTo>
                  <a:lnTo>
                    <a:pt x="202" y="980"/>
                  </a:lnTo>
                  <a:lnTo>
                    <a:pt x="204" y="984"/>
                  </a:lnTo>
                  <a:lnTo>
                    <a:pt x="204" y="984"/>
                  </a:lnTo>
                  <a:lnTo>
                    <a:pt x="202" y="988"/>
                  </a:lnTo>
                  <a:lnTo>
                    <a:pt x="198" y="994"/>
                  </a:lnTo>
                  <a:lnTo>
                    <a:pt x="198" y="994"/>
                  </a:lnTo>
                  <a:lnTo>
                    <a:pt x="194" y="998"/>
                  </a:lnTo>
                  <a:lnTo>
                    <a:pt x="194" y="1004"/>
                  </a:lnTo>
                  <a:lnTo>
                    <a:pt x="194" y="1004"/>
                  </a:lnTo>
                  <a:lnTo>
                    <a:pt x="194" y="1008"/>
                  </a:lnTo>
                  <a:lnTo>
                    <a:pt x="198" y="1008"/>
                  </a:lnTo>
                  <a:lnTo>
                    <a:pt x="198" y="1008"/>
                  </a:lnTo>
                  <a:lnTo>
                    <a:pt x="208" y="1008"/>
                  </a:lnTo>
                  <a:lnTo>
                    <a:pt x="208" y="1008"/>
                  </a:lnTo>
                  <a:lnTo>
                    <a:pt x="210" y="1010"/>
                  </a:lnTo>
                  <a:lnTo>
                    <a:pt x="210" y="1010"/>
                  </a:lnTo>
                  <a:lnTo>
                    <a:pt x="210" y="1016"/>
                  </a:lnTo>
                  <a:lnTo>
                    <a:pt x="206" y="1020"/>
                  </a:lnTo>
                  <a:lnTo>
                    <a:pt x="206" y="1020"/>
                  </a:lnTo>
                  <a:lnTo>
                    <a:pt x="202" y="1028"/>
                  </a:lnTo>
                  <a:lnTo>
                    <a:pt x="196" y="1032"/>
                  </a:lnTo>
                  <a:lnTo>
                    <a:pt x="190" y="1034"/>
                  </a:lnTo>
                  <a:lnTo>
                    <a:pt x="190" y="1034"/>
                  </a:lnTo>
                  <a:lnTo>
                    <a:pt x="186" y="1038"/>
                  </a:lnTo>
                  <a:lnTo>
                    <a:pt x="184" y="1042"/>
                  </a:lnTo>
                  <a:lnTo>
                    <a:pt x="184" y="1042"/>
                  </a:lnTo>
                  <a:lnTo>
                    <a:pt x="186" y="1046"/>
                  </a:lnTo>
                  <a:lnTo>
                    <a:pt x="188" y="1048"/>
                  </a:lnTo>
                  <a:lnTo>
                    <a:pt x="188" y="1048"/>
                  </a:lnTo>
                  <a:lnTo>
                    <a:pt x="192" y="1046"/>
                  </a:lnTo>
                  <a:lnTo>
                    <a:pt x="194" y="1042"/>
                  </a:lnTo>
                  <a:lnTo>
                    <a:pt x="194" y="1042"/>
                  </a:lnTo>
                  <a:lnTo>
                    <a:pt x="194" y="1040"/>
                  </a:lnTo>
                  <a:lnTo>
                    <a:pt x="198" y="1038"/>
                  </a:lnTo>
                  <a:lnTo>
                    <a:pt x="198" y="1038"/>
                  </a:lnTo>
                  <a:lnTo>
                    <a:pt x="208" y="1038"/>
                  </a:lnTo>
                  <a:lnTo>
                    <a:pt x="208" y="1038"/>
                  </a:lnTo>
                  <a:lnTo>
                    <a:pt x="212" y="1036"/>
                  </a:lnTo>
                  <a:lnTo>
                    <a:pt x="218" y="1034"/>
                  </a:lnTo>
                  <a:lnTo>
                    <a:pt x="218" y="1034"/>
                  </a:lnTo>
                  <a:lnTo>
                    <a:pt x="222" y="1032"/>
                  </a:lnTo>
                  <a:lnTo>
                    <a:pt x="228" y="1034"/>
                  </a:lnTo>
                  <a:lnTo>
                    <a:pt x="228" y="1034"/>
                  </a:lnTo>
                  <a:lnTo>
                    <a:pt x="232" y="1036"/>
                  </a:lnTo>
                  <a:lnTo>
                    <a:pt x="238" y="1034"/>
                  </a:lnTo>
                  <a:lnTo>
                    <a:pt x="238" y="1034"/>
                  </a:lnTo>
                  <a:lnTo>
                    <a:pt x="244" y="1030"/>
                  </a:lnTo>
                  <a:lnTo>
                    <a:pt x="250" y="1028"/>
                  </a:lnTo>
                  <a:lnTo>
                    <a:pt x="254" y="1028"/>
                  </a:lnTo>
                  <a:lnTo>
                    <a:pt x="254" y="1028"/>
                  </a:lnTo>
                  <a:lnTo>
                    <a:pt x="262" y="1028"/>
                  </a:lnTo>
                  <a:lnTo>
                    <a:pt x="268" y="1024"/>
                  </a:lnTo>
                  <a:lnTo>
                    <a:pt x="274" y="1022"/>
                  </a:lnTo>
                  <a:lnTo>
                    <a:pt x="274" y="1022"/>
                  </a:lnTo>
                  <a:lnTo>
                    <a:pt x="280" y="1018"/>
                  </a:lnTo>
                  <a:lnTo>
                    <a:pt x="282" y="1014"/>
                  </a:lnTo>
                  <a:lnTo>
                    <a:pt x="282" y="1014"/>
                  </a:lnTo>
                  <a:lnTo>
                    <a:pt x="282" y="1008"/>
                  </a:lnTo>
                  <a:lnTo>
                    <a:pt x="286" y="1004"/>
                  </a:lnTo>
                  <a:lnTo>
                    <a:pt x="286" y="1004"/>
                  </a:lnTo>
                  <a:lnTo>
                    <a:pt x="290" y="998"/>
                  </a:lnTo>
                  <a:lnTo>
                    <a:pt x="290" y="990"/>
                  </a:lnTo>
                  <a:lnTo>
                    <a:pt x="290" y="988"/>
                  </a:lnTo>
                  <a:lnTo>
                    <a:pt x="290" y="988"/>
                  </a:lnTo>
                  <a:lnTo>
                    <a:pt x="290" y="982"/>
                  </a:lnTo>
                  <a:lnTo>
                    <a:pt x="286" y="980"/>
                  </a:lnTo>
                  <a:lnTo>
                    <a:pt x="286" y="980"/>
                  </a:lnTo>
                  <a:lnTo>
                    <a:pt x="276" y="980"/>
                  </a:lnTo>
                  <a:lnTo>
                    <a:pt x="276" y="980"/>
                  </a:lnTo>
                  <a:lnTo>
                    <a:pt x="272" y="978"/>
                  </a:lnTo>
                  <a:lnTo>
                    <a:pt x="272" y="974"/>
                  </a:lnTo>
                  <a:lnTo>
                    <a:pt x="272" y="974"/>
                  </a:lnTo>
                  <a:lnTo>
                    <a:pt x="272" y="964"/>
                  </a:lnTo>
                  <a:lnTo>
                    <a:pt x="272" y="964"/>
                  </a:lnTo>
                  <a:lnTo>
                    <a:pt x="268" y="952"/>
                  </a:lnTo>
                  <a:lnTo>
                    <a:pt x="266" y="946"/>
                  </a:lnTo>
                  <a:lnTo>
                    <a:pt x="266" y="946"/>
                  </a:lnTo>
                  <a:lnTo>
                    <a:pt x="256" y="934"/>
                  </a:lnTo>
                  <a:lnTo>
                    <a:pt x="256" y="934"/>
                  </a:lnTo>
                  <a:lnTo>
                    <a:pt x="252" y="930"/>
                  </a:lnTo>
                  <a:lnTo>
                    <a:pt x="250" y="922"/>
                  </a:lnTo>
                  <a:lnTo>
                    <a:pt x="244" y="908"/>
                  </a:lnTo>
                  <a:lnTo>
                    <a:pt x="244" y="908"/>
                  </a:lnTo>
                  <a:lnTo>
                    <a:pt x="242" y="902"/>
                  </a:lnTo>
                  <a:lnTo>
                    <a:pt x="238" y="900"/>
                  </a:lnTo>
                  <a:lnTo>
                    <a:pt x="238" y="900"/>
                  </a:lnTo>
                  <a:lnTo>
                    <a:pt x="232" y="900"/>
                  </a:lnTo>
                  <a:lnTo>
                    <a:pt x="228" y="896"/>
                  </a:lnTo>
                  <a:lnTo>
                    <a:pt x="228" y="896"/>
                  </a:lnTo>
                  <a:lnTo>
                    <a:pt x="226" y="890"/>
                  </a:lnTo>
                  <a:lnTo>
                    <a:pt x="226" y="884"/>
                  </a:lnTo>
                  <a:lnTo>
                    <a:pt x="228" y="878"/>
                  </a:lnTo>
                  <a:lnTo>
                    <a:pt x="228" y="878"/>
                  </a:lnTo>
                  <a:lnTo>
                    <a:pt x="232" y="866"/>
                  </a:lnTo>
                  <a:lnTo>
                    <a:pt x="232" y="866"/>
                  </a:lnTo>
                  <a:lnTo>
                    <a:pt x="234" y="862"/>
                  </a:lnTo>
                  <a:lnTo>
                    <a:pt x="238" y="856"/>
                  </a:lnTo>
                  <a:lnTo>
                    <a:pt x="238" y="856"/>
                  </a:lnTo>
                  <a:lnTo>
                    <a:pt x="238" y="854"/>
                  </a:lnTo>
                  <a:lnTo>
                    <a:pt x="238" y="852"/>
                  </a:lnTo>
                  <a:lnTo>
                    <a:pt x="236" y="848"/>
                  </a:lnTo>
                  <a:lnTo>
                    <a:pt x="230" y="846"/>
                  </a:lnTo>
                  <a:lnTo>
                    <a:pt x="230" y="846"/>
                  </a:lnTo>
                  <a:lnTo>
                    <a:pt x="224" y="844"/>
                  </a:lnTo>
                  <a:lnTo>
                    <a:pt x="218" y="846"/>
                  </a:lnTo>
                  <a:lnTo>
                    <a:pt x="218" y="846"/>
                  </a:lnTo>
                  <a:lnTo>
                    <a:pt x="212" y="848"/>
                  </a:lnTo>
                  <a:lnTo>
                    <a:pt x="208" y="846"/>
                  </a:lnTo>
                  <a:lnTo>
                    <a:pt x="208" y="846"/>
                  </a:lnTo>
                  <a:lnTo>
                    <a:pt x="206" y="840"/>
                  </a:lnTo>
                  <a:lnTo>
                    <a:pt x="206" y="834"/>
                  </a:lnTo>
                  <a:lnTo>
                    <a:pt x="210" y="830"/>
                  </a:lnTo>
                  <a:lnTo>
                    <a:pt x="210" y="830"/>
                  </a:lnTo>
                  <a:lnTo>
                    <a:pt x="210" y="824"/>
                  </a:lnTo>
                  <a:lnTo>
                    <a:pt x="210" y="822"/>
                  </a:lnTo>
                  <a:lnTo>
                    <a:pt x="208" y="822"/>
                  </a:lnTo>
                  <a:lnTo>
                    <a:pt x="208" y="822"/>
                  </a:lnTo>
                  <a:lnTo>
                    <a:pt x="198" y="822"/>
                  </a:lnTo>
                  <a:lnTo>
                    <a:pt x="198" y="822"/>
                  </a:lnTo>
                  <a:lnTo>
                    <a:pt x="194" y="824"/>
                  </a:lnTo>
                  <a:lnTo>
                    <a:pt x="190" y="830"/>
                  </a:lnTo>
                  <a:lnTo>
                    <a:pt x="188" y="834"/>
                  </a:lnTo>
                  <a:lnTo>
                    <a:pt x="188" y="834"/>
                  </a:lnTo>
                  <a:lnTo>
                    <a:pt x="178" y="846"/>
                  </a:lnTo>
                  <a:lnTo>
                    <a:pt x="178" y="846"/>
                  </a:lnTo>
                  <a:lnTo>
                    <a:pt x="176" y="852"/>
                  </a:lnTo>
                  <a:lnTo>
                    <a:pt x="174" y="856"/>
                  </a:lnTo>
                  <a:lnTo>
                    <a:pt x="174" y="856"/>
                  </a:lnTo>
                  <a:lnTo>
                    <a:pt x="174" y="866"/>
                  </a:lnTo>
                  <a:lnTo>
                    <a:pt x="174" y="866"/>
                  </a:lnTo>
                  <a:lnTo>
                    <a:pt x="174" y="876"/>
                  </a:lnTo>
                  <a:lnTo>
                    <a:pt x="174" y="876"/>
                  </a:lnTo>
                  <a:lnTo>
                    <a:pt x="174" y="888"/>
                  </a:lnTo>
                  <a:lnTo>
                    <a:pt x="174" y="892"/>
                  </a:lnTo>
                  <a:lnTo>
                    <a:pt x="174" y="892"/>
                  </a:lnTo>
                  <a:lnTo>
                    <a:pt x="176" y="900"/>
                  </a:lnTo>
                  <a:lnTo>
                    <a:pt x="178" y="906"/>
                  </a:lnTo>
                  <a:lnTo>
                    <a:pt x="178" y="906"/>
                  </a:lnTo>
                  <a:lnTo>
                    <a:pt x="182" y="908"/>
                  </a:lnTo>
                  <a:lnTo>
                    <a:pt x="184" y="906"/>
                  </a:lnTo>
                  <a:lnTo>
                    <a:pt x="184" y="906"/>
                  </a:lnTo>
                  <a:close/>
                  <a:moveTo>
                    <a:pt x="3012" y="2570"/>
                  </a:moveTo>
                  <a:lnTo>
                    <a:pt x="3012" y="2570"/>
                  </a:lnTo>
                  <a:lnTo>
                    <a:pt x="3004" y="2572"/>
                  </a:lnTo>
                  <a:lnTo>
                    <a:pt x="2996" y="2570"/>
                  </a:lnTo>
                  <a:lnTo>
                    <a:pt x="2992" y="2568"/>
                  </a:lnTo>
                  <a:lnTo>
                    <a:pt x="2992" y="2568"/>
                  </a:lnTo>
                  <a:lnTo>
                    <a:pt x="2986" y="2562"/>
                  </a:lnTo>
                  <a:lnTo>
                    <a:pt x="2980" y="2556"/>
                  </a:lnTo>
                  <a:lnTo>
                    <a:pt x="2978" y="2552"/>
                  </a:lnTo>
                  <a:lnTo>
                    <a:pt x="2978" y="2552"/>
                  </a:lnTo>
                  <a:lnTo>
                    <a:pt x="2976" y="2544"/>
                  </a:lnTo>
                  <a:lnTo>
                    <a:pt x="2974" y="2536"/>
                  </a:lnTo>
                  <a:lnTo>
                    <a:pt x="2974" y="2532"/>
                  </a:lnTo>
                  <a:lnTo>
                    <a:pt x="2974" y="2532"/>
                  </a:lnTo>
                  <a:lnTo>
                    <a:pt x="2972" y="2526"/>
                  </a:lnTo>
                  <a:lnTo>
                    <a:pt x="2968" y="2522"/>
                  </a:lnTo>
                  <a:lnTo>
                    <a:pt x="2962" y="2518"/>
                  </a:lnTo>
                  <a:lnTo>
                    <a:pt x="2962" y="2518"/>
                  </a:lnTo>
                  <a:lnTo>
                    <a:pt x="2958" y="2518"/>
                  </a:lnTo>
                  <a:lnTo>
                    <a:pt x="2958" y="2522"/>
                  </a:lnTo>
                  <a:lnTo>
                    <a:pt x="2970" y="2548"/>
                  </a:lnTo>
                  <a:lnTo>
                    <a:pt x="2970" y="2548"/>
                  </a:lnTo>
                  <a:lnTo>
                    <a:pt x="2974" y="2554"/>
                  </a:lnTo>
                  <a:lnTo>
                    <a:pt x="2974" y="2562"/>
                  </a:lnTo>
                  <a:lnTo>
                    <a:pt x="2974" y="2566"/>
                  </a:lnTo>
                  <a:lnTo>
                    <a:pt x="2974" y="2566"/>
                  </a:lnTo>
                  <a:lnTo>
                    <a:pt x="2974" y="2574"/>
                  </a:lnTo>
                  <a:lnTo>
                    <a:pt x="2970" y="2580"/>
                  </a:lnTo>
                  <a:lnTo>
                    <a:pt x="2960" y="2596"/>
                  </a:lnTo>
                  <a:lnTo>
                    <a:pt x="2960" y="2596"/>
                  </a:lnTo>
                  <a:lnTo>
                    <a:pt x="2958" y="2600"/>
                  </a:lnTo>
                  <a:lnTo>
                    <a:pt x="2958" y="2602"/>
                  </a:lnTo>
                  <a:lnTo>
                    <a:pt x="2960" y="2604"/>
                  </a:lnTo>
                  <a:lnTo>
                    <a:pt x="2962" y="2606"/>
                  </a:lnTo>
                  <a:lnTo>
                    <a:pt x="2968" y="2610"/>
                  </a:lnTo>
                  <a:lnTo>
                    <a:pt x="2968" y="2610"/>
                  </a:lnTo>
                  <a:lnTo>
                    <a:pt x="2972" y="2614"/>
                  </a:lnTo>
                  <a:lnTo>
                    <a:pt x="2974" y="2620"/>
                  </a:lnTo>
                  <a:lnTo>
                    <a:pt x="2974" y="2624"/>
                  </a:lnTo>
                  <a:lnTo>
                    <a:pt x="2974" y="2624"/>
                  </a:lnTo>
                  <a:lnTo>
                    <a:pt x="2976" y="2632"/>
                  </a:lnTo>
                  <a:lnTo>
                    <a:pt x="2980" y="2638"/>
                  </a:lnTo>
                  <a:lnTo>
                    <a:pt x="2980" y="2638"/>
                  </a:lnTo>
                  <a:lnTo>
                    <a:pt x="2982" y="2638"/>
                  </a:lnTo>
                  <a:lnTo>
                    <a:pt x="2984" y="2638"/>
                  </a:lnTo>
                  <a:lnTo>
                    <a:pt x="2990" y="2636"/>
                  </a:lnTo>
                  <a:lnTo>
                    <a:pt x="2998" y="2628"/>
                  </a:lnTo>
                  <a:lnTo>
                    <a:pt x="2998" y="2628"/>
                  </a:lnTo>
                  <a:lnTo>
                    <a:pt x="3002" y="2622"/>
                  </a:lnTo>
                  <a:lnTo>
                    <a:pt x="3004" y="2614"/>
                  </a:lnTo>
                  <a:lnTo>
                    <a:pt x="3004" y="2610"/>
                  </a:lnTo>
                  <a:lnTo>
                    <a:pt x="3004" y="2610"/>
                  </a:lnTo>
                  <a:lnTo>
                    <a:pt x="3006" y="2604"/>
                  </a:lnTo>
                  <a:lnTo>
                    <a:pt x="3008" y="2598"/>
                  </a:lnTo>
                  <a:lnTo>
                    <a:pt x="3008" y="2598"/>
                  </a:lnTo>
                  <a:lnTo>
                    <a:pt x="3018" y="2588"/>
                  </a:lnTo>
                  <a:lnTo>
                    <a:pt x="3018" y="2588"/>
                  </a:lnTo>
                  <a:lnTo>
                    <a:pt x="3028" y="2578"/>
                  </a:lnTo>
                  <a:lnTo>
                    <a:pt x="3028" y="2578"/>
                  </a:lnTo>
                  <a:lnTo>
                    <a:pt x="3030" y="2574"/>
                  </a:lnTo>
                  <a:lnTo>
                    <a:pt x="3028" y="2568"/>
                  </a:lnTo>
                  <a:lnTo>
                    <a:pt x="3028" y="2568"/>
                  </a:lnTo>
                  <a:lnTo>
                    <a:pt x="3024" y="2566"/>
                  </a:lnTo>
                  <a:lnTo>
                    <a:pt x="3016" y="2568"/>
                  </a:lnTo>
                  <a:lnTo>
                    <a:pt x="3012" y="2570"/>
                  </a:lnTo>
                  <a:close/>
                  <a:moveTo>
                    <a:pt x="490" y="1328"/>
                  </a:moveTo>
                  <a:lnTo>
                    <a:pt x="490" y="1328"/>
                  </a:lnTo>
                  <a:lnTo>
                    <a:pt x="494" y="1328"/>
                  </a:lnTo>
                  <a:lnTo>
                    <a:pt x="496" y="1328"/>
                  </a:lnTo>
                  <a:lnTo>
                    <a:pt x="498" y="1326"/>
                  </a:lnTo>
                  <a:lnTo>
                    <a:pt x="498" y="1324"/>
                  </a:lnTo>
                  <a:lnTo>
                    <a:pt x="498" y="1320"/>
                  </a:lnTo>
                  <a:lnTo>
                    <a:pt x="498" y="1320"/>
                  </a:lnTo>
                  <a:lnTo>
                    <a:pt x="498" y="1306"/>
                  </a:lnTo>
                  <a:lnTo>
                    <a:pt x="498" y="1306"/>
                  </a:lnTo>
                  <a:lnTo>
                    <a:pt x="496" y="1304"/>
                  </a:lnTo>
                  <a:lnTo>
                    <a:pt x="490" y="1302"/>
                  </a:lnTo>
                  <a:lnTo>
                    <a:pt x="486" y="1302"/>
                  </a:lnTo>
                  <a:lnTo>
                    <a:pt x="486" y="1302"/>
                  </a:lnTo>
                  <a:lnTo>
                    <a:pt x="470" y="1304"/>
                  </a:lnTo>
                  <a:lnTo>
                    <a:pt x="456" y="1310"/>
                  </a:lnTo>
                  <a:lnTo>
                    <a:pt x="456" y="1310"/>
                  </a:lnTo>
                  <a:lnTo>
                    <a:pt x="454" y="1312"/>
                  </a:lnTo>
                  <a:lnTo>
                    <a:pt x="456" y="1314"/>
                  </a:lnTo>
                  <a:lnTo>
                    <a:pt x="470" y="1320"/>
                  </a:lnTo>
                  <a:lnTo>
                    <a:pt x="470" y="1320"/>
                  </a:lnTo>
                  <a:lnTo>
                    <a:pt x="486" y="1326"/>
                  </a:lnTo>
                  <a:lnTo>
                    <a:pt x="490" y="1328"/>
                  </a:lnTo>
                  <a:close/>
                  <a:moveTo>
                    <a:pt x="2940" y="2636"/>
                  </a:moveTo>
                  <a:lnTo>
                    <a:pt x="2940" y="2636"/>
                  </a:lnTo>
                  <a:lnTo>
                    <a:pt x="2938" y="2636"/>
                  </a:lnTo>
                  <a:lnTo>
                    <a:pt x="2936" y="2636"/>
                  </a:lnTo>
                  <a:lnTo>
                    <a:pt x="2932" y="2640"/>
                  </a:lnTo>
                  <a:lnTo>
                    <a:pt x="2928" y="2644"/>
                  </a:lnTo>
                  <a:lnTo>
                    <a:pt x="2928" y="2644"/>
                  </a:lnTo>
                  <a:lnTo>
                    <a:pt x="2922" y="2658"/>
                  </a:lnTo>
                  <a:lnTo>
                    <a:pt x="2920" y="2664"/>
                  </a:lnTo>
                  <a:lnTo>
                    <a:pt x="2920" y="2664"/>
                  </a:lnTo>
                  <a:lnTo>
                    <a:pt x="2910" y="2676"/>
                  </a:lnTo>
                  <a:lnTo>
                    <a:pt x="2910" y="2676"/>
                  </a:lnTo>
                  <a:lnTo>
                    <a:pt x="2906" y="2680"/>
                  </a:lnTo>
                  <a:lnTo>
                    <a:pt x="2898" y="2684"/>
                  </a:lnTo>
                  <a:lnTo>
                    <a:pt x="2884" y="2688"/>
                  </a:lnTo>
                  <a:lnTo>
                    <a:pt x="2884" y="2688"/>
                  </a:lnTo>
                  <a:lnTo>
                    <a:pt x="2878" y="2692"/>
                  </a:lnTo>
                  <a:lnTo>
                    <a:pt x="2872" y="2698"/>
                  </a:lnTo>
                  <a:lnTo>
                    <a:pt x="2870" y="2704"/>
                  </a:lnTo>
                  <a:lnTo>
                    <a:pt x="2870" y="2704"/>
                  </a:lnTo>
                  <a:lnTo>
                    <a:pt x="2864" y="2718"/>
                  </a:lnTo>
                  <a:lnTo>
                    <a:pt x="2860" y="2732"/>
                  </a:lnTo>
                  <a:lnTo>
                    <a:pt x="2860" y="2732"/>
                  </a:lnTo>
                  <a:lnTo>
                    <a:pt x="2858" y="2740"/>
                  </a:lnTo>
                  <a:lnTo>
                    <a:pt x="2862" y="2746"/>
                  </a:lnTo>
                  <a:lnTo>
                    <a:pt x="2862" y="2746"/>
                  </a:lnTo>
                  <a:lnTo>
                    <a:pt x="2874" y="2754"/>
                  </a:lnTo>
                  <a:lnTo>
                    <a:pt x="2880" y="2756"/>
                  </a:lnTo>
                  <a:lnTo>
                    <a:pt x="2880" y="2756"/>
                  </a:lnTo>
                  <a:lnTo>
                    <a:pt x="2886" y="2758"/>
                  </a:lnTo>
                  <a:lnTo>
                    <a:pt x="2894" y="2756"/>
                  </a:lnTo>
                  <a:lnTo>
                    <a:pt x="2898" y="2754"/>
                  </a:lnTo>
                  <a:lnTo>
                    <a:pt x="2898" y="2754"/>
                  </a:lnTo>
                  <a:lnTo>
                    <a:pt x="2904" y="2750"/>
                  </a:lnTo>
                  <a:lnTo>
                    <a:pt x="2908" y="2742"/>
                  </a:lnTo>
                  <a:lnTo>
                    <a:pt x="2914" y="2728"/>
                  </a:lnTo>
                  <a:lnTo>
                    <a:pt x="2914" y="2728"/>
                  </a:lnTo>
                  <a:lnTo>
                    <a:pt x="2916" y="2712"/>
                  </a:lnTo>
                  <a:lnTo>
                    <a:pt x="2916" y="2708"/>
                  </a:lnTo>
                  <a:lnTo>
                    <a:pt x="2916" y="2708"/>
                  </a:lnTo>
                  <a:lnTo>
                    <a:pt x="2918" y="2702"/>
                  </a:lnTo>
                  <a:lnTo>
                    <a:pt x="2922" y="2696"/>
                  </a:lnTo>
                  <a:lnTo>
                    <a:pt x="2930" y="2686"/>
                  </a:lnTo>
                  <a:lnTo>
                    <a:pt x="2930" y="2686"/>
                  </a:lnTo>
                  <a:lnTo>
                    <a:pt x="2940" y="2676"/>
                  </a:lnTo>
                  <a:lnTo>
                    <a:pt x="2940" y="2676"/>
                  </a:lnTo>
                  <a:lnTo>
                    <a:pt x="2952" y="2668"/>
                  </a:lnTo>
                  <a:lnTo>
                    <a:pt x="2958" y="2666"/>
                  </a:lnTo>
                  <a:lnTo>
                    <a:pt x="2958" y="2666"/>
                  </a:lnTo>
                  <a:lnTo>
                    <a:pt x="2962" y="2660"/>
                  </a:lnTo>
                  <a:lnTo>
                    <a:pt x="2964" y="2654"/>
                  </a:lnTo>
                  <a:lnTo>
                    <a:pt x="2964" y="2650"/>
                  </a:lnTo>
                  <a:lnTo>
                    <a:pt x="2964" y="2650"/>
                  </a:lnTo>
                  <a:lnTo>
                    <a:pt x="2964" y="2646"/>
                  </a:lnTo>
                  <a:lnTo>
                    <a:pt x="2962" y="2644"/>
                  </a:lnTo>
                  <a:lnTo>
                    <a:pt x="2960" y="2642"/>
                  </a:lnTo>
                  <a:lnTo>
                    <a:pt x="2956" y="2642"/>
                  </a:lnTo>
                  <a:lnTo>
                    <a:pt x="2954" y="2642"/>
                  </a:lnTo>
                  <a:lnTo>
                    <a:pt x="2954" y="2642"/>
                  </a:lnTo>
                  <a:lnTo>
                    <a:pt x="2946" y="2640"/>
                  </a:lnTo>
                  <a:lnTo>
                    <a:pt x="2940" y="2636"/>
                  </a:lnTo>
                  <a:lnTo>
                    <a:pt x="2940" y="2636"/>
                  </a:lnTo>
                  <a:close/>
                  <a:moveTo>
                    <a:pt x="406" y="1248"/>
                  </a:moveTo>
                  <a:lnTo>
                    <a:pt x="406" y="1248"/>
                  </a:lnTo>
                  <a:lnTo>
                    <a:pt x="402" y="1254"/>
                  </a:lnTo>
                  <a:lnTo>
                    <a:pt x="400" y="1260"/>
                  </a:lnTo>
                  <a:lnTo>
                    <a:pt x="400" y="1274"/>
                  </a:lnTo>
                  <a:lnTo>
                    <a:pt x="400" y="1274"/>
                  </a:lnTo>
                  <a:lnTo>
                    <a:pt x="400" y="1278"/>
                  </a:lnTo>
                  <a:lnTo>
                    <a:pt x="402" y="1280"/>
                  </a:lnTo>
                  <a:lnTo>
                    <a:pt x="404" y="1282"/>
                  </a:lnTo>
                  <a:lnTo>
                    <a:pt x="408" y="1282"/>
                  </a:lnTo>
                  <a:lnTo>
                    <a:pt x="412" y="1282"/>
                  </a:lnTo>
                  <a:lnTo>
                    <a:pt x="412" y="1282"/>
                  </a:lnTo>
                  <a:lnTo>
                    <a:pt x="416" y="1282"/>
                  </a:lnTo>
                  <a:lnTo>
                    <a:pt x="418" y="1280"/>
                  </a:lnTo>
                  <a:lnTo>
                    <a:pt x="420" y="1278"/>
                  </a:lnTo>
                  <a:lnTo>
                    <a:pt x="420" y="1274"/>
                  </a:lnTo>
                  <a:lnTo>
                    <a:pt x="420" y="1270"/>
                  </a:lnTo>
                  <a:lnTo>
                    <a:pt x="420" y="1270"/>
                  </a:lnTo>
                  <a:lnTo>
                    <a:pt x="418" y="1262"/>
                  </a:lnTo>
                  <a:lnTo>
                    <a:pt x="416" y="1256"/>
                  </a:lnTo>
                  <a:lnTo>
                    <a:pt x="414" y="1250"/>
                  </a:lnTo>
                  <a:lnTo>
                    <a:pt x="414" y="1250"/>
                  </a:lnTo>
                  <a:lnTo>
                    <a:pt x="412" y="1248"/>
                  </a:lnTo>
                  <a:lnTo>
                    <a:pt x="410" y="1246"/>
                  </a:lnTo>
                  <a:lnTo>
                    <a:pt x="408" y="1246"/>
                  </a:lnTo>
                  <a:lnTo>
                    <a:pt x="406" y="1248"/>
                  </a:lnTo>
                  <a:lnTo>
                    <a:pt x="406" y="1248"/>
                  </a:lnTo>
                  <a:close/>
                  <a:moveTo>
                    <a:pt x="2286" y="1412"/>
                  </a:moveTo>
                  <a:lnTo>
                    <a:pt x="2286" y="1412"/>
                  </a:lnTo>
                  <a:lnTo>
                    <a:pt x="2290" y="1424"/>
                  </a:lnTo>
                  <a:lnTo>
                    <a:pt x="2290" y="1424"/>
                  </a:lnTo>
                  <a:lnTo>
                    <a:pt x="2290" y="1426"/>
                  </a:lnTo>
                  <a:lnTo>
                    <a:pt x="2292" y="1426"/>
                  </a:lnTo>
                  <a:lnTo>
                    <a:pt x="2296" y="1426"/>
                  </a:lnTo>
                  <a:lnTo>
                    <a:pt x="2302" y="1422"/>
                  </a:lnTo>
                  <a:lnTo>
                    <a:pt x="2302" y="1422"/>
                  </a:lnTo>
                  <a:lnTo>
                    <a:pt x="2306" y="1418"/>
                  </a:lnTo>
                  <a:lnTo>
                    <a:pt x="2308" y="1410"/>
                  </a:lnTo>
                  <a:lnTo>
                    <a:pt x="2308" y="1408"/>
                  </a:lnTo>
                  <a:lnTo>
                    <a:pt x="2308" y="1408"/>
                  </a:lnTo>
                  <a:lnTo>
                    <a:pt x="2308" y="1394"/>
                  </a:lnTo>
                  <a:lnTo>
                    <a:pt x="2308" y="1394"/>
                  </a:lnTo>
                  <a:lnTo>
                    <a:pt x="2308" y="1392"/>
                  </a:lnTo>
                  <a:lnTo>
                    <a:pt x="2306" y="1392"/>
                  </a:lnTo>
                  <a:lnTo>
                    <a:pt x="2302" y="1392"/>
                  </a:lnTo>
                  <a:lnTo>
                    <a:pt x="2288" y="1396"/>
                  </a:lnTo>
                  <a:lnTo>
                    <a:pt x="2288" y="1396"/>
                  </a:lnTo>
                  <a:lnTo>
                    <a:pt x="2284" y="1398"/>
                  </a:lnTo>
                  <a:lnTo>
                    <a:pt x="2284" y="1400"/>
                  </a:lnTo>
                  <a:lnTo>
                    <a:pt x="2282" y="1404"/>
                  </a:lnTo>
                  <a:lnTo>
                    <a:pt x="2284" y="1406"/>
                  </a:lnTo>
                  <a:lnTo>
                    <a:pt x="2286" y="1412"/>
                  </a:lnTo>
                  <a:close/>
                  <a:moveTo>
                    <a:pt x="414" y="1210"/>
                  </a:moveTo>
                  <a:lnTo>
                    <a:pt x="414" y="1210"/>
                  </a:lnTo>
                  <a:lnTo>
                    <a:pt x="412" y="1208"/>
                  </a:lnTo>
                  <a:lnTo>
                    <a:pt x="410" y="1206"/>
                  </a:lnTo>
                  <a:lnTo>
                    <a:pt x="406" y="1206"/>
                  </a:lnTo>
                  <a:lnTo>
                    <a:pt x="404" y="1208"/>
                  </a:lnTo>
                  <a:lnTo>
                    <a:pt x="398" y="1210"/>
                  </a:lnTo>
                  <a:lnTo>
                    <a:pt x="398" y="1210"/>
                  </a:lnTo>
                  <a:lnTo>
                    <a:pt x="396" y="1212"/>
                  </a:lnTo>
                  <a:lnTo>
                    <a:pt x="394" y="1214"/>
                  </a:lnTo>
                  <a:lnTo>
                    <a:pt x="394" y="1216"/>
                  </a:lnTo>
                  <a:lnTo>
                    <a:pt x="396" y="1220"/>
                  </a:lnTo>
                  <a:lnTo>
                    <a:pt x="404" y="1228"/>
                  </a:lnTo>
                  <a:lnTo>
                    <a:pt x="404" y="1228"/>
                  </a:lnTo>
                  <a:lnTo>
                    <a:pt x="410" y="1230"/>
                  </a:lnTo>
                  <a:lnTo>
                    <a:pt x="412" y="1230"/>
                  </a:lnTo>
                  <a:lnTo>
                    <a:pt x="416" y="1228"/>
                  </a:lnTo>
                  <a:lnTo>
                    <a:pt x="416" y="1228"/>
                  </a:lnTo>
                  <a:lnTo>
                    <a:pt x="418" y="1224"/>
                  </a:lnTo>
                  <a:lnTo>
                    <a:pt x="416" y="1216"/>
                  </a:lnTo>
                  <a:lnTo>
                    <a:pt x="414" y="1210"/>
                  </a:lnTo>
                  <a:close/>
                  <a:moveTo>
                    <a:pt x="2302" y="1960"/>
                  </a:moveTo>
                  <a:lnTo>
                    <a:pt x="2302" y="1960"/>
                  </a:lnTo>
                  <a:lnTo>
                    <a:pt x="2302" y="1962"/>
                  </a:lnTo>
                  <a:lnTo>
                    <a:pt x="2302" y="1966"/>
                  </a:lnTo>
                  <a:lnTo>
                    <a:pt x="2304" y="1968"/>
                  </a:lnTo>
                  <a:lnTo>
                    <a:pt x="2306" y="1970"/>
                  </a:lnTo>
                  <a:lnTo>
                    <a:pt x="2312" y="1974"/>
                  </a:lnTo>
                  <a:lnTo>
                    <a:pt x="2312" y="1974"/>
                  </a:lnTo>
                  <a:lnTo>
                    <a:pt x="2324" y="1982"/>
                  </a:lnTo>
                  <a:lnTo>
                    <a:pt x="2324" y="1982"/>
                  </a:lnTo>
                  <a:lnTo>
                    <a:pt x="2326" y="1988"/>
                  </a:lnTo>
                  <a:lnTo>
                    <a:pt x="2328" y="1994"/>
                  </a:lnTo>
                  <a:lnTo>
                    <a:pt x="2328" y="1998"/>
                  </a:lnTo>
                  <a:lnTo>
                    <a:pt x="2328" y="1998"/>
                  </a:lnTo>
                  <a:lnTo>
                    <a:pt x="2328" y="2002"/>
                  </a:lnTo>
                  <a:lnTo>
                    <a:pt x="2330" y="2004"/>
                  </a:lnTo>
                  <a:lnTo>
                    <a:pt x="2334" y="2006"/>
                  </a:lnTo>
                  <a:lnTo>
                    <a:pt x="2336" y="2006"/>
                  </a:lnTo>
                  <a:lnTo>
                    <a:pt x="2340" y="2006"/>
                  </a:lnTo>
                  <a:lnTo>
                    <a:pt x="2340" y="2006"/>
                  </a:lnTo>
                  <a:lnTo>
                    <a:pt x="2352" y="2006"/>
                  </a:lnTo>
                  <a:lnTo>
                    <a:pt x="2352" y="2006"/>
                  </a:lnTo>
                  <a:lnTo>
                    <a:pt x="2358" y="2008"/>
                  </a:lnTo>
                  <a:lnTo>
                    <a:pt x="2364" y="2010"/>
                  </a:lnTo>
                  <a:lnTo>
                    <a:pt x="2380" y="2022"/>
                  </a:lnTo>
                  <a:lnTo>
                    <a:pt x="2380" y="2022"/>
                  </a:lnTo>
                  <a:lnTo>
                    <a:pt x="2394" y="2030"/>
                  </a:lnTo>
                  <a:lnTo>
                    <a:pt x="2420" y="2042"/>
                  </a:lnTo>
                  <a:lnTo>
                    <a:pt x="2420" y="2042"/>
                  </a:lnTo>
                  <a:lnTo>
                    <a:pt x="2424" y="2046"/>
                  </a:lnTo>
                  <a:lnTo>
                    <a:pt x="2426" y="2050"/>
                  </a:lnTo>
                  <a:lnTo>
                    <a:pt x="2426" y="2050"/>
                  </a:lnTo>
                  <a:lnTo>
                    <a:pt x="2424" y="2054"/>
                  </a:lnTo>
                  <a:lnTo>
                    <a:pt x="2420" y="2058"/>
                  </a:lnTo>
                  <a:lnTo>
                    <a:pt x="2414" y="2062"/>
                  </a:lnTo>
                  <a:lnTo>
                    <a:pt x="2414" y="2062"/>
                  </a:lnTo>
                  <a:lnTo>
                    <a:pt x="2410" y="2064"/>
                  </a:lnTo>
                  <a:lnTo>
                    <a:pt x="2414" y="2066"/>
                  </a:lnTo>
                  <a:lnTo>
                    <a:pt x="2418" y="2066"/>
                  </a:lnTo>
                  <a:lnTo>
                    <a:pt x="2418" y="2066"/>
                  </a:lnTo>
                  <a:lnTo>
                    <a:pt x="2426" y="2066"/>
                  </a:lnTo>
                  <a:lnTo>
                    <a:pt x="2434" y="2068"/>
                  </a:lnTo>
                  <a:lnTo>
                    <a:pt x="2438" y="2072"/>
                  </a:lnTo>
                  <a:lnTo>
                    <a:pt x="2438" y="2072"/>
                  </a:lnTo>
                  <a:lnTo>
                    <a:pt x="2452" y="2078"/>
                  </a:lnTo>
                  <a:lnTo>
                    <a:pt x="2458" y="2082"/>
                  </a:lnTo>
                  <a:lnTo>
                    <a:pt x="2458" y="2082"/>
                  </a:lnTo>
                  <a:lnTo>
                    <a:pt x="2470" y="2084"/>
                  </a:lnTo>
                  <a:lnTo>
                    <a:pt x="2470" y="2084"/>
                  </a:lnTo>
                  <a:lnTo>
                    <a:pt x="2476" y="2084"/>
                  </a:lnTo>
                  <a:lnTo>
                    <a:pt x="2480" y="2080"/>
                  </a:lnTo>
                  <a:lnTo>
                    <a:pt x="2488" y="2070"/>
                  </a:lnTo>
                  <a:lnTo>
                    <a:pt x="2488" y="2070"/>
                  </a:lnTo>
                  <a:lnTo>
                    <a:pt x="2502" y="2062"/>
                  </a:lnTo>
                  <a:lnTo>
                    <a:pt x="2508" y="2058"/>
                  </a:lnTo>
                  <a:lnTo>
                    <a:pt x="2508" y="2058"/>
                  </a:lnTo>
                  <a:lnTo>
                    <a:pt x="2514" y="2058"/>
                  </a:lnTo>
                  <a:lnTo>
                    <a:pt x="2522" y="2058"/>
                  </a:lnTo>
                  <a:lnTo>
                    <a:pt x="2526" y="2062"/>
                  </a:lnTo>
                  <a:lnTo>
                    <a:pt x="2526" y="2062"/>
                  </a:lnTo>
                  <a:lnTo>
                    <a:pt x="2540" y="2070"/>
                  </a:lnTo>
                  <a:lnTo>
                    <a:pt x="2558" y="2088"/>
                  </a:lnTo>
                  <a:lnTo>
                    <a:pt x="2558" y="2088"/>
                  </a:lnTo>
                  <a:lnTo>
                    <a:pt x="2570" y="2098"/>
                  </a:lnTo>
                  <a:lnTo>
                    <a:pt x="2576" y="2100"/>
                  </a:lnTo>
                  <a:lnTo>
                    <a:pt x="2576" y="2100"/>
                  </a:lnTo>
                  <a:lnTo>
                    <a:pt x="2578" y="2102"/>
                  </a:lnTo>
                  <a:lnTo>
                    <a:pt x="2580" y="2100"/>
                  </a:lnTo>
                  <a:lnTo>
                    <a:pt x="2582" y="2100"/>
                  </a:lnTo>
                  <a:lnTo>
                    <a:pt x="2582" y="2096"/>
                  </a:lnTo>
                  <a:lnTo>
                    <a:pt x="2582" y="2082"/>
                  </a:lnTo>
                  <a:lnTo>
                    <a:pt x="2582" y="2082"/>
                  </a:lnTo>
                  <a:lnTo>
                    <a:pt x="2580" y="2076"/>
                  </a:lnTo>
                  <a:lnTo>
                    <a:pt x="2576" y="2072"/>
                  </a:lnTo>
                  <a:lnTo>
                    <a:pt x="2560" y="2068"/>
                  </a:lnTo>
                  <a:lnTo>
                    <a:pt x="2560" y="2068"/>
                  </a:lnTo>
                  <a:lnTo>
                    <a:pt x="2556" y="2064"/>
                  </a:lnTo>
                  <a:lnTo>
                    <a:pt x="2554" y="2058"/>
                  </a:lnTo>
                  <a:lnTo>
                    <a:pt x="2554" y="2054"/>
                  </a:lnTo>
                  <a:lnTo>
                    <a:pt x="2554" y="2054"/>
                  </a:lnTo>
                  <a:lnTo>
                    <a:pt x="2554" y="2046"/>
                  </a:lnTo>
                  <a:lnTo>
                    <a:pt x="2558" y="2040"/>
                  </a:lnTo>
                  <a:lnTo>
                    <a:pt x="2558" y="2040"/>
                  </a:lnTo>
                  <a:lnTo>
                    <a:pt x="2560" y="2038"/>
                  </a:lnTo>
                  <a:lnTo>
                    <a:pt x="2560" y="2036"/>
                  </a:lnTo>
                  <a:lnTo>
                    <a:pt x="2556" y="2034"/>
                  </a:lnTo>
                  <a:lnTo>
                    <a:pt x="2542" y="2028"/>
                  </a:lnTo>
                  <a:lnTo>
                    <a:pt x="2542" y="2028"/>
                  </a:lnTo>
                  <a:lnTo>
                    <a:pt x="2534" y="2024"/>
                  </a:lnTo>
                  <a:lnTo>
                    <a:pt x="2530" y="2018"/>
                  </a:lnTo>
                  <a:lnTo>
                    <a:pt x="2528" y="2014"/>
                  </a:lnTo>
                  <a:lnTo>
                    <a:pt x="2528" y="2014"/>
                  </a:lnTo>
                  <a:lnTo>
                    <a:pt x="2524" y="2006"/>
                  </a:lnTo>
                  <a:lnTo>
                    <a:pt x="2518" y="2002"/>
                  </a:lnTo>
                  <a:lnTo>
                    <a:pt x="2502" y="1992"/>
                  </a:lnTo>
                  <a:lnTo>
                    <a:pt x="2502" y="1992"/>
                  </a:lnTo>
                  <a:lnTo>
                    <a:pt x="2486" y="1984"/>
                  </a:lnTo>
                  <a:lnTo>
                    <a:pt x="2424" y="1968"/>
                  </a:lnTo>
                  <a:lnTo>
                    <a:pt x="2424" y="1968"/>
                  </a:lnTo>
                  <a:lnTo>
                    <a:pt x="2416" y="1968"/>
                  </a:lnTo>
                  <a:lnTo>
                    <a:pt x="2410" y="1972"/>
                  </a:lnTo>
                  <a:lnTo>
                    <a:pt x="2394" y="1982"/>
                  </a:lnTo>
                  <a:lnTo>
                    <a:pt x="2394" y="1982"/>
                  </a:lnTo>
                  <a:lnTo>
                    <a:pt x="2386" y="1986"/>
                  </a:lnTo>
                  <a:lnTo>
                    <a:pt x="2378" y="1986"/>
                  </a:lnTo>
                  <a:lnTo>
                    <a:pt x="2376" y="1986"/>
                  </a:lnTo>
                  <a:lnTo>
                    <a:pt x="2376" y="1986"/>
                  </a:lnTo>
                  <a:lnTo>
                    <a:pt x="2368" y="1986"/>
                  </a:lnTo>
                  <a:lnTo>
                    <a:pt x="2362" y="1982"/>
                  </a:lnTo>
                  <a:lnTo>
                    <a:pt x="2354" y="1972"/>
                  </a:lnTo>
                  <a:lnTo>
                    <a:pt x="2354" y="1972"/>
                  </a:lnTo>
                  <a:lnTo>
                    <a:pt x="2342" y="1962"/>
                  </a:lnTo>
                  <a:lnTo>
                    <a:pt x="2334" y="1954"/>
                  </a:lnTo>
                  <a:lnTo>
                    <a:pt x="2334" y="1954"/>
                  </a:lnTo>
                  <a:lnTo>
                    <a:pt x="2328" y="1950"/>
                  </a:lnTo>
                  <a:lnTo>
                    <a:pt x="2320" y="1948"/>
                  </a:lnTo>
                  <a:lnTo>
                    <a:pt x="2316" y="1948"/>
                  </a:lnTo>
                  <a:lnTo>
                    <a:pt x="2316" y="1948"/>
                  </a:lnTo>
                  <a:lnTo>
                    <a:pt x="2310" y="1950"/>
                  </a:lnTo>
                  <a:lnTo>
                    <a:pt x="2306" y="1954"/>
                  </a:lnTo>
                  <a:lnTo>
                    <a:pt x="2302" y="1960"/>
                  </a:lnTo>
                  <a:close/>
                  <a:moveTo>
                    <a:pt x="2606" y="2298"/>
                  </a:moveTo>
                  <a:lnTo>
                    <a:pt x="2606" y="2298"/>
                  </a:lnTo>
                  <a:lnTo>
                    <a:pt x="2602" y="2290"/>
                  </a:lnTo>
                  <a:lnTo>
                    <a:pt x="2598" y="2284"/>
                  </a:lnTo>
                  <a:lnTo>
                    <a:pt x="2598" y="2284"/>
                  </a:lnTo>
                  <a:lnTo>
                    <a:pt x="2594" y="2280"/>
                  </a:lnTo>
                  <a:lnTo>
                    <a:pt x="2590" y="2272"/>
                  </a:lnTo>
                  <a:lnTo>
                    <a:pt x="2586" y="2258"/>
                  </a:lnTo>
                  <a:lnTo>
                    <a:pt x="2586" y="2258"/>
                  </a:lnTo>
                  <a:lnTo>
                    <a:pt x="2582" y="2252"/>
                  </a:lnTo>
                  <a:lnTo>
                    <a:pt x="2576" y="2248"/>
                  </a:lnTo>
                  <a:lnTo>
                    <a:pt x="2562" y="2244"/>
                  </a:lnTo>
                  <a:lnTo>
                    <a:pt x="2562" y="2244"/>
                  </a:lnTo>
                  <a:lnTo>
                    <a:pt x="2548" y="2236"/>
                  </a:lnTo>
                  <a:lnTo>
                    <a:pt x="2532" y="2226"/>
                  </a:lnTo>
                  <a:lnTo>
                    <a:pt x="2532" y="2226"/>
                  </a:lnTo>
                  <a:lnTo>
                    <a:pt x="2526" y="2220"/>
                  </a:lnTo>
                  <a:lnTo>
                    <a:pt x="2522" y="2214"/>
                  </a:lnTo>
                  <a:lnTo>
                    <a:pt x="2516" y="2180"/>
                  </a:lnTo>
                  <a:lnTo>
                    <a:pt x="2516" y="2180"/>
                  </a:lnTo>
                  <a:lnTo>
                    <a:pt x="2514" y="2174"/>
                  </a:lnTo>
                  <a:lnTo>
                    <a:pt x="2510" y="2168"/>
                  </a:lnTo>
                  <a:lnTo>
                    <a:pt x="2510" y="2168"/>
                  </a:lnTo>
                  <a:lnTo>
                    <a:pt x="2500" y="2158"/>
                  </a:lnTo>
                  <a:lnTo>
                    <a:pt x="2500" y="2158"/>
                  </a:lnTo>
                  <a:lnTo>
                    <a:pt x="2496" y="2152"/>
                  </a:lnTo>
                  <a:lnTo>
                    <a:pt x="2492" y="2146"/>
                  </a:lnTo>
                  <a:lnTo>
                    <a:pt x="2488" y="2130"/>
                  </a:lnTo>
                  <a:lnTo>
                    <a:pt x="2488" y="2130"/>
                  </a:lnTo>
                  <a:lnTo>
                    <a:pt x="2486" y="2128"/>
                  </a:lnTo>
                  <a:lnTo>
                    <a:pt x="2484" y="2128"/>
                  </a:lnTo>
                  <a:lnTo>
                    <a:pt x="2482" y="2128"/>
                  </a:lnTo>
                  <a:lnTo>
                    <a:pt x="2480" y="2128"/>
                  </a:lnTo>
                  <a:lnTo>
                    <a:pt x="2472" y="2138"/>
                  </a:lnTo>
                  <a:lnTo>
                    <a:pt x="2472" y="2138"/>
                  </a:lnTo>
                  <a:lnTo>
                    <a:pt x="2468" y="2144"/>
                  </a:lnTo>
                  <a:lnTo>
                    <a:pt x="2466" y="2150"/>
                  </a:lnTo>
                  <a:lnTo>
                    <a:pt x="2466" y="2184"/>
                  </a:lnTo>
                  <a:lnTo>
                    <a:pt x="2466" y="2184"/>
                  </a:lnTo>
                  <a:lnTo>
                    <a:pt x="2464" y="2192"/>
                  </a:lnTo>
                  <a:lnTo>
                    <a:pt x="2460" y="2198"/>
                  </a:lnTo>
                  <a:lnTo>
                    <a:pt x="2452" y="2206"/>
                  </a:lnTo>
                  <a:lnTo>
                    <a:pt x="2452" y="2206"/>
                  </a:lnTo>
                  <a:lnTo>
                    <a:pt x="2446" y="2210"/>
                  </a:lnTo>
                  <a:lnTo>
                    <a:pt x="2438" y="2212"/>
                  </a:lnTo>
                  <a:lnTo>
                    <a:pt x="2434" y="2212"/>
                  </a:lnTo>
                  <a:lnTo>
                    <a:pt x="2434" y="2212"/>
                  </a:lnTo>
                  <a:lnTo>
                    <a:pt x="2428" y="2210"/>
                  </a:lnTo>
                  <a:lnTo>
                    <a:pt x="2422" y="2204"/>
                  </a:lnTo>
                  <a:lnTo>
                    <a:pt x="2412" y="2188"/>
                  </a:lnTo>
                  <a:lnTo>
                    <a:pt x="2412" y="2188"/>
                  </a:lnTo>
                  <a:lnTo>
                    <a:pt x="2406" y="2184"/>
                  </a:lnTo>
                  <a:lnTo>
                    <a:pt x="2398" y="2182"/>
                  </a:lnTo>
                  <a:lnTo>
                    <a:pt x="2396" y="2182"/>
                  </a:lnTo>
                  <a:lnTo>
                    <a:pt x="2396" y="2182"/>
                  </a:lnTo>
                  <a:lnTo>
                    <a:pt x="2388" y="2180"/>
                  </a:lnTo>
                  <a:lnTo>
                    <a:pt x="2380" y="2178"/>
                  </a:lnTo>
                  <a:lnTo>
                    <a:pt x="2374" y="2176"/>
                  </a:lnTo>
                  <a:lnTo>
                    <a:pt x="2374" y="2176"/>
                  </a:lnTo>
                  <a:lnTo>
                    <a:pt x="2372" y="2174"/>
                  </a:lnTo>
                  <a:lnTo>
                    <a:pt x="2370" y="2172"/>
                  </a:lnTo>
                  <a:lnTo>
                    <a:pt x="2370" y="2168"/>
                  </a:lnTo>
                  <a:lnTo>
                    <a:pt x="2372" y="2164"/>
                  </a:lnTo>
                  <a:lnTo>
                    <a:pt x="2374" y="2160"/>
                  </a:lnTo>
                  <a:lnTo>
                    <a:pt x="2374" y="2160"/>
                  </a:lnTo>
                  <a:lnTo>
                    <a:pt x="2382" y="2146"/>
                  </a:lnTo>
                  <a:lnTo>
                    <a:pt x="2384" y="2140"/>
                  </a:lnTo>
                  <a:lnTo>
                    <a:pt x="2384" y="2140"/>
                  </a:lnTo>
                  <a:lnTo>
                    <a:pt x="2384" y="2138"/>
                  </a:lnTo>
                  <a:lnTo>
                    <a:pt x="2384" y="2134"/>
                  </a:lnTo>
                  <a:lnTo>
                    <a:pt x="2382" y="2132"/>
                  </a:lnTo>
                  <a:lnTo>
                    <a:pt x="2380" y="2132"/>
                  </a:lnTo>
                  <a:lnTo>
                    <a:pt x="2356" y="2126"/>
                  </a:lnTo>
                  <a:lnTo>
                    <a:pt x="2356" y="2126"/>
                  </a:lnTo>
                  <a:lnTo>
                    <a:pt x="2340" y="2124"/>
                  </a:lnTo>
                  <a:lnTo>
                    <a:pt x="2336" y="2124"/>
                  </a:lnTo>
                  <a:lnTo>
                    <a:pt x="2336" y="2124"/>
                  </a:lnTo>
                  <a:lnTo>
                    <a:pt x="2330" y="2124"/>
                  </a:lnTo>
                  <a:lnTo>
                    <a:pt x="2324" y="2128"/>
                  </a:lnTo>
                  <a:lnTo>
                    <a:pt x="2324" y="2128"/>
                  </a:lnTo>
                  <a:lnTo>
                    <a:pt x="2312" y="2136"/>
                  </a:lnTo>
                  <a:lnTo>
                    <a:pt x="2306" y="2140"/>
                  </a:lnTo>
                  <a:lnTo>
                    <a:pt x="2306" y="2140"/>
                  </a:lnTo>
                  <a:lnTo>
                    <a:pt x="2292" y="2146"/>
                  </a:lnTo>
                  <a:lnTo>
                    <a:pt x="2286" y="2150"/>
                  </a:lnTo>
                  <a:lnTo>
                    <a:pt x="2286" y="2150"/>
                  </a:lnTo>
                  <a:lnTo>
                    <a:pt x="2280" y="2154"/>
                  </a:lnTo>
                  <a:lnTo>
                    <a:pt x="2276" y="2160"/>
                  </a:lnTo>
                  <a:lnTo>
                    <a:pt x="2274" y="2164"/>
                  </a:lnTo>
                  <a:lnTo>
                    <a:pt x="2274" y="2164"/>
                  </a:lnTo>
                  <a:lnTo>
                    <a:pt x="2270" y="2170"/>
                  </a:lnTo>
                  <a:lnTo>
                    <a:pt x="2264" y="2172"/>
                  </a:lnTo>
                  <a:lnTo>
                    <a:pt x="2264" y="2172"/>
                  </a:lnTo>
                  <a:lnTo>
                    <a:pt x="2252" y="2168"/>
                  </a:lnTo>
                  <a:lnTo>
                    <a:pt x="2248" y="2166"/>
                  </a:lnTo>
                  <a:lnTo>
                    <a:pt x="2248" y="2166"/>
                  </a:lnTo>
                  <a:lnTo>
                    <a:pt x="2240" y="2164"/>
                  </a:lnTo>
                  <a:lnTo>
                    <a:pt x="2234" y="2166"/>
                  </a:lnTo>
                  <a:lnTo>
                    <a:pt x="2228" y="2168"/>
                  </a:lnTo>
                  <a:lnTo>
                    <a:pt x="2228" y="2168"/>
                  </a:lnTo>
                  <a:lnTo>
                    <a:pt x="2214" y="2176"/>
                  </a:lnTo>
                  <a:lnTo>
                    <a:pt x="2198" y="2188"/>
                  </a:lnTo>
                  <a:lnTo>
                    <a:pt x="2198" y="2188"/>
                  </a:lnTo>
                  <a:lnTo>
                    <a:pt x="2184" y="2196"/>
                  </a:lnTo>
                  <a:lnTo>
                    <a:pt x="2178" y="2198"/>
                  </a:lnTo>
                  <a:lnTo>
                    <a:pt x="2178" y="2198"/>
                  </a:lnTo>
                  <a:lnTo>
                    <a:pt x="2164" y="2206"/>
                  </a:lnTo>
                  <a:lnTo>
                    <a:pt x="2160" y="2208"/>
                  </a:lnTo>
                  <a:lnTo>
                    <a:pt x="2160" y="2208"/>
                  </a:lnTo>
                  <a:lnTo>
                    <a:pt x="2154" y="2212"/>
                  </a:lnTo>
                  <a:lnTo>
                    <a:pt x="2150" y="2220"/>
                  </a:lnTo>
                  <a:lnTo>
                    <a:pt x="2144" y="2234"/>
                  </a:lnTo>
                  <a:lnTo>
                    <a:pt x="2144" y="2234"/>
                  </a:lnTo>
                  <a:lnTo>
                    <a:pt x="2140" y="2238"/>
                  </a:lnTo>
                  <a:lnTo>
                    <a:pt x="2134" y="2240"/>
                  </a:lnTo>
                  <a:lnTo>
                    <a:pt x="2130" y="2240"/>
                  </a:lnTo>
                  <a:lnTo>
                    <a:pt x="2130" y="2240"/>
                  </a:lnTo>
                  <a:lnTo>
                    <a:pt x="2124" y="2242"/>
                  </a:lnTo>
                  <a:lnTo>
                    <a:pt x="2116" y="2246"/>
                  </a:lnTo>
                  <a:lnTo>
                    <a:pt x="2100" y="2256"/>
                  </a:lnTo>
                  <a:lnTo>
                    <a:pt x="2100" y="2256"/>
                  </a:lnTo>
                  <a:lnTo>
                    <a:pt x="2086" y="2264"/>
                  </a:lnTo>
                  <a:lnTo>
                    <a:pt x="2062" y="2276"/>
                  </a:lnTo>
                  <a:lnTo>
                    <a:pt x="2062" y="2276"/>
                  </a:lnTo>
                  <a:lnTo>
                    <a:pt x="2048" y="2286"/>
                  </a:lnTo>
                  <a:lnTo>
                    <a:pt x="2040" y="2294"/>
                  </a:lnTo>
                  <a:lnTo>
                    <a:pt x="2040" y="2294"/>
                  </a:lnTo>
                  <a:lnTo>
                    <a:pt x="2030" y="2306"/>
                  </a:lnTo>
                  <a:lnTo>
                    <a:pt x="2028" y="2312"/>
                  </a:lnTo>
                  <a:lnTo>
                    <a:pt x="2028" y="2312"/>
                  </a:lnTo>
                  <a:lnTo>
                    <a:pt x="2026" y="2320"/>
                  </a:lnTo>
                  <a:lnTo>
                    <a:pt x="2028" y="2326"/>
                  </a:lnTo>
                  <a:lnTo>
                    <a:pt x="2032" y="2340"/>
                  </a:lnTo>
                  <a:lnTo>
                    <a:pt x="2032" y="2340"/>
                  </a:lnTo>
                  <a:lnTo>
                    <a:pt x="2034" y="2356"/>
                  </a:lnTo>
                  <a:lnTo>
                    <a:pt x="2034" y="2360"/>
                  </a:lnTo>
                  <a:lnTo>
                    <a:pt x="2034" y="2360"/>
                  </a:lnTo>
                  <a:lnTo>
                    <a:pt x="2036" y="2376"/>
                  </a:lnTo>
                  <a:lnTo>
                    <a:pt x="2052" y="2428"/>
                  </a:lnTo>
                  <a:lnTo>
                    <a:pt x="2052" y="2428"/>
                  </a:lnTo>
                  <a:lnTo>
                    <a:pt x="2054" y="2444"/>
                  </a:lnTo>
                  <a:lnTo>
                    <a:pt x="2054" y="2448"/>
                  </a:lnTo>
                  <a:lnTo>
                    <a:pt x="2054" y="2448"/>
                  </a:lnTo>
                  <a:lnTo>
                    <a:pt x="2054" y="2464"/>
                  </a:lnTo>
                  <a:lnTo>
                    <a:pt x="2054" y="2488"/>
                  </a:lnTo>
                  <a:lnTo>
                    <a:pt x="2054" y="2488"/>
                  </a:lnTo>
                  <a:lnTo>
                    <a:pt x="2056" y="2494"/>
                  </a:lnTo>
                  <a:lnTo>
                    <a:pt x="2060" y="2500"/>
                  </a:lnTo>
                  <a:lnTo>
                    <a:pt x="2068" y="2510"/>
                  </a:lnTo>
                  <a:lnTo>
                    <a:pt x="2068" y="2510"/>
                  </a:lnTo>
                  <a:lnTo>
                    <a:pt x="2074" y="2514"/>
                  </a:lnTo>
                  <a:lnTo>
                    <a:pt x="2082" y="2514"/>
                  </a:lnTo>
                  <a:lnTo>
                    <a:pt x="2086" y="2514"/>
                  </a:lnTo>
                  <a:lnTo>
                    <a:pt x="2086" y="2514"/>
                  </a:lnTo>
                  <a:lnTo>
                    <a:pt x="2100" y="2512"/>
                  </a:lnTo>
                  <a:lnTo>
                    <a:pt x="2116" y="2508"/>
                  </a:lnTo>
                  <a:lnTo>
                    <a:pt x="2116" y="2508"/>
                  </a:lnTo>
                  <a:lnTo>
                    <a:pt x="2130" y="2502"/>
                  </a:lnTo>
                  <a:lnTo>
                    <a:pt x="2136" y="2498"/>
                  </a:lnTo>
                  <a:lnTo>
                    <a:pt x="2136" y="2498"/>
                  </a:lnTo>
                  <a:lnTo>
                    <a:pt x="2142" y="2496"/>
                  </a:lnTo>
                  <a:lnTo>
                    <a:pt x="2150" y="2496"/>
                  </a:lnTo>
                  <a:lnTo>
                    <a:pt x="2154" y="2496"/>
                  </a:lnTo>
                  <a:lnTo>
                    <a:pt x="2154" y="2496"/>
                  </a:lnTo>
                  <a:lnTo>
                    <a:pt x="2170" y="2492"/>
                  </a:lnTo>
                  <a:lnTo>
                    <a:pt x="2184" y="2488"/>
                  </a:lnTo>
                  <a:lnTo>
                    <a:pt x="2184" y="2488"/>
                  </a:lnTo>
                  <a:lnTo>
                    <a:pt x="2190" y="2484"/>
                  </a:lnTo>
                  <a:lnTo>
                    <a:pt x="2192" y="2480"/>
                  </a:lnTo>
                  <a:lnTo>
                    <a:pt x="2192" y="2480"/>
                  </a:lnTo>
                  <a:lnTo>
                    <a:pt x="2194" y="2476"/>
                  </a:lnTo>
                  <a:lnTo>
                    <a:pt x="2198" y="2472"/>
                  </a:lnTo>
                  <a:lnTo>
                    <a:pt x="2232" y="2460"/>
                  </a:lnTo>
                  <a:lnTo>
                    <a:pt x="2232" y="2460"/>
                  </a:lnTo>
                  <a:lnTo>
                    <a:pt x="2240" y="2458"/>
                  </a:lnTo>
                  <a:lnTo>
                    <a:pt x="2248" y="2456"/>
                  </a:lnTo>
                  <a:lnTo>
                    <a:pt x="2272" y="2456"/>
                  </a:lnTo>
                  <a:lnTo>
                    <a:pt x="2272" y="2456"/>
                  </a:lnTo>
                  <a:lnTo>
                    <a:pt x="2288" y="2458"/>
                  </a:lnTo>
                  <a:lnTo>
                    <a:pt x="2330" y="2464"/>
                  </a:lnTo>
                  <a:lnTo>
                    <a:pt x="2330" y="2464"/>
                  </a:lnTo>
                  <a:lnTo>
                    <a:pt x="2338" y="2468"/>
                  </a:lnTo>
                  <a:lnTo>
                    <a:pt x="2344" y="2472"/>
                  </a:lnTo>
                  <a:lnTo>
                    <a:pt x="2362" y="2490"/>
                  </a:lnTo>
                  <a:lnTo>
                    <a:pt x="2362" y="2490"/>
                  </a:lnTo>
                  <a:lnTo>
                    <a:pt x="2374" y="2500"/>
                  </a:lnTo>
                  <a:lnTo>
                    <a:pt x="2382" y="2510"/>
                  </a:lnTo>
                  <a:lnTo>
                    <a:pt x="2382" y="2510"/>
                  </a:lnTo>
                  <a:lnTo>
                    <a:pt x="2388" y="2514"/>
                  </a:lnTo>
                  <a:lnTo>
                    <a:pt x="2396" y="2514"/>
                  </a:lnTo>
                  <a:lnTo>
                    <a:pt x="2398" y="2514"/>
                  </a:lnTo>
                  <a:lnTo>
                    <a:pt x="2398" y="2514"/>
                  </a:lnTo>
                  <a:lnTo>
                    <a:pt x="2406" y="2516"/>
                  </a:lnTo>
                  <a:lnTo>
                    <a:pt x="2410" y="2522"/>
                  </a:lnTo>
                  <a:lnTo>
                    <a:pt x="2414" y="2528"/>
                  </a:lnTo>
                  <a:lnTo>
                    <a:pt x="2414" y="2528"/>
                  </a:lnTo>
                  <a:lnTo>
                    <a:pt x="2422" y="2540"/>
                  </a:lnTo>
                  <a:lnTo>
                    <a:pt x="2430" y="2548"/>
                  </a:lnTo>
                  <a:lnTo>
                    <a:pt x="2430" y="2548"/>
                  </a:lnTo>
                  <a:lnTo>
                    <a:pt x="2442" y="2558"/>
                  </a:lnTo>
                  <a:lnTo>
                    <a:pt x="2458" y="2570"/>
                  </a:lnTo>
                  <a:lnTo>
                    <a:pt x="2458" y="2570"/>
                  </a:lnTo>
                  <a:lnTo>
                    <a:pt x="2474" y="2576"/>
                  </a:lnTo>
                  <a:lnTo>
                    <a:pt x="2488" y="2580"/>
                  </a:lnTo>
                  <a:lnTo>
                    <a:pt x="2488" y="2580"/>
                  </a:lnTo>
                  <a:lnTo>
                    <a:pt x="2494" y="2582"/>
                  </a:lnTo>
                  <a:lnTo>
                    <a:pt x="2502" y="2580"/>
                  </a:lnTo>
                  <a:lnTo>
                    <a:pt x="2508" y="2578"/>
                  </a:lnTo>
                  <a:lnTo>
                    <a:pt x="2508" y="2578"/>
                  </a:lnTo>
                  <a:lnTo>
                    <a:pt x="2514" y="2576"/>
                  </a:lnTo>
                  <a:lnTo>
                    <a:pt x="2520" y="2580"/>
                  </a:lnTo>
                  <a:lnTo>
                    <a:pt x="2528" y="2588"/>
                  </a:lnTo>
                  <a:lnTo>
                    <a:pt x="2528" y="2588"/>
                  </a:lnTo>
                  <a:lnTo>
                    <a:pt x="2534" y="2592"/>
                  </a:lnTo>
                  <a:lnTo>
                    <a:pt x="2538" y="2594"/>
                  </a:lnTo>
                  <a:lnTo>
                    <a:pt x="2538" y="2594"/>
                  </a:lnTo>
                  <a:lnTo>
                    <a:pt x="2544" y="2592"/>
                  </a:lnTo>
                  <a:lnTo>
                    <a:pt x="2550" y="2588"/>
                  </a:lnTo>
                  <a:lnTo>
                    <a:pt x="2558" y="2580"/>
                  </a:lnTo>
                  <a:lnTo>
                    <a:pt x="2558" y="2580"/>
                  </a:lnTo>
                  <a:lnTo>
                    <a:pt x="2570" y="2570"/>
                  </a:lnTo>
                  <a:lnTo>
                    <a:pt x="2576" y="2568"/>
                  </a:lnTo>
                  <a:lnTo>
                    <a:pt x="2576" y="2568"/>
                  </a:lnTo>
                  <a:lnTo>
                    <a:pt x="2588" y="2564"/>
                  </a:lnTo>
                  <a:lnTo>
                    <a:pt x="2588" y="2564"/>
                  </a:lnTo>
                  <a:lnTo>
                    <a:pt x="2592" y="2562"/>
                  </a:lnTo>
                  <a:lnTo>
                    <a:pt x="2592" y="2556"/>
                  </a:lnTo>
                  <a:lnTo>
                    <a:pt x="2592" y="2552"/>
                  </a:lnTo>
                  <a:lnTo>
                    <a:pt x="2592" y="2552"/>
                  </a:lnTo>
                  <a:lnTo>
                    <a:pt x="2594" y="2544"/>
                  </a:lnTo>
                  <a:lnTo>
                    <a:pt x="2596" y="2538"/>
                  </a:lnTo>
                  <a:lnTo>
                    <a:pt x="2608" y="2512"/>
                  </a:lnTo>
                  <a:lnTo>
                    <a:pt x="2608" y="2512"/>
                  </a:lnTo>
                  <a:lnTo>
                    <a:pt x="2616" y="2498"/>
                  </a:lnTo>
                  <a:lnTo>
                    <a:pt x="2638" y="2434"/>
                  </a:lnTo>
                  <a:lnTo>
                    <a:pt x="2638" y="2434"/>
                  </a:lnTo>
                  <a:lnTo>
                    <a:pt x="2642" y="2418"/>
                  </a:lnTo>
                  <a:lnTo>
                    <a:pt x="2642" y="2396"/>
                  </a:lnTo>
                  <a:lnTo>
                    <a:pt x="2642" y="2396"/>
                  </a:lnTo>
                  <a:lnTo>
                    <a:pt x="2642" y="2380"/>
                  </a:lnTo>
                  <a:lnTo>
                    <a:pt x="2642" y="2366"/>
                  </a:lnTo>
                  <a:lnTo>
                    <a:pt x="2642" y="2366"/>
                  </a:lnTo>
                  <a:lnTo>
                    <a:pt x="2642" y="2350"/>
                  </a:lnTo>
                  <a:lnTo>
                    <a:pt x="2642" y="2346"/>
                  </a:lnTo>
                  <a:lnTo>
                    <a:pt x="2642" y="2346"/>
                  </a:lnTo>
                  <a:lnTo>
                    <a:pt x="2640" y="2340"/>
                  </a:lnTo>
                  <a:lnTo>
                    <a:pt x="2636" y="2334"/>
                  </a:lnTo>
                  <a:lnTo>
                    <a:pt x="2620" y="2324"/>
                  </a:lnTo>
                  <a:lnTo>
                    <a:pt x="2620" y="2324"/>
                  </a:lnTo>
                  <a:lnTo>
                    <a:pt x="2614" y="2318"/>
                  </a:lnTo>
                  <a:lnTo>
                    <a:pt x="2610" y="2312"/>
                  </a:lnTo>
                  <a:lnTo>
                    <a:pt x="2606" y="2298"/>
                  </a:lnTo>
                  <a:close/>
                  <a:moveTo>
                    <a:pt x="2522" y="2632"/>
                  </a:moveTo>
                  <a:lnTo>
                    <a:pt x="2522" y="2632"/>
                  </a:lnTo>
                  <a:lnTo>
                    <a:pt x="2520" y="2634"/>
                  </a:lnTo>
                  <a:lnTo>
                    <a:pt x="2518" y="2634"/>
                  </a:lnTo>
                  <a:lnTo>
                    <a:pt x="2516" y="2638"/>
                  </a:lnTo>
                  <a:lnTo>
                    <a:pt x="2518" y="2640"/>
                  </a:lnTo>
                  <a:lnTo>
                    <a:pt x="2522" y="2654"/>
                  </a:lnTo>
                  <a:lnTo>
                    <a:pt x="2522" y="2654"/>
                  </a:lnTo>
                  <a:lnTo>
                    <a:pt x="2524" y="2670"/>
                  </a:lnTo>
                  <a:lnTo>
                    <a:pt x="2524" y="2674"/>
                  </a:lnTo>
                  <a:lnTo>
                    <a:pt x="2524" y="2674"/>
                  </a:lnTo>
                  <a:lnTo>
                    <a:pt x="2526" y="2680"/>
                  </a:lnTo>
                  <a:lnTo>
                    <a:pt x="2532" y="2684"/>
                  </a:lnTo>
                  <a:lnTo>
                    <a:pt x="2538" y="2688"/>
                  </a:lnTo>
                  <a:lnTo>
                    <a:pt x="2538" y="2688"/>
                  </a:lnTo>
                  <a:lnTo>
                    <a:pt x="2540" y="2688"/>
                  </a:lnTo>
                  <a:lnTo>
                    <a:pt x="2544" y="2688"/>
                  </a:lnTo>
                  <a:lnTo>
                    <a:pt x="2546" y="2686"/>
                  </a:lnTo>
                  <a:lnTo>
                    <a:pt x="2548" y="2684"/>
                  </a:lnTo>
                  <a:lnTo>
                    <a:pt x="2550" y="2678"/>
                  </a:lnTo>
                  <a:lnTo>
                    <a:pt x="2550" y="2678"/>
                  </a:lnTo>
                  <a:lnTo>
                    <a:pt x="2556" y="2664"/>
                  </a:lnTo>
                  <a:lnTo>
                    <a:pt x="2562" y="2650"/>
                  </a:lnTo>
                  <a:lnTo>
                    <a:pt x="2562" y="2650"/>
                  </a:lnTo>
                  <a:lnTo>
                    <a:pt x="2564" y="2634"/>
                  </a:lnTo>
                  <a:lnTo>
                    <a:pt x="2564" y="2632"/>
                  </a:lnTo>
                  <a:lnTo>
                    <a:pt x="2564" y="2632"/>
                  </a:lnTo>
                  <a:lnTo>
                    <a:pt x="2564" y="2628"/>
                  </a:lnTo>
                  <a:lnTo>
                    <a:pt x="2562" y="2626"/>
                  </a:lnTo>
                  <a:lnTo>
                    <a:pt x="2560" y="2626"/>
                  </a:lnTo>
                  <a:lnTo>
                    <a:pt x="2556" y="2626"/>
                  </a:lnTo>
                  <a:lnTo>
                    <a:pt x="2552" y="2630"/>
                  </a:lnTo>
                  <a:lnTo>
                    <a:pt x="2552" y="2630"/>
                  </a:lnTo>
                  <a:lnTo>
                    <a:pt x="2544" y="2632"/>
                  </a:lnTo>
                  <a:lnTo>
                    <a:pt x="2536" y="2632"/>
                  </a:lnTo>
                  <a:lnTo>
                    <a:pt x="2522" y="2632"/>
                  </a:lnTo>
                  <a:close/>
                  <a:moveTo>
                    <a:pt x="2478" y="958"/>
                  </a:moveTo>
                  <a:lnTo>
                    <a:pt x="2478" y="958"/>
                  </a:lnTo>
                  <a:lnTo>
                    <a:pt x="2476" y="954"/>
                  </a:lnTo>
                  <a:lnTo>
                    <a:pt x="2476" y="958"/>
                  </a:lnTo>
                  <a:lnTo>
                    <a:pt x="2476" y="962"/>
                  </a:lnTo>
                  <a:lnTo>
                    <a:pt x="2476" y="962"/>
                  </a:lnTo>
                  <a:lnTo>
                    <a:pt x="2474" y="976"/>
                  </a:lnTo>
                  <a:lnTo>
                    <a:pt x="2468" y="992"/>
                  </a:lnTo>
                  <a:lnTo>
                    <a:pt x="2468" y="992"/>
                  </a:lnTo>
                  <a:lnTo>
                    <a:pt x="2468" y="998"/>
                  </a:lnTo>
                  <a:lnTo>
                    <a:pt x="2470" y="1006"/>
                  </a:lnTo>
                  <a:lnTo>
                    <a:pt x="2472" y="1012"/>
                  </a:lnTo>
                  <a:lnTo>
                    <a:pt x="2472" y="1012"/>
                  </a:lnTo>
                  <a:lnTo>
                    <a:pt x="2474" y="1018"/>
                  </a:lnTo>
                  <a:lnTo>
                    <a:pt x="2476" y="1026"/>
                  </a:lnTo>
                  <a:lnTo>
                    <a:pt x="2476" y="1088"/>
                  </a:lnTo>
                  <a:lnTo>
                    <a:pt x="2476" y="1088"/>
                  </a:lnTo>
                  <a:lnTo>
                    <a:pt x="2476" y="1104"/>
                  </a:lnTo>
                  <a:lnTo>
                    <a:pt x="2476" y="1118"/>
                  </a:lnTo>
                  <a:lnTo>
                    <a:pt x="2476" y="1118"/>
                  </a:lnTo>
                  <a:lnTo>
                    <a:pt x="2478" y="1124"/>
                  </a:lnTo>
                  <a:lnTo>
                    <a:pt x="2484" y="1128"/>
                  </a:lnTo>
                  <a:lnTo>
                    <a:pt x="2498" y="1134"/>
                  </a:lnTo>
                  <a:lnTo>
                    <a:pt x="2498" y="1134"/>
                  </a:lnTo>
                  <a:lnTo>
                    <a:pt x="2502" y="1134"/>
                  </a:lnTo>
                  <a:lnTo>
                    <a:pt x="2500" y="1130"/>
                  </a:lnTo>
                  <a:lnTo>
                    <a:pt x="2490" y="1114"/>
                  </a:lnTo>
                  <a:lnTo>
                    <a:pt x="2490" y="1114"/>
                  </a:lnTo>
                  <a:lnTo>
                    <a:pt x="2486" y="1106"/>
                  </a:lnTo>
                  <a:lnTo>
                    <a:pt x="2486" y="1098"/>
                  </a:lnTo>
                  <a:lnTo>
                    <a:pt x="2486" y="1094"/>
                  </a:lnTo>
                  <a:lnTo>
                    <a:pt x="2486" y="1094"/>
                  </a:lnTo>
                  <a:lnTo>
                    <a:pt x="2486" y="1088"/>
                  </a:lnTo>
                  <a:lnTo>
                    <a:pt x="2488" y="1080"/>
                  </a:lnTo>
                  <a:lnTo>
                    <a:pt x="2492" y="1074"/>
                  </a:lnTo>
                  <a:lnTo>
                    <a:pt x="2492" y="1074"/>
                  </a:lnTo>
                  <a:lnTo>
                    <a:pt x="2496" y="1070"/>
                  </a:lnTo>
                  <a:lnTo>
                    <a:pt x="2498" y="1070"/>
                  </a:lnTo>
                  <a:lnTo>
                    <a:pt x="2500" y="1072"/>
                  </a:lnTo>
                  <a:lnTo>
                    <a:pt x="2500" y="1072"/>
                  </a:lnTo>
                  <a:lnTo>
                    <a:pt x="2502" y="1074"/>
                  </a:lnTo>
                  <a:lnTo>
                    <a:pt x="2502" y="1070"/>
                  </a:lnTo>
                  <a:lnTo>
                    <a:pt x="2488" y="1006"/>
                  </a:lnTo>
                  <a:lnTo>
                    <a:pt x="2488" y="1006"/>
                  </a:lnTo>
                  <a:lnTo>
                    <a:pt x="2486" y="990"/>
                  </a:lnTo>
                  <a:lnTo>
                    <a:pt x="2486" y="988"/>
                  </a:lnTo>
                  <a:lnTo>
                    <a:pt x="2486" y="988"/>
                  </a:lnTo>
                  <a:lnTo>
                    <a:pt x="2482" y="972"/>
                  </a:lnTo>
                  <a:lnTo>
                    <a:pt x="2478" y="958"/>
                  </a:lnTo>
                  <a:close/>
                  <a:moveTo>
                    <a:pt x="2460" y="1170"/>
                  </a:moveTo>
                  <a:lnTo>
                    <a:pt x="2460" y="1170"/>
                  </a:lnTo>
                  <a:lnTo>
                    <a:pt x="2458" y="1176"/>
                  </a:lnTo>
                  <a:lnTo>
                    <a:pt x="2456" y="1182"/>
                  </a:lnTo>
                  <a:lnTo>
                    <a:pt x="2456" y="1196"/>
                  </a:lnTo>
                  <a:lnTo>
                    <a:pt x="2456" y="1196"/>
                  </a:lnTo>
                  <a:lnTo>
                    <a:pt x="2454" y="1204"/>
                  </a:lnTo>
                  <a:lnTo>
                    <a:pt x="2452" y="1212"/>
                  </a:lnTo>
                  <a:lnTo>
                    <a:pt x="2450" y="1216"/>
                  </a:lnTo>
                  <a:lnTo>
                    <a:pt x="2450" y="1216"/>
                  </a:lnTo>
                  <a:lnTo>
                    <a:pt x="2446" y="1224"/>
                  </a:lnTo>
                  <a:lnTo>
                    <a:pt x="2446" y="1232"/>
                  </a:lnTo>
                  <a:lnTo>
                    <a:pt x="2446" y="1236"/>
                  </a:lnTo>
                  <a:lnTo>
                    <a:pt x="2446" y="1236"/>
                  </a:lnTo>
                  <a:lnTo>
                    <a:pt x="2448" y="1238"/>
                  </a:lnTo>
                  <a:lnTo>
                    <a:pt x="2450" y="1236"/>
                  </a:lnTo>
                  <a:lnTo>
                    <a:pt x="2460" y="1220"/>
                  </a:lnTo>
                  <a:lnTo>
                    <a:pt x="2460" y="1220"/>
                  </a:lnTo>
                  <a:lnTo>
                    <a:pt x="2464" y="1218"/>
                  </a:lnTo>
                  <a:lnTo>
                    <a:pt x="2466" y="1218"/>
                  </a:lnTo>
                  <a:lnTo>
                    <a:pt x="2468" y="1218"/>
                  </a:lnTo>
                  <a:lnTo>
                    <a:pt x="2472" y="1220"/>
                  </a:lnTo>
                  <a:lnTo>
                    <a:pt x="2480" y="1228"/>
                  </a:lnTo>
                  <a:lnTo>
                    <a:pt x="2480" y="1228"/>
                  </a:lnTo>
                  <a:lnTo>
                    <a:pt x="2482" y="1230"/>
                  </a:lnTo>
                  <a:lnTo>
                    <a:pt x="2484" y="1230"/>
                  </a:lnTo>
                  <a:lnTo>
                    <a:pt x="2486" y="1228"/>
                  </a:lnTo>
                  <a:lnTo>
                    <a:pt x="2488" y="1226"/>
                  </a:lnTo>
                  <a:lnTo>
                    <a:pt x="2492" y="1220"/>
                  </a:lnTo>
                  <a:lnTo>
                    <a:pt x="2492" y="1220"/>
                  </a:lnTo>
                  <a:lnTo>
                    <a:pt x="2496" y="1214"/>
                  </a:lnTo>
                  <a:lnTo>
                    <a:pt x="2502" y="1210"/>
                  </a:lnTo>
                  <a:lnTo>
                    <a:pt x="2508" y="1208"/>
                  </a:lnTo>
                  <a:lnTo>
                    <a:pt x="2508" y="1208"/>
                  </a:lnTo>
                  <a:lnTo>
                    <a:pt x="2520" y="1198"/>
                  </a:lnTo>
                  <a:lnTo>
                    <a:pt x="2528" y="1190"/>
                  </a:lnTo>
                  <a:lnTo>
                    <a:pt x="2528" y="1190"/>
                  </a:lnTo>
                  <a:lnTo>
                    <a:pt x="2530" y="1188"/>
                  </a:lnTo>
                  <a:lnTo>
                    <a:pt x="2530" y="1186"/>
                  </a:lnTo>
                  <a:lnTo>
                    <a:pt x="2528" y="1184"/>
                  </a:lnTo>
                  <a:lnTo>
                    <a:pt x="2526" y="1184"/>
                  </a:lnTo>
                  <a:lnTo>
                    <a:pt x="2522" y="1184"/>
                  </a:lnTo>
                  <a:lnTo>
                    <a:pt x="2522" y="1184"/>
                  </a:lnTo>
                  <a:lnTo>
                    <a:pt x="2506" y="1182"/>
                  </a:lnTo>
                  <a:lnTo>
                    <a:pt x="2492" y="1178"/>
                  </a:lnTo>
                  <a:lnTo>
                    <a:pt x="2492" y="1178"/>
                  </a:lnTo>
                  <a:lnTo>
                    <a:pt x="2478" y="1170"/>
                  </a:lnTo>
                  <a:lnTo>
                    <a:pt x="2472" y="1168"/>
                  </a:lnTo>
                  <a:lnTo>
                    <a:pt x="2472" y="1168"/>
                  </a:lnTo>
                  <a:lnTo>
                    <a:pt x="2466" y="1168"/>
                  </a:lnTo>
                  <a:lnTo>
                    <a:pt x="2460" y="1170"/>
                  </a:lnTo>
                  <a:lnTo>
                    <a:pt x="2460" y="1170"/>
                  </a:lnTo>
                  <a:close/>
                  <a:moveTo>
                    <a:pt x="2438" y="1284"/>
                  </a:moveTo>
                  <a:lnTo>
                    <a:pt x="2438" y="1284"/>
                  </a:lnTo>
                  <a:lnTo>
                    <a:pt x="2432" y="1300"/>
                  </a:lnTo>
                  <a:lnTo>
                    <a:pt x="2430" y="1304"/>
                  </a:lnTo>
                  <a:lnTo>
                    <a:pt x="2430" y="1304"/>
                  </a:lnTo>
                  <a:lnTo>
                    <a:pt x="2426" y="1310"/>
                  </a:lnTo>
                  <a:lnTo>
                    <a:pt x="2420" y="1316"/>
                  </a:lnTo>
                  <a:lnTo>
                    <a:pt x="2414" y="1318"/>
                  </a:lnTo>
                  <a:lnTo>
                    <a:pt x="2414" y="1318"/>
                  </a:lnTo>
                  <a:lnTo>
                    <a:pt x="2400" y="1326"/>
                  </a:lnTo>
                  <a:lnTo>
                    <a:pt x="2374" y="1346"/>
                  </a:lnTo>
                  <a:lnTo>
                    <a:pt x="2374" y="1346"/>
                  </a:lnTo>
                  <a:lnTo>
                    <a:pt x="2368" y="1350"/>
                  </a:lnTo>
                  <a:lnTo>
                    <a:pt x="2360" y="1350"/>
                  </a:lnTo>
                  <a:lnTo>
                    <a:pt x="2356" y="1350"/>
                  </a:lnTo>
                  <a:lnTo>
                    <a:pt x="2356" y="1350"/>
                  </a:lnTo>
                  <a:lnTo>
                    <a:pt x="2340" y="1354"/>
                  </a:lnTo>
                  <a:lnTo>
                    <a:pt x="2326" y="1358"/>
                  </a:lnTo>
                  <a:lnTo>
                    <a:pt x="2326" y="1358"/>
                  </a:lnTo>
                  <a:lnTo>
                    <a:pt x="2320" y="1362"/>
                  </a:lnTo>
                  <a:lnTo>
                    <a:pt x="2318" y="1366"/>
                  </a:lnTo>
                  <a:lnTo>
                    <a:pt x="2318" y="1366"/>
                  </a:lnTo>
                  <a:lnTo>
                    <a:pt x="2322" y="1378"/>
                  </a:lnTo>
                  <a:lnTo>
                    <a:pt x="2326" y="1392"/>
                  </a:lnTo>
                  <a:lnTo>
                    <a:pt x="2326" y="1392"/>
                  </a:lnTo>
                  <a:lnTo>
                    <a:pt x="2328" y="1394"/>
                  </a:lnTo>
                  <a:lnTo>
                    <a:pt x="2330" y="1396"/>
                  </a:lnTo>
                  <a:lnTo>
                    <a:pt x="2332" y="1396"/>
                  </a:lnTo>
                  <a:lnTo>
                    <a:pt x="2334" y="1394"/>
                  </a:lnTo>
                  <a:lnTo>
                    <a:pt x="2342" y="1386"/>
                  </a:lnTo>
                  <a:lnTo>
                    <a:pt x="2342" y="1386"/>
                  </a:lnTo>
                  <a:lnTo>
                    <a:pt x="2348" y="1382"/>
                  </a:lnTo>
                  <a:lnTo>
                    <a:pt x="2354" y="1380"/>
                  </a:lnTo>
                  <a:lnTo>
                    <a:pt x="2354" y="1380"/>
                  </a:lnTo>
                  <a:lnTo>
                    <a:pt x="2358" y="1378"/>
                  </a:lnTo>
                  <a:lnTo>
                    <a:pt x="2362" y="1376"/>
                  </a:lnTo>
                  <a:lnTo>
                    <a:pt x="2362" y="1376"/>
                  </a:lnTo>
                  <a:lnTo>
                    <a:pt x="2366" y="1374"/>
                  </a:lnTo>
                  <a:lnTo>
                    <a:pt x="2368" y="1376"/>
                  </a:lnTo>
                  <a:lnTo>
                    <a:pt x="2368" y="1376"/>
                  </a:lnTo>
                  <a:lnTo>
                    <a:pt x="2368" y="1376"/>
                  </a:lnTo>
                  <a:lnTo>
                    <a:pt x="2370" y="1376"/>
                  </a:lnTo>
                  <a:lnTo>
                    <a:pt x="2374" y="1374"/>
                  </a:lnTo>
                  <a:lnTo>
                    <a:pt x="2382" y="1366"/>
                  </a:lnTo>
                  <a:lnTo>
                    <a:pt x="2382" y="1366"/>
                  </a:lnTo>
                  <a:lnTo>
                    <a:pt x="2388" y="1362"/>
                  </a:lnTo>
                  <a:lnTo>
                    <a:pt x="2392" y="1360"/>
                  </a:lnTo>
                  <a:lnTo>
                    <a:pt x="2392" y="1360"/>
                  </a:lnTo>
                  <a:lnTo>
                    <a:pt x="2404" y="1360"/>
                  </a:lnTo>
                  <a:lnTo>
                    <a:pt x="2408" y="1360"/>
                  </a:lnTo>
                  <a:lnTo>
                    <a:pt x="2408" y="1360"/>
                  </a:lnTo>
                  <a:lnTo>
                    <a:pt x="2422" y="1360"/>
                  </a:lnTo>
                  <a:lnTo>
                    <a:pt x="2422" y="1360"/>
                  </a:lnTo>
                  <a:lnTo>
                    <a:pt x="2432" y="1360"/>
                  </a:lnTo>
                  <a:lnTo>
                    <a:pt x="2432" y="1360"/>
                  </a:lnTo>
                  <a:lnTo>
                    <a:pt x="2436" y="1360"/>
                  </a:lnTo>
                  <a:lnTo>
                    <a:pt x="2440" y="1356"/>
                  </a:lnTo>
                  <a:lnTo>
                    <a:pt x="2440" y="1356"/>
                  </a:lnTo>
                  <a:lnTo>
                    <a:pt x="2444" y="1350"/>
                  </a:lnTo>
                  <a:lnTo>
                    <a:pt x="2446" y="1342"/>
                  </a:lnTo>
                  <a:lnTo>
                    <a:pt x="2446" y="1330"/>
                  </a:lnTo>
                  <a:lnTo>
                    <a:pt x="2446" y="1330"/>
                  </a:lnTo>
                  <a:lnTo>
                    <a:pt x="2446" y="1322"/>
                  </a:lnTo>
                  <a:lnTo>
                    <a:pt x="2450" y="1314"/>
                  </a:lnTo>
                  <a:lnTo>
                    <a:pt x="2452" y="1308"/>
                  </a:lnTo>
                  <a:lnTo>
                    <a:pt x="2452" y="1308"/>
                  </a:lnTo>
                  <a:lnTo>
                    <a:pt x="2458" y="1294"/>
                  </a:lnTo>
                  <a:lnTo>
                    <a:pt x="2462" y="1280"/>
                  </a:lnTo>
                  <a:lnTo>
                    <a:pt x="2462" y="1280"/>
                  </a:lnTo>
                  <a:lnTo>
                    <a:pt x="2464" y="1272"/>
                  </a:lnTo>
                  <a:lnTo>
                    <a:pt x="2460" y="1266"/>
                  </a:lnTo>
                  <a:lnTo>
                    <a:pt x="2450" y="1250"/>
                  </a:lnTo>
                  <a:lnTo>
                    <a:pt x="2450" y="1250"/>
                  </a:lnTo>
                  <a:lnTo>
                    <a:pt x="2448" y="1246"/>
                  </a:lnTo>
                  <a:lnTo>
                    <a:pt x="2446" y="1246"/>
                  </a:lnTo>
                  <a:lnTo>
                    <a:pt x="2446" y="1248"/>
                  </a:lnTo>
                  <a:lnTo>
                    <a:pt x="2446" y="1248"/>
                  </a:lnTo>
                  <a:lnTo>
                    <a:pt x="2444" y="1260"/>
                  </a:lnTo>
                  <a:lnTo>
                    <a:pt x="2438" y="1284"/>
                  </a:lnTo>
                  <a:close/>
                </a:path>
              </a:pathLst>
            </a:custGeom>
            <a:grpFill/>
            <a:ln w="3175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PE" kern="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21" name="Freeform 15"/>
            <p:cNvSpPr>
              <a:spLocks noEditPoints="1"/>
            </p:cNvSpPr>
            <p:nvPr/>
          </p:nvSpPr>
          <p:spPr bwMode="auto">
            <a:xfrm>
              <a:off x="56" y="1036"/>
              <a:ext cx="2211" cy="3018"/>
            </a:xfrm>
            <a:custGeom>
              <a:avLst/>
              <a:gdLst/>
              <a:ahLst/>
              <a:cxnLst>
                <a:cxn ang="0">
                  <a:pos x="1757" y="431"/>
                </a:cxn>
                <a:cxn ang="0">
                  <a:pos x="1780" y="502"/>
                </a:cxn>
                <a:cxn ang="0">
                  <a:pos x="1792" y="608"/>
                </a:cxn>
                <a:cxn ang="0">
                  <a:pos x="1954" y="711"/>
                </a:cxn>
                <a:cxn ang="0">
                  <a:pos x="2035" y="540"/>
                </a:cxn>
                <a:cxn ang="0">
                  <a:pos x="2203" y="366"/>
                </a:cxn>
                <a:cxn ang="0">
                  <a:pos x="2188" y="325"/>
                </a:cxn>
                <a:cxn ang="0">
                  <a:pos x="2153" y="272"/>
                </a:cxn>
                <a:cxn ang="0">
                  <a:pos x="2085" y="202"/>
                </a:cxn>
                <a:cxn ang="0">
                  <a:pos x="2002" y="129"/>
                </a:cxn>
                <a:cxn ang="0">
                  <a:pos x="1934" y="108"/>
                </a:cxn>
                <a:cxn ang="0">
                  <a:pos x="1737" y="207"/>
                </a:cxn>
                <a:cxn ang="0">
                  <a:pos x="1288" y="159"/>
                </a:cxn>
                <a:cxn ang="0">
                  <a:pos x="1303" y="194"/>
                </a:cxn>
                <a:cxn ang="0">
                  <a:pos x="1356" y="207"/>
                </a:cxn>
                <a:cxn ang="0">
                  <a:pos x="1364" y="156"/>
                </a:cxn>
                <a:cxn ang="0">
                  <a:pos x="1374" y="66"/>
                </a:cxn>
                <a:cxn ang="0">
                  <a:pos x="1361" y="3"/>
                </a:cxn>
                <a:cxn ang="0">
                  <a:pos x="1319" y="13"/>
                </a:cxn>
                <a:cxn ang="0">
                  <a:pos x="1266" y="58"/>
                </a:cxn>
                <a:cxn ang="0">
                  <a:pos x="1248" y="81"/>
                </a:cxn>
                <a:cxn ang="0">
                  <a:pos x="1253" y="144"/>
                </a:cxn>
                <a:cxn ang="0">
                  <a:pos x="1268" y="227"/>
                </a:cxn>
                <a:cxn ang="0">
                  <a:pos x="1379" y="252"/>
                </a:cxn>
                <a:cxn ang="0">
                  <a:pos x="1271" y="217"/>
                </a:cxn>
                <a:cxn ang="0">
                  <a:pos x="1172" y="1629"/>
                </a:cxn>
                <a:cxn ang="0">
                  <a:pos x="1677" y="1170"/>
                </a:cxn>
                <a:cxn ang="0">
                  <a:pos x="1500" y="703"/>
                </a:cxn>
                <a:cxn ang="0">
                  <a:pos x="1437" y="376"/>
                </a:cxn>
                <a:cxn ang="0">
                  <a:pos x="1520" y="509"/>
                </a:cxn>
                <a:cxn ang="0">
                  <a:pos x="1606" y="540"/>
                </a:cxn>
                <a:cxn ang="0">
                  <a:pos x="1674" y="527"/>
                </a:cxn>
                <a:cxn ang="0">
                  <a:pos x="1694" y="502"/>
                </a:cxn>
                <a:cxn ang="0">
                  <a:pos x="1659" y="446"/>
                </a:cxn>
                <a:cxn ang="0">
                  <a:pos x="1634" y="388"/>
                </a:cxn>
                <a:cxn ang="0">
                  <a:pos x="1553" y="345"/>
                </a:cxn>
                <a:cxn ang="0">
                  <a:pos x="1442" y="300"/>
                </a:cxn>
                <a:cxn ang="0">
                  <a:pos x="1341" y="330"/>
                </a:cxn>
                <a:cxn ang="0">
                  <a:pos x="1319" y="386"/>
                </a:cxn>
                <a:cxn ang="0">
                  <a:pos x="1182" y="424"/>
                </a:cxn>
                <a:cxn ang="0">
                  <a:pos x="1172" y="308"/>
                </a:cxn>
                <a:cxn ang="0">
                  <a:pos x="1112" y="315"/>
                </a:cxn>
                <a:cxn ang="0">
                  <a:pos x="1024" y="333"/>
                </a:cxn>
                <a:cxn ang="0">
                  <a:pos x="1034" y="383"/>
                </a:cxn>
                <a:cxn ang="0">
                  <a:pos x="1129" y="429"/>
                </a:cxn>
                <a:cxn ang="0">
                  <a:pos x="451" y="378"/>
                </a:cxn>
                <a:cxn ang="0">
                  <a:pos x="156" y="840"/>
                </a:cxn>
                <a:cxn ang="0">
                  <a:pos x="837" y="1417"/>
                </a:cxn>
                <a:cxn ang="0">
                  <a:pos x="1256" y="1755"/>
                </a:cxn>
                <a:cxn ang="0">
                  <a:pos x="1629" y="1679"/>
                </a:cxn>
                <a:cxn ang="0">
                  <a:pos x="1553" y="1654"/>
                </a:cxn>
                <a:cxn ang="0">
                  <a:pos x="1414" y="1851"/>
                </a:cxn>
                <a:cxn ang="0">
                  <a:pos x="1891" y="1893"/>
                </a:cxn>
                <a:cxn ang="0">
                  <a:pos x="1591" y="1795"/>
                </a:cxn>
                <a:cxn ang="0">
                  <a:pos x="1435" y="2057"/>
                </a:cxn>
                <a:cxn ang="0">
                  <a:pos x="1629" y="2524"/>
                </a:cxn>
                <a:cxn ang="0">
                  <a:pos x="1740" y="2741"/>
                </a:cxn>
                <a:cxn ang="0">
                  <a:pos x="2110" y="2342"/>
                </a:cxn>
                <a:cxn ang="0">
                  <a:pos x="1472" y="562"/>
                </a:cxn>
                <a:cxn ang="0">
                  <a:pos x="1394" y="577"/>
                </a:cxn>
                <a:cxn ang="0">
                  <a:pos x="978" y="338"/>
                </a:cxn>
                <a:cxn ang="0">
                  <a:pos x="1039" y="250"/>
                </a:cxn>
              </a:cxnLst>
              <a:rect l="0" t="0" r="r" b="b"/>
              <a:pathLst>
                <a:path w="2211" h="3018">
                  <a:moveTo>
                    <a:pt x="1636" y="295"/>
                  </a:moveTo>
                  <a:lnTo>
                    <a:pt x="1639" y="300"/>
                  </a:lnTo>
                  <a:lnTo>
                    <a:pt x="1639" y="303"/>
                  </a:lnTo>
                  <a:lnTo>
                    <a:pt x="1639" y="308"/>
                  </a:lnTo>
                  <a:lnTo>
                    <a:pt x="1636" y="310"/>
                  </a:lnTo>
                  <a:lnTo>
                    <a:pt x="1636" y="313"/>
                  </a:lnTo>
                  <a:lnTo>
                    <a:pt x="1634" y="315"/>
                  </a:lnTo>
                  <a:lnTo>
                    <a:pt x="1636" y="320"/>
                  </a:lnTo>
                  <a:lnTo>
                    <a:pt x="1636" y="323"/>
                  </a:lnTo>
                  <a:lnTo>
                    <a:pt x="1641" y="328"/>
                  </a:lnTo>
                  <a:lnTo>
                    <a:pt x="1644" y="333"/>
                  </a:lnTo>
                  <a:lnTo>
                    <a:pt x="1649" y="335"/>
                  </a:lnTo>
                  <a:lnTo>
                    <a:pt x="1651" y="338"/>
                  </a:lnTo>
                  <a:lnTo>
                    <a:pt x="1656" y="340"/>
                  </a:lnTo>
                  <a:lnTo>
                    <a:pt x="1664" y="340"/>
                  </a:lnTo>
                  <a:lnTo>
                    <a:pt x="1669" y="340"/>
                  </a:lnTo>
                  <a:lnTo>
                    <a:pt x="1679" y="340"/>
                  </a:lnTo>
                  <a:lnTo>
                    <a:pt x="1687" y="338"/>
                  </a:lnTo>
                  <a:lnTo>
                    <a:pt x="1697" y="338"/>
                  </a:lnTo>
                  <a:lnTo>
                    <a:pt x="1704" y="338"/>
                  </a:lnTo>
                  <a:lnTo>
                    <a:pt x="1712" y="338"/>
                  </a:lnTo>
                  <a:lnTo>
                    <a:pt x="1719" y="340"/>
                  </a:lnTo>
                  <a:lnTo>
                    <a:pt x="1724" y="343"/>
                  </a:lnTo>
                  <a:lnTo>
                    <a:pt x="1729" y="348"/>
                  </a:lnTo>
                  <a:lnTo>
                    <a:pt x="1732" y="356"/>
                  </a:lnTo>
                  <a:lnTo>
                    <a:pt x="1737" y="363"/>
                  </a:lnTo>
                  <a:lnTo>
                    <a:pt x="1740" y="368"/>
                  </a:lnTo>
                  <a:lnTo>
                    <a:pt x="1745" y="373"/>
                  </a:lnTo>
                  <a:lnTo>
                    <a:pt x="1750" y="378"/>
                  </a:lnTo>
                  <a:lnTo>
                    <a:pt x="1752" y="386"/>
                  </a:lnTo>
                  <a:lnTo>
                    <a:pt x="1757" y="391"/>
                  </a:lnTo>
                  <a:lnTo>
                    <a:pt x="1760" y="401"/>
                  </a:lnTo>
                  <a:lnTo>
                    <a:pt x="1760" y="411"/>
                  </a:lnTo>
                  <a:lnTo>
                    <a:pt x="1760" y="424"/>
                  </a:lnTo>
                  <a:lnTo>
                    <a:pt x="1757" y="431"/>
                  </a:lnTo>
                  <a:lnTo>
                    <a:pt x="1757" y="439"/>
                  </a:lnTo>
                  <a:lnTo>
                    <a:pt x="1757" y="444"/>
                  </a:lnTo>
                  <a:lnTo>
                    <a:pt x="1757" y="449"/>
                  </a:lnTo>
                  <a:lnTo>
                    <a:pt x="1757" y="451"/>
                  </a:lnTo>
                  <a:lnTo>
                    <a:pt x="1760" y="451"/>
                  </a:lnTo>
                  <a:lnTo>
                    <a:pt x="1765" y="454"/>
                  </a:lnTo>
                  <a:lnTo>
                    <a:pt x="1770" y="454"/>
                  </a:lnTo>
                  <a:lnTo>
                    <a:pt x="1775" y="454"/>
                  </a:lnTo>
                  <a:lnTo>
                    <a:pt x="1777" y="456"/>
                  </a:lnTo>
                  <a:lnTo>
                    <a:pt x="1782" y="456"/>
                  </a:lnTo>
                  <a:lnTo>
                    <a:pt x="1782" y="459"/>
                  </a:lnTo>
                  <a:lnTo>
                    <a:pt x="1782" y="461"/>
                  </a:lnTo>
                  <a:lnTo>
                    <a:pt x="1780" y="464"/>
                  </a:lnTo>
                  <a:lnTo>
                    <a:pt x="1772" y="464"/>
                  </a:lnTo>
                  <a:lnTo>
                    <a:pt x="1767" y="466"/>
                  </a:lnTo>
                  <a:lnTo>
                    <a:pt x="1765" y="469"/>
                  </a:lnTo>
                  <a:lnTo>
                    <a:pt x="1765" y="471"/>
                  </a:lnTo>
                  <a:lnTo>
                    <a:pt x="1767" y="471"/>
                  </a:lnTo>
                  <a:lnTo>
                    <a:pt x="1770" y="474"/>
                  </a:lnTo>
                  <a:lnTo>
                    <a:pt x="1775" y="477"/>
                  </a:lnTo>
                  <a:lnTo>
                    <a:pt x="1777" y="477"/>
                  </a:lnTo>
                  <a:lnTo>
                    <a:pt x="1777" y="477"/>
                  </a:lnTo>
                  <a:lnTo>
                    <a:pt x="1777" y="477"/>
                  </a:lnTo>
                  <a:lnTo>
                    <a:pt x="1775" y="477"/>
                  </a:lnTo>
                  <a:lnTo>
                    <a:pt x="1770" y="477"/>
                  </a:lnTo>
                  <a:lnTo>
                    <a:pt x="1765" y="479"/>
                  </a:lnTo>
                  <a:lnTo>
                    <a:pt x="1762" y="482"/>
                  </a:lnTo>
                  <a:lnTo>
                    <a:pt x="1757" y="484"/>
                  </a:lnTo>
                  <a:lnTo>
                    <a:pt x="1755" y="487"/>
                  </a:lnTo>
                  <a:lnTo>
                    <a:pt x="1755" y="489"/>
                  </a:lnTo>
                  <a:lnTo>
                    <a:pt x="1757" y="494"/>
                  </a:lnTo>
                  <a:lnTo>
                    <a:pt x="1762" y="497"/>
                  </a:lnTo>
                  <a:lnTo>
                    <a:pt x="1767" y="499"/>
                  </a:lnTo>
                  <a:lnTo>
                    <a:pt x="1772" y="502"/>
                  </a:lnTo>
                  <a:lnTo>
                    <a:pt x="1780" y="502"/>
                  </a:lnTo>
                  <a:lnTo>
                    <a:pt x="1785" y="502"/>
                  </a:lnTo>
                  <a:lnTo>
                    <a:pt x="1790" y="499"/>
                  </a:lnTo>
                  <a:lnTo>
                    <a:pt x="1792" y="497"/>
                  </a:lnTo>
                  <a:lnTo>
                    <a:pt x="1795" y="494"/>
                  </a:lnTo>
                  <a:lnTo>
                    <a:pt x="1798" y="492"/>
                  </a:lnTo>
                  <a:lnTo>
                    <a:pt x="1800" y="489"/>
                  </a:lnTo>
                  <a:lnTo>
                    <a:pt x="1800" y="487"/>
                  </a:lnTo>
                  <a:lnTo>
                    <a:pt x="1803" y="484"/>
                  </a:lnTo>
                  <a:lnTo>
                    <a:pt x="1805" y="484"/>
                  </a:lnTo>
                  <a:lnTo>
                    <a:pt x="1808" y="484"/>
                  </a:lnTo>
                  <a:lnTo>
                    <a:pt x="1810" y="482"/>
                  </a:lnTo>
                  <a:lnTo>
                    <a:pt x="1815" y="487"/>
                  </a:lnTo>
                  <a:lnTo>
                    <a:pt x="1815" y="494"/>
                  </a:lnTo>
                  <a:lnTo>
                    <a:pt x="1815" y="504"/>
                  </a:lnTo>
                  <a:lnTo>
                    <a:pt x="1813" y="512"/>
                  </a:lnTo>
                  <a:lnTo>
                    <a:pt x="1810" y="514"/>
                  </a:lnTo>
                  <a:lnTo>
                    <a:pt x="1805" y="514"/>
                  </a:lnTo>
                  <a:lnTo>
                    <a:pt x="1803" y="517"/>
                  </a:lnTo>
                  <a:lnTo>
                    <a:pt x="1798" y="519"/>
                  </a:lnTo>
                  <a:lnTo>
                    <a:pt x="1792" y="522"/>
                  </a:lnTo>
                  <a:lnTo>
                    <a:pt x="1787" y="527"/>
                  </a:lnTo>
                  <a:lnTo>
                    <a:pt x="1785" y="529"/>
                  </a:lnTo>
                  <a:lnTo>
                    <a:pt x="1780" y="532"/>
                  </a:lnTo>
                  <a:lnTo>
                    <a:pt x="1777" y="537"/>
                  </a:lnTo>
                  <a:lnTo>
                    <a:pt x="1777" y="545"/>
                  </a:lnTo>
                  <a:lnTo>
                    <a:pt x="1775" y="555"/>
                  </a:lnTo>
                  <a:lnTo>
                    <a:pt x="1772" y="565"/>
                  </a:lnTo>
                  <a:lnTo>
                    <a:pt x="1772" y="572"/>
                  </a:lnTo>
                  <a:lnTo>
                    <a:pt x="1772" y="582"/>
                  </a:lnTo>
                  <a:lnTo>
                    <a:pt x="1775" y="587"/>
                  </a:lnTo>
                  <a:lnTo>
                    <a:pt x="1775" y="593"/>
                  </a:lnTo>
                  <a:lnTo>
                    <a:pt x="1777" y="598"/>
                  </a:lnTo>
                  <a:lnTo>
                    <a:pt x="1782" y="600"/>
                  </a:lnTo>
                  <a:lnTo>
                    <a:pt x="1787" y="605"/>
                  </a:lnTo>
                  <a:lnTo>
                    <a:pt x="1792" y="608"/>
                  </a:lnTo>
                  <a:lnTo>
                    <a:pt x="1795" y="613"/>
                  </a:lnTo>
                  <a:lnTo>
                    <a:pt x="1800" y="618"/>
                  </a:lnTo>
                  <a:lnTo>
                    <a:pt x="1803" y="625"/>
                  </a:lnTo>
                  <a:lnTo>
                    <a:pt x="1803" y="630"/>
                  </a:lnTo>
                  <a:lnTo>
                    <a:pt x="1803" y="638"/>
                  </a:lnTo>
                  <a:lnTo>
                    <a:pt x="1805" y="643"/>
                  </a:lnTo>
                  <a:lnTo>
                    <a:pt x="1810" y="648"/>
                  </a:lnTo>
                  <a:lnTo>
                    <a:pt x="1815" y="653"/>
                  </a:lnTo>
                  <a:lnTo>
                    <a:pt x="1820" y="658"/>
                  </a:lnTo>
                  <a:lnTo>
                    <a:pt x="1825" y="661"/>
                  </a:lnTo>
                  <a:lnTo>
                    <a:pt x="1833" y="666"/>
                  </a:lnTo>
                  <a:lnTo>
                    <a:pt x="1838" y="671"/>
                  </a:lnTo>
                  <a:lnTo>
                    <a:pt x="1843" y="673"/>
                  </a:lnTo>
                  <a:lnTo>
                    <a:pt x="1848" y="678"/>
                  </a:lnTo>
                  <a:lnTo>
                    <a:pt x="1856" y="683"/>
                  </a:lnTo>
                  <a:lnTo>
                    <a:pt x="1863" y="691"/>
                  </a:lnTo>
                  <a:lnTo>
                    <a:pt x="1871" y="693"/>
                  </a:lnTo>
                  <a:lnTo>
                    <a:pt x="1881" y="698"/>
                  </a:lnTo>
                  <a:lnTo>
                    <a:pt x="1888" y="698"/>
                  </a:lnTo>
                  <a:lnTo>
                    <a:pt x="1896" y="698"/>
                  </a:lnTo>
                  <a:lnTo>
                    <a:pt x="1903" y="696"/>
                  </a:lnTo>
                  <a:lnTo>
                    <a:pt x="1908" y="696"/>
                  </a:lnTo>
                  <a:lnTo>
                    <a:pt x="1914" y="696"/>
                  </a:lnTo>
                  <a:lnTo>
                    <a:pt x="1919" y="696"/>
                  </a:lnTo>
                  <a:lnTo>
                    <a:pt x="1924" y="698"/>
                  </a:lnTo>
                  <a:lnTo>
                    <a:pt x="1926" y="701"/>
                  </a:lnTo>
                  <a:lnTo>
                    <a:pt x="1929" y="703"/>
                  </a:lnTo>
                  <a:lnTo>
                    <a:pt x="1931" y="706"/>
                  </a:lnTo>
                  <a:lnTo>
                    <a:pt x="1931" y="708"/>
                  </a:lnTo>
                  <a:lnTo>
                    <a:pt x="1934" y="708"/>
                  </a:lnTo>
                  <a:lnTo>
                    <a:pt x="1936" y="711"/>
                  </a:lnTo>
                  <a:lnTo>
                    <a:pt x="1939" y="711"/>
                  </a:lnTo>
                  <a:lnTo>
                    <a:pt x="1944" y="711"/>
                  </a:lnTo>
                  <a:lnTo>
                    <a:pt x="1949" y="711"/>
                  </a:lnTo>
                  <a:lnTo>
                    <a:pt x="1954" y="711"/>
                  </a:lnTo>
                  <a:lnTo>
                    <a:pt x="1956" y="711"/>
                  </a:lnTo>
                  <a:lnTo>
                    <a:pt x="1964" y="708"/>
                  </a:lnTo>
                  <a:lnTo>
                    <a:pt x="1966" y="708"/>
                  </a:lnTo>
                  <a:lnTo>
                    <a:pt x="1971" y="706"/>
                  </a:lnTo>
                  <a:lnTo>
                    <a:pt x="1977" y="703"/>
                  </a:lnTo>
                  <a:lnTo>
                    <a:pt x="1979" y="701"/>
                  </a:lnTo>
                  <a:lnTo>
                    <a:pt x="1982" y="698"/>
                  </a:lnTo>
                  <a:lnTo>
                    <a:pt x="1984" y="693"/>
                  </a:lnTo>
                  <a:lnTo>
                    <a:pt x="1984" y="691"/>
                  </a:lnTo>
                  <a:lnTo>
                    <a:pt x="1984" y="681"/>
                  </a:lnTo>
                  <a:lnTo>
                    <a:pt x="1984" y="673"/>
                  </a:lnTo>
                  <a:lnTo>
                    <a:pt x="1984" y="668"/>
                  </a:lnTo>
                  <a:lnTo>
                    <a:pt x="1984" y="666"/>
                  </a:lnTo>
                  <a:lnTo>
                    <a:pt x="1984" y="661"/>
                  </a:lnTo>
                  <a:lnTo>
                    <a:pt x="1987" y="658"/>
                  </a:lnTo>
                  <a:lnTo>
                    <a:pt x="1989" y="656"/>
                  </a:lnTo>
                  <a:lnTo>
                    <a:pt x="1992" y="653"/>
                  </a:lnTo>
                  <a:lnTo>
                    <a:pt x="1994" y="648"/>
                  </a:lnTo>
                  <a:lnTo>
                    <a:pt x="1992" y="640"/>
                  </a:lnTo>
                  <a:lnTo>
                    <a:pt x="1989" y="633"/>
                  </a:lnTo>
                  <a:lnTo>
                    <a:pt x="1989" y="628"/>
                  </a:lnTo>
                  <a:lnTo>
                    <a:pt x="1992" y="625"/>
                  </a:lnTo>
                  <a:lnTo>
                    <a:pt x="1994" y="620"/>
                  </a:lnTo>
                  <a:lnTo>
                    <a:pt x="1999" y="615"/>
                  </a:lnTo>
                  <a:lnTo>
                    <a:pt x="2004" y="608"/>
                  </a:lnTo>
                  <a:lnTo>
                    <a:pt x="2007" y="600"/>
                  </a:lnTo>
                  <a:lnTo>
                    <a:pt x="2009" y="593"/>
                  </a:lnTo>
                  <a:lnTo>
                    <a:pt x="2012" y="585"/>
                  </a:lnTo>
                  <a:lnTo>
                    <a:pt x="2009" y="580"/>
                  </a:lnTo>
                  <a:lnTo>
                    <a:pt x="2009" y="572"/>
                  </a:lnTo>
                  <a:lnTo>
                    <a:pt x="2012" y="565"/>
                  </a:lnTo>
                  <a:lnTo>
                    <a:pt x="2014" y="560"/>
                  </a:lnTo>
                  <a:lnTo>
                    <a:pt x="2022" y="552"/>
                  </a:lnTo>
                  <a:lnTo>
                    <a:pt x="2027" y="545"/>
                  </a:lnTo>
                  <a:lnTo>
                    <a:pt x="2035" y="540"/>
                  </a:lnTo>
                  <a:lnTo>
                    <a:pt x="2042" y="535"/>
                  </a:lnTo>
                  <a:lnTo>
                    <a:pt x="2047" y="532"/>
                  </a:lnTo>
                  <a:lnTo>
                    <a:pt x="2052" y="529"/>
                  </a:lnTo>
                  <a:lnTo>
                    <a:pt x="2057" y="527"/>
                  </a:lnTo>
                  <a:lnTo>
                    <a:pt x="2065" y="524"/>
                  </a:lnTo>
                  <a:lnTo>
                    <a:pt x="2072" y="517"/>
                  </a:lnTo>
                  <a:lnTo>
                    <a:pt x="2080" y="512"/>
                  </a:lnTo>
                  <a:lnTo>
                    <a:pt x="2087" y="502"/>
                  </a:lnTo>
                  <a:lnTo>
                    <a:pt x="2093" y="494"/>
                  </a:lnTo>
                  <a:lnTo>
                    <a:pt x="2098" y="484"/>
                  </a:lnTo>
                  <a:lnTo>
                    <a:pt x="2100" y="474"/>
                  </a:lnTo>
                  <a:lnTo>
                    <a:pt x="2105" y="466"/>
                  </a:lnTo>
                  <a:lnTo>
                    <a:pt x="2108" y="461"/>
                  </a:lnTo>
                  <a:lnTo>
                    <a:pt x="2108" y="456"/>
                  </a:lnTo>
                  <a:lnTo>
                    <a:pt x="2113" y="454"/>
                  </a:lnTo>
                  <a:lnTo>
                    <a:pt x="2113" y="454"/>
                  </a:lnTo>
                  <a:lnTo>
                    <a:pt x="2118" y="451"/>
                  </a:lnTo>
                  <a:lnTo>
                    <a:pt x="2123" y="449"/>
                  </a:lnTo>
                  <a:lnTo>
                    <a:pt x="2125" y="446"/>
                  </a:lnTo>
                  <a:lnTo>
                    <a:pt x="2130" y="444"/>
                  </a:lnTo>
                  <a:lnTo>
                    <a:pt x="2135" y="439"/>
                  </a:lnTo>
                  <a:lnTo>
                    <a:pt x="2140" y="434"/>
                  </a:lnTo>
                  <a:lnTo>
                    <a:pt x="2148" y="429"/>
                  </a:lnTo>
                  <a:lnTo>
                    <a:pt x="2156" y="424"/>
                  </a:lnTo>
                  <a:lnTo>
                    <a:pt x="2163" y="416"/>
                  </a:lnTo>
                  <a:lnTo>
                    <a:pt x="2171" y="411"/>
                  </a:lnTo>
                  <a:lnTo>
                    <a:pt x="2176" y="403"/>
                  </a:lnTo>
                  <a:lnTo>
                    <a:pt x="2183" y="396"/>
                  </a:lnTo>
                  <a:lnTo>
                    <a:pt x="2191" y="391"/>
                  </a:lnTo>
                  <a:lnTo>
                    <a:pt x="2196" y="386"/>
                  </a:lnTo>
                  <a:lnTo>
                    <a:pt x="2198" y="378"/>
                  </a:lnTo>
                  <a:lnTo>
                    <a:pt x="2203" y="376"/>
                  </a:lnTo>
                  <a:lnTo>
                    <a:pt x="2203" y="371"/>
                  </a:lnTo>
                  <a:lnTo>
                    <a:pt x="2206" y="368"/>
                  </a:lnTo>
                  <a:lnTo>
                    <a:pt x="2203" y="366"/>
                  </a:lnTo>
                  <a:lnTo>
                    <a:pt x="2196" y="363"/>
                  </a:lnTo>
                  <a:lnTo>
                    <a:pt x="2188" y="363"/>
                  </a:lnTo>
                  <a:lnTo>
                    <a:pt x="2178" y="366"/>
                  </a:lnTo>
                  <a:lnTo>
                    <a:pt x="2168" y="368"/>
                  </a:lnTo>
                  <a:lnTo>
                    <a:pt x="2161" y="371"/>
                  </a:lnTo>
                  <a:lnTo>
                    <a:pt x="2150" y="376"/>
                  </a:lnTo>
                  <a:lnTo>
                    <a:pt x="2143" y="381"/>
                  </a:lnTo>
                  <a:lnTo>
                    <a:pt x="2140" y="383"/>
                  </a:lnTo>
                  <a:lnTo>
                    <a:pt x="2140" y="381"/>
                  </a:lnTo>
                  <a:lnTo>
                    <a:pt x="2143" y="378"/>
                  </a:lnTo>
                  <a:lnTo>
                    <a:pt x="2145" y="376"/>
                  </a:lnTo>
                  <a:lnTo>
                    <a:pt x="2145" y="371"/>
                  </a:lnTo>
                  <a:lnTo>
                    <a:pt x="2143" y="366"/>
                  </a:lnTo>
                  <a:lnTo>
                    <a:pt x="2138" y="366"/>
                  </a:lnTo>
                  <a:lnTo>
                    <a:pt x="2128" y="366"/>
                  </a:lnTo>
                  <a:lnTo>
                    <a:pt x="2125" y="368"/>
                  </a:lnTo>
                  <a:lnTo>
                    <a:pt x="2125" y="366"/>
                  </a:lnTo>
                  <a:lnTo>
                    <a:pt x="2130" y="363"/>
                  </a:lnTo>
                  <a:lnTo>
                    <a:pt x="2140" y="358"/>
                  </a:lnTo>
                  <a:lnTo>
                    <a:pt x="2150" y="356"/>
                  </a:lnTo>
                  <a:lnTo>
                    <a:pt x="2158" y="353"/>
                  </a:lnTo>
                  <a:lnTo>
                    <a:pt x="2166" y="350"/>
                  </a:lnTo>
                  <a:lnTo>
                    <a:pt x="2171" y="353"/>
                  </a:lnTo>
                  <a:lnTo>
                    <a:pt x="2173" y="353"/>
                  </a:lnTo>
                  <a:lnTo>
                    <a:pt x="2178" y="356"/>
                  </a:lnTo>
                  <a:lnTo>
                    <a:pt x="2183" y="353"/>
                  </a:lnTo>
                  <a:lnTo>
                    <a:pt x="2188" y="353"/>
                  </a:lnTo>
                  <a:lnTo>
                    <a:pt x="2193" y="350"/>
                  </a:lnTo>
                  <a:lnTo>
                    <a:pt x="2198" y="345"/>
                  </a:lnTo>
                  <a:lnTo>
                    <a:pt x="2201" y="343"/>
                  </a:lnTo>
                  <a:lnTo>
                    <a:pt x="2201" y="338"/>
                  </a:lnTo>
                  <a:lnTo>
                    <a:pt x="2198" y="333"/>
                  </a:lnTo>
                  <a:lnTo>
                    <a:pt x="2196" y="330"/>
                  </a:lnTo>
                  <a:lnTo>
                    <a:pt x="2193" y="328"/>
                  </a:lnTo>
                  <a:lnTo>
                    <a:pt x="2188" y="325"/>
                  </a:lnTo>
                  <a:lnTo>
                    <a:pt x="2183" y="325"/>
                  </a:lnTo>
                  <a:lnTo>
                    <a:pt x="2176" y="323"/>
                  </a:lnTo>
                  <a:lnTo>
                    <a:pt x="2168" y="323"/>
                  </a:lnTo>
                  <a:lnTo>
                    <a:pt x="2161" y="323"/>
                  </a:lnTo>
                  <a:lnTo>
                    <a:pt x="2153" y="323"/>
                  </a:lnTo>
                  <a:lnTo>
                    <a:pt x="2145" y="323"/>
                  </a:lnTo>
                  <a:lnTo>
                    <a:pt x="2140" y="323"/>
                  </a:lnTo>
                  <a:lnTo>
                    <a:pt x="2138" y="325"/>
                  </a:lnTo>
                  <a:lnTo>
                    <a:pt x="2135" y="325"/>
                  </a:lnTo>
                  <a:lnTo>
                    <a:pt x="2135" y="325"/>
                  </a:lnTo>
                  <a:lnTo>
                    <a:pt x="2135" y="323"/>
                  </a:lnTo>
                  <a:lnTo>
                    <a:pt x="2135" y="323"/>
                  </a:lnTo>
                  <a:lnTo>
                    <a:pt x="2138" y="320"/>
                  </a:lnTo>
                  <a:lnTo>
                    <a:pt x="2143" y="318"/>
                  </a:lnTo>
                  <a:lnTo>
                    <a:pt x="2148" y="318"/>
                  </a:lnTo>
                  <a:lnTo>
                    <a:pt x="2153" y="318"/>
                  </a:lnTo>
                  <a:lnTo>
                    <a:pt x="2158" y="318"/>
                  </a:lnTo>
                  <a:lnTo>
                    <a:pt x="2161" y="315"/>
                  </a:lnTo>
                  <a:lnTo>
                    <a:pt x="2161" y="313"/>
                  </a:lnTo>
                  <a:lnTo>
                    <a:pt x="2156" y="310"/>
                  </a:lnTo>
                  <a:lnTo>
                    <a:pt x="2150" y="308"/>
                  </a:lnTo>
                  <a:lnTo>
                    <a:pt x="2145" y="305"/>
                  </a:lnTo>
                  <a:lnTo>
                    <a:pt x="2140" y="303"/>
                  </a:lnTo>
                  <a:lnTo>
                    <a:pt x="2135" y="303"/>
                  </a:lnTo>
                  <a:lnTo>
                    <a:pt x="2133" y="300"/>
                  </a:lnTo>
                  <a:lnTo>
                    <a:pt x="2133" y="300"/>
                  </a:lnTo>
                  <a:lnTo>
                    <a:pt x="2133" y="298"/>
                  </a:lnTo>
                  <a:lnTo>
                    <a:pt x="2138" y="295"/>
                  </a:lnTo>
                  <a:lnTo>
                    <a:pt x="2143" y="292"/>
                  </a:lnTo>
                  <a:lnTo>
                    <a:pt x="2148" y="290"/>
                  </a:lnTo>
                  <a:lnTo>
                    <a:pt x="2150" y="285"/>
                  </a:lnTo>
                  <a:lnTo>
                    <a:pt x="2153" y="282"/>
                  </a:lnTo>
                  <a:lnTo>
                    <a:pt x="2156" y="277"/>
                  </a:lnTo>
                  <a:lnTo>
                    <a:pt x="2156" y="275"/>
                  </a:lnTo>
                  <a:lnTo>
                    <a:pt x="2153" y="272"/>
                  </a:lnTo>
                  <a:lnTo>
                    <a:pt x="2153" y="270"/>
                  </a:lnTo>
                  <a:lnTo>
                    <a:pt x="2150" y="267"/>
                  </a:lnTo>
                  <a:lnTo>
                    <a:pt x="2150" y="265"/>
                  </a:lnTo>
                  <a:lnTo>
                    <a:pt x="2150" y="260"/>
                  </a:lnTo>
                  <a:lnTo>
                    <a:pt x="2153" y="257"/>
                  </a:lnTo>
                  <a:lnTo>
                    <a:pt x="2153" y="255"/>
                  </a:lnTo>
                  <a:lnTo>
                    <a:pt x="2153" y="252"/>
                  </a:lnTo>
                  <a:lnTo>
                    <a:pt x="2150" y="250"/>
                  </a:lnTo>
                  <a:lnTo>
                    <a:pt x="2148" y="250"/>
                  </a:lnTo>
                  <a:lnTo>
                    <a:pt x="2143" y="247"/>
                  </a:lnTo>
                  <a:lnTo>
                    <a:pt x="2140" y="245"/>
                  </a:lnTo>
                  <a:lnTo>
                    <a:pt x="2140" y="245"/>
                  </a:lnTo>
                  <a:lnTo>
                    <a:pt x="2140" y="242"/>
                  </a:lnTo>
                  <a:lnTo>
                    <a:pt x="2140" y="240"/>
                  </a:lnTo>
                  <a:lnTo>
                    <a:pt x="2140" y="237"/>
                  </a:lnTo>
                  <a:lnTo>
                    <a:pt x="2138" y="234"/>
                  </a:lnTo>
                  <a:lnTo>
                    <a:pt x="2133" y="234"/>
                  </a:lnTo>
                  <a:lnTo>
                    <a:pt x="2128" y="232"/>
                  </a:lnTo>
                  <a:lnTo>
                    <a:pt x="2120" y="232"/>
                  </a:lnTo>
                  <a:lnTo>
                    <a:pt x="2113" y="229"/>
                  </a:lnTo>
                  <a:lnTo>
                    <a:pt x="2105" y="229"/>
                  </a:lnTo>
                  <a:lnTo>
                    <a:pt x="2100" y="227"/>
                  </a:lnTo>
                  <a:lnTo>
                    <a:pt x="2095" y="224"/>
                  </a:lnTo>
                  <a:lnTo>
                    <a:pt x="2095" y="219"/>
                  </a:lnTo>
                  <a:lnTo>
                    <a:pt x="2100" y="217"/>
                  </a:lnTo>
                  <a:lnTo>
                    <a:pt x="2105" y="212"/>
                  </a:lnTo>
                  <a:lnTo>
                    <a:pt x="2108" y="207"/>
                  </a:lnTo>
                  <a:lnTo>
                    <a:pt x="2110" y="204"/>
                  </a:lnTo>
                  <a:lnTo>
                    <a:pt x="2108" y="202"/>
                  </a:lnTo>
                  <a:lnTo>
                    <a:pt x="2105" y="202"/>
                  </a:lnTo>
                  <a:lnTo>
                    <a:pt x="2103" y="199"/>
                  </a:lnTo>
                  <a:lnTo>
                    <a:pt x="2098" y="202"/>
                  </a:lnTo>
                  <a:lnTo>
                    <a:pt x="2093" y="202"/>
                  </a:lnTo>
                  <a:lnTo>
                    <a:pt x="2087" y="202"/>
                  </a:lnTo>
                  <a:lnTo>
                    <a:pt x="2085" y="202"/>
                  </a:lnTo>
                  <a:lnTo>
                    <a:pt x="2082" y="199"/>
                  </a:lnTo>
                  <a:lnTo>
                    <a:pt x="2082" y="197"/>
                  </a:lnTo>
                  <a:lnTo>
                    <a:pt x="2080" y="197"/>
                  </a:lnTo>
                  <a:lnTo>
                    <a:pt x="2077" y="194"/>
                  </a:lnTo>
                  <a:lnTo>
                    <a:pt x="2075" y="194"/>
                  </a:lnTo>
                  <a:lnTo>
                    <a:pt x="2070" y="194"/>
                  </a:lnTo>
                  <a:lnTo>
                    <a:pt x="2062" y="194"/>
                  </a:lnTo>
                  <a:lnTo>
                    <a:pt x="2055" y="184"/>
                  </a:lnTo>
                  <a:lnTo>
                    <a:pt x="2052" y="174"/>
                  </a:lnTo>
                  <a:lnTo>
                    <a:pt x="2050" y="161"/>
                  </a:lnTo>
                  <a:lnTo>
                    <a:pt x="2050" y="154"/>
                  </a:lnTo>
                  <a:lnTo>
                    <a:pt x="2050" y="146"/>
                  </a:lnTo>
                  <a:lnTo>
                    <a:pt x="2050" y="141"/>
                  </a:lnTo>
                  <a:lnTo>
                    <a:pt x="2047" y="134"/>
                  </a:lnTo>
                  <a:lnTo>
                    <a:pt x="2045" y="129"/>
                  </a:lnTo>
                  <a:lnTo>
                    <a:pt x="2045" y="121"/>
                  </a:lnTo>
                  <a:lnTo>
                    <a:pt x="2047" y="111"/>
                  </a:lnTo>
                  <a:lnTo>
                    <a:pt x="2047" y="103"/>
                  </a:lnTo>
                  <a:lnTo>
                    <a:pt x="2047" y="101"/>
                  </a:lnTo>
                  <a:lnTo>
                    <a:pt x="2045" y="98"/>
                  </a:lnTo>
                  <a:lnTo>
                    <a:pt x="2042" y="98"/>
                  </a:lnTo>
                  <a:lnTo>
                    <a:pt x="2040" y="96"/>
                  </a:lnTo>
                  <a:lnTo>
                    <a:pt x="2035" y="96"/>
                  </a:lnTo>
                  <a:lnTo>
                    <a:pt x="2032" y="98"/>
                  </a:lnTo>
                  <a:lnTo>
                    <a:pt x="2029" y="98"/>
                  </a:lnTo>
                  <a:lnTo>
                    <a:pt x="2027" y="98"/>
                  </a:lnTo>
                  <a:lnTo>
                    <a:pt x="2022" y="101"/>
                  </a:lnTo>
                  <a:lnTo>
                    <a:pt x="2017" y="103"/>
                  </a:lnTo>
                  <a:lnTo>
                    <a:pt x="2014" y="106"/>
                  </a:lnTo>
                  <a:lnTo>
                    <a:pt x="2012" y="111"/>
                  </a:lnTo>
                  <a:lnTo>
                    <a:pt x="2009" y="113"/>
                  </a:lnTo>
                  <a:lnTo>
                    <a:pt x="2007" y="116"/>
                  </a:lnTo>
                  <a:lnTo>
                    <a:pt x="2004" y="121"/>
                  </a:lnTo>
                  <a:lnTo>
                    <a:pt x="2004" y="124"/>
                  </a:lnTo>
                  <a:lnTo>
                    <a:pt x="2002" y="129"/>
                  </a:lnTo>
                  <a:lnTo>
                    <a:pt x="1999" y="131"/>
                  </a:lnTo>
                  <a:lnTo>
                    <a:pt x="1997" y="131"/>
                  </a:lnTo>
                  <a:lnTo>
                    <a:pt x="1994" y="131"/>
                  </a:lnTo>
                  <a:lnTo>
                    <a:pt x="1992" y="134"/>
                  </a:lnTo>
                  <a:lnTo>
                    <a:pt x="1992" y="131"/>
                  </a:lnTo>
                  <a:lnTo>
                    <a:pt x="1989" y="131"/>
                  </a:lnTo>
                  <a:lnTo>
                    <a:pt x="1987" y="129"/>
                  </a:lnTo>
                  <a:lnTo>
                    <a:pt x="1984" y="126"/>
                  </a:lnTo>
                  <a:lnTo>
                    <a:pt x="1982" y="126"/>
                  </a:lnTo>
                  <a:lnTo>
                    <a:pt x="1979" y="126"/>
                  </a:lnTo>
                  <a:lnTo>
                    <a:pt x="1977" y="129"/>
                  </a:lnTo>
                  <a:lnTo>
                    <a:pt x="1974" y="131"/>
                  </a:lnTo>
                  <a:lnTo>
                    <a:pt x="1971" y="134"/>
                  </a:lnTo>
                  <a:lnTo>
                    <a:pt x="1969" y="136"/>
                  </a:lnTo>
                  <a:lnTo>
                    <a:pt x="1964" y="141"/>
                  </a:lnTo>
                  <a:lnTo>
                    <a:pt x="1964" y="141"/>
                  </a:lnTo>
                  <a:lnTo>
                    <a:pt x="1964" y="141"/>
                  </a:lnTo>
                  <a:lnTo>
                    <a:pt x="1964" y="139"/>
                  </a:lnTo>
                  <a:lnTo>
                    <a:pt x="1964" y="136"/>
                  </a:lnTo>
                  <a:lnTo>
                    <a:pt x="1964" y="134"/>
                  </a:lnTo>
                  <a:lnTo>
                    <a:pt x="1961" y="131"/>
                  </a:lnTo>
                  <a:lnTo>
                    <a:pt x="1954" y="131"/>
                  </a:lnTo>
                  <a:lnTo>
                    <a:pt x="1946" y="134"/>
                  </a:lnTo>
                  <a:lnTo>
                    <a:pt x="1946" y="131"/>
                  </a:lnTo>
                  <a:lnTo>
                    <a:pt x="1951" y="129"/>
                  </a:lnTo>
                  <a:lnTo>
                    <a:pt x="1954" y="124"/>
                  </a:lnTo>
                  <a:lnTo>
                    <a:pt x="1959" y="119"/>
                  </a:lnTo>
                  <a:lnTo>
                    <a:pt x="1961" y="116"/>
                  </a:lnTo>
                  <a:lnTo>
                    <a:pt x="1964" y="111"/>
                  </a:lnTo>
                  <a:lnTo>
                    <a:pt x="1961" y="108"/>
                  </a:lnTo>
                  <a:lnTo>
                    <a:pt x="1954" y="108"/>
                  </a:lnTo>
                  <a:lnTo>
                    <a:pt x="1949" y="111"/>
                  </a:lnTo>
                  <a:lnTo>
                    <a:pt x="1944" y="111"/>
                  </a:lnTo>
                  <a:lnTo>
                    <a:pt x="1939" y="111"/>
                  </a:lnTo>
                  <a:lnTo>
                    <a:pt x="1934" y="108"/>
                  </a:lnTo>
                  <a:lnTo>
                    <a:pt x="1931" y="108"/>
                  </a:lnTo>
                  <a:lnTo>
                    <a:pt x="1926" y="108"/>
                  </a:lnTo>
                  <a:lnTo>
                    <a:pt x="1924" y="108"/>
                  </a:lnTo>
                  <a:lnTo>
                    <a:pt x="1919" y="108"/>
                  </a:lnTo>
                  <a:lnTo>
                    <a:pt x="1916" y="108"/>
                  </a:lnTo>
                  <a:lnTo>
                    <a:pt x="1914" y="111"/>
                  </a:lnTo>
                  <a:lnTo>
                    <a:pt x="1911" y="111"/>
                  </a:lnTo>
                  <a:lnTo>
                    <a:pt x="1906" y="111"/>
                  </a:lnTo>
                  <a:lnTo>
                    <a:pt x="1898" y="116"/>
                  </a:lnTo>
                  <a:lnTo>
                    <a:pt x="1888" y="121"/>
                  </a:lnTo>
                  <a:lnTo>
                    <a:pt x="1876" y="126"/>
                  </a:lnTo>
                  <a:lnTo>
                    <a:pt x="1866" y="129"/>
                  </a:lnTo>
                  <a:lnTo>
                    <a:pt x="1853" y="134"/>
                  </a:lnTo>
                  <a:lnTo>
                    <a:pt x="1845" y="139"/>
                  </a:lnTo>
                  <a:lnTo>
                    <a:pt x="1838" y="144"/>
                  </a:lnTo>
                  <a:lnTo>
                    <a:pt x="1835" y="149"/>
                  </a:lnTo>
                  <a:lnTo>
                    <a:pt x="1833" y="151"/>
                  </a:lnTo>
                  <a:lnTo>
                    <a:pt x="1830" y="156"/>
                  </a:lnTo>
                  <a:lnTo>
                    <a:pt x="1830" y="159"/>
                  </a:lnTo>
                  <a:lnTo>
                    <a:pt x="1828" y="161"/>
                  </a:lnTo>
                  <a:lnTo>
                    <a:pt x="1825" y="164"/>
                  </a:lnTo>
                  <a:lnTo>
                    <a:pt x="1820" y="166"/>
                  </a:lnTo>
                  <a:lnTo>
                    <a:pt x="1815" y="166"/>
                  </a:lnTo>
                  <a:lnTo>
                    <a:pt x="1808" y="166"/>
                  </a:lnTo>
                  <a:lnTo>
                    <a:pt x="1800" y="169"/>
                  </a:lnTo>
                  <a:lnTo>
                    <a:pt x="1792" y="169"/>
                  </a:lnTo>
                  <a:lnTo>
                    <a:pt x="1782" y="174"/>
                  </a:lnTo>
                  <a:lnTo>
                    <a:pt x="1775" y="176"/>
                  </a:lnTo>
                  <a:lnTo>
                    <a:pt x="1767" y="182"/>
                  </a:lnTo>
                  <a:lnTo>
                    <a:pt x="1760" y="184"/>
                  </a:lnTo>
                  <a:lnTo>
                    <a:pt x="1755" y="189"/>
                  </a:lnTo>
                  <a:lnTo>
                    <a:pt x="1752" y="192"/>
                  </a:lnTo>
                  <a:lnTo>
                    <a:pt x="1750" y="197"/>
                  </a:lnTo>
                  <a:lnTo>
                    <a:pt x="1745" y="202"/>
                  </a:lnTo>
                  <a:lnTo>
                    <a:pt x="1737" y="207"/>
                  </a:lnTo>
                  <a:lnTo>
                    <a:pt x="1727" y="212"/>
                  </a:lnTo>
                  <a:lnTo>
                    <a:pt x="1719" y="217"/>
                  </a:lnTo>
                  <a:lnTo>
                    <a:pt x="1712" y="222"/>
                  </a:lnTo>
                  <a:lnTo>
                    <a:pt x="1707" y="229"/>
                  </a:lnTo>
                  <a:lnTo>
                    <a:pt x="1704" y="234"/>
                  </a:lnTo>
                  <a:lnTo>
                    <a:pt x="1704" y="240"/>
                  </a:lnTo>
                  <a:lnTo>
                    <a:pt x="1702" y="247"/>
                  </a:lnTo>
                  <a:lnTo>
                    <a:pt x="1697" y="252"/>
                  </a:lnTo>
                  <a:lnTo>
                    <a:pt x="1692" y="255"/>
                  </a:lnTo>
                  <a:lnTo>
                    <a:pt x="1684" y="260"/>
                  </a:lnTo>
                  <a:lnTo>
                    <a:pt x="1677" y="262"/>
                  </a:lnTo>
                  <a:lnTo>
                    <a:pt x="1669" y="265"/>
                  </a:lnTo>
                  <a:lnTo>
                    <a:pt x="1659" y="267"/>
                  </a:lnTo>
                  <a:lnTo>
                    <a:pt x="1651" y="270"/>
                  </a:lnTo>
                  <a:lnTo>
                    <a:pt x="1646" y="272"/>
                  </a:lnTo>
                  <a:lnTo>
                    <a:pt x="1639" y="277"/>
                  </a:lnTo>
                  <a:lnTo>
                    <a:pt x="1636" y="280"/>
                  </a:lnTo>
                  <a:lnTo>
                    <a:pt x="1634" y="282"/>
                  </a:lnTo>
                  <a:lnTo>
                    <a:pt x="1634" y="287"/>
                  </a:lnTo>
                  <a:lnTo>
                    <a:pt x="1634" y="290"/>
                  </a:lnTo>
                  <a:lnTo>
                    <a:pt x="1636" y="295"/>
                  </a:lnTo>
                  <a:close/>
                  <a:moveTo>
                    <a:pt x="1258" y="159"/>
                  </a:moveTo>
                  <a:lnTo>
                    <a:pt x="1258" y="159"/>
                  </a:lnTo>
                  <a:lnTo>
                    <a:pt x="1261" y="159"/>
                  </a:lnTo>
                  <a:lnTo>
                    <a:pt x="1261" y="159"/>
                  </a:lnTo>
                  <a:lnTo>
                    <a:pt x="1263" y="164"/>
                  </a:lnTo>
                  <a:lnTo>
                    <a:pt x="1263" y="164"/>
                  </a:lnTo>
                  <a:lnTo>
                    <a:pt x="1271" y="166"/>
                  </a:lnTo>
                  <a:lnTo>
                    <a:pt x="1271" y="166"/>
                  </a:lnTo>
                  <a:lnTo>
                    <a:pt x="1278" y="166"/>
                  </a:lnTo>
                  <a:lnTo>
                    <a:pt x="1278" y="166"/>
                  </a:lnTo>
                  <a:lnTo>
                    <a:pt x="1283" y="161"/>
                  </a:lnTo>
                  <a:lnTo>
                    <a:pt x="1283" y="161"/>
                  </a:lnTo>
                  <a:lnTo>
                    <a:pt x="1288" y="159"/>
                  </a:lnTo>
                  <a:lnTo>
                    <a:pt x="1288" y="159"/>
                  </a:lnTo>
                  <a:lnTo>
                    <a:pt x="1291" y="156"/>
                  </a:lnTo>
                  <a:lnTo>
                    <a:pt x="1291" y="156"/>
                  </a:lnTo>
                  <a:lnTo>
                    <a:pt x="1293" y="154"/>
                  </a:lnTo>
                  <a:lnTo>
                    <a:pt x="1293" y="154"/>
                  </a:lnTo>
                  <a:lnTo>
                    <a:pt x="1296" y="156"/>
                  </a:lnTo>
                  <a:lnTo>
                    <a:pt x="1296" y="156"/>
                  </a:lnTo>
                  <a:lnTo>
                    <a:pt x="1301" y="159"/>
                  </a:lnTo>
                  <a:lnTo>
                    <a:pt x="1301" y="159"/>
                  </a:lnTo>
                  <a:lnTo>
                    <a:pt x="1306" y="164"/>
                  </a:lnTo>
                  <a:lnTo>
                    <a:pt x="1306" y="164"/>
                  </a:lnTo>
                  <a:lnTo>
                    <a:pt x="1311" y="169"/>
                  </a:lnTo>
                  <a:lnTo>
                    <a:pt x="1311" y="169"/>
                  </a:lnTo>
                  <a:lnTo>
                    <a:pt x="1316" y="174"/>
                  </a:lnTo>
                  <a:lnTo>
                    <a:pt x="1316" y="174"/>
                  </a:lnTo>
                  <a:lnTo>
                    <a:pt x="1316" y="176"/>
                  </a:lnTo>
                  <a:lnTo>
                    <a:pt x="1316" y="176"/>
                  </a:lnTo>
                  <a:lnTo>
                    <a:pt x="1316" y="176"/>
                  </a:lnTo>
                  <a:lnTo>
                    <a:pt x="1316" y="176"/>
                  </a:lnTo>
                  <a:lnTo>
                    <a:pt x="1311" y="174"/>
                  </a:lnTo>
                  <a:lnTo>
                    <a:pt x="1311" y="174"/>
                  </a:lnTo>
                  <a:lnTo>
                    <a:pt x="1306" y="171"/>
                  </a:lnTo>
                  <a:lnTo>
                    <a:pt x="1306" y="171"/>
                  </a:lnTo>
                  <a:lnTo>
                    <a:pt x="1298" y="169"/>
                  </a:lnTo>
                  <a:lnTo>
                    <a:pt x="1298" y="169"/>
                  </a:lnTo>
                  <a:lnTo>
                    <a:pt x="1296" y="171"/>
                  </a:lnTo>
                  <a:lnTo>
                    <a:pt x="1296" y="171"/>
                  </a:lnTo>
                  <a:lnTo>
                    <a:pt x="1296" y="176"/>
                  </a:lnTo>
                  <a:lnTo>
                    <a:pt x="1296" y="176"/>
                  </a:lnTo>
                  <a:lnTo>
                    <a:pt x="1296" y="182"/>
                  </a:lnTo>
                  <a:lnTo>
                    <a:pt x="1296" y="182"/>
                  </a:lnTo>
                  <a:lnTo>
                    <a:pt x="1301" y="184"/>
                  </a:lnTo>
                  <a:lnTo>
                    <a:pt x="1301" y="184"/>
                  </a:lnTo>
                  <a:lnTo>
                    <a:pt x="1303" y="189"/>
                  </a:lnTo>
                  <a:lnTo>
                    <a:pt x="1303" y="189"/>
                  </a:lnTo>
                  <a:lnTo>
                    <a:pt x="1303" y="194"/>
                  </a:lnTo>
                  <a:lnTo>
                    <a:pt x="1303" y="194"/>
                  </a:lnTo>
                  <a:lnTo>
                    <a:pt x="1301" y="197"/>
                  </a:lnTo>
                  <a:lnTo>
                    <a:pt x="1301" y="197"/>
                  </a:lnTo>
                  <a:lnTo>
                    <a:pt x="1296" y="199"/>
                  </a:lnTo>
                  <a:lnTo>
                    <a:pt x="1296" y="199"/>
                  </a:lnTo>
                  <a:lnTo>
                    <a:pt x="1293" y="202"/>
                  </a:lnTo>
                  <a:lnTo>
                    <a:pt x="1293" y="202"/>
                  </a:lnTo>
                  <a:lnTo>
                    <a:pt x="1291" y="204"/>
                  </a:lnTo>
                  <a:lnTo>
                    <a:pt x="1291" y="204"/>
                  </a:lnTo>
                  <a:lnTo>
                    <a:pt x="1293" y="209"/>
                  </a:lnTo>
                  <a:lnTo>
                    <a:pt x="1293" y="209"/>
                  </a:lnTo>
                  <a:lnTo>
                    <a:pt x="1296" y="214"/>
                  </a:lnTo>
                  <a:lnTo>
                    <a:pt x="1296" y="214"/>
                  </a:lnTo>
                  <a:lnTo>
                    <a:pt x="1298" y="214"/>
                  </a:lnTo>
                  <a:lnTo>
                    <a:pt x="1298" y="214"/>
                  </a:lnTo>
                  <a:lnTo>
                    <a:pt x="1306" y="214"/>
                  </a:lnTo>
                  <a:lnTo>
                    <a:pt x="1306" y="214"/>
                  </a:lnTo>
                  <a:lnTo>
                    <a:pt x="1313" y="214"/>
                  </a:lnTo>
                  <a:lnTo>
                    <a:pt x="1313" y="214"/>
                  </a:lnTo>
                  <a:lnTo>
                    <a:pt x="1321" y="214"/>
                  </a:lnTo>
                  <a:lnTo>
                    <a:pt x="1321" y="214"/>
                  </a:lnTo>
                  <a:lnTo>
                    <a:pt x="1326" y="214"/>
                  </a:lnTo>
                  <a:lnTo>
                    <a:pt x="1326" y="214"/>
                  </a:lnTo>
                  <a:lnTo>
                    <a:pt x="1331" y="212"/>
                  </a:lnTo>
                  <a:lnTo>
                    <a:pt x="1331" y="212"/>
                  </a:lnTo>
                  <a:lnTo>
                    <a:pt x="1336" y="209"/>
                  </a:lnTo>
                  <a:lnTo>
                    <a:pt x="1336" y="209"/>
                  </a:lnTo>
                  <a:lnTo>
                    <a:pt x="1341" y="207"/>
                  </a:lnTo>
                  <a:lnTo>
                    <a:pt x="1341" y="207"/>
                  </a:lnTo>
                  <a:lnTo>
                    <a:pt x="1346" y="204"/>
                  </a:lnTo>
                  <a:lnTo>
                    <a:pt x="1346" y="204"/>
                  </a:lnTo>
                  <a:lnTo>
                    <a:pt x="1351" y="204"/>
                  </a:lnTo>
                  <a:lnTo>
                    <a:pt x="1351" y="204"/>
                  </a:lnTo>
                  <a:lnTo>
                    <a:pt x="1356" y="207"/>
                  </a:lnTo>
                  <a:lnTo>
                    <a:pt x="1356" y="207"/>
                  </a:lnTo>
                  <a:lnTo>
                    <a:pt x="1359" y="207"/>
                  </a:lnTo>
                  <a:lnTo>
                    <a:pt x="1359" y="207"/>
                  </a:lnTo>
                  <a:lnTo>
                    <a:pt x="1364" y="207"/>
                  </a:lnTo>
                  <a:lnTo>
                    <a:pt x="1364" y="207"/>
                  </a:lnTo>
                  <a:lnTo>
                    <a:pt x="1366" y="204"/>
                  </a:lnTo>
                  <a:lnTo>
                    <a:pt x="1366" y="204"/>
                  </a:lnTo>
                  <a:lnTo>
                    <a:pt x="1371" y="199"/>
                  </a:lnTo>
                  <a:lnTo>
                    <a:pt x="1371" y="199"/>
                  </a:lnTo>
                  <a:lnTo>
                    <a:pt x="1374" y="197"/>
                  </a:lnTo>
                  <a:lnTo>
                    <a:pt x="1374" y="197"/>
                  </a:lnTo>
                  <a:lnTo>
                    <a:pt x="1377" y="194"/>
                  </a:lnTo>
                  <a:lnTo>
                    <a:pt x="1377" y="194"/>
                  </a:lnTo>
                  <a:lnTo>
                    <a:pt x="1374" y="189"/>
                  </a:lnTo>
                  <a:lnTo>
                    <a:pt x="1374" y="189"/>
                  </a:lnTo>
                  <a:lnTo>
                    <a:pt x="1369" y="187"/>
                  </a:lnTo>
                  <a:lnTo>
                    <a:pt x="1369" y="187"/>
                  </a:lnTo>
                  <a:lnTo>
                    <a:pt x="1361" y="184"/>
                  </a:lnTo>
                  <a:lnTo>
                    <a:pt x="1361" y="184"/>
                  </a:lnTo>
                  <a:lnTo>
                    <a:pt x="1359" y="182"/>
                  </a:lnTo>
                  <a:lnTo>
                    <a:pt x="1359" y="182"/>
                  </a:lnTo>
                  <a:lnTo>
                    <a:pt x="1356" y="179"/>
                  </a:lnTo>
                  <a:lnTo>
                    <a:pt x="1356" y="179"/>
                  </a:lnTo>
                  <a:lnTo>
                    <a:pt x="1359" y="176"/>
                  </a:lnTo>
                  <a:lnTo>
                    <a:pt x="1359" y="176"/>
                  </a:lnTo>
                  <a:lnTo>
                    <a:pt x="1364" y="174"/>
                  </a:lnTo>
                  <a:lnTo>
                    <a:pt x="1364" y="174"/>
                  </a:lnTo>
                  <a:lnTo>
                    <a:pt x="1364" y="171"/>
                  </a:lnTo>
                  <a:lnTo>
                    <a:pt x="1364" y="171"/>
                  </a:lnTo>
                  <a:lnTo>
                    <a:pt x="1366" y="166"/>
                  </a:lnTo>
                  <a:lnTo>
                    <a:pt x="1366" y="166"/>
                  </a:lnTo>
                  <a:lnTo>
                    <a:pt x="1364" y="161"/>
                  </a:lnTo>
                  <a:lnTo>
                    <a:pt x="1364" y="161"/>
                  </a:lnTo>
                  <a:lnTo>
                    <a:pt x="1364" y="159"/>
                  </a:lnTo>
                  <a:lnTo>
                    <a:pt x="1364" y="159"/>
                  </a:lnTo>
                  <a:lnTo>
                    <a:pt x="1364" y="156"/>
                  </a:lnTo>
                  <a:lnTo>
                    <a:pt x="1364" y="156"/>
                  </a:lnTo>
                  <a:lnTo>
                    <a:pt x="1364" y="154"/>
                  </a:lnTo>
                  <a:lnTo>
                    <a:pt x="1364" y="154"/>
                  </a:lnTo>
                  <a:lnTo>
                    <a:pt x="1366" y="151"/>
                  </a:lnTo>
                  <a:lnTo>
                    <a:pt x="1366" y="151"/>
                  </a:lnTo>
                  <a:lnTo>
                    <a:pt x="1371" y="144"/>
                  </a:lnTo>
                  <a:lnTo>
                    <a:pt x="1371" y="144"/>
                  </a:lnTo>
                  <a:lnTo>
                    <a:pt x="1377" y="136"/>
                  </a:lnTo>
                  <a:lnTo>
                    <a:pt x="1377" y="136"/>
                  </a:lnTo>
                  <a:lnTo>
                    <a:pt x="1374" y="129"/>
                  </a:lnTo>
                  <a:lnTo>
                    <a:pt x="1374" y="129"/>
                  </a:lnTo>
                  <a:lnTo>
                    <a:pt x="1366" y="124"/>
                  </a:lnTo>
                  <a:lnTo>
                    <a:pt x="1366" y="124"/>
                  </a:lnTo>
                  <a:lnTo>
                    <a:pt x="1359" y="119"/>
                  </a:lnTo>
                  <a:lnTo>
                    <a:pt x="1359" y="119"/>
                  </a:lnTo>
                  <a:lnTo>
                    <a:pt x="1354" y="116"/>
                  </a:lnTo>
                  <a:lnTo>
                    <a:pt x="1354" y="116"/>
                  </a:lnTo>
                  <a:lnTo>
                    <a:pt x="1354" y="111"/>
                  </a:lnTo>
                  <a:lnTo>
                    <a:pt x="1354" y="111"/>
                  </a:lnTo>
                  <a:lnTo>
                    <a:pt x="1359" y="108"/>
                  </a:lnTo>
                  <a:lnTo>
                    <a:pt x="1359" y="108"/>
                  </a:lnTo>
                  <a:lnTo>
                    <a:pt x="1366" y="103"/>
                  </a:lnTo>
                  <a:lnTo>
                    <a:pt x="1366" y="103"/>
                  </a:lnTo>
                  <a:lnTo>
                    <a:pt x="1371" y="98"/>
                  </a:lnTo>
                  <a:lnTo>
                    <a:pt x="1371" y="98"/>
                  </a:lnTo>
                  <a:lnTo>
                    <a:pt x="1374" y="91"/>
                  </a:lnTo>
                  <a:lnTo>
                    <a:pt x="1374" y="91"/>
                  </a:lnTo>
                  <a:lnTo>
                    <a:pt x="1374" y="86"/>
                  </a:lnTo>
                  <a:lnTo>
                    <a:pt x="1374" y="86"/>
                  </a:lnTo>
                  <a:lnTo>
                    <a:pt x="1374" y="78"/>
                  </a:lnTo>
                  <a:lnTo>
                    <a:pt x="1374" y="78"/>
                  </a:lnTo>
                  <a:lnTo>
                    <a:pt x="1374" y="71"/>
                  </a:lnTo>
                  <a:lnTo>
                    <a:pt x="1374" y="71"/>
                  </a:lnTo>
                  <a:lnTo>
                    <a:pt x="1374" y="66"/>
                  </a:lnTo>
                  <a:lnTo>
                    <a:pt x="1374" y="66"/>
                  </a:lnTo>
                  <a:lnTo>
                    <a:pt x="1377" y="55"/>
                  </a:lnTo>
                  <a:lnTo>
                    <a:pt x="1377" y="55"/>
                  </a:lnTo>
                  <a:lnTo>
                    <a:pt x="1377" y="48"/>
                  </a:lnTo>
                  <a:lnTo>
                    <a:pt x="1377" y="48"/>
                  </a:lnTo>
                  <a:lnTo>
                    <a:pt x="1379" y="40"/>
                  </a:lnTo>
                  <a:lnTo>
                    <a:pt x="1379" y="40"/>
                  </a:lnTo>
                  <a:lnTo>
                    <a:pt x="1377" y="38"/>
                  </a:lnTo>
                  <a:lnTo>
                    <a:pt x="1377" y="38"/>
                  </a:lnTo>
                  <a:lnTo>
                    <a:pt x="1374" y="35"/>
                  </a:lnTo>
                  <a:lnTo>
                    <a:pt x="1374" y="35"/>
                  </a:lnTo>
                  <a:lnTo>
                    <a:pt x="1369" y="38"/>
                  </a:lnTo>
                  <a:lnTo>
                    <a:pt x="1369" y="38"/>
                  </a:lnTo>
                  <a:lnTo>
                    <a:pt x="1366" y="35"/>
                  </a:lnTo>
                  <a:lnTo>
                    <a:pt x="1366" y="35"/>
                  </a:lnTo>
                  <a:lnTo>
                    <a:pt x="1369" y="30"/>
                  </a:lnTo>
                  <a:lnTo>
                    <a:pt x="1369" y="30"/>
                  </a:lnTo>
                  <a:lnTo>
                    <a:pt x="1374" y="23"/>
                  </a:lnTo>
                  <a:lnTo>
                    <a:pt x="1374" y="23"/>
                  </a:lnTo>
                  <a:lnTo>
                    <a:pt x="1377" y="18"/>
                  </a:lnTo>
                  <a:lnTo>
                    <a:pt x="1377" y="18"/>
                  </a:lnTo>
                  <a:lnTo>
                    <a:pt x="1377" y="10"/>
                  </a:lnTo>
                  <a:lnTo>
                    <a:pt x="1377" y="10"/>
                  </a:lnTo>
                  <a:lnTo>
                    <a:pt x="1377" y="5"/>
                  </a:lnTo>
                  <a:lnTo>
                    <a:pt x="1377" y="5"/>
                  </a:lnTo>
                  <a:lnTo>
                    <a:pt x="1374" y="5"/>
                  </a:lnTo>
                  <a:lnTo>
                    <a:pt x="1374" y="5"/>
                  </a:lnTo>
                  <a:lnTo>
                    <a:pt x="1371" y="5"/>
                  </a:lnTo>
                  <a:lnTo>
                    <a:pt x="1371" y="5"/>
                  </a:lnTo>
                  <a:lnTo>
                    <a:pt x="1371" y="5"/>
                  </a:lnTo>
                  <a:lnTo>
                    <a:pt x="1371" y="5"/>
                  </a:lnTo>
                  <a:lnTo>
                    <a:pt x="1369" y="5"/>
                  </a:lnTo>
                  <a:lnTo>
                    <a:pt x="1369" y="5"/>
                  </a:lnTo>
                  <a:lnTo>
                    <a:pt x="1366" y="5"/>
                  </a:lnTo>
                  <a:lnTo>
                    <a:pt x="1366" y="5"/>
                  </a:lnTo>
                  <a:lnTo>
                    <a:pt x="1361" y="3"/>
                  </a:lnTo>
                  <a:lnTo>
                    <a:pt x="1361" y="3"/>
                  </a:lnTo>
                  <a:lnTo>
                    <a:pt x="1356" y="3"/>
                  </a:lnTo>
                  <a:lnTo>
                    <a:pt x="1356" y="3"/>
                  </a:lnTo>
                  <a:lnTo>
                    <a:pt x="1354" y="0"/>
                  </a:lnTo>
                  <a:lnTo>
                    <a:pt x="1354" y="0"/>
                  </a:lnTo>
                  <a:lnTo>
                    <a:pt x="1351" y="0"/>
                  </a:lnTo>
                  <a:lnTo>
                    <a:pt x="1351" y="0"/>
                  </a:lnTo>
                  <a:lnTo>
                    <a:pt x="1351" y="0"/>
                  </a:lnTo>
                  <a:lnTo>
                    <a:pt x="1351" y="0"/>
                  </a:lnTo>
                  <a:lnTo>
                    <a:pt x="1351" y="0"/>
                  </a:lnTo>
                  <a:lnTo>
                    <a:pt x="1351" y="0"/>
                  </a:lnTo>
                  <a:lnTo>
                    <a:pt x="1349" y="3"/>
                  </a:lnTo>
                  <a:lnTo>
                    <a:pt x="1349" y="3"/>
                  </a:lnTo>
                  <a:lnTo>
                    <a:pt x="1349" y="3"/>
                  </a:lnTo>
                  <a:lnTo>
                    <a:pt x="1349" y="3"/>
                  </a:lnTo>
                  <a:lnTo>
                    <a:pt x="1346" y="5"/>
                  </a:lnTo>
                  <a:lnTo>
                    <a:pt x="1346" y="5"/>
                  </a:lnTo>
                  <a:lnTo>
                    <a:pt x="1341" y="5"/>
                  </a:lnTo>
                  <a:lnTo>
                    <a:pt x="1341" y="5"/>
                  </a:lnTo>
                  <a:lnTo>
                    <a:pt x="1336" y="5"/>
                  </a:lnTo>
                  <a:lnTo>
                    <a:pt x="1336" y="5"/>
                  </a:lnTo>
                  <a:lnTo>
                    <a:pt x="1334" y="5"/>
                  </a:lnTo>
                  <a:lnTo>
                    <a:pt x="1334" y="5"/>
                  </a:lnTo>
                  <a:lnTo>
                    <a:pt x="1329" y="8"/>
                  </a:lnTo>
                  <a:lnTo>
                    <a:pt x="1329" y="8"/>
                  </a:lnTo>
                  <a:lnTo>
                    <a:pt x="1326" y="8"/>
                  </a:lnTo>
                  <a:lnTo>
                    <a:pt x="1326" y="8"/>
                  </a:lnTo>
                  <a:lnTo>
                    <a:pt x="1324" y="8"/>
                  </a:lnTo>
                  <a:lnTo>
                    <a:pt x="1324" y="8"/>
                  </a:lnTo>
                  <a:lnTo>
                    <a:pt x="1324" y="10"/>
                  </a:lnTo>
                  <a:lnTo>
                    <a:pt x="1324" y="10"/>
                  </a:lnTo>
                  <a:lnTo>
                    <a:pt x="1321" y="13"/>
                  </a:lnTo>
                  <a:lnTo>
                    <a:pt x="1321" y="13"/>
                  </a:lnTo>
                  <a:lnTo>
                    <a:pt x="1319" y="13"/>
                  </a:lnTo>
                  <a:lnTo>
                    <a:pt x="1319" y="13"/>
                  </a:lnTo>
                  <a:lnTo>
                    <a:pt x="1316" y="13"/>
                  </a:lnTo>
                  <a:lnTo>
                    <a:pt x="1316" y="13"/>
                  </a:lnTo>
                  <a:lnTo>
                    <a:pt x="1311" y="15"/>
                  </a:lnTo>
                  <a:lnTo>
                    <a:pt x="1311" y="15"/>
                  </a:lnTo>
                  <a:lnTo>
                    <a:pt x="1303" y="18"/>
                  </a:lnTo>
                  <a:lnTo>
                    <a:pt x="1303" y="18"/>
                  </a:lnTo>
                  <a:lnTo>
                    <a:pt x="1301" y="20"/>
                  </a:lnTo>
                  <a:lnTo>
                    <a:pt x="1301" y="20"/>
                  </a:lnTo>
                  <a:lnTo>
                    <a:pt x="1296" y="25"/>
                  </a:lnTo>
                  <a:lnTo>
                    <a:pt x="1296" y="25"/>
                  </a:lnTo>
                  <a:lnTo>
                    <a:pt x="1293" y="30"/>
                  </a:lnTo>
                  <a:lnTo>
                    <a:pt x="1293" y="30"/>
                  </a:lnTo>
                  <a:lnTo>
                    <a:pt x="1293" y="35"/>
                  </a:lnTo>
                  <a:lnTo>
                    <a:pt x="1293" y="35"/>
                  </a:lnTo>
                  <a:lnTo>
                    <a:pt x="1293" y="38"/>
                  </a:lnTo>
                  <a:lnTo>
                    <a:pt x="1293" y="38"/>
                  </a:lnTo>
                  <a:lnTo>
                    <a:pt x="1293" y="40"/>
                  </a:lnTo>
                  <a:lnTo>
                    <a:pt x="1293" y="40"/>
                  </a:lnTo>
                  <a:lnTo>
                    <a:pt x="1291" y="40"/>
                  </a:lnTo>
                  <a:lnTo>
                    <a:pt x="1291" y="40"/>
                  </a:lnTo>
                  <a:lnTo>
                    <a:pt x="1286" y="43"/>
                  </a:lnTo>
                  <a:lnTo>
                    <a:pt x="1286" y="43"/>
                  </a:lnTo>
                  <a:lnTo>
                    <a:pt x="1281" y="43"/>
                  </a:lnTo>
                  <a:lnTo>
                    <a:pt x="1281" y="43"/>
                  </a:lnTo>
                  <a:lnTo>
                    <a:pt x="1278" y="45"/>
                  </a:lnTo>
                  <a:lnTo>
                    <a:pt x="1278" y="45"/>
                  </a:lnTo>
                  <a:lnTo>
                    <a:pt x="1276" y="48"/>
                  </a:lnTo>
                  <a:lnTo>
                    <a:pt x="1276" y="48"/>
                  </a:lnTo>
                  <a:lnTo>
                    <a:pt x="1273" y="50"/>
                  </a:lnTo>
                  <a:lnTo>
                    <a:pt x="1273" y="50"/>
                  </a:lnTo>
                  <a:lnTo>
                    <a:pt x="1271" y="53"/>
                  </a:lnTo>
                  <a:lnTo>
                    <a:pt x="1271" y="53"/>
                  </a:lnTo>
                  <a:lnTo>
                    <a:pt x="1268" y="55"/>
                  </a:lnTo>
                  <a:lnTo>
                    <a:pt x="1268" y="55"/>
                  </a:lnTo>
                  <a:lnTo>
                    <a:pt x="1266" y="58"/>
                  </a:lnTo>
                  <a:lnTo>
                    <a:pt x="1266" y="58"/>
                  </a:lnTo>
                  <a:lnTo>
                    <a:pt x="1263" y="61"/>
                  </a:lnTo>
                  <a:lnTo>
                    <a:pt x="1263" y="61"/>
                  </a:lnTo>
                  <a:lnTo>
                    <a:pt x="1261" y="66"/>
                  </a:lnTo>
                  <a:lnTo>
                    <a:pt x="1261" y="66"/>
                  </a:lnTo>
                  <a:lnTo>
                    <a:pt x="1261" y="71"/>
                  </a:lnTo>
                  <a:lnTo>
                    <a:pt x="1261" y="71"/>
                  </a:lnTo>
                  <a:lnTo>
                    <a:pt x="1266" y="76"/>
                  </a:lnTo>
                  <a:lnTo>
                    <a:pt x="1266" y="76"/>
                  </a:lnTo>
                  <a:lnTo>
                    <a:pt x="1268" y="81"/>
                  </a:lnTo>
                  <a:lnTo>
                    <a:pt x="1268" y="81"/>
                  </a:lnTo>
                  <a:lnTo>
                    <a:pt x="1271" y="86"/>
                  </a:lnTo>
                  <a:lnTo>
                    <a:pt x="1271" y="86"/>
                  </a:lnTo>
                  <a:lnTo>
                    <a:pt x="1271" y="88"/>
                  </a:lnTo>
                  <a:lnTo>
                    <a:pt x="1271" y="88"/>
                  </a:lnTo>
                  <a:lnTo>
                    <a:pt x="1268" y="91"/>
                  </a:lnTo>
                  <a:lnTo>
                    <a:pt x="1268" y="91"/>
                  </a:lnTo>
                  <a:lnTo>
                    <a:pt x="1268" y="96"/>
                  </a:lnTo>
                  <a:lnTo>
                    <a:pt x="1268" y="96"/>
                  </a:lnTo>
                  <a:lnTo>
                    <a:pt x="1266" y="96"/>
                  </a:lnTo>
                  <a:lnTo>
                    <a:pt x="1266" y="96"/>
                  </a:lnTo>
                  <a:lnTo>
                    <a:pt x="1263" y="93"/>
                  </a:lnTo>
                  <a:lnTo>
                    <a:pt x="1263" y="93"/>
                  </a:lnTo>
                  <a:lnTo>
                    <a:pt x="1261" y="88"/>
                  </a:lnTo>
                  <a:lnTo>
                    <a:pt x="1261" y="88"/>
                  </a:lnTo>
                  <a:lnTo>
                    <a:pt x="1258" y="83"/>
                  </a:lnTo>
                  <a:lnTo>
                    <a:pt x="1258" y="83"/>
                  </a:lnTo>
                  <a:lnTo>
                    <a:pt x="1256" y="78"/>
                  </a:lnTo>
                  <a:lnTo>
                    <a:pt x="1256" y="78"/>
                  </a:lnTo>
                  <a:lnTo>
                    <a:pt x="1253" y="76"/>
                  </a:lnTo>
                  <a:lnTo>
                    <a:pt x="1253" y="76"/>
                  </a:lnTo>
                  <a:lnTo>
                    <a:pt x="1250" y="78"/>
                  </a:lnTo>
                  <a:lnTo>
                    <a:pt x="1250" y="78"/>
                  </a:lnTo>
                  <a:lnTo>
                    <a:pt x="1248" y="81"/>
                  </a:lnTo>
                  <a:lnTo>
                    <a:pt x="1248" y="81"/>
                  </a:lnTo>
                  <a:lnTo>
                    <a:pt x="1245" y="86"/>
                  </a:lnTo>
                  <a:lnTo>
                    <a:pt x="1245" y="86"/>
                  </a:lnTo>
                  <a:lnTo>
                    <a:pt x="1243" y="88"/>
                  </a:lnTo>
                  <a:lnTo>
                    <a:pt x="1243" y="88"/>
                  </a:lnTo>
                  <a:lnTo>
                    <a:pt x="1240" y="93"/>
                  </a:lnTo>
                  <a:lnTo>
                    <a:pt x="1240" y="93"/>
                  </a:lnTo>
                  <a:lnTo>
                    <a:pt x="1240" y="98"/>
                  </a:lnTo>
                  <a:lnTo>
                    <a:pt x="1240" y="98"/>
                  </a:lnTo>
                  <a:lnTo>
                    <a:pt x="1238" y="108"/>
                  </a:lnTo>
                  <a:lnTo>
                    <a:pt x="1238" y="108"/>
                  </a:lnTo>
                  <a:lnTo>
                    <a:pt x="1235" y="116"/>
                  </a:lnTo>
                  <a:lnTo>
                    <a:pt x="1235" y="116"/>
                  </a:lnTo>
                  <a:lnTo>
                    <a:pt x="1235" y="121"/>
                  </a:lnTo>
                  <a:lnTo>
                    <a:pt x="1235" y="121"/>
                  </a:lnTo>
                  <a:lnTo>
                    <a:pt x="1235" y="126"/>
                  </a:lnTo>
                  <a:lnTo>
                    <a:pt x="1235" y="126"/>
                  </a:lnTo>
                  <a:lnTo>
                    <a:pt x="1238" y="131"/>
                  </a:lnTo>
                  <a:lnTo>
                    <a:pt x="1238" y="131"/>
                  </a:lnTo>
                  <a:lnTo>
                    <a:pt x="1243" y="134"/>
                  </a:lnTo>
                  <a:lnTo>
                    <a:pt x="1243" y="134"/>
                  </a:lnTo>
                  <a:lnTo>
                    <a:pt x="1245" y="134"/>
                  </a:lnTo>
                  <a:lnTo>
                    <a:pt x="1245" y="134"/>
                  </a:lnTo>
                  <a:lnTo>
                    <a:pt x="1250" y="134"/>
                  </a:lnTo>
                  <a:lnTo>
                    <a:pt x="1250" y="134"/>
                  </a:lnTo>
                  <a:lnTo>
                    <a:pt x="1253" y="136"/>
                  </a:lnTo>
                  <a:lnTo>
                    <a:pt x="1253" y="136"/>
                  </a:lnTo>
                  <a:lnTo>
                    <a:pt x="1256" y="134"/>
                  </a:lnTo>
                  <a:lnTo>
                    <a:pt x="1256" y="134"/>
                  </a:lnTo>
                  <a:lnTo>
                    <a:pt x="1258" y="134"/>
                  </a:lnTo>
                  <a:lnTo>
                    <a:pt x="1258" y="134"/>
                  </a:lnTo>
                  <a:lnTo>
                    <a:pt x="1258" y="136"/>
                  </a:lnTo>
                  <a:lnTo>
                    <a:pt x="1258" y="136"/>
                  </a:lnTo>
                  <a:lnTo>
                    <a:pt x="1256" y="141"/>
                  </a:lnTo>
                  <a:lnTo>
                    <a:pt x="1256" y="141"/>
                  </a:lnTo>
                  <a:lnTo>
                    <a:pt x="1253" y="144"/>
                  </a:lnTo>
                  <a:lnTo>
                    <a:pt x="1253" y="144"/>
                  </a:lnTo>
                  <a:lnTo>
                    <a:pt x="1253" y="146"/>
                  </a:lnTo>
                  <a:lnTo>
                    <a:pt x="1258" y="159"/>
                  </a:lnTo>
                  <a:close/>
                  <a:moveTo>
                    <a:pt x="1866" y="1003"/>
                  </a:moveTo>
                  <a:lnTo>
                    <a:pt x="1840" y="1024"/>
                  </a:lnTo>
                  <a:lnTo>
                    <a:pt x="1813" y="1067"/>
                  </a:lnTo>
                  <a:lnTo>
                    <a:pt x="1808" y="1082"/>
                  </a:lnTo>
                  <a:lnTo>
                    <a:pt x="1808" y="1102"/>
                  </a:lnTo>
                  <a:lnTo>
                    <a:pt x="1823" y="1097"/>
                  </a:lnTo>
                  <a:lnTo>
                    <a:pt x="1850" y="1102"/>
                  </a:lnTo>
                  <a:lnTo>
                    <a:pt x="1866" y="1112"/>
                  </a:lnTo>
                  <a:lnTo>
                    <a:pt x="1881" y="1107"/>
                  </a:lnTo>
                  <a:lnTo>
                    <a:pt x="1893" y="1122"/>
                  </a:lnTo>
                  <a:lnTo>
                    <a:pt x="1914" y="1117"/>
                  </a:lnTo>
                  <a:lnTo>
                    <a:pt x="1914" y="1097"/>
                  </a:lnTo>
                  <a:lnTo>
                    <a:pt x="1903" y="1072"/>
                  </a:lnTo>
                  <a:lnTo>
                    <a:pt x="1861" y="1051"/>
                  </a:lnTo>
                  <a:lnTo>
                    <a:pt x="1856" y="1041"/>
                  </a:lnTo>
                  <a:lnTo>
                    <a:pt x="1866" y="1019"/>
                  </a:lnTo>
                  <a:lnTo>
                    <a:pt x="1866" y="1003"/>
                  </a:lnTo>
                  <a:close/>
                  <a:moveTo>
                    <a:pt x="1258" y="247"/>
                  </a:moveTo>
                  <a:lnTo>
                    <a:pt x="1258" y="245"/>
                  </a:lnTo>
                  <a:lnTo>
                    <a:pt x="1256" y="245"/>
                  </a:lnTo>
                  <a:lnTo>
                    <a:pt x="1256" y="245"/>
                  </a:lnTo>
                  <a:lnTo>
                    <a:pt x="1253" y="247"/>
                  </a:lnTo>
                  <a:lnTo>
                    <a:pt x="1258" y="247"/>
                  </a:lnTo>
                  <a:close/>
                  <a:moveTo>
                    <a:pt x="1238" y="219"/>
                  </a:moveTo>
                  <a:lnTo>
                    <a:pt x="1243" y="219"/>
                  </a:lnTo>
                  <a:lnTo>
                    <a:pt x="1250" y="224"/>
                  </a:lnTo>
                  <a:lnTo>
                    <a:pt x="1253" y="227"/>
                  </a:lnTo>
                  <a:lnTo>
                    <a:pt x="1256" y="227"/>
                  </a:lnTo>
                  <a:lnTo>
                    <a:pt x="1256" y="227"/>
                  </a:lnTo>
                  <a:lnTo>
                    <a:pt x="1261" y="224"/>
                  </a:lnTo>
                  <a:lnTo>
                    <a:pt x="1266" y="224"/>
                  </a:lnTo>
                  <a:lnTo>
                    <a:pt x="1268" y="227"/>
                  </a:lnTo>
                  <a:lnTo>
                    <a:pt x="1271" y="229"/>
                  </a:lnTo>
                  <a:lnTo>
                    <a:pt x="1271" y="234"/>
                  </a:lnTo>
                  <a:lnTo>
                    <a:pt x="1273" y="237"/>
                  </a:lnTo>
                  <a:lnTo>
                    <a:pt x="1273" y="240"/>
                  </a:lnTo>
                  <a:lnTo>
                    <a:pt x="1273" y="245"/>
                  </a:lnTo>
                  <a:lnTo>
                    <a:pt x="1273" y="252"/>
                  </a:lnTo>
                  <a:lnTo>
                    <a:pt x="1273" y="257"/>
                  </a:lnTo>
                  <a:lnTo>
                    <a:pt x="1276" y="262"/>
                  </a:lnTo>
                  <a:lnTo>
                    <a:pt x="1281" y="265"/>
                  </a:lnTo>
                  <a:lnTo>
                    <a:pt x="1283" y="267"/>
                  </a:lnTo>
                  <a:lnTo>
                    <a:pt x="1288" y="270"/>
                  </a:lnTo>
                  <a:lnTo>
                    <a:pt x="1291" y="270"/>
                  </a:lnTo>
                  <a:lnTo>
                    <a:pt x="1296" y="270"/>
                  </a:lnTo>
                  <a:lnTo>
                    <a:pt x="1301" y="272"/>
                  </a:lnTo>
                  <a:lnTo>
                    <a:pt x="1306" y="272"/>
                  </a:lnTo>
                  <a:lnTo>
                    <a:pt x="1311" y="270"/>
                  </a:lnTo>
                  <a:lnTo>
                    <a:pt x="1313" y="270"/>
                  </a:lnTo>
                  <a:lnTo>
                    <a:pt x="1319" y="270"/>
                  </a:lnTo>
                  <a:lnTo>
                    <a:pt x="1321" y="267"/>
                  </a:lnTo>
                  <a:lnTo>
                    <a:pt x="1324" y="267"/>
                  </a:lnTo>
                  <a:lnTo>
                    <a:pt x="1329" y="267"/>
                  </a:lnTo>
                  <a:lnTo>
                    <a:pt x="1331" y="267"/>
                  </a:lnTo>
                  <a:lnTo>
                    <a:pt x="1336" y="267"/>
                  </a:lnTo>
                  <a:lnTo>
                    <a:pt x="1341" y="265"/>
                  </a:lnTo>
                  <a:lnTo>
                    <a:pt x="1344" y="265"/>
                  </a:lnTo>
                  <a:lnTo>
                    <a:pt x="1346" y="265"/>
                  </a:lnTo>
                  <a:lnTo>
                    <a:pt x="1349" y="260"/>
                  </a:lnTo>
                  <a:lnTo>
                    <a:pt x="1351" y="260"/>
                  </a:lnTo>
                  <a:lnTo>
                    <a:pt x="1354" y="260"/>
                  </a:lnTo>
                  <a:lnTo>
                    <a:pt x="1359" y="262"/>
                  </a:lnTo>
                  <a:lnTo>
                    <a:pt x="1364" y="262"/>
                  </a:lnTo>
                  <a:lnTo>
                    <a:pt x="1366" y="260"/>
                  </a:lnTo>
                  <a:lnTo>
                    <a:pt x="1371" y="260"/>
                  </a:lnTo>
                  <a:lnTo>
                    <a:pt x="1374" y="255"/>
                  </a:lnTo>
                  <a:lnTo>
                    <a:pt x="1379" y="252"/>
                  </a:lnTo>
                  <a:lnTo>
                    <a:pt x="1379" y="250"/>
                  </a:lnTo>
                  <a:lnTo>
                    <a:pt x="1379" y="250"/>
                  </a:lnTo>
                  <a:lnTo>
                    <a:pt x="1379" y="245"/>
                  </a:lnTo>
                  <a:lnTo>
                    <a:pt x="1379" y="240"/>
                  </a:lnTo>
                  <a:lnTo>
                    <a:pt x="1377" y="234"/>
                  </a:lnTo>
                  <a:lnTo>
                    <a:pt x="1374" y="232"/>
                  </a:lnTo>
                  <a:lnTo>
                    <a:pt x="1371" y="229"/>
                  </a:lnTo>
                  <a:lnTo>
                    <a:pt x="1366" y="227"/>
                  </a:lnTo>
                  <a:lnTo>
                    <a:pt x="1361" y="224"/>
                  </a:lnTo>
                  <a:lnTo>
                    <a:pt x="1356" y="224"/>
                  </a:lnTo>
                  <a:lnTo>
                    <a:pt x="1354" y="222"/>
                  </a:lnTo>
                  <a:lnTo>
                    <a:pt x="1344" y="224"/>
                  </a:lnTo>
                  <a:lnTo>
                    <a:pt x="1341" y="224"/>
                  </a:lnTo>
                  <a:lnTo>
                    <a:pt x="1336" y="229"/>
                  </a:lnTo>
                  <a:lnTo>
                    <a:pt x="1334" y="232"/>
                  </a:lnTo>
                  <a:lnTo>
                    <a:pt x="1331" y="234"/>
                  </a:lnTo>
                  <a:lnTo>
                    <a:pt x="1326" y="240"/>
                  </a:lnTo>
                  <a:lnTo>
                    <a:pt x="1324" y="240"/>
                  </a:lnTo>
                  <a:lnTo>
                    <a:pt x="1321" y="240"/>
                  </a:lnTo>
                  <a:lnTo>
                    <a:pt x="1313" y="240"/>
                  </a:lnTo>
                  <a:lnTo>
                    <a:pt x="1306" y="240"/>
                  </a:lnTo>
                  <a:lnTo>
                    <a:pt x="1301" y="240"/>
                  </a:lnTo>
                  <a:lnTo>
                    <a:pt x="1298" y="237"/>
                  </a:lnTo>
                  <a:lnTo>
                    <a:pt x="1296" y="232"/>
                  </a:lnTo>
                  <a:lnTo>
                    <a:pt x="1293" y="227"/>
                  </a:lnTo>
                  <a:lnTo>
                    <a:pt x="1288" y="224"/>
                  </a:lnTo>
                  <a:lnTo>
                    <a:pt x="1286" y="217"/>
                  </a:lnTo>
                  <a:lnTo>
                    <a:pt x="1283" y="214"/>
                  </a:lnTo>
                  <a:lnTo>
                    <a:pt x="1283" y="212"/>
                  </a:lnTo>
                  <a:lnTo>
                    <a:pt x="1281" y="212"/>
                  </a:lnTo>
                  <a:lnTo>
                    <a:pt x="1238" y="219"/>
                  </a:lnTo>
                  <a:close/>
                  <a:moveTo>
                    <a:pt x="1271" y="217"/>
                  </a:moveTo>
                  <a:lnTo>
                    <a:pt x="1268" y="217"/>
                  </a:lnTo>
                  <a:lnTo>
                    <a:pt x="1268" y="217"/>
                  </a:lnTo>
                  <a:lnTo>
                    <a:pt x="1271" y="217"/>
                  </a:lnTo>
                  <a:close/>
                  <a:moveTo>
                    <a:pt x="1404" y="1810"/>
                  </a:moveTo>
                  <a:lnTo>
                    <a:pt x="1404" y="1810"/>
                  </a:lnTo>
                  <a:lnTo>
                    <a:pt x="1404" y="1803"/>
                  </a:lnTo>
                  <a:lnTo>
                    <a:pt x="1402" y="1798"/>
                  </a:lnTo>
                  <a:lnTo>
                    <a:pt x="1399" y="1795"/>
                  </a:lnTo>
                  <a:lnTo>
                    <a:pt x="1399" y="1795"/>
                  </a:lnTo>
                  <a:lnTo>
                    <a:pt x="1404" y="1737"/>
                  </a:lnTo>
                  <a:lnTo>
                    <a:pt x="1404" y="1737"/>
                  </a:lnTo>
                  <a:lnTo>
                    <a:pt x="1404" y="1737"/>
                  </a:lnTo>
                  <a:lnTo>
                    <a:pt x="1404" y="1737"/>
                  </a:lnTo>
                  <a:lnTo>
                    <a:pt x="1404" y="1737"/>
                  </a:lnTo>
                  <a:lnTo>
                    <a:pt x="1404" y="1737"/>
                  </a:lnTo>
                  <a:lnTo>
                    <a:pt x="1404" y="1737"/>
                  </a:lnTo>
                  <a:lnTo>
                    <a:pt x="1404" y="1737"/>
                  </a:lnTo>
                  <a:lnTo>
                    <a:pt x="1377" y="1732"/>
                  </a:lnTo>
                  <a:lnTo>
                    <a:pt x="1346" y="1727"/>
                  </a:lnTo>
                  <a:lnTo>
                    <a:pt x="1346" y="1727"/>
                  </a:lnTo>
                  <a:lnTo>
                    <a:pt x="1339" y="1725"/>
                  </a:lnTo>
                  <a:lnTo>
                    <a:pt x="1331" y="1722"/>
                  </a:lnTo>
                  <a:lnTo>
                    <a:pt x="1331" y="1722"/>
                  </a:lnTo>
                  <a:lnTo>
                    <a:pt x="1329" y="1722"/>
                  </a:lnTo>
                  <a:lnTo>
                    <a:pt x="1329" y="1722"/>
                  </a:lnTo>
                  <a:lnTo>
                    <a:pt x="1316" y="1720"/>
                  </a:lnTo>
                  <a:lnTo>
                    <a:pt x="1308" y="1717"/>
                  </a:lnTo>
                  <a:lnTo>
                    <a:pt x="1308" y="1717"/>
                  </a:lnTo>
                  <a:lnTo>
                    <a:pt x="1308" y="1694"/>
                  </a:lnTo>
                  <a:lnTo>
                    <a:pt x="1308" y="1694"/>
                  </a:lnTo>
                  <a:lnTo>
                    <a:pt x="1303" y="1689"/>
                  </a:lnTo>
                  <a:lnTo>
                    <a:pt x="1321" y="1679"/>
                  </a:lnTo>
                  <a:lnTo>
                    <a:pt x="1336" y="1669"/>
                  </a:lnTo>
                  <a:lnTo>
                    <a:pt x="1346" y="1629"/>
                  </a:lnTo>
                  <a:lnTo>
                    <a:pt x="1283" y="1639"/>
                  </a:lnTo>
                  <a:lnTo>
                    <a:pt x="1258" y="1674"/>
                  </a:lnTo>
                  <a:lnTo>
                    <a:pt x="1215" y="1679"/>
                  </a:lnTo>
                  <a:lnTo>
                    <a:pt x="1172" y="1629"/>
                  </a:lnTo>
                  <a:lnTo>
                    <a:pt x="1167" y="1561"/>
                  </a:lnTo>
                  <a:lnTo>
                    <a:pt x="1180" y="1546"/>
                  </a:lnTo>
                  <a:lnTo>
                    <a:pt x="1177" y="1546"/>
                  </a:lnTo>
                  <a:lnTo>
                    <a:pt x="1177" y="1510"/>
                  </a:lnTo>
                  <a:lnTo>
                    <a:pt x="1200" y="1490"/>
                  </a:lnTo>
                  <a:lnTo>
                    <a:pt x="1215" y="1472"/>
                  </a:lnTo>
                  <a:lnTo>
                    <a:pt x="1268" y="1477"/>
                  </a:lnTo>
                  <a:lnTo>
                    <a:pt x="1298" y="1477"/>
                  </a:lnTo>
                  <a:lnTo>
                    <a:pt x="1341" y="1467"/>
                  </a:lnTo>
                  <a:lnTo>
                    <a:pt x="1366" y="1467"/>
                  </a:lnTo>
                  <a:lnTo>
                    <a:pt x="1392" y="1462"/>
                  </a:lnTo>
                  <a:lnTo>
                    <a:pt x="1399" y="1490"/>
                  </a:lnTo>
                  <a:lnTo>
                    <a:pt x="1409" y="1525"/>
                  </a:lnTo>
                  <a:lnTo>
                    <a:pt x="1442" y="1556"/>
                  </a:lnTo>
                  <a:lnTo>
                    <a:pt x="1457" y="1561"/>
                  </a:lnTo>
                  <a:lnTo>
                    <a:pt x="1452" y="1510"/>
                  </a:lnTo>
                  <a:lnTo>
                    <a:pt x="1429" y="1452"/>
                  </a:lnTo>
                  <a:lnTo>
                    <a:pt x="1457" y="1422"/>
                  </a:lnTo>
                  <a:lnTo>
                    <a:pt x="1482" y="1412"/>
                  </a:lnTo>
                  <a:lnTo>
                    <a:pt x="1530" y="1367"/>
                  </a:lnTo>
                  <a:lnTo>
                    <a:pt x="1525" y="1334"/>
                  </a:lnTo>
                  <a:lnTo>
                    <a:pt x="1520" y="1304"/>
                  </a:lnTo>
                  <a:lnTo>
                    <a:pt x="1535" y="1314"/>
                  </a:lnTo>
                  <a:lnTo>
                    <a:pt x="1540" y="1309"/>
                  </a:lnTo>
                  <a:lnTo>
                    <a:pt x="1535" y="1288"/>
                  </a:lnTo>
                  <a:lnTo>
                    <a:pt x="1545" y="1288"/>
                  </a:lnTo>
                  <a:lnTo>
                    <a:pt x="1561" y="1283"/>
                  </a:lnTo>
                  <a:lnTo>
                    <a:pt x="1571" y="1258"/>
                  </a:lnTo>
                  <a:lnTo>
                    <a:pt x="1593" y="1253"/>
                  </a:lnTo>
                  <a:lnTo>
                    <a:pt x="1624" y="1235"/>
                  </a:lnTo>
                  <a:lnTo>
                    <a:pt x="1624" y="1195"/>
                  </a:lnTo>
                  <a:lnTo>
                    <a:pt x="1677" y="1170"/>
                  </a:lnTo>
                  <a:lnTo>
                    <a:pt x="1666" y="1117"/>
                  </a:lnTo>
                  <a:lnTo>
                    <a:pt x="1666" y="1117"/>
                  </a:lnTo>
                  <a:lnTo>
                    <a:pt x="1677" y="1170"/>
                  </a:lnTo>
                  <a:lnTo>
                    <a:pt x="1699" y="1155"/>
                  </a:lnTo>
                  <a:lnTo>
                    <a:pt x="1714" y="1160"/>
                  </a:lnTo>
                  <a:lnTo>
                    <a:pt x="1704" y="1175"/>
                  </a:lnTo>
                  <a:lnTo>
                    <a:pt x="1714" y="1195"/>
                  </a:lnTo>
                  <a:lnTo>
                    <a:pt x="1760" y="1160"/>
                  </a:lnTo>
                  <a:lnTo>
                    <a:pt x="1777" y="1137"/>
                  </a:lnTo>
                  <a:lnTo>
                    <a:pt x="1729" y="1132"/>
                  </a:lnTo>
                  <a:lnTo>
                    <a:pt x="1709" y="1102"/>
                  </a:lnTo>
                  <a:lnTo>
                    <a:pt x="1724" y="1087"/>
                  </a:lnTo>
                  <a:lnTo>
                    <a:pt x="1729" y="1067"/>
                  </a:lnTo>
                  <a:lnTo>
                    <a:pt x="1656" y="1082"/>
                  </a:lnTo>
                  <a:lnTo>
                    <a:pt x="1619" y="1112"/>
                  </a:lnTo>
                  <a:lnTo>
                    <a:pt x="1636" y="1077"/>
                  </a:lnTo>
                  <a:lnTo>
                    <a:pt x="1671" y="1056"/>
                  </a:lnTo>
                  <a:lnTo>
                    <a:pt x="1692" y="1034"/>
                  </a:lnTo>
                  <a:lnTo>
                    <a:pt x="1755" y="1039"/>
                  </a:lnTo>
                  <a:lnTo>
                    <a:pt x="1803" y="1034"/>
                  </a:lnTo>
                  <a:lnTo>
                    <a:pt x="1840" y="1009"/>
                  </a:lnTo>
                  <a:lnTo>
                    <a:pt x="1866" y="988"/>
                  </a:lnTo>
                  <a:lnTo>
                    <a:pt x="1845" y="938"/>
                  </a:lnTo>
                  <a:lnTo>
                    <a:pt x="1840" y="910"/>
                  </a:lnTo>
                  <a:lnTo>
                    <a:pt x="1772" y="875"/>
                  </a:lnTo>
                  <a:lnTo>
                    <a:pt x="1772" y="855"/>
                  </a:lnTo>
                  <a:lnTo>
                    <a:pt x="1714" y="746"/>
                  </a:lnTo>
                  <a:lnTo>
                    <a:pt x="1699" y="792"/>
                  </a:lnTo>
                  <a:lnTo>
                    <a:pt x="1661" y="802"/>
                  </a:lnTo>
                  <a:lnTo>
                    <a:pt x="1651" y="792"/>
                  </a:lnTo>
                  <a:lnTo>
                    <a:pt x="1636" y="792"/>
                  </a:lnTo>
                  <a:lnTo>
                    <a:pt x="1636" y="719"/>
                  </a:lnTo>
                  <a:lnTo>
                    <a:pt x="1603" y="714"/>
                  </a:lnTo>
                  <a:lnTo>
                    <a:pt x="1578" y="678"/>
                  </a:lnTo>
                  <a:lnTo>
                    <a:pt x="1550" y="683"/>
                  </a:lnTo>
                  <a:lnTo>
                    <a:pt x="1520" y="673"/>
                  </a:lnTo>
                  <a:lnTo>
                    <a:pt x="1500" y="678"/>
                  </a:lnTo>
                  <a:lnTo>
                    <a:pt x="1500" y="703"/>
                  </a:lnTo>
                  <a:lnTo>
                    <a:pt x="1500" y="731"/>
                  </a:lnTo>
                  <a:lnTo>
                    <a:pt x="1495" y="787"/>
                  </a:lnTo>
                  <a:lnTo>
                    <a:pt x="1487" y="807"/>
                  </a:lnTo>
                  <a:lnTo>
                    <a:pt x="1520" y="870"/>
                  </a:lnTo>
                  <a:lnTo>
                    <a:pt x="1467" y="915"/>
                  </a:lnTo>
                  <a:lnTo>
                    <a:pt x="1477" y="993"/>
                  </a:lnTo>
                  <a:lnTo>
                    <a:pt x="1457" y="1009"/>
                  </a:lnTo>
                  <a:lnTo>
                    <a:pt x="1437" y="998"/>
                  </a:lnTo>
                  <a:lnTo>
                    <a:pt x="1424" y="905"/>
                  </a:lnTo>
                  <a:lnTo>
                    <a:pt x="1371" y="900"/>
                  </a:lnTo>
                  <a:lnTo>
                    <a:pt x="1273" y="845"/>
                  </a:lnTo>
                  <a:lnTo>
                    <a:pt x="1253" y="845"/>
                  </a:lnTo>
                  <a:lnTo>
                    <a:pt x="1235" y="797"/>
                  </a:lnTo>
                  <a:lnTo>
                    <a:pt x="1220" y="782"/>
                  </a:lnTo>
                  <a:lnTo>
                    <a:pt x="1263" y="658"/>
                  </a:lnTo>
                  <a:lnTo>
                    <a:pt x="1288" y="630"/>
                  </a:lnTo>
                  <a:lnTo>
                    <a:pt x="1316" y="615"/>
                  </a:lnTo>
                  <a:lnTo>
                    <a:pt x="1331" y="615"/>
                  </a:lnTo>
                  <a:lnTo>
                    <a:pt x="1346" y="565"/>
                  </a:lnTo>
                  <a:lnTo>
                    <a:pt x="1356" y="524"/>
                  </a:lnTo>
                  <a:lnTo>
                    <a:pt x="1409" y="512"/>
                  </a:lnTo>
                  <a:lnTo>
                    <a:pt x="1437" y="492"/>
                  </a:lnTo>
                  <a:lnTo>
                    <a:pt x="1419" y="446"/>
                  </a:lnTo>
                  <a:lnTo>
                    <a:pt x="1432" y="416"/>
                  </a:lnTo>
                  <a:lnTo>
                    <a:pt x="1412" y="393"/>
                  </a:lnTo>
                  <a:lnTo>
                    <a:pt x="1414" y="393"/>
                  </a:lnTo>
                  <a:lnTo>
                    <a:pt x="1417" y="391"/>
                  </a:lnTo>
                  <a:lnTo>
                    <a:pt x="1419" y="388"/>
                  </a:lnTo>
                  <a:lnTo>
                    <a:pt x="1422" y="388"/>
                  </a:lnTo>
                  <a:lnTo>
                    <a:pt x="1424" y="388"/>
                  </a:lnTo>
                  <a:lnTo>
                    <a:pt x="1432" y="388"/>
                  </a:lnTo>
                  <a:lnTo>
                    <a:pt x="1440" y="388"/>
                  </a:lnTo>
                  <a:lnTo>
                    <a:pt x="1442" y="386"/>
                  </a:lnTo>
                  <a:lnTo>
                    <a:pt x="1442" y="383"/>
                  </a:lnTo>
                  <a:lnTo>
                    <a:pt x="1437" y="376"/>
                  </a:lnTo>
                  <a:lnTo>
                    <a:pt x="1437" y="373"/>
                  </a:lnTo>
                  <a:lnTo>
                    <a:pt x="1440" y="373"/>
                  </a:lnTo>
                  <a:lnTo>
                    <a:pt x="1445" y="376"/>
                  </a:lnTo>
                  <a:lnTo>
                    <a:pt x="1452" y="378"/>
                  </a:lnTo>
                  <a:lnTo>
                    <a:pt x="1455" y="381"/>
                  </a:lnTo>
                  <a:lnTo>
                    <a:pt x="1457" y="383"/>
                  </a:lnTo>
                  <a:lnTo>
                    <a:pt x="1462" y="386"/>
                  </a:lnTo>
                  <a:lnTo>
                    <a:pt x="1467" y="388"/>
                  </a:lnTo>
                  <a:lnTo>
                    <a:pt x="1472" y="393"/>
                  </a:lnTo>
                  <a:lnTo>
                    <a:pt x="1477" y="396"/>
                  </a:lnTo>
                  <a:lnTo>
                    <a:pt x="1485" y="398"/>
                  </a:lnTo>
                  <a:lnTo>
                    <a:pt x="1490" y="401"/>
                  </a:lnTo>
                  <a:lnTo>
                    <a:pt x="1495" y="403"/>
                  </a:lnTo>
                  <a:lnTo>
                    <a:pt x="1500" y="406"/>
                  </a:lnTo>
                  <a:lnTo>
                    <a:pt x="1505" y="406"/>
                  </a:lnTo>
                  <a:lnTo>
                    <a:pt x="1510" y="411"/>
                  </a:lnTo>
                  <a:lnTo>
                    <a:pt x="1515" y="413"/>
                  </a:lnTo>
                  <a:lnTo>
                    <a:pt x="1523" y="419"/>
                  </a:lnTo>
                  <a:lnTo>
                    <a:pt x="1528" y="424"/>
                  </a:lnTo>
                  <a:lnTo>
                    <a:pt x="1535" y="431"/>
                  </a:lnTo>
                  <a:lnTo>
                    <a:pt x="1543" y="441"/>
                  </a:lnTo>
                  <a:lnTo>
                    <a:pt x="1545" y="449"/>
                  </a:lnTo>
                  <a:lnTo>
                    <a:pt x="1538" y="456"/>
                  </a:lnTo>
                  <a:lnTo>
                    <a:pt x="1530" y="466"/>
                  </a:lnTo>
                  <a:lnTo>
                    <a:pt x="1528" y="477"/>
                  </a:lnTo>
                  <a:lnTo>
                    <a:pt x="1530" y="479"/>
                  </a:lnTo>
                  <a:lnTo>
                    <a:pt x="1538" y="482"/>
                  </a:lnTo>
                  <a:lnTo>
                    <a:pt x="1543" y="487"/>
                  </a:lnTo>
                  <a:lnTo>
                    <a:pt x="1545" y="489"/>
                  </a:lnTo>
                  <a:lnTo>
                    <a:pt x="1543" y="494"/>
                  </a:lnTo>
                  <a:lnTo>
                    <a:pt x="1535" y="499"/>
                  </a:lnTo>
                  <a:lnTo>
                    <a:pt x="1528" y="504"/>
                  </a:lnTo>
                  <a:lnTo>
                    <a:pt x="1525" y="509"/>
                  </a:lnTo>
                  <a:lnTo>
                    <a:pt x="1520" y="509"/>
                  </a:lnTo>
                  <a:lnTo>
                    <a:pt x="1520" y="509"/>
                  </a:lnTo>
                  <a:lnTo>
                    <a:pt x="1518" y="509"/>
                  </a:lnTo>
                  <a:lnTo>
                    <a:pt x="1515" y="509"/>
                  </a:lnTo>
                  <a:lnTo>
                    <a:pt x="1513" y="509"/>
                  </a:lnTo>
                  <a:lnTo>
                    <a:pt x="1508" y="512"/>
                  </a:lnTo>
                  <a:lnTo>
                    <a:pt x="1500" y="514"/>
                  </a:lnTo>
                  <a:lnTo>
                    <a:pt x="1495" y="519"/>
                  </a:lnTo>
                  <a:lnTo>
                    <a:pt x="1492" y="522"/>
                  </a:lnTo>
                  <a:lnTo>
                    <a:pt x="1492" y="524"/>
                  </a:lnTo>
                  <a:lnTo>
                    <a:pt x="1495" y="527"/>
                  </a:lnTo>
                  <a:lnTo>
                    <a:pt x="1498" y="529"/>
                  </a:lnTo>
                  <a:lnTo>
                    <a:pt x="1500" y="532"/>
                  </a:lnTo>
                  <a:lnTo>
                    <a:pt x="1503" y="535"/>
                  </a:lnTo>
                  <a:lnTo>
                    <a:pt x="1508" y="537"/>
                  </a:lnTo>
                  <a:lnTo>
                    <a:pt x="1513" y="540"/>
                  </a:lnTo>
                  <a:lnTo>
                    <a:pt x="1518" y="540"/>
                  </a:lnTo>
                  <a:lnTo>
                    <a:pt x="1523" y="537"/>
                  </a:lnTo>
                  <a:lnTo>
                    <a:pt x="1528" y="532"/>
                  </a:lnTo>
                  <a:lnTo>
                    <a:pt x="1530" y="529"/>
                  </a:lnTo>
                  <a:lnTo>
                    <a:pt x="1535" y="527"/>
                  </a:lnTo>
                  <a:lnTo>
                    <a:pt x="1540" y="527"/>
                  </a:lnTo>
                  <a:lnTo>
                    <a:pt x="1548" y="524"/>
                  </a:lnTo>
                  <a:lnTo>
                    <a:pt x="1556" y="519"/>
                  </a:lnTo>
                  <a:lnTo>
                    <a:pt x="1561" y="519"/>
                  </a:lnTo>
                  <a:lnTo>
                    <a:pt x="1563" y="519"/>
                  </a:lnTo>
                  <a:lnTo>
                    <a:pt x="1566" y="522"/>
                  </a:lnTo>
                  <a:lnTo>
                    <a:pt x="1568" y="524"/>
                  </a:lnTo>
                  <a:lnTo>
                    <a:pt x="1571" y="524"/>
                  </a:lnTo>
                  <a:lnTo>
                    <a:pt x="1573" y="527"/>
                  </a:lnTo>
                  <a:lnTo>
                    <a:pt x="1576" y="529"/>
                  </a:lnTo>
                  <a:lnTo>
                    <a:pt x="1578" y="529"/>
                  </a:lnTo>
                  <a:lnTo>
                    <a:pt x="1583" y="532"/>
                  </a:lnTo>
                  <a:lnTo>
                    <a:pt x="1588" y="532"/>
                  </a:lnTo>
                  <a:lnTo>
                    <a:pt x="1593" y="535"/>
                  </a:lnTo>
                  <a:lnTo>
                    <a:pt x="1603" y="535"/>
                  </a:lnTo>
                  <a:lnTo>
                    <a:pt x="1606" y="540"/>
                  </a:lnTo>
                  <a:lnTo>
                    <a:pt x="1606" y="542"/>
                  </a:lnTo>
                  <a:lnTo>
                    <a:pt x="1608" y="547"/>
                  </a:lnTo>
                  <a:lnTo>
                    <a:pt x="1611" y="547"/>
                  </a:lnTo>
                  <a:lnTo>
                    <a:pt x="1616" y="550"/>
                  </a:lnTo>
                  <a:lnTo>
                    <a:pt x="1619" y="550"/>
                  </a:lnTo>
                  <a:lnTo>
                    <a:pt x="1621" y="550"/>
                  </a:lnTo>
                  <a:lnTo>
                    <a:pt x="1624" y="547"/>
                  </a:lnTo>
                  <a:lnTo>
                    <a:pt x="1629" y="547"/>
                  </a:lnTo>
                  <a:lnTo>
                    <a:pt x="1631" y="547"/>
                  </a:lnTo>
                  <a:lnTo>
                    <a:pt x="1634" y="547"/>
                  </a:lnTo>
                  <a:lnTo>
                    <a:pt x="1639" y="547"/>
                  </a:lnTo>
                  <a:lnTo>
                    <a:pt x="1641" y="547"/>
                  </a:lnTo>
                  <a:lnTo>
                    <a:pt x="1644" y="550"/>
                  </a:lnTo>
                  <a:lnTo>
                    <a:pt x="1649" y="550"/>
                  </a:lnTo>
                  <a:lnTo>
                    <a:pt x="1651" y="550"/>
                  </a:lnTo>
                  <a:lnTo>
                    <a:pt x="1654" y="547"/>
                  </a:lnTo>
                  <a:lnTo>
                    <a:pt x="1659" y="547"/>
                  </a:lnTo>
                  <a:lnTo>
                    <a:pt x="1664" y="547"/>
                  </a:lnTo>
                  <a:lnTo>
                    <a:pt x="1669" y="545"/>
                  </a:lnTo>
                  <a:lnTo>
                    <a:pt x="1671" y="545"/>
                  </a:lnTo>
                  <a:lnTo>
                    <a:pt x="1674" y="545"/>
                  </a:lnTo>
                  <a:lnTo>
                    <a:pt x="1679" y="545"/>
                  </a:lnTo>
                  <a:lnTo>
                    <a:pt x="1682" y="545"/>
                  </a:lnTo>
                  <a:lnTo>
                    <a:pt x="1684" y="545"/>
                  </a:lnTo>
                  <a:lnTo>
                    <a:pt x="1687" y="545"/>
                  </a:lnTo>
                  <a:lnTo>
                    <a:pt x="1692" y="545"/>
                  </a:lnTo>
                  <a:lnTo>
                    <a:pt x="1697" y="545"/>
                  </a:lnTo>
                  <a:lnTo>
                    <a:pt x="1699" y="542"/>
                  </a:lnTo>
                  <a:lnTo>
                    <a:pt x="1697" y="540"/>
                  </a:lnTo>
                  <a:lnTo>
                    <a:pt x="1697" y="537"/>
                  </a:lnTo>
                  <a:lnTo>
                    <a:pt x="1692" y="535"/>
                  </a:lnTo>
                  <a:lnTo>
                    <a:pt x="1687" y="532"/>
                  </a:lnTo>
                  <a:lnTo>
                    <a:pt x="1679" y="529"/>
                  </a:lnTo>
                  <a:lnTo>
                    <a:pt x="1677" y="529"/>
                  </a:lnTo>
                  <a:lnTo>
                    <a:pt x="1674" y="527"/>
                  </a:lnTo>
                  <a:lnTo>
                    <a:pt x="1671" y="524"/>
                  </a:lnTo>
                  <a:lnTo>
                    <a:pt x="1669" y="524"/>
                  </a:lnTo>
                  <a:lnTo>
                    <a:pt x="1666" y="524"/>
                  </a:lnTo>
                  <a:lnTo>
                    <a:pt x="1664" y="524"/>
                  </a:lnTo>
                  <a:lnTo>
                    <a:pt x="1661" y="524"/>
                  </a:lnTo>
                  <a:lnTo>
                    <a:pt x="1656" y="522"/>
                  </a:lnTo>
                  <a:lnTo>
                    <a:pt x="1651" y="519"/>
                  </a:lnTo>
                  <a:lnTo>
                    <a:pt x="1641" y="517"/>
                  </a:lnTo>
                  <a:lnTo>
                    <a:pt x="1636" y="514"/>
                  </a:lnTo>
                  <a:lnTo>
                    <a:pt x="1634" y="512"/>
                  </a:lnTo>
                  <a:lnTo>
                    <a:pt x="1634" y="509"/>
                  </a:lnTo>
                  <a:lnTo>
                    <a:pt x="1636" y="509"/>
                  </a:lnTo>
                  <a:lnTo>
                    <a:pt x="1639" y="509"/>
                  </a:lnTo>
                  <a:lnTo>
                    <a:pt x="1644" y="509"/>
                  </a:lnTo>
                  <a:lnTo>
                    <a:pt x="1649" y="512"/>
                  </a:lnTo>
                  <a:lnTo>
                    <a:pt x="1651" y="512"/>
                  </a:lnTo>
                  <a:lnTo>
                    <a:pt x="1656" y="514"/>
                  </a:lnTo>
                  <a:lnTo>
                    <a:pt x="1659" y="514"/>
                  </a:lnTo>
                  <a:lnTo>
                    <a:pt x="1664" y="514"/>
                  </a:lnTo>
                  <a:lnTo>
                    <a:pt x="1666" y="519"/>
                  </a:lnTo>
                  <a:lnTo>
                    <a:pt x="1671" y="519"/>
                  </a:lnTo>
                  <a:lnTo>
                    <a:pt x="1677" y="517"/>
                  </a:lnTo>
                  <a:lnTo>
                    <a:pt x="1687" y="514"/>
                  </a:lnTo>
                  <a:lnTo>
                    <a:pt x="1694" y="514"/>
                  </a:lnTo>
                  <a:lnTo>
                    <a:pt x="1697" y="519"/>
                  </a:lnTo>
                  <a:lnTo>
                    <a:pt x="1699" y="519"/>
                  </a:lnTo>
                  <a:lnTo>
                    <a:pt x="1704" y="522"/>
                  </a:lnTo>
                  <a:lnTo>
                    <a:pt x="1707" y="524"/>
                  </a:lnTo>
                  <a:lnTo>
                    <a:pt x="1707" y="522"/>
                  </a:lnTo>
                  <a:lnTo>
                    <a:pt x="1704" y="519"/>
                  </a:lnTo>
                  <a:lnTo>
                    <a:pt x="1702" y="514"/>
                  </a:lnTo>
                  <a:lnTo>
                    <a:pt x="1699" y="514"/>
                  </a:lnTo>
                  <a:lnTo>
                    <a:pt x="1699" y="509"/>
                  </a:lnTo>
                  <a:lnTo>
                    <a:pt x="1697" y="507"/>
                  </a:lnTo>
                  <a:lnTo>
                    <a:pt x="1694" y="502"/>
                  </a:lnTo>
                  <a:lnTo>
                    <a:pt x="1692" y="494"/>
                  </a:lnTo>
                  <a:lnTo>
                    <a:pt x="1692" y="492"/>
                  </a:lnTo>
                  <a:lnTo>
                    <a:pt x="1692" y="489"/>
                  </a:lnTo>
                  <a:lnTo>
                    <a:pt x="1692" y="487"/>
                  </a:lnTo>
                  <a:lnTo>
                    <a:pt x="1689" y="482"/>
                  </a:lnTo>
                  <a:lnTo>
                    <a:pt x="1682" y="479"/>
                  </a:lnTo>
                  <a:lnTo>
                    <a:pt x="1677" y="479"/>
                  </a:lnTo>
                  <a:lnTo>
                    <a:pt x="1671" y="477"/>
                  </a:lnTo>
                  <a:lnTo>
                    <a:pt x="1669" y="471"/>
                  </a:lnTo>
                  <a:lnTo>
                    <a:pt x="1664" y="469"/>
                  </a:lnTo>
                  <a:lnTo>
                    <a:pt x="1659" y="469"/>
                  </a:lnTo>
                  <a:lnTo>
                    <a:pt x="1651" y="466"/>
                  </a:lnTo>
                  <a:lnTo>
                    <a:pt x="1646" y="466"/>
                  </a:lnTo>
                  <a:lnTo>
                    <a:pt x="1644" y="466"/>
                  </a:lnTo>
                  <a:lnTo>
                    <a:pt x="1639" y="464"/>
                  </a:lnTo>
                  <a:lnTo>
                    <a:pt x="1634" y="461"/>
                  </a:lnTo>
                  <a:lnTo>
                    <a:pt x="1631" y="459"/>
                  </a:lnTo>
                  <a:lnTo>
                    <a:pt x="1626" y="459"/>
                  </a:lnTo>
                  <a:lnTo>
                    <a:pt x="1624" y="454"/>
                  </a:lnTo>
                  <a:lnTo>
                    <a:pt x="1621" y="451"/>
                  </a:lnTo>
                  <a:lnTo>
                    <a:pt x="1616" y="446"/>
                  </a:lnTo>
                  <a:lnTo>
                    <a:pt x="1614" y="441"/>
                  </a:lnTo>
                  <a:lnTo>
                    <a:pt x="1611" y="439"/>
                  </a:lnTo>
                  <a:lnTo>
                    <a:pt x="1611" y="434"/>
                  </a:lnTo>
                  <a:lnTo>
                    <a:pt x="1614" y="431"/>
                  </a:lnTo>
                  <a:lnTo>
                    <a:pt x="1619" y="431"/>
                  </a:lnTo>
                  <a:lnTo>
                    <a:pt x="1624" y="431"/>
                  </a:lnTo>
                  <a:lnTo>
                    <a:pt x="1631" y="434"/>
                  </a:lnTo>
                  <a:lnTo>
                    <a:pt x="1636" y="436"/>
                  </a:lnTo>
                  <a:lnTo>
                    <a:pt x="1639" y="436"/>
                  </a:lnTo>
                  <a:lnTo>
                    <a:pt x="1644" y="439"/>
                  </a:lnTo>
                  <a:lnTo>
                    <a:pt x="1644" y="439"/>
                  </a:lnTo>
                  <a:lnTo>
                    <a:pt x="1649" y="441"/>
                  </a:lnTo>
                  <a:lnTo>
                    <a:pt x="1654" y="444"/>
                  </a:lnTo>
                  <a:lnTo>
                    <a:pt x="1659" y="446"/>
                  </a:lnTo>
                  <a:lnTo>
                    <a:pt x="1664" y="449"/>
                  </a:lnTo>
                  <a:lnTo>
                    <a:pt x="1669" y="451"/>
                  </a:lnTo>
                  <a:lnTo>
                    <a:pt x="1669" y="451"/>
                  </a:lnTo>
                  <a:lnTo>
                    <a:pt x="1671" y="451"/>
                  </a:lnTo>
                  <a:lnTo>
                    <a:pt x="1677" y="449"/>
                  </a:lnTo>
                  <a:lnTo>
                    <a:pt x="1679" y="444"/>
                  </a:lnTo>
                  <a:lnTo>
                    <a:pt x="1679" y="441"/>
                  </a:lnTo>
                  <a:lnTo>
                    <a:pt x="1677" y="436"/>
                  </a:lnTo>
                  <a:lnTo>
                    <a:pt x="1671" y="434"/>
                  </a:lnTo>
                  <a:lnTo>
                    <a:pt x="1666" y="431"/>
                  </a:lnTo>
                  <a:lnTo>
                    <a:pt x="1666" y="429"/>
                  </a:lnTo>
                  <a:lnTo>
                    <a:pt x="1666" y="426"/>
                  </a:lnTo>
                  <a:lnTo>
                    <a:pt x="1669" y="424"/>
                  </a:lnTo>
                  <a:lnTo>
                    <a:pt x="1671" y="424"/>
                  </a:lnTo>
                  <a:lnTo>
                    <a:pt x="1674" y="421"/>
                  </a:lnTo>
                  <a:lnTo>
                    <a:pt x="1677" y="419"/>
                  </a:lnTo>
                  <a:lnTo>
                    <a:pt x="1677" y="416"/>
                  </a:lnTo>
                  <a:lnTo>
                    <a:pt x="1674" y="413"/>
                  </a:lnTo>
                  <a:lnTo>
                    <a:pt x="1671" y="408"/>
                  </a:lnTo>
                  <a:lnTo>
                    <a:pt x="1669" y="406"/>
                  </a:lnTo>
                  <a:lnTo>
                    <a:pt x="1664" y="406"/>
                  </a:lnTo>
                  <a:lnTo>
                    <a:pt x="1664" y="403"/>
                  </a:lnTo>
                  <a:lnTo>
                    <a:pt x="1669" y="401"/>
                  </a:lnTo>
                  <a:lnTo>
                    <a:pt x="1674" y="398"/>
                  </a:lnTo>
                  <a:lnTo>
                    <a:pt x="1677" y="393"/>
                  </a:lnTo>
                  <a:lnTo>
                    <a:pt x="1674" y="391"/>
                  </a:lnTo>
                  <a:lnTo>
                    <a:pt x="1669" y="388"/>
                  </a:lnTo>
                  <a:lnTo>
                    <a:pt x="1661" y="386"/>
                  </a:lnTo>
                  <a:lnTo>
                    <a:pt x="1654" y="386"/>
                  </a:lnTo>
                  <a:lnTo>
                    <a:pt x="1649" y="386"/>
                  </a:lnTo>
                  <a:lnTo>
                    <a:pt x="1644" y="386"/>
                  </a:lnTo>
                  <a:lnTo>
                    <a:pt x="1639" y="388"/>
                  </a:lnTo>
                  <a:lnTo>
                    <a:pt x="1636" y="388"/>
                  </a:lnTo>
                  <a:lnTo>
                    <a:pt x="1634" y="388"/>
                  </a:lnTo>
                  <a:lnTo>
                    <a:pt x="1634" y="388"/>
                  </a:lnTo>
                  <a:lnTo>
                    <a:pt x="1631" y="386"/>
                  </a:lnTo>
                  <a:lnTo>
                    <a:pt x="1634" y="383"/>
                  </a:lnTo>
                  <a:lnTo>
                    <a:pt x="1631" y="383"/>
                  </a:lnTo>
                  <a:lnTo>
                    <a:pt x="1629" y="381"/>
                  </a:lnTo>
                  <a:lnTo>
                    <a:pt x="1626" y="381"/>
                  </a:lnTo>
                  <a:lnTo>
                    <a:pt x="1621" y="381"/>
                  </a:lnTo>
                  <a:lnTo>
                    <a:pt x="1616" y="381"/>
                  </a:lnTo>
                  <a:lnTo>
                    <a:pt x="1611" y="378"/>
                  </a:lnTo>
                  <a:lnTo>
                    <a:pt x="1606" y="378"/>
                  </a:lnTo>
                  <a:lnTo>
                    <a:pt x="1603" y="378"/>
                  </a:lnTo>
                  <a:lnTo>
                    <a:pt x="1598" y="376"/>
                  </a:lnTo>
                  <a:lnTo>
                    <a:pt x="1598" y="378"/>
                  </a:lnTo>
                  <a:lnTo>
                    <a:pt x="1601" y="381"/>
                  </a:lnTo>
                  <a:lnTo>
                    <a:pt x="1603" y="386"/>
                  </a:lnTo>
                  <a:lnTo>
                    <a:pt x="1601" y="386"/>
                  </a:lnTo>
                  <a:lnTo>
                    <a:pt x="1596" y="386"/>
                  </a:lnTo>
                  <a:lnTo>
                    <a:pt x="1591" y="381"/>
                  </a:lnTo>
                  <a:lnTo>
                    <a:pt x="1583" y="376"/>
                  </a:lnTo>
                  <a:lnTo>
                    <a:pt x="1578" y="373"/>
                  </a:lnTo>
                  <a:lnTo>
                    <a:pt x="1576" y="373"/>
                  </a:lnTo>
                  <a:lnTo>
                    <a:pt x="1568" y="376"/>
                  </a:lnTo>
                  <a:lnTo>
                    <a:pt x="1563" y="373"/>
                  </a:lnTo>
                  <a:lnTo>
                    <a:pt x="1558" y="371"/>
                  </a:lnTo>
                  <a:lnTo>
                    <a:pt x="1558" y="366"/>
                  </a:lnTo>
                  <a:lnTo>
                    <a:pt x="1561" y="363"/>
                  </a:lnTo>
                  <a:lnTo>
                    <a:pt x="1561" y="361"/>
                  </a:lnTo>
                  <a:lnTo>
                    <a:pt x="1561" y="358"/>
                  </a:lnTo>
                  <a:lnTo>
                    <a:pt x="1563" y="356"/>
                  </a:lnTo>
                  <a:lnTo>
                    <a:pt x="1566" y="356"/>
                  </a:lnTo>
                  <a:lnTo>
                    <a:pt x="1568" y="356"/>
                  </a:lnTo>
                  <a:lnTo>
                    <a:pt x="1568" y="353"/>
                  </a:lnTo>
                  <a:lnTo>
                    <a:pt x="1561" y="350"/>
                  </a:lnTo>
                  <a:lnTo>
                    <a:pt x="1556" y="350"/>
                  </a:lnTo>
                  <a:lnTo>
                    <a:pt x="1553" y="345"/>
                  </a:lnTo>
                  <a:lnTo>
                    <a:pt x="1553" y="345"/>
                  </a:lnTo>
                  <a:lnTo>
                    <a:pt x="1556" y="343"/>
                  </a:lnTo>
                  <a:lnTo>
                    <a:pt x="1561" y="343"/>
                  </a:lnTo>
                  <a:lnTo>
                    <a:pt x="1561" y="343"/>
                  </a:lnTo>
                  <a:lnTo>
                    <a:pt x="1558" y="343"/>
                  </a:lnTo>
                  <a:lnTo>
                    <a:pt x="1556" y="340"/>
                  </a:lnTo>
                  <a:lnTo>
                    <a:pt x="1553" y="335"/>
                  </a:lnTo>
                  <a:lnTo>
                    <a:pt x="1548" y="333"/>
                  </a:lnTo>
                  <a:lnTo>
                    <a:pt x="1545" y="333"/>
                  </a:lnTo>
                  <a:lnTo>
                    <a:pt x="1540" y="333"/>
                  </a:lnTo>
                  <a:lnTo>
                    <a:pt x="1538" y="333"/>
                  </a:lnTo>
                  <a:lnTo>
                    <a:pt x="1540" y="330"/>
                  </a:lnTo>
                  <a:lnTo>
                    <a:pt x="1540" y="330"/>
                  </a:lnTo>
                  <a:lnTo>
                    <a:pt x="1540" y="328"/>
                  </a:lnTo>
                  <a:lnTo>
                    <a:pt x="1538" y="325"/>
                  </a:lnTo>
                  <a:lnTo>
                    <a:pt x="1533" y="325"/>
                  </a:lnTo>
                  <a:lnTo>
                    <a:pt x="1528" y="325"/>
                  </a:lnTo>
                  <a:lnTo>
                    <a:pt x="1520" y="325"/>
                  </a:lnTo>
                  <a:lnTo>
                    <a:pt x="1515" y="325"/>
                  </a:lnTo>
                  <a:lnTo>
                    <a:pt x="1510" y="325"/>
                  </a:lnTo>
                  <a:lnTo>
                    <a:pt x="1503" y="323"/>
                  </a:lnTo>
                  <a:lnTo>
                    <a:pt x="1500" y="323"/>
                  </a:lnTo>
                  <a:lnTo>
                    <a:pt x="1500" y="320"/>
                  </a:lnTo>
                  <a:lnTo>
                    <a:pt x="1498" y="318"/>
                  </a:lnTo>
                  <a:lnTo>
                    <a:pt x="1492" y="315"/>
                  </a:lnTo>
                  <a:lnTo>
                    <a:pt x="1485" y="315"/>
                  </a:lnTo>
                  <a:lnTo>
                    <a:pt x="1480" y="318"/>
                  </a:lnTo>
                  <a:lnTo>
                    <a:pt x="1475" y="323"/>
                  </a:lnTo>
                  <a:lnTo>
                    <a:pt x="1472" y="325"/>
                  </a:lnTo>
                  <a:lnTo>
                    <a:pt x="1467" y="325"/>
                  </a:lnTo>
                  <a:lnTo>
                    <a:pt x="1462" y="320"/>
                  </a:lnTo>
                  <a:lnTo>
                    <a:pt x="1460" y="318"/>
                  </a:lnTo>
                  <a:lnTo>
                    <a:pt x="1457" y="313"/>
                  </a:lnTo>
                  <a:lnTo>
                    <a:pt x="1455" y="310"/>
                  </a:lnTo>
                  <a:lnTo>
                    <a:pt x="1450" y="305"/>
                  </a:lnTo>
                  <a:lnTo>
                    <a:pt x="1442" y="300"/>
                  </a:lnTo>
                  <a:lnTo>
                    <a:pt x="1435" y="298"/>
                  </a:lnTo>
                  <a:lnTo>
                    <a:pt x="1429" y="298"/>
                  </a:lnTo>
                  <a:lnTo>
                    <a:pt x="1427" y="300"/>
                  </a:lnTo>
                  <a:lnTo>
                    <a:pt x="1419" y="303"/>
                  </a:lnTo>
                  <a:lnTo>
                    <a:pt x="1414" y="305"/>
                  </a:lnTo>
                  <a:lnTo>
                    <a:pt x="1414" y="308"/>
                  </a:lnTo>
                  <a:lnTo>
                    <a:pt x="1414" y="313"/>
                  </a:lnTo>
                  <a:lnTo>
                    <a:pt x="1409" y="315"/>
                  </a:lnTo>
                  <a:lnTo>
                    <a:pt x="1404" y="320"/>
                  </a:lnTo>
                  <a:lnTo>
                    <a:pt x="1397" y="320"/>
                  </a:lnTo>
                  <a:lnTo>
                    <a:pt x="1394" y="320"/>
                  </a:lnTo>
                  <a:lnTo>
                    <a:pt x="1392" y="315"/>
                  </a:lnTo>
                  <a:lnTo>
                    <a:pt x="1392" y="310"/>
                  </a:lnTo>
                  <a:lnTo>
                    <a:pt x="1389" y="305"/>
                  </a:lnTo>
                  <a:lnTo>
                    <a:pt x="1389" y="303"/>
                  </a:lnTo>
                  <a:lnTo>
                    <a:pt x="1387" y="298"/>
                  </a:lnTo>
                  <a:lnTo>
                    <a:pt x="1384" y="292"/>
                  </a:lnTo>
                  <a:lnTo>
                    <a:pt x="1382" y="290"/>
                  </a:lnTo>
                  <a:lnTo>
                    <a:pt x="1374" y="285"/>
                  </a:lnTo>
                  <a:lnTo>
                    <a:pt x="1366" y="285"/>
                  </a:lnTo>
                  <a:lnTo>
                    <a:pt x="1359" y="287"/>
                  </a:lnTo>
                  <a:lnTo>
                    <a:pt x="1354" y="292"/>
                  </a:lnTo>
                  <a:lnTo>
                    <a:pt x="1351" y="303"/>
                  </a:lnTo>
                  <a:lnTo>
                    <a:pt x="1349" y="313"/>
                  </a:lnTo>
                  <a:lnTo>
                    <a:pt x="1349" y="325"/>
                  </a:lnTo>
                  <a:lnTo>
                    <a:pt x="1354" y="343"/>
                  </a:lnTo>
                  <a:lnTo>
                    <a:pt x="1359" y="356"/>
                  </a:lnTo>
                  <a:lnTo>
                    <a:pt x="1359" y="356"/>
                  </a:lnTo>
                  <a:lnTo>
                    <a:pt x="1359" y="356"/>
                  </a:lnTo>
                  <a:lnTo>
                    <a:pt x="1359" y="356"/>
                  </a:lnTo>
                  <a:lnTo>
                    <a:pt x="1356" y="353"/>
                  </a:lnTo>
                  <a:lnTo>
                    <a:pt x="1354" y="350"/>
                  </a:lnTo>
                  <a:lnTo>
                    <a:pt x="1349" y="345"/>
                  </a:lnTo>
                  <a:lnTo>
                    <a:pt x="1344" y="338"/>
                  </a:lnTo>
                  <a:lnTo>
                    <a:pt x="1341" y="330"/>
                  </a:lnTo>
                  <a:lnTo>
                    <a:pt x="1339" y="323"/>
                  </a:lnTo>
                  <a:lnTo>
                    <a:pt x="1339" y="310"/>
                  </a:lnTo>
                  <a:lnTo>
                    <a:pt x="1344" y="298"/>
                  </a:lnTo>
                  <a:lnTo>
                    <a:pt x="1344" y="290"/>
                  </a:lnTo>
                  <a:lnTo>
                    <a:pt x="1341" y="287"/>
                  </a:lnTo>
                  <a:lnTo>
                    <a:pt x="1336" y="287"/>
                  </a:lnTo>
                  <a:lnTo>
                    <a:pt x="1331" y="287"/>
                  </a:lnTo>
                  <a:lnTo>
                    <a:pt x="1324" y="290"/>
                  </a:lnTo>
                  <a:lnTo>
                    <a:pt x="1316" y="298"/>
                  </a:lnTo>
                  <a:lnTo>
                    <a:pt x="1311" y="310"/>
                  </a:lnTo>
                  <a:lnTo>
                    <a:pt x="1308" y="325"/>
                  </a:lnTo>
                  <a:lnTo>
                    <a:pt x="1308" y="335"/>
                  </a:lnTo>
                  <a:lnTo>
                    <a:pt x="1308" y="340"/>
                  </a:lnTo>
                  <a:lnTo>
                    <a:pt x="1308" y="345"/>
                  </a:lnTo>
                  <a:lnTo>
                    <a:pt x="1308" y="356"/>
                  </a:lnTo>
                  <a:lnTo>
                    <a:pt x="1308" y="361"/>
                  </a:lnTo>
                  <a:lnTo>
                    <a:pt x="1311" y="363"/>
                  </a:lnTo>
                  <a:lnTo>
                    <a:pt x="1311" y="363"/>
                  </a:lnTo>
                  <a:lnTo>
                    <a:pt x="1316" y="366"/>
                  </a:lnTo>
                  <a:lnTo>
                    <a:pt x="1319" y="366"/>
                  </a:lnTo>
                  <a:lnTo>
                    <a:pt x="1321" y="366"/>
                  </a:lnTo>
                  <a:lnTo>
                    <a:pt x="1329" y="368"/>
                  </a:lnTo>
                  <a:lnTo>
                    <a:pt x="1334" y="371"/>
                  </a:lnTo>
                  <a:lnTo>
                    <a:pt x="1339" y="371"/>
                  </a:lnTo>
                  <a:lnTo>
                    <a:pt x="1341" y="373"/>
                  </a:lnTo>
                  <a:lnTo>
                    <a:pt x="1341" y="373"/>
                  </a:lnTo>
                  <a:lnTo>
                    <a:pt x="1339" y="376"/>
                  </a:lnTo>
                  <a:lnTo>
                    <a:pt x="1334" y="376"/>
                  </a:lnTo>
                  <a:lnTo>
                    <a:pt x="1331" y="376"/>
                  </a:lnTo>
                  <a:lnTo>
                    <a:pt x="1326" y="376"/>
                  </a:lnTo>
                  <a:lnTo>
                    <a:pt x="1321" y="378"/>
                  </a:lnTo>
                  <a:lnTo>
                    <a:pt x="1316" y="381"/>
                  </a:lnTo>
                  <a:lnTo>
                    <a:pt x="1316" y="381"/>
                  </a:lnTo>
                  <a:lnTo>
                    <a:pt x="1316" y="383"/>
                  </a:lnTo>
                  <a:lnTo>
                    <a:pt x="1319" y="386"/>
                  </a:lnTo>
                  <a:lnTo>
                    <a:pt x="1321" y="386"/>
                  </a:lnTo>
                  <a:lnTo>
                    <a:pt x="1326" y="388"/>
                  </a:lnTo>
                  <a:lnTo>
                    <a:pt x="1331" y="391"/>
                  </a:lnTo>
                  <a:lnTo>
                    <a:pt x="1334" y="393"/>
                  </a:lnTo>
                  <a:lnTo>
                    <a:pt x="1339" y="396"/>
                  </a:lnTo>
                  <a:lnTo>
                    <a:pt x="1341" y="396"/>
                  </a:lnTo>
                  <a:lnTo>
                    <a:pt x="1346" y="396"/>
                  </a:lnTo>
                  <a:lnTo>
                    <a:pt x="1351" y="393"/>
                  </a:lnTo>
                  <a:lnTo>
                    <a:pt x="1356" y="391"/>
                  </a:lnTo>
                  <a:lnTo>
                    <a:pt x="1359" y="393"/>
                  </a:lnTo>
                  <a:lnTo>
                    <a:pt x="1361" y="396"/>
                  </a:lnTo>
                  <a:lnTo>
                    <a:pt x="1371" y="398"/>
                  </a:lnTo>
                  <a:lnTo>
                    <a:pt x="1374" y="398"/>
                  </a:lnTo>
                  <a:lnTo>
                    <a:pt x="1366" y="436"/>
                  </a:lnTo>
                  <a:lnTo>
                    <a:pt x="1336" y="482"/>
                  </a:lnTo>
                  <a:lnTo>
                    <a:pt x="1326" y="426"/>
                  </a:lnTo>
                  <a:lnTo>
                    <a:pt x="1308" y="403"/>
                  </a:lnTo>
                  <a:lnTo>
                    <a:pt x="1288" y="431"/>
                  </a:lnTo>
                  <a:lnTo>
                    <a:pt x="1278" y="403"/>
                  </a:lnTo>
                  <a:lnTo>
                    <a:pt x="1258" y="368"/>
                  </a:lnTo>
                  <a:lnTo>
                    <a:pt x="1248" y="323"/>
                  </a:lnTo>
                  <a:lnTo>
                    <a:pt x="1215" y="270"/>
                  </a:lnTo>
                  <a:lnTo>
                    <a:pt x="1190" y="343"/>
                  </a:lnTo>
                  <a:lnTo>
                    <a:pt x="1190" y="368"/>
                  </a:lnTo>
                  <a:lnTo>
                    <a:pt x="1225" y="398"/>
                  </a:lnTo>
                  <a:lnTo>
                    <a:pt x="1230" y="431"/>
                  </a:lnTo>
                  <a:lnTo>
                    <a:pt x="1205" y="456"/>
                  </a:lnTo>
                  <a:lnTo>
                    <a:pt x="1190" y="446"/>
                  </a:lnTo>
                  <a:lnTo>
                    <a:pt x="1185" y="446"/>
                  </a:lnTo>
                  <a:lnTo>
                    <a:pt x="1185" y="444"/>
                  </a:lnTo>
                  <a:lnTo>
                    <a:pt x="1187" y="439"/>
                  </a:lnTo>
                  <a:lnTo>
                    <a:pt x="1185" y="434"/>
                  </a:lnTo>
                  <a:lnTo>
                    <a:pt x="1185" y="429"/>
                  </a:lnTo>
                  <a:lnTo>
                    <a:pt x="1182" y="424"/>
                  </a:lnTo>
                  <a:lnTo>
                    <a:pt x="1182" y="424"/>
                  </a:lnTo>
                  <a:lnTo>
                    <a:pt x="1185" y="424"/>
                  </a:lnTo>
                  <a:lnTo>
                    <a:pt x="1187" y="424"/>
                  </a:lnTo>
                  <a:lnTo>
                    <a:pt x="1190" y="424"/>
                  </a:lnTo>
                  <a:lnTo>
                    <a:pt x="1192" y="424"/>
                  </a:lnTo>
                  <a:lnTo>
                    <a:pt x="1195" y="424"/>
                  </a:lnTo>
                  <a:lnTo>
                    <a:pt x="1198" y="419"/>
                  </a:lnTo>
                  <a:lnTo>
                    <a:pt x="1200" y="413"/>
                  </a:lnTo>
                  <a:lnTo>
                    <a:pt x="1198" y="408"/>
                  </a:lnTo>
                  <a:lnTo>
                    <a:pt x="1192" y="406"/>
                  </a:lnTo>
                  <a:lnTo>
                    <a:pt x="1192" y="406"/>
                  </a:lnTo>
                  <a:lnTo>
                    <a:pt x="1190" y="403"/>
                  </a:lnTo>
                  <a:lnTo>
                    <a:pt x="1185" y="403"/>
                  </a:lnTo>
                  <a:lnTo>
                    <a:pt x="1180" y="398"/>
                  </a:lnTo>
                  <a:lnTo>
                    <a:pt x="1175" y="396"/>
                  </a:lnTo>
                  <a:lnTo>
                    <a:pt x="1170" y="391"/>
                  </a:lnTo>
                  <a:lnTo>
                    <a:pt x="1167" y="388"/>
                  </a:lnTo>
                  <a:lnTo>
                    <a:pt x="1165" y="383"/>
                  </a:lnTo>
                  <a:lnTo>
                    <a:pt x="1162" y="378"/>
                  </a:lnTo>
                  <a:lnTo>
                    <a:pt x="1162" y="373"/>
                  </a:lnTo>
                  <a:lnTo>
                    <a:pt x="1162" y="373"/>
                  </a:lnTo>
                  <a:lnTo>
                    <a:pt x="1162" y="371"/>
                  </a:lnTo>
                  <a:lnTo>
                    <a:pt x="1165" y="368"/>
                  </a:lnTo>
                  <a:lnTo>
                    <a:pt x="1165" y="363"/>
                  </a:lnTo>
                  <a:lnTo>
                    <a:pt x="1162" y="356"/>
                  </a:lnTo>
                  <a:lnTo>
                    <a:pt x="1162" y="350"/>
                  </a:lnTo>
                  <a:lnTo>
                    <a:pt x="1160" y="343"/>
                  </a:lnTo>
                  <a:lnTo>
                    <a:pt x="1160" y="338"/>
                  </a:lnTo>
                  <a:lnTo>
                    <a:pt x="1157" y="333"/>
                  </a:lnTo>
                  <a:lnTo>
                    <a:pt x="1157" y="328"/>
                  </a:lnTo>
                  <a:lnTo>
                    <a:pt x="1160" y="325"/>
                  </a:lnTo>
                  <a:lnTo>
                    <a:pt x="1162" y="323"/>
                  </a:lnTo>
                  <a:lnTo>
                    <a:pt x="1165" y="323"/>
                  </a:lnTo>
                  <a:lnTo>
                    <a:pt x="1167" y="318"/>
                  </a:lnTo>
                  <a:lnTo>
                    <a:pt x="1172" y="310"/>
                  </a:lnTo>
                  <a:lnTo>
                    <a:pt x="1172" y="308"/>
                  </a:lnTo>
                  <a:lnTo>
                    <a:pt x="1172" y="305"/>
                  </a:lnTo>
                  <a:lnTo>
                    <a:pt x="1170" y="303"/>
                  </a:lnTo>
                  <a:lnTo>
                    <a:pt x="1165" y="300"/>
                  </a:lnTo>
                  <a:lnTo>
                    <a:pt x="1162" y="300"/>
                  </a:lnTo>
                  <a:lnTo>
                    <a:pt x="1157" y="300"/>
                  </a:lnTo>
                  <a:lnTo>
                    <a:pt x="1152" y="300"/>
                  </a:lnTo>
                  <a:lnTo>
                    <a:pt x="1147" y="300"/>
                  </a:lnTo>
                  <a:lnTo>
                    <a:pt x="1142" y="303"/>
                  </a:lnTo>
                  <a:lnTo>
                    <a:pt x="1145" y="305"/>
                  </a:lnTo>
                  <a:lnTo>
                    <a:pt x="1147" y="308"/>
                  </a:lnTo>
                  <a:lnTo>
                    <a:pt x="1150" y="310"/>
                  </a:lnTo>
                  <a:lnTo>
                    <a:pt x="1150" y="310"/>
                  </a:lnTo>
                  <a:lnTo>
                    <a:pt x="1152" y="313"/>
                  </a:lnTo>
                  <a:lnTo>
                    <a:pt x="1150" y="313"/>
                  </a:lnTo>
                  <a:lnTo>
                    <a:pt x="1147" y="315"/>
                  </a:lnTo>
                  <a:lnTo>
                    <a:pt x="1145" y="313"/>
                  </a:lnTo>
                  <a:lnTo>
                    <a:pt x="1142" y="310"/>
                  </a:lnTo>
                  <a:lnTo>
                    <a:pt x="1137" y="310"/>
                  </a:lnTo>
                  <a:lnTo>
                    <a:pt x="1134" y="313"/>
                  </a:lnTo>
                  <a:lnTo>
                    <a:pt x="1132" y="315"/>
                  </a:lnTo>
                  <a:lnTo>
                    <a:pt x="1132" y="320"/>
                  </a:lnTo>
                  <a:lnTo>
                    <a:pt x="1132" y="323"/>
                  </a:lnTo>
                  <a:lnTo>
                    <a:pt x="1134" y="328"/>
                  </a:lnTo>
                  <a:lnTo>
                    <a:pt x="1137" y="330"/>
                  </a:lnTo>
                  <a:lnTo>
                    <a:pt x="1134" y="335"/>
                  </a:lnTo>
                  <a:lnTo>
                    <a:pt x="1132" y="340"/>
                  </a:lnTo>
                  <a:lnTo>
                    <a:pt x="1132" y="348"/>
                  </a:lnTo>
                  <a:lnTo>
                    <a:pt x="1129" y="353"/>
                  </a:lnTo>
                  <a:lnTo>
                    <a:pt x="1127" y="350"/>
                  </a:lnTo>
                  <a:lnTo>
                    <a:pt x="1124" y="343"/>
                  </a:lnTo>
                  <a:lnTo>
                    <a:pt x="1124" y="335"/>
                  </a:lnTo>
                  <a:lnTo>
                    <a:pt x="1124" y="328"/>
                  </a:lnTo>
                  <a:lnTo>
                    <a:pt x="1119" y="323"/>
                  </a:lnTo>
                  <a:lnTo>
                    <a:pt x="1117" y="320"/>
                  </a:lnTo>
                  <a:lnTo>
                    <a:pt x="1112" y="315"/>
                  </a:lnTo>
                  <a:lnTo>
                    <a:pt x="1109" y="315"/>
                  </a:lnTo>
                  <a:lnTo>
                    <a:pt x="1109" y="318"/>
                  </a:lnTo>
                  <a:lnTo>
                    <a:pt x="1112" y="323"/>
                  </a:lnTo>
                  <a:lnTo>
                    <a:pt x="1112" y="328"/>
                  </a:lnTo>
                  <a:lnTo>
                    <a:pt x="1109" y="328"/>
                  </a:lnTo>
                  <a:lnTo>
                    <a:pt x="1104" y="328"/>
                  </a:lnTo>
                  <a:lnTo>
                    <a:pt x="1099" y="325"/>
                  </a:lnTo>
                  <a:lnTo>
                    <a:pt x="1094" y="320"/>
                  </a:lnTo>
                  <a:lnTo>
                    <a:pt x="1092" y="315"/>
                  </a:lnTo>
                  <a:lnTo>
                    <a:pt x="1092" y="313"/>
                  </a:lnTo>
                  <a:lnTo>
                    <a:pt x="1087" y="313"/>
                  </a:lnTo>
                  <a:lnTo>
                    <a:pt x="1082" y="315"/>
                  </a:lnTo>
                  <a:lnTo>
                    <a:pt x="1079" y="315"/>
                  </a:lnTo>
                  <a:lnTo>
                    <a:pt x="1077" y="313"/>
                  </a:lnTo>
                  <a:lnTo>
                    <a:pt x="1079" y="310"/>
                  </a:lnTo>
                  <a:lnTo>
                    <a:pt x="1082" y="303"/>
                  </a:lnTo>
                  <a:lnTo>
                    <a:pt x="1082" y="300"/>
                  </a:lnTo>
                  <a:lnTo>
                    <a:pt x="1077" y="298"/>
                  </a:lnTo>
                  <a:lnTo>
                    <a:pt x="1071" y="300"/>
                  </a:lnTo>
                  <a:lnTo>
                    <a:pt x="1064" y="300"/>
                  </a:lnTo>
                  <a:lnTo>
                    <a:pt x="1056" y="303"/>
                  </a:lnTo>
                  <a:lnTo>
                    <a:pt x="1051" y="303"/>
                  </a:lnTo>
                  <a:lnTo>
                    <a:pt x="1049" y="305"/>
                  </a:lnTo>
                  <a:lnTo>
                    <a:pt x="1044" y="305"/>
                  </a:lnTo>
                  <a:lnTo>
                    <a:pt x="1039" y="308"/>
                  </a:lnTo>
                  <a:lnTo>
                    <a:pt x="1036" y="310"/>
                  </a:lnTo>
                  <a:lnTo>
                    <a:pt x="1036" y="310"/>
                  </a:lnTo>
                  <a:lnTo>
                    <a:pt x="1036" y="315"/>
                  </a:lnTo>
                  <a:lnTo>
                    <a:pt x="1034" y="320"/>
                  </a:lnTo>
                  <a:lnTo>
                    <a:pt x="1034" y="320"/>
                  </a:lnTo>
                  <a:lnTo>
                    <a:pt x="1029" y="323"/>
                  </a:lnTo>
                  <a:lnTo>
                    <a:pt x="1024" y="323"/>
                  </a:lnTo>
                  <a:lnTo>
                    <a:pt x="1021" y="325"/>
                  </a:lnTo>
                  <a:lnTo>
                    <a:pt x="1021" y="330"/>
                  </a:lnTo>
                  <a:lnTo>
                    <a:pt x="1024" y="333"/>
                  </a:lnTo>
                  <a:lnTo>
                    <a:pt x="1029" y="338"/>
                  </a:lnTo>
                  <a:lnTo>
                    <a:pt x="1034" y="343"/>
                  </a:lnTo>
                  <a:lnTo>
                    <a:pt x="1036" y="345"/>
                  </a:lnTo>
                  <a:lnTo>
                    <a:pt x="1039" y="345"/>
                  </a:lnTo>
                  <a:lnTo>
                    <a:pt x="1039" y="350"/>
                  </a:lnTo>
                  <a:lnTo>
                    <a:pt x="1039" y="353"/>
                  </a:lnTo>
                  <a:lnTo>
                    <a:pt x="1034" y="356"/>
                  </a:lnTo>
                  <a:lnTo>
                    <a:pt x="1026" y="353"/>
                  </a:lnTo>
                  <a:lnTo>
                    <a:pt x="1021" y="356"/>
                  </a:lnTo>
                  <a:lnTo>
                    <a:pt x="1021" y="358"/>
                  </a:lnTo>
                  <a:lnTo>
                    <a:pt x="1021" y="361"/>
                  </a:lnTo>
                  <a:lnTo>
                    <a:pt x="1021" y="366"/>
                  </a:lnTo>
                  <a:lnTo>
                    <a:pt x="1024" y="371"/>
                  </a:lnTo>
                  <a:lnTo>
                    <a:pt x="1026" y="373"/>
                  </a:lnTo>
                  <a:lnTo>
                    <a:pt x="1031" y="373"/>
                  </a:lnTo>
                  <a:lnTo>
                    <a:pt x="1036" y="373"/>
                  </a:lnTo>
                  <a:lnTo>
                    <a:pt x="1044" y="373"/>
                  </a:lnTo>
                  <a:lnTo>
                    <a:pt x="1051" y="376"/>
                  </a:lnTo>
                  <a:lnTo>
                    <a:pt x="1054" y="376"/>
                  </a:lnTo>
                  <a:lnTo>
                    <a:pt x="1059" y="376"/>
                  </a:lnTo>
                  <a:lnTo>
                    <a:pt x="1069" y="378"/>
                  </a:lnTo>
                  <a:lnTo>
                    <a:pt x="1077" y="381"/>
                  </a:lnTo>
                  <a:lnTo>
                    <a:pt x="1082" y="386"/>
                  </a:lnTo>
                  <a:lnTo>
                    <a:pt x="1082" y="391"/>
                  </a:lnTo>
                  <a:lnTo>
                    <a:pt x="1079" y="396"/>
                  </a:lnTo>
                  <a:lnTo>
                    <a:pt x="1079" y="398"/>
                  </a:lnTo>
                  <a:lnTo>
                    <a:pt x="1077" y="398"/>
                  </a:lnTo>
                  <a:lnTo>
                    <a:pt x="1071" y="396"/>
                  </a:lnTo>
                  <a:lnTo>
                    <a:pt x="1066" y="396"/>
                  </a:lnTo>
                  <a:lnTo>
                    <a:pt x="1059" y="393"/>
                  </a:lnTo>
                  <a:lnTo>
                    <a:pt x="1054" y="388"/>
                  </a:lnTo>
                  <a:lnTo>
                    <a:pt x="1049" y="388"/>
                  </a:lnTo>
                  <a:lnTo>
                    <a:pt x="1044" y="386"/>
                  </a:lnTo>
                  <a:lnTo>
                    <a:pt x="1039" y="383"/>
                  </a:lnTo>
                  <a:lnTo>
                    <a:pt x="1034" y="383"/>
                  </a:lnTo>
                  <a:lnTo>
                    <a:pt x="1026" y="383"/>
                  </a:lnTo>
                  <a:lnTo>
                    <a:pt x="1021" y="383"/>
                  </a:lnTo>
                  <a:lnTo>
                    <a:pt x="1019" y="383"/>
                  </a:lnTo>
                  <a:lnTo>
                    <a:pt x="1019" y="388"/>
                  </a:lnTo>
                  <a:lnTo>
                    <a:pt x="1019" y="393"/>
                  </a:lnTo>
                  <a:lnTo>
                    <a:pt x="1019" y="398"/>
                  </a:lnTo>
                  <a:lnTo>
                    <a:pt x="1019" y="403"/>
                  </a:lnTo>
                  <a:lnTo>
                    <a:pt x="1021" y="406"/>
                  </a:lnTo>
                  <a:lnTo>
                    <a:pt x="1026" y="406"/>
                  </a:lnTo>
                  <a:lnTo>
                    <a:pt x="1031" y="408"/>
                  </a:lnTo>
                  <a:lnTo>
                    <a:pt x="1036" y="413"/>
                  </a:lnTo>
                  <a:lnTo>
                    <a:pt x="1044" y="419"/>
                  </a:lnTo>
                  <a:lnTo>
                    <a:pt x="1049" y="424"/>
                  </a:lnTo>
                  <a:lnTo>
                    <a:pt x="1049" y="429"/>
                  </a:lnTo>
                  <a:lnTo>
                    <a:pt x="1051" y="434"/>
                  </a:lnTo>
                  <a:lnTo>
                    <a:pt x="1051" y="439"/>
                  </a:lnTo>
                  <a:lnTo>
                    <a:pt x="1051" y="439"/>
                  </a:lnTo>
                  <a:lnTo>
                    <a:pt x="1054" y="441"/>
                  </a:lnTo>
                  <a:lnTo>
                    <a:pt x="1056" y="441"/>
                  </a:lnTo>
                  <a:lnTo>
                    <a:pt x="1059" y="441"/>
                  </a:lnTo>
                  <a:lnTo>
                    <a:pt x="1064" y="444"/>
                  </a:lnTo>
                  <a:lnTo>
                    <a:pt x="1066" y="444"/>
                  </a:lnTo>
                  <a:lnTo>
                    <a:pt x="1071" y="446"/>
                  </a:lnTo>
                  <a:lnTo>
                    <a:pt x="1074" y="446"/>
                  </a:lnTo>
                  <a:lnTo>
                    <a:pt x="1077" y="446"/>
                  </a:lnTo>
                  <a:lnTo>
                    <a:pt x="1079" y="446"/>
                  </a:lnTo>
                  <a:lnTo>
                    <a:pt x="1084" y="446"/>
                  </a:lnTo>
                  <a:lnTo>
                    <a:pt x="1087" y="444"/>
                  </a:lnTo>
                  <a:lnTo>
                    <a:pt x="1094" y="444"/>
                  </a:lnTo>
                  <a:lnTo>
                    <a:pt x="1102" y="441"/>
                  </a:lnTo>
                  <a:lnTo>
                    <a:pt x="1107" y="439"/>
                  </a:lnTo>
                  <a:lnTo>
                    <a:pt x="1114" y="439"/>
                  </a:lnTo>
                  <a:lnTo>
                    <a:pt x="1119" y="436"/>
                  </a:lnTo>
                  <a:lnTo>
                    <a:pt x="1124" y="434"/>
                  </a:lnTo>
                  <a:lnTo>
                    <a:pt x="1129" y="429"/>
                  </a:lnTo>
                  <a:lnTo>
                    <a:pt x="1132" y="426"/>
                  </a:lnTo>
                  <a:lnTo>
                    <a:pt x="1132" y="426"/>
                  </a:lnTo>
                  <a:lnTo>
                    <a:pt x="1134" y="429"/>
                  </a:lnTo>
                  <a:lnTo>
                    <a:pt x="1137" y="429"/>
                  </a:lnTo>
                  <a:lnTo>
                    <a:pt x="1137" y="429"/>
                  </a:lnTo>
                  <a:lnTo>
                    <a:pt x="1142" y="434"/>
                  </a:lnTo>
                  <a:lnTo>
                    <a:pt x="1145" y="434"/>
                  </a:lnTo>
                  <a:lnTo>
                    <a:pt x="1147" y="439"/>
                  </a:lnTo>
                  <a:lnTo>
                    <a:pt x="1152" y="441"/>
                  </a:lnTo>
                  <a:lnTo>
                    <a:pt x="1157" y="444"/>
                  </a:lnTo>
                  <a:lnTo>
                    <a:pt x="1160" y="449"/>
                  </a:lnTo>
                  <a:lnTo>
                    <a:pt x="1167" y="451"/>
                  </a:lnTo>
                  <a:lnTo>
                    <a:pt x="1157" y="471"/>
                  </a:lnTo>
                  <a:lnTo>
                    <a:pt x="1122" y="461"/>
                  </a:lnTo>
                  <a:lnTo>
                    <a:pt x="1069" y="461"/>
                  </a:lnTo>
                  <a:lnTo>
                    <a:pt x="1039" y="441"/>
                  </a:lnTo>
                  <a:lnTo>
                    <a:pt x="991" y="451"/>
                  </a:lnTo>
                  <a:lnTo>
                    <a:pt x="996" y="466"/>
                  </a:lnTo>
                  <a:lnTo>
                    <a:pt x="1001" y="497"/>
                  </a:lnTo>
                  <a:lnTo>
                    <a:pt x="986" y="492"/>
                  </a:lnTo>
                  <a:lnTo>
                    <a:pt x="958" y="461"/>
                  </a:lnTo>
                  <a:lnTo>
                    <a:pt x="903" y="471"/>
                  </a:lnTo>
                  <a:lnTo>
                    <a:pt x="875" y="451"/>
                  </a:lnTo>
                  <a:lnTo>
                    <a:pt x="885" y="431"/>
                  </a:lnTo>
                  <a:lnTo>
                    <a:pt x="850" y="421"/>
                  </a:lnTo>
                  <a:lnTo>
                    <a:pt x="807" y="398"/>
                  </a:lnTo>
                  <a:lnTo>
                    <a:pt x="749" y="383"/>
                  </a:lnTo>
                  <a:lnTo>
                    <a:pt x="713" y="393"/>
                  </a:lnTo>
                  <a:lnTo>
                    <a:pt x="676" y="353"/>
                  </a:lnTo>
                  <a:lnTo>
                    <a:pt x="577" y="398"/>
                  </a:lnTo>
                  <a:lnTo>
                    <a:pt x="550" y="426"/>
                  </a:lnTo>
                  <a:lnTo>
                    <a:pt x="509" y="416"/>
                  </a:lnTo>
                  <a:lnTo>
                    <a:pt x="482" y="388"/>
                  </a:lnTo>
                  <a:lnTo>
                    <a:pt x="451" y="378"/>
                  </a:lnTo>
                  <a:lnTo>
                    <a:pt x="451" y="378"/>
                  </a:lnTo>
                  <a:lnTo>
                    <a:pt x="439" y="378"/>
                  </a:lnTo>
                  <a:lnTo>
                    <a:pt x="424" y="363"/>
                  </a:lnTo>
                  <a:lnTo>
                    <a:pt x="376" y="368"/>
                  </a:lnTo>
                  <a:lnTo>
                    <a:pt x="308" y="338"/>
                  </a:lnTo>
                  <a:lnTo>
                    <a:pt x="277" y="343"/>
                  </a:lnTo>
                  <a:lnTo>
                    <a:pt x="252" y="328"/>
                  </a:lnTo>
                  <a:lnTo>
                    <a:pt x="245" y="310"/>
                  </a:lnTo>
                  <a:lnTo>
                    <a:pt x="199" y="295"/>
                  </a:lnTo>
                  <a:lnTo>
                    <a:pt x="171" y="315"/>
                  </a:lnTo>
                  <a:lnTo>
                    <a:pt x="131" y="333"/>
                  </a:lnTo>
                  <a:lnTo>
                    <a:pt x="98" y="353"/>
                  </a:lnTo>
                  <a:lnTo>
                    <a:pt x="78" y="403"/>
                  </a:lnTo>
                  <a:lnTo>
                    <a:pt x="35" y="413"/>
                  </a:lnTo>
                  <a:lnTo>
                    <a:pt x="35" y="446"/>
                  </a:lnTo>
                  <a:lnTo>
                    <a:pt x="68" y="487"/>
                  </a:lnTo>
                  <a:lnTo>
                    <a:pt x="98" y="502"/>
                  </a:lnTo>
                  <a:lnTo>
                    <a:pt x="98" y="522"/>
                  </a:lnTo>
                  <a:lnTo>
                    <a:pt x="78" y="532"/>
                  </a:lnTo>
                  <a:lnTo>
                    <a:pt x="50" y="522"/>
                  </a:lnTo>
                  <a:lnTo>
                    <a:pt x="0" y="560"/>
                  </a:lnTo>
                  <a:lnTo>
                    <a:pt x="15" y="575"/>
                  </a:lnTo>
                  <a:lnTo>
                    <a:pt x="35" y="595"/>
                  </a:lnTo>
                  <a:lnTo>
                    <a:pt x="83" y="595"/>
                  </a:lnTo>
                  <a:lnTo>
                    <a:pt x="118" y="600"/>
                  </a:lnTo>
                  <a:lnTo>
                    <a:pt x="103" y="635"/>
                  </a:lnTo>
                  <a:lnTo>
                    <a:pt x="63" y="653"/>
                  </a:lnTo>
                  <a:lnTo>
                    <a:pt x="30" y="673"/>
                  </a:lnTo>
                  <a:lnTo>
                    <a:pt x="25" y="698"/>
                  </a:lnTo>
                  <a:lnTo>
                    <a:pt x="63" y="724"/>
                  </a:lnTo>
                  <a:lnTo>
                    <a:pt x="68" y="751"/>
                  </a:lnTo>
                  <a:lnTo>
                    <a:pt x="93" y="761"/>
                  </a:lnTo>
                  <a:lnTo>
                    <a:pt x="98" y="797"/>
                  </a:lnTo>
                  <a:lnTo>
                    <a:pt x="136" y="792"/>
                  </a:lnTo>
                  <a:lnTo>
                    <a:pt x="182" y="792"/>
                  </a:lnTo>
                  <a:lnTo>
                    <a:pt x="156" y="840"/>
                  </a:lnTo>
                  <a:lnTo>
                    <a:pt x="78" y="905"/>
                  </a:lnTo>
                  <a:lnTo>
                    <a:pt x="166" y="860"/>
                  </a:lnTo>
                  <a:lnTo>
                    <a:pt x="234" y="787"/>
                  </a:lnTo>
                  <a:lnTo>
                    <a:pt x="229" y="772"/>
                  </a:lnTo>
                  <a:lnTo>
                    <a:pt x="272" y="719"/>
                  </a:lnTo>
                  <a:lnTo>
                    <a:pt x="282" y="741"/>
                  </a:lnTo>
                  <a:lnTo>
                    <a:pt x="287" y="766"/>
                  </a:lnTo>
                  <a:lnTo>
                    <a:pt x="320" y="741"/>
                  </a:lnTo>
                  <a:lnTo>
                    <a:pt x="355" y="719"/>
                  </a:lnTo>
                  <a:lnTo>
                    <a:pt x="371" y="731"/>
                  </a:lnTo>
                  <a:lnTo>
                    <a:pt x="451" y="746"/>
                  </a:lnTo>
                  <a:lnTo>
                    <a:pt x="451" y="746"/>
                  </a:lnTo>
                  <a:lnTo>
                    <a:pt x="504" y="772"/>
                  </a:lnTo>
                  <a:lnTo>
                    <a:pt x="545" y="751"/>
                  </a:lnTo>
                  <a:lnTo>
                    <a:pt x="603" y="855"/>
                  </a:lnTo>
                  <a:lnTo>
                    <a:pt x="640" y="880"/>
                  </a:lnTo>
                  <a:lnTo>
                    <a:pt x="635" y="920"/>
                  </a:lnTo>
                  <a:lnTo>
                    <a:pt x="650" y="953"/>
                  </a:lnTo>
                  <a:lnTo>
                    <a:pt x="691" y="1009"/>
                  </a:lnTo>
                  <a:lnTo>
                    <a:pt x="749" y="1046"/>
                  </a:lnTo>
                  <a:lnTo>
                    <a:pt x="754" y="1072"/>
                  </a:lnTo>
                  <a:lnTo>
                    <a:pt x="754" y="1072"/>
                  </a:lnTo>
                  <a:lnTo>
                    <a:pt x="759" y="1102"/>
                  </a:lnTo>
                  <a:lnTo>
                    <a:pt x="744" y="1112"/>
                  </a:lnTo>
                  <a:lnTo>
                    <a:pt x="749" y="1092"/>
                  </a:lnTo>
                  <a:lnTo>
                    <a:pt x="719" y="1082"/>
                  </a:lnTo>
                  <a:lnTo>
                    <a:pt x="734" y="1137"/>
                  </a:lnTo>
                  <a:lnTo>
                    <a:pt x="729" y="1180"/>
                  </a:lnTo>
                  <a:lnTo>
                    <a:pt x="719" y="1220"/>
                  </a:lnTo>
                  <a:lnTo>
                    <a:pt x="729" y="1253"/>
                  </a:lnTo>
                  <a:lnTo>
                    <a:pt x="729" y="1273"/>
                  </a:lnTo>
                  <a:lnTo>
                    <a:pt x="754" y="1324"/>
                  </a:lnTo>
                  <a:lnTo>
                    <a:pt x="774" y="1359"/>
                  </a:lnTo>
                  <a:lnTo>
                    <a:pt x="792" y="1387"/>
                  </a:lnTo>
                  <a:lnTo>
                    <a:pt x="837" y="1417"/>
                  </a:lnTo>
                  <a:lnTo>
                    <a:pt x="842" y="1427"/>
                  </a:lnTo>
                  <a:lnTo>
                    <a:pt x="845" y="1427"/>
                  </a:lnTo>
                  <a:lnTo>
                    <a:pt x="875" y="1483"/>
                  </a:lnTo>
                  <a:lnTo>
                    <a:pt x="895" y="1515"/>
                  </a:lnTo>
                  <a:lnTo>
                    <a:pt x="890" y="1525"/>
                  </a:lnTo>
                  <a:lnTo>
                    <a:pt x="928" y="1551"/>
                  </a:lnTo>
                  <a:lnTo>
                    <a:pt x="933" y="1576"/>
                  </a:lnTo>
                  <a:lnTo>
                    <a:pt x="948" y="1586"/>
                  </a:lnTo>
                  <a:lnTo>
                    <a:pt x="968" y="1606"/>
                  </a:lnTo>
                  <a:lnTo>
                    <a:pt x="976" y="1591"/>
                  </a:lnTo>
                  <a:lnTo>
                    <a:pt x="953" y="1576"/>
                  </a:lnTo>
                  <a:lnTo>
                    <a:pt x="933" y="1530"/>
                  </a:lnTo>
                  <a:lnTo>
                    <a:pt x="895" y="1477"/>
                  </a:lnTo>
                  <a:lnTo>
                    <a:pt x="885" y="1447"/>
                  </a:lnTo>
                  <a:lnTo>
                    <a:pt x="913" y="1457"/>
                  </a:lnTo>
                  <a:lnTo>
                    <a:pt x="938" y="1510"/>
                  </a:lnTo>
                  <a:lnTo>
                    <a:pt x="948" y="1525"/>
                  </a:lnTo>
                  <a:lnTo>
                    <a:pt x="976" y="1541"/>
                  </a:lnTo>
                  <a:lnTo>
                    <a:pt x="976" y="1556"/>
                  </a:lnTo>
                  <a:lnTo>
                    <a:pt x="996" y="1566"/>
                  </a:lnTo>
                  <a:lnTo>
                    <a:pt x="1006" y="1581"/>
                  </a:lnTo>
                  <a:lnTo>
                    <a:pt x="1031" y="1606"/>
                  </a:lnTo>
                  <a:lnTo>
                    <a:pt x="1036" y="1644"/>
                  </a:lnTo>
                  <a:lnTo>
                    <a:pt x="1036" y="1659"/>
                  </a:lnTo>
                  <a:lnTo>
                    <a:pt x="1104" y="1699"/>
                  </a:lnTo>
                  <a:lnTo>
                    <a:pt x="1137" y="1717"/>
                  </a:lnTo>
                  <a:lnTo>
                    <a:pt x="1195" y="1732"/>
                  </a:lnTo>
                  <a:lnTo>
                    <a:pt x="1210" y="1727"/>
                  </a:lnTo>
                  <a:lnTo>
                    <a:pt x="1225" y="1727"/>
                  </a:lnTo>
                  <a:lnTo>
                    <a:pt x="1250" y="1747"/>
                  </a:lnTo>
                  <a:lnTo>
                    <a:pt x="1250" y="1747"/>
                  </a:lnTo>
                  <a:lnTo>
                    <a:pt x="1250" y="1747"/>
                  </a:lnTo>
                  <a:lnTo>
                    <a:pt x="1250" y="1747"/>
                  </a:lnTo>
                  <a:lnTo>
                    <a:pt x="1256" y="1755"/>
                  </a:lnTo>
                  <a:lnTo>
                    <a:pt x="1256" y="1755"/>
                  </a:lnTo>
                  <a:lnTo>
                    <a:pt x="1288" y="1760"/>
                  </a:lnTo>
                  <a:lnTo>
                    <a:pt x="1288" y="1760"/>
                  </a:lnTo>
                  <a:lnTo>
                    <a:pt x="1303" y="1755"/>
                  </a:lnTo>
                  <a:lnTo>
                    <a:pt x="1303" y="1755"/>
                  </a:lnTo>
                  <a:lnTo>
                    <a:pt x="1303" y="1752"/>
                  </a:lnTo>
                  <a:lnTo>
                    <a:pt x="1303" y="1752"/>
                  </a:lnTo>
                  <a:lnTo>
                    <a:pt x="1331" y="1767"/>
                  </a:lnTo>
                  <a:lnTo>
                    <a:pt x="1331" y="1767"/>
                  </a:lnTo>
                  <a:lnTo>
                    <a:pt x="1361" y="1755"/>
                  </a:lnTo>
                  <a:lnTo>
                    <a:pt x="1361" y="1755"/>
                  </a:lnTo>
                  <a:lnTo>
                    <a:pt x="1329" y="1767"/>
                  </a:lnTo>
                  <a:lnTo>
                    <a:pt x="1329" y="1767"/>
                  </a:lnTo>
                  <a:lnTo>
                    <a:pt x="1356" y="1810"/>
                  </a:lnTo>
                  <a:lnTo>
                    <a:pt x="1356" y="1810"/>
                  </a:lnTo>
                  <a:lnTo>
                    <a:pt x="1356" y="1810"/>
                  </a:lnTo>
                  <a:lnTo>
                    <a:pt x="1356" y="1810"/>
                  </a:lnTo>
                  <a:lnTo>
                    <a:pt x="1366" y="1820"/>
                  </a:lnTo>
                  <a:lnTo>
                    <a:pt x="1366" y="1820"/>
                  </a:lnTo>
                  <a:lnTo>
                    <a:pt x="1414" y="1851"/>
                  </a:lnTo>
                  <a:lnTo>
                    <a:pt x="1414" y="1851"/>
                  </a:lnTo>
                  <a:lnTo>
                    <a:pt x="1419" y="1830"/>
                  </a:lnTo>
                  <a:lnTo>
                    <a:pt x="1419" y="1830"/>
                  </a:lnTo>
                  <a:lnTo>
                    <a:pt x="1404" y="1810"/>
                  </a:lnTo>
                  <a:lnTo>
                    <a:pt x="1404" y="1810"/>
                  </a:lnTo>
                  <a:close/>
                  <a:moveTo>
                    <a:pt x="1268" y="1722"/>
                  </a:moveTo>
                  <a:lnTo>
                    <a:pt x="1268" y="1722"/>
                  </a:lnTo>
                  <a:lnTo>
                    <a:pt x="1281" y="1722"/>
                  </a:lnTo>
                  <a:lnTo>
                    <a:pt x="1281" y="1722"/>
                  </a:lnTo>
                  <a:lnTo>
                    <a:pt x="1283" y="1722"/>
                  </a:lnTo>
                  <a:lnTo>
                    <a:pt x="1283" y="1722"/>
                  </a:lnTo>
                  <a:lnTo>
                    <a:pt x="1268" y="1722"/>
                  </a:lnTo>
                  <a:lnTo>
                    <a:pt x="1268" y="1722"/>
                  </a:lnTo>
                  <a:close/>
                  <a:moveTo>
                    <a:pt x="1593" y="1692"/>
                  </a:moveTo>
                  <a:lnTo>
                    <a:pt x="1614" y="1692"/>
                  </a:lnTo>
                  <a:lnTo>
                    <a:pt x="1629" y="1679"/>
                  </a:lnTo>
                  <a:lnTo>
                    <a:pt x="1671" y="1687"/>
                  </a:lnTo>
                  <a:lnTo>
                    <a:pt x="1651" y="1674"/>
                  </a:lnTo>
                  <a:lnTo>
                    <a:pt x="1619" y="1659"/>
                  </a:lnTo>
                  <a:lnTo>
                    <a:pt x="1578" y="1659"/>
                  </a:lnTo>
                  <a:lnTo>
                    <a:pt x="1578" y="1669"/>
                  </a:lnTo>
                  <a:lnTo>
                    <a:pt x="1556" y="1674"/>
                  </a:lnTo>
                  <a:lnTo>
                    <a:pt x="1583" y="1687"/>
                  </a:lnTo>
                  <a:lnTo>
                    <a:pt x="1593" y="1692"/>
                  </a:lnTo>
                  <a:close/>
                  <a:moveTo>
                    <a:pt x="1520" y="1634"/>
                  </a:moveTo>
                  <a:lnTo>
                    <a:pt x="1520" y="1634"/>
                  </a:lnTo>
                  <a:lnTo>
                    <a:pt x="1513" y="1624"/>
                  </a:lnTo>
                  <a:lnTo>
                    <a:pt x="1510" y="1619"/>
                  </a:lnTo>
                  <a:lnTo>
                    <a:pt x="1510" y="1619"/>
                  </a:lnTo>
                  <a:lnTo>
                    <a:pt x="1472" y="1604"/>
                  </a:lnTo>
                  <a:lnTo>
                    <a:pt x="1472" y="1604"/>
                  </a:lnTo>
                  <a:lnTo>
                    <a:pt x="1414" y="1604"/>
                  </a:lnTo>
                  <a:lnTo>
                    <a:pt x="1414" y="1604"/>
                  </a:lnTo>
                  <a:lnTo>
                    <a:pt x="1382" y="1609"/>
                  </a:lnTo>
                  <a:lnTo>
                    <a:pt x="1371" y="1619"/>
                  </a:lnTo>
                  <a:lnTo>
                    <a:pt x="1371" y="1619"/>
                  </a:lnTo>
                  <a:lnTo>
                    <a:pt x="1397" y="1624"/>
                  </a:lnTo>
                  <a:lnTo>
                    <a:pt x="1397" y="1624"/>
                  </a:lnTo>
                  <a:lnTo>
                    <a:pt x="1419" y="1624"/>
                  </a:lnTo>
                  <a:lnTo>
                    <a:pt x="1419" y="1624"/>
                  </a:lnTo>
                  <a:lnTo>
                    <a:pt x="1450" y="1624"/>
                  </a:lnTo>
                  <a:lnTo>
                    <a:pt x="1450" y="1624"/>
                  </a:lnTo>
                  <a:lnTo>
                    <a:pt x="1482" y="1629"/>
                  </a:lnTo>
                  <a:lnTo>
                    <a:pt x="1482" y="1629"/>
                  </a:lnTo>
                  <a:lnTo>
                    <a:pt x="1492" y="1644"/>
                  </a:lnTo>
                  <a:lnTo>
                    <a:pt x="1492" y="1644"/>
                  </a:lnTo>
                  <a:lnTo>
                    <a:pt x="1503" y="1654"/>
                  </a:lnTo>
                  <a:lnTo>
                    <a:pt x="1503" y="1654"/>
                  </a:lnTo>
                  <a:lnTo>
                    <a:pt x="1545" y="1654"/>
                  </a:lnTo>
                  <a:lnTo>
                    <a:pt x="1545" y="1654"/>
                  </a:lnTo>
                  <a:lnTo>
                    <a:pt x="1553" y="1654"/>
                  </a:lnTo>
                  <a:lnTo>
                    <a:pt x="1556" y="1651"/>
                  </a:lnTo>
                  <a:lnTo>
                    <a:pt x="1556" y="1649"/>
                  </a:lnTo>
                  <a:lnTo>
                    <a:pt x="1556" y="1649"/>
                  </a:lnTo>
                  <a:lnTo>
                    <a:pt x="1545" y="1639"/>
                  </a:lnTo>
                  <a:lnTo>
                    <a:pt x="1545" y="1639"/>
                  </a:lnTo>
                  <a:lnTo>
                    <a:pt x="1538" y="1639"/>
                  </a:lnTo>
                  <a:lnTo>
                    <a:pt x="1528" y="1636"/>
                  </a:lnTo>
                  <a:lnTo>
                    <a:pt x="1520" y="1634"/>
                  </a:lnTo>
                  <a:lnTo>
                    <a:pt x="1520" y="1634"/>
                  </a:lnTo>
                  <a:close/>
                  <a:moveTo>
                    <a:pt x="1704" y="1717"/>
                  </a:moveTo>
                  <a:lnTo>
                    <a:pt x="1729" y="1722"/>
                  </a:lnTo>
                  <a:lnTo>
                    <a:pt x="1729" y="1709"/>
                  </a:lnTo>
                  <a:lnTo>
                    <a:pt x="1707" y="1709"/>
                  </a:lnTo>
                  <a:lnTo>
                    <a:pt x="1704" y="1717"/>
                  </a:lnTo>
                  <a:close/>
                  <a:moveTo>
                    <a:pt x="1452" y="1861"/>
                  </a:moveTo>
                  <a:lnTo>
                    <a:pt x="1452" y="1861"/>
                  </a:lnTo>
                  <a:lnTo>
                    <a:pt x="1467" y="1846"/>
                  </a:lnTo>
                  <a:lnTo>
                    <a:pt x="1467" y="1846"/>
                  </a:lnTo>
                  <a:lnTo>
                    <a:pt x="1487" y="1851"/>
                  </a:lnTo>
                  <a:lnTo>
                    <a:pt x="1487" y="1851"/>
                  </a:lnTo>
                  <a:lnTo>
                    <a:pt x="1492" y="1866"/>
                  </a:lnTo>
                  <a:lnTo>
                    <a:pt x="1492" y="1866"/>
                  </a:lnTo>
                  <a:lnTo>
                    <a:pt x="1508" y="1851"/>
                  </a:lnTo>
                  <a:lnTo>
                    <a:pt x="1487" y="1836"/>
                  </a:lnTo>
                  <a:lnTo>
                    <a:pt x="1487" y="1836"/>
                  </a:lnTo>
                  <a:lnTo>
                    <a:pt x="1462" y="1836"/>
                  </a:lnTo>
                  <a:lnTo>
                    <a:pt x="1462" y="1836"/>
                  </a:lnTo>
                  <a:lnTo>
                    <a:pt x="1445" y="1838"/>
                  </a:lnTo>
                  <a:lnTo>
                    <a:pt x="1432" y="1838"/>
                  </a:lnTo>
                  <a:lnTo>
                    <a:pt x="1424" y="1836"/>
                  </a:lnTo>
                  <a:lnTo>
                    <a:pt x="1424" y="1836"/>
                  </a:lnTo>
                  <a:lnTo>
                    <a:pt x="1419" y="1836"/>
                  </a:lnTo>
                  <a:lnTo>
                    <a:pt x="1419" y="1830"/>
                  </a:lnTo>
                  <a:lnTo>
                    <a:pt x="1419" y="1830"/>
                  </a:lnTo>
                  <a:lnTo>
                    <a:pt x="1414" y="1851"/>
                  </a:lnTo>
                  <a:lnTo>
                    <a:pt x="1414" y="1851"/>
                  </a:lnTo>
                  <a:lnTo>
                    <a:pt x="1435" y="1871"/>
                  </a:lnTo>
                  <a:lnTo>
                    <a:pt x="1435" y="1871"/>
                  </a:lnTo>
                  <a:lnTo>
                    <a:pt x="1445" y="1871"/>
                  </a:lnTo>
                  <a:lnTo>
                    <a:pt x="1445" y="1871"/>
                  </a:lnTo>
                  <a:lnTo>
                    <a:pt x="1452" y="1861"/>
                  </a:lnTo>
                  <a:lnTo>
                    <a:pt x="1452" y="1861"/>
                  </a:lnTo>
                  <a:close/>
                  <a:moveTo>
                    <a:pt x="2201" y="2073"/>
                  </a:moveTo>
                  <a:lnTo>
                    <a:pt x="2201" y="2073"/>
                  </a:lnTo>
                  <a:lnTo>
                    <a:pt x="2168" y="2062"/>
                  </a:lnTo>
                  <a:lnTo>
                    <a:pt x="2168" y="2062"/>
                  </a:lnTo>
                  <a:lnTo>
                    <a:pt x="2123" y="2037"/>
                  </a:lnTo>
                  <a:lnTo>
                    <a:pt x="2123" y="2037"/>
                  </a:lnTo>
                  <a:lnTo>
                    <a:pt x="2070" y="2032"/>
                  </a:lnTo>
                  <a:lnTo>
                    <a:pt x="2070" y="2032"/>
                  </a:lnTo>
                  <a:lnTo>
                    <a:pt x="2055" y="2027"/>
                  </a:lnTo>
                  <a:lnTo>
                    <a:pt x="2055" y="2027"/>
                  </a:lnTo>
                  <a:lnTo>
                    <a:pt x="2042" y="2012"/>
                  </a:lnTo>
                  <a:lnTo>
                    <a:pt x="2042" y="2012"/>
                  </a:lnTo>
                  <a:lnTo>
                    <a:pt x="2002" y="1997"/>
                  </a:lnTo>
                  <a:lnTo>
                    <a:pt x="2002" y="1997"/>
                  </a:lnTo>
                  <a:lnTo>
                    <a:pt x="1964" y="1974"/>
                  </a:lnTo>
                  <a:lnTo>
                    <a:pt x="1964" y="1974"/>
                  </a:lnTo>
                  <a:lnTo>
                    <a:pt x="1959" y="1954"/>
                  </a:lnTo>
                  <a:lnTo>
                    <a:pt x="1959" y="1954"/>
                  </a:lnTo>
                  <a:lnTo>
                    <a:pt x="1944" y="1914"/>
                  </a:lnTo>
                  <a:lnTo>
                    <a:pt x="1944" y="1914"/>
                  </a:lnTo>
                  <a:lnTo>
                    <a:pt x="1939" y="1914"/>
                  </a:lnTo>
                  <a:lnTo>
                    <a:pt x="1939" y="1914"/>
                  </a:lnTo>
                  <a:lnTo>
                    <a:pt x="1939" y="1914"/>
                  </a:lnTo>
                  <a:lnTo>
                    <a:pt x="1903" y="1893"/>
                  </a:lnTo>
                  <a:lnTo>
                    <a:pt x="1891" y="1893"/>
                  </a:lnTo>
                  <a:lnTo>
                    <a:pt x="1891" y="1896"/>
                  </a:lnTo>
                  <a:lnTo>
                    <a:pt x="1891" y="1896"/>
                  </a:lnTo>
                  <a:lnTo>
                    <a:pt x="1891" y="1893"/>
                  </a:lnTo>
                  <a:lnTo>
                    <a:pt x="1848" y="1888"/>
                  </a:lnTo>
                  <a:lnTo>
                    <a:pt x="1848" y="1883"/>
                  </a:lnTo>
                  <a:lnTo>
                    <a:pt x="1848" y="1888"/>
                  </a:lnTo>
                  <a:lnTo>
                    <a:pt x="1848" y="1888"/>
                  </a:lnTo>
                  <a:lnTo>
                    <a:pt x="1848" y="1881"/>
                  </a:lnTo>
                  <a:lnTo>
                    <a:pt x="1828" y="1876"/>
                  </a:lnTo>
                  <a:lnTo>
                    <a:pt x="1823" y="1861"/>
                  </a:lnTo>
                  <a:lnTo>
                    <a:pt x="1803" y="1846"/>
                  </a:lnTo>
                  <a:lnTo>
                    <a:pt x="1803" y="1846"/>
                  </a:lnTo>
                  <a:lnTo>
                    <a:pt x="1803" y="1846"/>
                  </a:lnTo>
                  <a:lnTo>
                    <a:pt x="1803" y="1846"/>
                  </a:lnTo>
                  <a:lnTo>
                    <a:pt x="1798" y="1846"/>
                  </a:lnTo>
                  <a:lnTo>
                    <a:pt x="1798" y="1846"/>
                  </a:lnTo>
                  <a:lnTo>
                    <a:pt x="1782" y="1841"/>
                  </a:lnTo>
                  <a:lnTo>
                    <a:pt x="1782" y="1841"/>
                  </a:lnTo>
                  <a:lnTo>
                    <a:pt x="1777" y="1830"/>
                  </a:lnTo>
                  <a:lnTo>
                    <a:pt x="1777" y="1830"/>
                  </a:lnTo>
                  <a:lnTo>
                    <a:pt x="1745" y="1815"/>
                  </a:lnTo>
                  <a:lnTo>
                    <a:pt x="1745" y="1815"/>
                  </a:lnTo>
                  <a:lnTo>
                    <a:pt x="1694" y="1820"/>
                  </a:lnTo>
                  <a:lnTo>
                    <a:pt x="1694" y="1820"/>
                  </a:lnTo>
                  <a:lnTo>
                    <a:pt x="1666" y="1815"/>
                  </a:lnTo>
                  <a:lnTo>
                    <a:pt x="1666" y="1815"/>
                  </a:lnTo>
                  <a:lnTo>
                    <a:pt x="1661" y="1805"/>
                  </a:lnTo>
                  <a:lnTo>
                    <a:pt x="1661" y="1805"/>
                  </a:lnTo>
                  <a:lnTo>
                    <a:pt x="1636" y="1800"/>
                  </a:lnTo>
                  <a:lnTo>
                    <a:pt x="1636" y="1800"/>
                  </a:lnTo>
                  <a:lnTo>
                    <a:pt x="1608" y="1805"/>
                  </a:lnTo>
                  <a:lnTo>
                    <a:pt x="1608" y="1805"/>
                  </a:lnTo>
                  <a:lnTo>
                    <a:pt x="1606" y="1803"/>
                  </a:lnTo>
                  <a:lnTo>
                    <a:pt x="1606" y="1798"/>
                  </a:lnTo>
                  <a:lnTo>
                    <a:pt x="1603" y="1790"/>
                  </a:lnTo>
                  <a:lnTo>
                    <a:pt x="1603" y="1790"/>
                  </a:lnTo>
                  <a:lnTo>
                    <a:pt x="1591" y="1795"/>
                  </a:lnTo>
                  <a:lnTo>
                    <a:pt x="1591" y="1795"/>
                  </a:lnTo>
                  <a:lnTo>
                    <a:pt x="1591" y="1795"/>
                  </a:lnTo>
                  <a:lnTo>
                    <a:pt x="1603" y="1790"/>
                  </a:lnTo>
                  <a:lnTo>
                    <a:pt x="1603" y="1790"/>
                  </a:lnTo>
                  <a:lnTo>
                    <a:pt x="1603" y="1785"/>
                  </a:lnTo>
                  <a:lnTo>
                    <a:pt x="1603" y="1785"/>
                  </a:lnTo>
                  <a:lnTo>
                    <a:pt x="1566" y="1795"/>
                  </a:lnTo>
                  <a:lnTo>
                    <a:pt x="1566" y="1795"/>
                  </a:lnTo>
                  <a:lnTo>
                    <a:pt x="1545" y="1805"/>
                  </a:lnTo>
                  <a:lnTo>
                    <a:pt x="1545" y="1805"/>
                  </a:lnTo>
                  <a:lnTo>
                    <a:pt x="1535" y="1830"/>
                  </a:lnTo>
                  <a:lnTo>
                    <a:pt x="1535" y="1830"/>
                  </a:lnTo>
                  <a:lnTo>
                    <a:pt x="1525" y="1836"/>
                  </a:lnTo>
                  <a:lnTo>
                    <a:pt x="1525" y="1836"/>
                  </a:lnTo>
                  <a:lnTo>
                    <a:pt x="1508" y="1851"/>
                  </a:lnTo>
                  <a:lnTo>
                    <a:pt x="1508" y="1851"/>
                  </a:lnTo>
                  <a:lnTo>
                    <a:pt x="1492" y="1866"/>
                  </a:lnTo>
                  <a:lnTo>
                    <a:pt x="1492" y="1866"/>
                  </a:lnTo>
                  <a:lnTo>
                    <a:pt x="1498" y="1878"/>
                  </a:lnTo>
                  <a:lnTo>
                    <a:pt x="1498" y="1878"/>
                  </a:lnTo>
                  <a:lnTo>
                    <a:pt x="1503" y="1904"/>
                  </a:lnTo>
                  <a:lnTo>
                    <a:pt x="1503" y="1904"/>
                  </a:lnTo>
                  <a:lnTo>
                    <a:pt x="1503" y="1919"/>
                  </a:lnTo>
                  <a:lnTo>
                    <a:pt x="1503" y="1919"/>
                  </a:lnTo>
                  <a:lnTo>
                    <a:pt x="1508" y="1939"/>
                  </a:lnTo>
                  <a:lnTo>
                    <a:pt x="1508" y="1939"/>
                  </a:lnTo>
                  <a:lnTo>
                    <a:pt x="1487" y="1954"/>
                  </a:lnTo>
                  <a:lnTo>
                    <a:pt x="1487" y="1954"/>
                  </a:lnTo>
                  <a:lnTo>
                    <a:pt x="1477" y="1964"/>
                  </a:lnTo>
                  <a:lnTo>
                    <a:pt x="1477" y="1964"/>
                  </a:lnTo>
                  <a:lnTo>
                    <a:pt x="1472" y="1974"/>
                  </a:lnTo>
                  <a:lnTo>
                    <a:pt x="1450" y="2022"/>
                  </a:lnTo>
                  <a:lnTo>
                    <a:pt x="1462" y="2042"/>
                  </a:lnTo>
                  <a:lnTo>
                    <a:pt x="1450" y="2047"/>
                  </a:lnTo>
                  <a:lnTo>
                    <a:pt x="1452" y="2047"/>
                  </a:lnTo>
                  <a:lnTo>
                    <a:pt x="1435" y="2057"/>
                  </a:lnTo>
                  <a:lnTo>
                    <a:pt x="1452" y="2093"/>
                  </a:lnTo>
                  <a:lnTo>
                    <a:pt x="1482" y="2146"/>
                  </a:lnTo>
                  <a:lnTo>
                    <a:pt x="1515" y="2211"/>
                  </a:lnTo>
                  <a:lnTo>
                    <a:pt x="1515" y="2221"/>
                  </a:lnTo>
                  <a:lnTo>
                    <a:pt x="1626" y="2284"/>
                  </a:lnTo>
                  <a:lnTo>
                    <a:pt x="1631" y="2284"/>
                  </a:lnTo>
                  <a:lnTo>
                    <a:pt x="1631" y="2282"/>
                  </a:lnTo>
                  <a:lnTo>
                    <a:pt x="1631" y="2282"/>
                  </a:lnTo>
                  <a:lnTo>
                    <a:pt x="1634" y="2279"/>
                  </a:lnTo>
                  <a:lnTo>
                    <a:pt x="1634" y="2279"/>
                  </a:lnTo>
                  <a:lnTo>
                    <a:pt x="1649" y="2294"/>
                  </a:lnTo>
                  <a:lnTo>
                    <a:pt x="1649" y="2297"/>
                  </a:lnTo>
                  <a:lnTo>
                    <a:pt x="1649" y="2297"/>
                  </a:lnTo>
                  <a:lnTo>
                    <a:pt x="1644" y="2315"/>
                  </a:lnTo>
                  <a:lnTo>
                    <a:pt x="1644" y="2315"/>
                  </a:lnTo>
                  <a:lnTo>
                    <a:pt x="1666" y="2352"/>
                  </a:lnTo>
                  <a:lnTo>
                    <a:pt x="1666" y="2352"/>
                  </a:lnTo>
                  <a:lnTo>
                    <a:pt x="1671" y="2362"/>
                  </a:lnTo>
                  <a:lnTo>
                    <a:pt x="1671" y="2362"/>
                  </a:lnTo>
                  <a:lnTo>
                    <a:pt x="1677" y="2357"/>
                  </a:lnTo>
                  <a:lnTo>
                    <a:pt x="1677" y="2360"/>
                  </a:lnTo>
                  <a:lnTo>
                    <a:pt x="1677" y="2360"/>
                  </a:lnTo>
                  <a:lnTo>
                    <a:pt x="1671" y="2362"/>
                  </a:lnTo>
                  <a:lnTo>
                    <a:pt x="1671" y="2362"/>
                  </a:lnTo>
                  <a:lnTo>
                    <a:pt x="1677" y="2368"/>
                  </a:lnTo>
                  <a:lnTo>
                    <a:pt x="1677" y="2368"/>
                  </a:lnTo>
                  <a:lnTo>
                    <a:pt x="1671" y="2388"/>
                  </a:lnTo>
                  <a:lnTo>
                    <a:pt x="1671" y="2388"/>
                  </a:lnTo>
                  <a:lnTo>
                    <a:pt x="1656" y="2405"/>
                  </a:lnTo>
                  <a:lnTo>
                    <a:pt x="1656" y="2405"/>
                  </a:lnTo>
                  <a:lnTo>
                    <a:pt x="1656" y="2436"/>
                  </a:lnTo>
                  <a:lnTo>
                    <a:pt x="1656" y="2436"/>
                  </a:lnTo>
                  <a:lnTo>
                    <a:pt x="1646" y="2456"/>
                  </a:lnTo>
                  <a:lnTo>
                    <a:pt x="1646" y="2456"/>
                  </a:lnTo>
                  <a:lnTo>
                    <a:pt x="1629" y="2524"/>
                  </a:lnTo>
                  <a:lnTo>
                    <a:pt x="1629" y="2524"/>
                  </a:lnTo>
                  <a:lnTo>
                    <a:pt x="1634" y="2574"/>
                  </a:lnTo>
                  <a:lnTo>
                    <a:pt x="1634" y="2574"/>
                  </a:lnTo>
                  <a:lnTo>
                    <a:pt x="1603" y="2642"/>
                  </a:lnTo>
                  <a:lnTo>
                    <a:pt x="1603" y="2642"/>
                  </a:lnTo>
                  <a:lnTo>
                    <a:pt x="1598" y="2713"/>
                  </a:lnTo>
                  <a:lnTo>
                    <a:pt x="1598" y="2713"/>
                  </a:lnTo>
                  <a:lnTo>
                    <a:pt x="1598" y="2751"/>
                  </a:lnTo>
                  <a:lnTo>
                    <a:pt x="1598" y="2751"/>
                  </a:lnTo>
                  <a:lnTo>
                    <a:pt x="1593" y="2786"/>
                  </a:lnTo>
                  <a:lnTo>
                    <a:pt x="1593" y="2786"/>
                  </a:lnTo>
                  <a:lnTo>
                    <a:pt x="1603" y="2806"/>
                  </a:lnTo>
                  <a:lnTo>
                    <a:pt x="1603" y="2806"/>
                  </a:lnTo>
                  <a:lnTo>
                    <a:pt x="1588" y="2889"/>
                  </a:lnTo>
                  <a:lnTo>
                    <a:pt x="1588" y="2889"/>
                  </a:lnTo>
                  <a:lnTo>
                    <a:pt x="1571" y="2925"/>
                  </a:lnTo>
                  <a:lnTo>
                    <a:pt x="1571" y="2925"/>
                  </a:lnTo>
                  <a:lnTo>
                    <a:pt x="1578" y="2950"/>
                  </a:lnTo>
                  <a:lnTo>
                    <a:pt x="1578" y="2950"/>
                  </a:lnTo>
                  <a:lnTo>
                    <a:pt x="1593" y="2983"/>
                  </a:lnTo>
                  <a:lnTo>
                    <a:pt x="1593" y="2983"/>
                  </a:lnTo>
                  <a:lnTo>
                    <a:pt x="1677" y="3018"/>
                  </a:lnTo>
                  <a:lnTo>
                    <a:pt x="1677" y="3018"/>
                  </a:lnTo>
                  <a:lnTo>
                    <a:pt x="1656" y="2998"/>
                  </a:lnTo>
                  <a:lnTo>
                    <a:pt x="1656" y="2998"/>
                  </a:lnTo>
                  <a:lnTo>
                    <a:pt x="1654" y="2993"/>
                  </a:lnTo>
                  <a:lnTo>
                    <a:pt x="1679" y="3018"/>
                  </a:lnTo>
                  <a:lnTo>
                    <a:pt x="1651" y="2960"/>
                  </a:lnTo>
                  <a:lnTo>
                    <a:pt x="1671" y="2927"/>
                  </a:lnTo>
                  <a:lnTo>
                    <a:pt x="1694" y="2894"/>
                  </a:lnTo>
                  <a:lnTo>
                    <a:pt x="1702" y="2862"/>
                  </a:lnTo>
                  <a:lnTo>
                    <a:pt x="1689" y="2847"/>
                  </a:lnTo>
                  <a:lnTo>
                    <a:pt x="1687" y="2824"/>
                  </a:lnTo>
                  <a:lnTo>
                    <a:pt x="1722" y="2781"/>
                  </a:lnTo>
                  <a:lnTo>
                    <a:pt x="1740" y="2741"/>
                  </a:lnTo>
                  <a:lnTo>
                    <a:pt x="1727" y="2726"/>
                  </a:lnTo>
                  <a:lnTo>
                    <a:pt x="1752" y="2715"/>
                  </a:lnTo>
                  <a:lnTo>
                    <a:pt x="1780" y="2673"/>
                  </a:lnTo>
                  <a:lnTo>
                    <a:pt x="1828" y="2655"/>
                  </a:lnTo>
                  <a:lnTo>
                    <a:pt x="1848" y="2642"/>
                  </a:lnTo>
                  <a:lnTo>
                    <a:pt x="1856" y="2605"/>
                  </a:lnTo>
                  <a:lnTo>
                    <a:pt x="1840" y="2594"/>
                  </a:lnTo>
                  <a:lnTo>
                    <a:pt x="1840" y="2584"/>
                  </a:lnTo>
                  <a:lnTo>
                    <a:pt x="1850" y="2594"/>
                  </a:lnTo>
                  <a:lnTo>
                    <a:pt x="1876" y="2599"/>
                  </a:lnTo>
                  <a:lnTo>
                    <a:pt x="1901" y="2579"/>
                  </a:lnTo>
                  <a:lnTo>
                    <a:pt x="1906" y="2569"/>
                  </a:lnTo>
                  <a:lnTo>
                    <a:pt x="1903" y="2559"/>
                  </a:lnTo>
                  <a:lnTo>
                    <a:pt x="1903" y="2559"/>
                  </a:lnTo>
                  <a:lnTo>
                    <a:pt x="1903" y="2559"/>
                  </a:lnTo>
                  <a:lnTo>
                    <a:pt x="1906" y="2569"/>
                  </a:lnTo>
                  <a:lnTo>
                    <a:pt x="1906" y="2569"/>
                  </a:lnTo>
                  <a:lnTo>
                    <a:pt x="1914" y="2552"/>
                  </a:lnTo>
                  <a:lnTo>
                    <a:pt x="1914" y="2552"/>
                  </a:lnTo>
                  <a:lnTo>
                    <a:pt x="1934" y="2531"/>
                  </a:lnTo>
                  <a:lnTo>
                    <a:pt x="1934" y="2531"/>
                  </a:lnTo>
                  <a:lnTo>
                    <a:pt x="1959" y="2506"/>
                  </a:lnTo>
                  <a:lnTo>
                    <a:pt x="1959" y="2506"/>
                  </a:lnTo>
                  <a:lnTo>
                    <a:pt x="1982" y="2438"/>
                  </a:lnTo>
                  <a:lnTo>
                    <a:pt x="1982" y="2438"/>
                  </a:lnTo>
                  <a:lnTo>
                    <a:pt x="1997" y="2408"/>
                  </a:lnTo>
                  <a:lnTo>
                    <a:pt x="1997" y="2408"/>
                  </a:lnTo>
                  <a:lnTo>
                    <a:pt x="2055" y="2373"/>
                  </a:lnTo>
                  <a:lnTo>
                    <a:pt x="2055" y="2373"/>
                  </a:lnTo>
                  <a:lnTo>
                    <a:pt x="2090" y="2368"/>
                  </a:lnTo>
                  <a:lnTo>
                    <a:pt x="2090" y="2368"/>
                  </a:lnTo>
                  <a:lnTo>
                    <a:pt x="2100" y="2362"/>
                  </a:lnTo>
                  <a:lnTo>
                    <a:pt x="2100" y="2362"/>
                  </a:lnTo>
                  <a:lnTo>
                    <a:pt x="2110" y="2342"/>
                  </a:lnTo>
                  <a:lnTo>
                    <a:pt x="2110" y="2342"/>
                  </a:lnTo>
                  <a:lnTo>
                    <a:pt x="2118" y="2320"/>
                  </a:lnTo>
                  <a:lnTo>
                    <a:pt x="2118" y="2320"/>
                  </a:lnTo>
                  <a:lnTo>
                    <a:pt x="2133" y="2294"/>
                  </a:lnTo>
                  <a:lnTo>
                    <a:pt x="2133" y="2294"/>
                  </a:lnTo>
                  <a:lnTo>
                    <a:pt x="2138" y="2284"/>
                  </a:lnTo>
                  <a:lnTo>
                    <a:pt x="2138" y="2284"/>
                  </a:lnTo>
                  <a:lnTo>
                    <a:pt x="2143" y="2196"/>
                  </a:lnTo>
                  <a:lnTo>
                    <a:pt x="2143" y="2196"/>
                  </a:lnTo>
                  <a:lnTo>
                    <a:pt x="2158" y="2191"/>
                  </a:lnTo>
                  <a:lnTo>
                    <a:pt x="2158" y="2191"/>
                  </a:lnTo>
                  <a:lnTo>
                    <a:pt x="2211" y="2125"/>
                  </a:lnTo>
                  <a:lnTo>
                    <a:pt x="2211" y="2125"/>
                  </a:lnTo>
                  <a:lnTo>
                    <a:pt x="2211" y="2110"/>
                  </a:lnTo>
                  <a:lnTo>
                    <a:pt x="2211" y="2110"/>
                  </a:lnTo>
                  <a:lnTo>
                    <a:pt x="2201" y="2073"/>
                  </a:lnTo>
                  <a:lnTo>
                    <a:pt x="2201" y="2073"/>
                  </a:lnTo>
                  <a:close/>
                  <a:moveTo>
                    <a:pt x="1440" y="567"/>
                  </a:moveTo>
                  <a:lnTo>
                    <a:pt x="1445" y="570"/>
                  </a:lnTo>
                  <a:lnTo>
                    <a:pt x="1447" y="570"/>
                  </a:lnTo>
                  <a:lnTo>
                    <a:pt x="1450" y="572"/>
                  </a:lnTo>
                  <a:lnTo>
                    <a:pt x="1455" y="575"/>
                  </a:lnTo>
                  <a:lnTo>
                    <a:pt x="1457" y="575"/>
                  </a:lnTo>
                  <a:lnTo>
                    <a:pt x="1462" y="577"/>
                  </a:lnTo>
                  <a:lnTo>
                    <a:pt x="1467" y="577"/>
                  </a:lnTo>
                  <a:lnTo>
                    <a:pt x="1470" y="580"/>
                  </a:lnTo>
                  <a:lnTo>
                    <a:pt x="1470" y="580"/>
                  </a:lnTo>
                  <a:lnTo>
                    <a:pt x="1472" y="580"/>
                  </a:lnTo>
                  <a:lnTo>
                    <a:pt x="1475" y="577"/>
                  </a:lnTo>
                  <a:lnTo>
                    <a:pt x="1475" y="575"/>
                  </a:lnTo>
                  <a:lnTo>
                    <a:pt x="1477" y="575"/>
                  </a:lnTo>
                  <a:lnTo>
                    <a:pt x="1480" y="570"/>
                  </a:lnTo>
                  <a:lnTo>
                    <a:pt x="1482" y="567"/>
                  </a:lnTo>
                  <a:lnTo>
                    <a:pt x="1480" y="565"/>
                  </a:lnTo>
                  <a:lnTo>
                    <a:pt x="1475" y="565"/>
                  </a:lnTo>
                  <a:lnTo>
                    <a:pt x="1472" y="562"/>
                  </a:lnTo>
                  <a:lnTo>
                    <a:pt x="1457" y="562"/>
                  </a:lnTo>
                  <a:lnTo>
                    <a:pt x="1457" y="562"/>
                  </a:lnTo>
                  <a:lnTo>
                    <a:pt x="1455" y="560"/>
                  </a:lnTo>
                  <a:lnTo>
                    <a:pt x="1452" y="555"/>
                  </a:lnTo>
                  <a:lnTo>
                    <a:pt x="1450" y="550"/>
                  </a:lnTo>
                  <a:lnTo>
                    <a:pt x="1447" y="545"/>
                  </a:lnTo>
                  <a:lnTo>
                    <a:pt x="1442" y="545"/>
                  </a:lnTo>
                  <a:lnTo>
                    <a:pt x="1435" y="542"/>
                  </a:lnTo>
                  <a:lnTo>
                    <a:pt x="1429" y="540"/>
                  </a:lnTo>
                  <a:lnTo>
                    <a:pt x="1424" y="540"/>
                  </a:lnTo>
                  <a:lnTo>
                    <a:pt x="1419" y="540"/>
                  </a:lnTo>
                  <a:lnTo>
                    <a:pt x="1417" y="540"/>
                  </a:lnTo>
                  <a:lnTo>
                    <a:pt x="1414" y="542"/>
                  </a:lnTo>
                  <a:lnTo>
                    <a:pt x="1412" y="545"/>
                  </a:lnTo>
                  <a:lnTo>
                    <a:pt x="1409" y="545"/>
                  </a:lnTo>
                  <a:lnTo>
                    <a:pt x="1409" y="542"/>
                  </a:lnTo>
                  <a:lnTo>
                    <a:pt x="1407" y="535"/>
                  </a:lnTo>
                  <a:lnTo>
                    <a:pt x="1404" y="529"/>
                  </a:lnTo>
                  <a:lnTo>
                    <a:pt x="1402" y="527"/>
                  </a:lnTo>
                  <a:lnTo>
                    <a:pt x="1399" y="524"/>
                  </a:lnTo>
                  <a:lnTo>
                    <a:pt x="1394" y="524"/>
                  </a:lnTo>
                  <a:lnTo>
                    <a:pt x="1392" y="524"/>
                  </a:lnTo>
                  <a:lnTo>
                    <a:pt x="1392" y="529"/>
                  </a:lnTo>
                  <a:lnTo>
                    <a:pt x="1392" y="535"/>
                  </a:lnTo>
                  <a:lnTo>
                    <a:pt x="1392" y="542"/>
                  </a:lnTo>
                  <a:lnTo>
                    <a:pt x="1392" y="547"/>
                  </a:lnTo>
                  <a:lnTo>
                    <a:pt x="1392" y="550"/>
                  </a:lnTo>
                  <a:lnTo>
                    <a:pt x="1394" y="552"/>
                  </a:lnTo>
                  <a:lnTo>
                    <a:pt x="1394" y="555"/>
                  </a:lnTo>
                  <a:lnTo>
                    <a:pt x="1394" y="560"/>
                  </a:lnTo>
                  <a:lnTo>
                    <a:pt x="1394" y="565"/>
                  </a:lnTo>
                  <a:lnTo>
                    <a:pt x="1394" y="570"/>
                  </a:lnTo>
                  <a:lnTo>
                    <a:pt x="1397" y="575"/>
                  </a:lnTo>
                  <a:lnTo>
                    <a:pt x="1397" y="577"/>
                  </a:lnTo>
                  <a:lnTo>
                    <a:pt x="1394" y="577"/>
                  </a:lnTo>
                  <a:lnTo>
                    <a:pt x="1392" y="580"/>
                  </a:lnTo>
                  <a:lnTo>
                    <a:pt x="1389" y="585"/>
                  </a:lnTo>
                  <a:lnTo>
                    <a:pt x="1387" y="587"/>
                  </a:lnTo>
                  <a:lnTo>
                    <a:pt x="1384" y="590"/>
                  </a:lnTo>
                  <a:lnTo>
                    <a:pt x="1387" y="593"/>
                  </a:lnTo>
                  <a:lnTo>
                    <a:pt x="1392" y="593"/>
                  </a:lnTo>
                  <a:lnTo>
                    <a:pt x="1397" y="590"/>
                  </a:lnTo>
                  <a:lnTo>
                    <a:pt x="1399" y="590"/>
                  </a:lnTo>
                  <a:lnTo>
                    <a:pt x="1402" y="590"/>
                  </a:lnTo>
                  <a:lnTo>
                    <a:pt x="1407" y="590"/>
                  </a:lnTo>
                  <a:lnTo>
                    <a:pt x="1409" y="590"/>
                  </a:lnTo>
                  <a:lnTo>
                    <a:pt x="1412" y="593"/>
                  </a:lnTo>
                  <a:lnTo>
                    <a:pt x="1414" y="598"/>
                  </a:lnTo>
                  <a:lnTo>
                    <a:pt x="1414" y="600"/>
                  </a:lnTo>
                  <a:lnTo>
                    <a:pt x="1417" y="603"/>
                  </a:lnTo>
                  <a:lnTo>
                    <a:pt x="1419" y="603"/>
                  </a:lnTo>
                  <a:lnTo>
                    <a:pt x="1424" y="600"/>
                  </a:lnTo>
                  <a:lnTo>
                    <a:pt x="1424" y="598"/>
                  </a:lnTo>
                  <a:lnTo>
                    <a:pt x="1427" y="595"/>
                  </a:lnTo>
                  <a:lnTo>
                    <a:pt x="1427" y="593"/>
                  </a:lnTo>
                  <a:lnTo>
                    <a:pt x="1429" y="590"/>
                  </a:lnTo>
                  <a:lnTo>
                    <a:pt x="1435" y="587"/>
                  </a:lnTo>
                  <a:lnTo>
                    <a:pt x="1437" y="585"/>
                  </a:lnTo>
                  <a:lnTo>
                    <a:pt x="1437" y="580"/>
                  </a:lnTo>
                  <a:lnTo>
                    <a:pt x="1437" y="575"/>
                  </a:lnTo>
                  <a:lnTo>
                    <a:pt x="1435" y="570"/>
                  </a:lnTo>
                  <a:lnTo>
                    <a:pt x="1437" y="567"/>
                  </a:lnTo>
                  <a:lnTo>
                    <a:pt x="1440" y="567"/>
                  </a:lnTo>
                  <a:close/>
                  <a:moveTo>
                    <a:pt x="966" y="300"/>
                  </a:moveTo>
                  <a:lnTo>
                    <a:pt x="968" y="303"/>
                  </a:lnTo>
                  <a:lnTo>
                    <a:pt x="971" y="310"/>
                  </a:lnTo>
                  <a:lnTo>
                    <a:pt x="973" y="323"/>
                  </a:lnTo>
                  <a:lnTo>
                    <a:pt x="973" y="330"/>
                  </a:lnTo>
                  <a:lnTo>
                    <a:pt x="973" y="335"/>
                  </a:lnTo>
                  <a:lnTo>
                    <a:pt x="978" y="338"/>
                  </a:lnTo>
                  <a:lnTo>
                    <a:pt x="983" y="335"/>
                  </a:lnTo>
                  <a:lnTo>
                    <a:pt x="986" y="333"/>
                  </a:lnTo>
                  <a:lnTo>
                    <a:pt x="988" y="330"/>
                  </a:lnTo>
                  <a:lnTo>
                    <a:pt x="991" y="333"/>
                  </a:lnTo>
                  <a:lnTo>
                    <a:pt x="996" y="335"/>
                  </a:lnTo>
                  <a:lnTo>
                    <a:pt x="998" y="338"/>
                  </a:lnTo>
                  <a:lnTo>
                    <a:pt x="1003" y="335"/>
                  </a:lnTo>
                  <a:lnTo>
                    <a:pt x="1006" y="330"/>
                  </a:lnTo>
                  <a:lnTo>
                    <a:pt x="1011" y="323"/>
                  </a:lnTo>
                  <a:lnTo>
                    <a:pt x="1016" y="320"/>
                  </a:lnTo>
                  <a:lnTo>
                    <a:pt x="1024" y="318"/>
                  </a:lnTo>
                  <a:lnTo>
                    <a:pt x="1026" y="315"/>
                  </a:lnTo>
                  <a:lnTo>
                    <a:pt x="1026" y="310"/>
                  </a:lnTo>
                  <a:lnTo>
                    <a:pt x="1026" y="305"/>
                  </a:lnTo>
                  <a:lnTo>
                    <a:pt x="1029" y="305"/>
                  </a:lnTo>
                  <a:lnTo>
                    <a:pt x="1039" y="303"/>
                  </a:lnTo>
                  <a:lnTo>
                    <a:pt x="1044" y="300"/>
                  </a:lnTo>
                  <a:lnTo>
                    <a:pt x="1049" y="300"/>
                  </a:lnTo>
                  <a:lnTo>
                    <a:pt x="1054" y="298"/>
                  </a:lnTo>
                  <a:lnTo>
                    <a:pt x="1059" y="295"/>
                  </a:lnTo>
                  <a:lnTo>
                    <a:pt x="1064" y="295"/>
                  </a:lnTo>
                  <a:lnTo>
                    <a:pt x="1066" y="292"/>
                  </a:lnTo>
                  <a:lnTo>
                    <a:pt x="1066" y="290"/>
                  </a:lnTo>
                  <a:lnTo>
                    <a:pt x="1069" y="287"/>
                  </a:lnTo>
                  <a:lnTo>
                    <a:pt x="1066" y="285"/>
                  </a:lnTo>
                  <a:lnTo>
                    <a:pt x="1066" y="277"/>
                  </a:lnTo>
                  <a:lnTo>
                    <a:pt x="1064" y="270"/>
                  </a:lnTo>
                  <a:lnTo>
                    <a:pt x="1059" y="265"/>
                  </a:lnTo>
                  <a:lnTo>
                    <a:pt x="1056" y="262"/>
                  </a:lnTo>
                  <a:lnTo>
                    <a:pt x="1054" y="262"/>
                  </a:lnTo>
                  <a:lnTo>
                    <a:pt x="1049" y="262"/>
                  </a:lnTo>
                  <a:lnTo>
                    <a:pt x="1046" y="262"/>
                  </a:lnTo>
                  <a:lnTo>
                    <a:pt x="1044" y="257"/>
                  </a:lnTo>
                  <a:lnTo>
                    <a:pt x="1041" y="255"/>
                  </a:lnTo>
                  <a:lnTo>
                    <a:pt x="1039" y="250"/>
                  </a:lnTo>
                  <a:lnTo>
                    <a:pt x="1031" y="247"/>
                  </a:lnTo>
                  <a:lnTo>
                    <a:pt x="1026" y="247"/>
                  </a:lnTo>
                  <a:lnTo>
                    <a:pt x="1021" y="247"/>
                  </a:lnTo>
                  <a:lnTo>
                    <a:pt x="1019" y="245"/>
                  </a:lnTo>
                  <a:lnTo>
                    <a:pt x="1016" y="242"/>
                  </a:lnTo>
                  <a:lnTo>
                    <a:pt x="1011" y="242"/>
                  </a:lnTo>
                  <a:lnTo>
                    <a:pt x="1008" y="240"/>
                  </a:lnTo>
                  <a:lnTo>
                    <a:pt x="1008" y="240"/>
                  </a:lnTo>
                  <a:lnTo>
                    <a:pt x="1006" y="242"/>
                  </a:lnTo>
                  <a:lnTo>
                    <a:pt x="1006" y="245"/>
                  </a:lnTo>
                  <a:lnTo>
                    <a:pt x="1006" y="250"/>
                  </a:lnTo>
                  <a:lnTo>
                    <a:pt x="1003" y="255"/>
                  </a:lnTo>
                  <a:lnTo>
                    <a:pt x="1003" y="257"/>
                  </a:lnTo>
                  <a:lnTo>
                    <a:pt x="998" y="260"/>
                  </a:lnTo>
                  <a:lnTo>
                    <a:pt x="993" y="267"/>
                  </a:lnTo>
                  <a:lnTo>
                    <a:pt x="986" y="272"/>
                  </a:lnTo>
                  <a:lnTo>
                    <a:pt x="983" y="277"/>
                  </a:lnTo>
                  <a:lnTo>
                    <a:pt x="978" y="282"/>
                  </a:lnTo>
                  <a:lnTo>
                    <a:pt x="971" y="287"/>
                  </a:lnTo>
                  <a:lnTo>
                    <a:pt x="966" y="295"/>
                  </a:lnTo>
                  <a:lnTo>
                    <a:pt x="963" y="300"/>
                  </a:lnTo>
                  <a:lnTo>
                    <a:pt x="966" y="300"/>
                  </a:lnTo>
                  <a:lnTo>
                    <a:pt x="966" y="300"/>
                  </a:lnTo>
                  <a:close/>
                  <a:moveTo>
                    <a:pt x="1498" y="494"/>
                  </a:moveTo>
                  <a:lnTo>
                    <a:pt x="1498" y="494"/>
                  </a:lnTo>
                  <a:lnTo>
                    <a:pt x="1498" y="492"/>
                  </a:lnTo>
                  <a:lnTo>
                    <a:pt x="1498" y="492"/>
                  </a:lnTo>
                  <a:lnTo>
                    <a:pt x="1498" y="489"/>
                  </a:lnTo>
                  <a:lnTo>
                    <a:pt x="1495" y="489"/>
                  </a:lnTo>
                  <a:lnTo>
                    <a:pt x="1495" y="489"/>
                  </a:lnTo>
                  <a:lnTo>
                    <a:pt x="1495" y="492"/>
                  </a:lnTo>
                  <a:lnTo>
                    <a:pt x="1498" y="494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s-PE" kern="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22" name="Freeform 43"/>
            <p:cNvSpPr>
              <a:spLocks/>
            </p:cNvSpPr>
            <p:nvPr/>
          </p:nvSpPr>
          <p:spPr bwMode="auto">
            <a:xfrm>
              <a:off x="3277" y="2412"/>
              <a:ext cx="46" cy="28"/>
            </a:xfrm>
            <a:custGeom>
              <a:avLst/>
              <a:gdLst/>
              <a:ahLst/>
              <a:cxnLst>
                <a:cxn ang="0">
                  <a:pos x="0" y="15"/>
                </a:cxn>
                <a:cxn ang="0">
                  <a:pos x="3" y="17"/>
                </a:cxn>
                <a:cxn ang="0">
                  <a:pos x="12" y="14"/>
                </a:cxn>
                <a:cxn ang="0">
                  <a:pos x="13" y="8"/>
                </a:cxn>
                <a:cxn ang="0">
                  <a:pos x="27" y="9"/>
                </a:cxn>
                <a:cxn ang="0">
                  <a:pos x="46" y="0"/>
                </a:cxn>
                <a:cxn ang="0">
                  <a:pos x="46" y="1"/>
                </a:cxn>
                <a:cxn ang="0">
                  <a:pos x="33" y="11"/>
                </a:cxn>
                <a:cxn ang="0">
                  <a:pos x="36" y="18"/>
                </a:cxn>
                <a:cxn ang="0">
                  <a:pos x="27" y="21"/>
                </a:cxn>
                <a:cxn ang="0">
                  <a:pos x="15" y="28"/>
                </a:cxn>
                <a:cxn ang="0">
                  <a:pos x="13" y="28"/>
                </a:cxn>
                <a:cxn ang="0">
                  <a:pos x="8" y="26"/>
                </a:cxn>
                <a:cxn ang="0">
                  <a:pos x="2" y="23"/>
                </a:cxn>
                <a:cxn ang="0">
                  <a:pos x="0" y="15"/>
                </a:cxn>
              </a:cxnLst>
              <a:rect l="0" t="0" r="r" b="b"/>
              <a:pathLst>
                <a:path w="46" h="28">
                  <a:moveTo>
                    <a:pt x="0" y="15"/>
                  </a:moveTo>
                  <a:lnTo>
                    <a:pt x="3" y="17"/>
                  </a:lnTo>
                  <a:lnTo>
                    <a:pt x="12" y="14"/>
                  </a:lnTo>
                  <a:lnTo>
                    <a:pt x="13" y="8"/>
                  </a:lnTo>
                  <a:lnTo>
                    <a:pt x="27" y="9"/>
                  </a:lnTo>
                  <a:lnTo>
                    <a:pt x="46" y="0"/>
                  </a:lnTo>
                  <a:lnTo>
                    <a:pt x="46" y="1"/>
                  </a:lnTo>
                  <a:lnTo>
                    <a:pt x="33" y="11"/>
                  </a:lnTo>
                  <a:lnTo>
                    <a:pt x="36" y="18"/>
                  </a:lnTo>
                  <a:lnTo>
                    <a:pt x="27" y="21"/>
                  </a:lnTo>
                  <a:lnTo>
                    <a:pt x="15" y="28"/>
                  </a:lnTo>
                  <a:lnTo>
                    <a:pt x="13" y="28"/>
                  </a:lnTo>
                  <a:lnTo>
                    <a:pt x="8" y="26"/>
                  </a:lnTo>
                  <a:lnTo>
                    <a:pt x="2" y="23"/>
                  </a:lnTo>
                  <a:lnTo>
                    <a:pt x="0" y="15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s-PE" kern="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sp>
        <p:nvSpPr>
          <p:cNvPr id="112" name="Rectángulo 111"/>
          <p:cNvSpPr/>
          <p:nvPr/>
        </p:nvSpPr>
        <p:spPr>
          <a:xfrm>
            <a:off x="1414917" y="1012272"/>
            <a:ext cx="3649678" cy="5511213"/>
          </a:xfrm>
          <a:prstGeom prst="rect">
            <a:avLst/>
          </a:prstGeom>
          <a:solidFill>
            <a:srgbClr val="92D050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>
              <a:solidFill>
                <a:prstClr val="white"/>
              </a:solidFill>
            </a:endParaRPr>
          </a:p>
        </p:txBody>
      </p:sp>
      <p:pic>
        <p:nvPicPr>
          <p:cNvPr id="9" name="17 Imagen" descr="CAN-logo.jpg"/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726594" y="2006443"/>
            <a:ext cx="724515" cy="419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105 Rectángulo"/>
          <p:cNvSpPr/>
          <p:nvPr/>
        </p:nvSpPr>
        <p:spPr>
          <a:xfrm>
            <a:off x="1742465" y="4034275"/>
            <a:ext cx="692772" cy="640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00" b="1" dirty="0">
                <a:solidFill>
                  <a:srgbClr val="464653"/>
                </a:solidFill>
                <a:cs typeface="Arial" pitchFamily="34" charset="0"/>
              </a:rPr>
              <a:t>Cuba</a:t>
            </a:r>
          </a:p>
        </p:txBody>
      </p:sp>
      <p:sp>
        <p:nvSpPr>
          <p:cNvPr id="16" name="106 Rectángulo"/>
          <p:cNvSpPr/>
          <p:nvPr/>
        </p:nvSpPr>
        <p:spPr>
          <a:xfrm>
            <a:off x="2964183" y="1752698"/>
            <a:ext cx="592791" cy="784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00" b="1" dirty="0">
                <a:solidFill>
                  <a:srgbClr val="464653"/>
                </a:solidFill>
                <a:cs typeface="Arial" pitchFamily="34" charset="0"/>
              </a:rPr>
              <a:t>Canadá</a:t>
            </a:r>
          </a:p>
        </p:txBody>
      </p:sp>
      <p:sp>
        <p:nvSpPr>
          <p:cNvPr id="17" name="107 Rectángulo"/>
          <p:cNvSpPr/>
          <p:nvPr/>
        </p:nvSpPr>
        <p:spPr>
          <a:xfrm>
            <a:off x="2987916" y="4808764"/>
            <a:ext cx="545324" cy="723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00" b="1" dirty="0">
                <a:solidFill>
                  <a:srgbClr val="464653"/>
                </a:solidFill>
                <a:cs typeface="Arial" pitchFamily="34" charset="0"/>
              </a:rPr>
              <a:t>Chile</a:t>
            </a:r>
          </a:p>
        </p:txBody>
      </p:sp>
      <p:sp>
        <p:nvSpPr>
          <p:cNvPr id="18" name="108 Rectángulo"/>
          <p:cNvSpPr/>
          <p:nvPr/>
        </p:nvSpPr>
        <p:spPr>
          <a:xfrm>
            <a:off x="4091925" y="4814314"/>
            <a:ext cx="746901" cy="612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00" b="1" dirty="0">
                <a:solidFill>
                  <a:srgbClr val="464653"/>
                </a:solidFill>
                <a:cs typeface="Arial" pitchFamily="34" charset="0"/>
              </a:rPr>
              <a:t>Tailandia</a:t>
            </a:r>
          </a:p>
        </p:txBody>
      </p:sp>
      <p:sp>
        <p:nvSpPr>
          <p:cNvPr id="23" name="115 Rectángulo"/>
          <p:cNvSpPr/>
          <p:nvPr/>
        </p:nvSpPr>
        <p:spPr>
          <a:xfrm>
            <a:off x="4055405" y="2492551"/>
            <a:ext cx="819941" cy="8865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00" b="1" dirty="0">
                <a:solidFill>
                  <a:srgbClr val="464653"/>
                </a:solidFill>
                <a:cs typeface="Arial" pitchFamily="34" charset="0"/>
              </a:rPr>
              <a:t>Venezuela</a:t>
            </a:r>
          </a:p>
        </p:txBody>
      </p:sp>
      <p:sp>
        <p:nvSpPr>
          <p:cNvPr id="24" name="116 Rectángulo"/>
          <p:cNvSpPr/>
          <p:nvPr/>
        </p:nvSpPr>
        <p:spPr>
          <a:xfrm>
            <a:off x="4090765" y="4034529"/>
            <a:ext cx="749221" cy="635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00" b="1" dirty="0">
                <a:solidFill>
                  <a:srgbClr val="464653"/>
                </a:solidFill>
                <a:cs typeface="Arial" pitchFamily="34" charset="0"/>
              </a:rPr>
              <a:t>Costa Rica</a:t>
            </a:r>
          </a:p>
        </p:txBody>
      </p:sp>
      <p:sp>
        <p:nvSpPr>
          <p:cNvPr id="25" name="160 Rectángulo"/>
          <p:cNvSpPr/>
          <p:nvPr/>
        </p:nvSpPr>
        <p:spPr>
          <a:xfrm>
            <a:off x="3973456" y="1769084"/>
            <a:ext cx="983838" cy="457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00" b="1" dirty="0">
                <a:solidFill>
                  <a:srgbClr val="464653"/>
                </a:solidFill>
                <a:cs typeface="Arial" pitchFamily="34" charset="0"/>
              </a:rPr>
              <a:t>Unión Europea</a:t>
            </a:r>
          </a:p>
        </p:txBody>
      </p:sp>
      <p:sp>
        <p:nvSpPr>
          <p:cNvPr id="27" name="163 Rectángulo"/>
          <p:cNvSpPr/>
          <p:nvPr/>
        </p:nvSpPr>
        <p:spPr>
          <a:xfrm>
            <a:off x="1779327" y="4800867"/>
            <a:ext cx="619048" cy="881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00" b="1" dirty="0">
                <a:solidFill>
                  <a:srgbClr val="464653"/>
                </a:solidFill>
                <a:cs typeface="Arial" pitchFamily="34" charset="0"/>
              </a:rPr>
              <a:t>México </a:t>
            </a:r>
          </a:p>
        </p:txBody>
      </p:sp>
      <p:sp>
        <p:nvSpPr>
          <p:cNvPr id="28" name="164 Rectángulo"/>
          <p:cNvSpPr/>
          <p:nvPr/>
        </p:nvSpPr>
        <p:spPr>
          <a:xfrm>
            <a:off x="1588579" y="5547150"/>
            <a:ext cx="1000544" cy="457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00" b="1" dirty="0">
                <a:solidFill>
                  <a:srgbClr val="464653"/>
                </a:solidFill>
                <a:cs typeface="Arial" pitchFamily="34" charset="0"/>
              </a:rPr>
              <a:t>Estados Unidos</a:t>
            </a:r>
          </a:p>
        </p:txBody>
      </p:sp>
      <p:sp>
        <p:nvSpPr>
          <p:cNvPr id="29" name="165 Rectángulo"/>
          <p:cNvSpPr/>
          <p:nvPr/>
        </p:nvSpPr>
        <p:spPr>
          <a:xfrm>
            <a:off x="1442854" y="2448179"/>
            <a:ext cx="1291994" cy="1703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00" b="1" dirty="0">
                <a:solidFill>
                  <a:srgbClr val="464653"/>
                </a:solidFill>
                <a:cs typeface="Arial" pitchFamily="34" charset="0"/>
              </a:rPr>
              <a:t>Comunidad Andina</a:t>
            </a:r>
          </a:p>
        </p:txBody>
      </p:sp>
      <p:sp>
        <p:nvSpPr>
          <p:cNvPr id="30" name="166 Rectángulo"/>
          <p:cNvSpPr/>
          <p:nvPr/>
        </p:nvSpPr>
        <p:spPr>
          <a:xfrm>
            <a:off x="2912025" y="6354862"/>
            <a:ext cx="697107" cy="640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00" b="1" dirty="0">
                <a:solidFill>
                  <a:srgbClr val="464653"/>
                </a:solidFill>
                <a:cs typeface="Arial" pitchFamily="34" charset="0"/>
              </a:rPr>
              <a:t>Panamá </a:t>
            </a:r>
          </a:p>
        </p:txBody>
      </p:sp>
      <p:sp>
        <p:nvSpPr>
          <p:cNvPr id="31" name="169 Rectángulo"/>
          <p:cNvSpPr/>
          <p:nvPr/>
        </p:nvSpPr>
        <p:spPr>
          <a:xfrm>
            <a:off x="4113627" y="3299548"/>
            <a:ext cx="703497" cy="791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00" b="1" dirty="0">
                <a:solidFill>
                  <a:srgbClr val="464653"/>
                </a:solidFill>
                <a:cs typeface="Arial" pitchFamily="34" charset="0"/>
              </a:rPr>
              <a:t>Singapur</a:t>
            </a:r>
          </a:p>
        </p:txBody>
      </p:sp>
      <p:sp>
        <p:nvSpPr>
          <p:cNvPr id="32" name="170 Rectángulo"/>
          <p:cNvSpPr/>
          <p:nvPr/>
        </p:nvSpPr>
        <p:spPr>
          <a:xfrm>
            <a:off x="2987916" y="2500704"/>
            <a:ext cx="545324" cy="723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00" b="1" dirty="0">
                <a:solidFill>
                  <a:srgbClr val="464653"/>
                </a:solidFill>
                <a:cs typeface="Arial" pitchFamily="34" charset="0"/>
              </a:rPr>
              <a:t>China</a:t>
            </a:r>
          </a:p>
        </p:txBody>
      </p:sp>
      <p:sp>
        <p:nvSpPr>
          <p:cNvPr id="33" name="171 Rectángulo"/>
          <p:cNvSpPr/>
          <p:nvPr/>
        </p:nvSpPr>
        <p:spPr>
          <a:xfrm>
            <a:off x="2798194" y="4039144"/>
            <a:ext cx="924768" cy="542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00" b="1" dirty="0">
                <a:solidFill>
                  <a:srgbClr val="464653"/>
                </a:solidFill>
                <a:cs typeface="Arial" pitchFamily="34" charset="0"/>
              </a:rPr>
              <a:t>Corea del Sur</a:t>
            </a:r>
          </a:p>
        </p:txBody>
      </p:sp>
      <p:sp>
        <p:nvSpPr>
          <p:cNvPr id="34" name="172 Rectángulo"/>
          <p:cNvSpPr/>
          <p:nvPr/>
        </p:nvSpPr>
        <p:spPr>
          <a:xfrm>
            <a:off x="2912025" y="5537991"/>
            <a:ext cx="697107" cy="640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00" b="1" dirty="0">
                <a:solidFill>
                  <a:srgbClr val="464653"/>
                </a:solidFill>
                <a:cs typeface="Arial" pitchFamily="34" charset="0"/>
              </a:rPr>
              <a:t>Japón</a:t>
            </a:r>
          </a:p>
        </p:txBody>
      </p:sp>
      <p:pic>
        <p:nvPicPr>
          <p:cNvPr id="35" name="Picture 20" descr="https://upload.wikimedia.org/wikipedia/commons/thumb/9/9a/Flag_of_Mercosur.svg/120px-Flag_of_Mercosur.svg.png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721150" y="2735058"/>
            <a:ext cx="735403" cy="563809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</p:pic>
      <p:pic>
        <p:nvPicPr>
          <p:cNvPr id="36" name="Picture 22" descr="http://upload.wikimedia.org/wikipedia/de/thumb/8/84/EFTA_Logo.svg/610px-EFTA_Logo.svg.png"/>
          <p:cNvPicPr>
            <a:picLocks noChangeAspect="1" noChangeArrowheads="1"/>
          </p:cNvPicPr>
          <p:nvPr/>
        </p:nvPicPr>
        <p:blipFill rotWithShape="1">
          <a:blip r:embed="rId5" cstate="print"/>
          <a:srcRect b="5528"/>
          <a:stretch/>
        </p:blipFill>
        <p:spPr bwMode="auto">
          <a:xfrm>
            <a:off x="2855898" y="2778802"/>
            <a:ext cx="809361" cy="476321"/>
          </a:xfrm>
          <a:prstGeom prst="rect">
            <a:avLst/>
          </a:prstGeom>
          <a:noFill/>
        </p:spPr>
      </p:pic>
      <p:sp>
        <p:nvSpPr>
          <p:cNvPr id="41" name="6 Título"/>
          <p:cNvSpPr txBox="1">
            <a:spLocks/>
          </p:cNvSpPr>
          <p:nvPr/>
        </p:nvSpPr>
        <p:spPr>
          <a:xfrm>
            <a:off x="0" y="207508"/>
            <a:ext cx="12106275" cy="4247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es-MX"/>
            </a:defPPr>
            <a:lvl1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 spc="-60">
                <a:solidFill>
                  <a:srgbClr val="C00000"/>
                </a:solidFill>
                <a:latin typeface="Calibri" panose="020F050202020403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es-ES" sz="2800" dirty="0"/>
              <a:t>Aprovechando la Red de Acuerdos Comerciales del Perú</a:t>
            </a:r>
          </a:p>
        </p:txBody>
      </p:sp>
      <p:sp>
        <p:nvSpPr>
          <p:cNvPr id="44" name="129 Rectángulo"/>
          <p:cNvSpPr/>
          <p:nvPr/>
        </p:nvSpPr>
        <p:spPr>
          <a:xfrm>
            <a:off x="1704880" y="6346910"/>
            <a:ext cx="767942" cy="799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00" b="1" dirty="0">
                <a:solidFill>
                  <a:srgbClr val="464653"/>
                </a:solidFill>
                <a:cs typeface="Arial" pitchFamily="34" charset="0"/>
              </a:rPr>
              <a:t>Honduras</a:t>
            </a:r>
          </a:p>
        </p:txBody>
      </p:sp>
      <p:pic>
        <p:nvPicPr>
          <p:cNvPr id="46" name="Picture 6" descr="http://www.tlc.gov.co/info/tlc/media/img28938.jpg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b="35424"/>
          <a:stretch>
            <a:fillRect/>
          </a:stretch>
        </p:blipFill>
        <p:spPr bwMode="auto">
          <a:xfrm>
            <a:off x="4092884" y="5211600"/>
            <a:ext cx="744982" cy="735089"/>
          </a:xfrm>
          <a:prstGeom prst="rect">
            <a:avLst/>
          </a:prstGeom>
          <a:ln>
            <a:noFill/>
          </a:ln>
          <a:effectLst/>
        </p:spPr>
      </p:pic>
      <p:sp>
        <p:nvSpPr>
          <p:cNvPr id="47" name="178 Rectángulo"/>
          <p:cNvSpPr/>
          <p:nvPr/>
        </p:nvSpPr>
        <p:spPr>
          <a:xfrm>
            <a:off x="4059152" y="6053149"/>
            <a:ext cx="812447" cy="905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00" b="1" dirty="0">
                <a:solidFill>
                  <a:srgbClr val="464653"/>
                </a:solidFill>
                <a:cs typeface="Arial" pitchFamily="34" charset="0"/>
              </a:rPr>
              <a:t>Alianza del Pacífico</a:t>
            </a:r>
          </a:p>
        </p:txBody>
      </p:sp>
      <p:sp>
        <p:nvSpPr>
          <p:cNvPr id="94" name="206 CuadroTexto"/>
          <p:cNvSpPr txBox="1"/>
          <p:nvPr/>
        </p:nvSpPr>
        <p:spPr>
          <a:xfrm>
            <a:off x="371475" y="6576299"/>
            <a:ext cx="288090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00" dirty="0">
                <a:solidFill>
                  <a:srgbClr val="0000FF"/>
                </a:solidFill>
                <a:cs typeface="Arial" pitchFamily="34" charset="0"/>
              </a:rPr>
              <a:t>Fuente: http://www.acuerdoscomerciales.gob.pe </a:t>
            </a:r>
          </a:p>
        </p:txBody>
      </p:sp>
      <p:pic>
        <p:nvPicPr>
          <p:cNvPr id="103" name="Picture 2" descr="File:Logo WTO-OMC.sv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6576" y="1160572"/>
            <a:ext cx="524551" cy="6478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6" name="103 Llamada rectangular"/>
          <p:cNvSpPr/>
          <p:nvPr/>
        </p:nvSpPr>
        <p:spPr>
          <a:xfrm>
            <a:off x="1417137" y="843238"/>
            <a:ext cx="1189485" cy="307777"/>
          </a:xfrm>
          <a:prstGeom prst="wedgeRectCallout">
            <a:avLst>
              <a:gd name="adj1" fmla="val -20833"/>
              <a:gd name="adj2" fmla="val 50406"/>
            </a:avLst>
          </a:prstGeom>
          <a:solidFill>
            <a:srgbClr val="0070C0"/>
          </a:solidFill>
          <a:ln>
            <a:solidFill>
              <a:srgbClr val="0070C0"/>
            </a:solidFill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anchor="ctr">
            <a:spAutoFit/>
          </a:bodyPr>
          <a:lstStyle/>
          <a:p>
            <a:pPr algn="ctr">
              <a:defRPr/>
            </a:pPr>
            <a:r>
              <a:rPr lang="es-ES" sz="1400" b="1" dirty="0">
                <a:solidFill>
                  <a:prstClr val="white"/>
                </a:solidFill>
                <a:cs typeface="Arial" pitchFamily="34" charset="0"/>
              </a:rPr>
              <a:t>Vigentes</a:t>
            </a:r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0162" y="1204079"/>
            <a:ext cx="560832" cy="560832"/>
          </a:xfrm>
          <a:prstGeom prst="rect">
            <a:avLst/>
          </a:prstGeom>
        </p:spPr>
      </p:pic>
      <p:pic>
        <p:nvPicPr>
          <p:cNvPr id="13" name="Imagen 12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84959" y="1204079"/>
            <a:ext cx="560832" cy="560832"/>
          </a:xfrm>
          <a:prstGeom prst="rect">
            <a:avLst/>
          </a:prstGeom>
        </p:spPr>
      </p:pic>
      <p:pic>
        <p:nvPicPr>
          <p:cNvPr id="38" name="Imagen 37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0162" y="1940190"/>
            <a:ext cx="560832" cy="560832"/>
          </a:xfrm>
          <a:prstGeom prst="rect">
            <a:avLst/>
          </a:prstGeom>
        </p:spPr>
      </p:pic>
      <p:pic>
        <p:nvPicPr>
          <p:cNvPr id="50" name="Imagen 49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84959" y="2743622"/>
            <a:ext cx="560832" cy="560832"/>
          </a:xfrm>
          <a:prstGeom prst="rect">
            <a:avLst/>
          </a:prstGeom>
        </p:spPr>
      </p:pic>
      <p:pic>
        <p:nvPicPr>
          <p:cNvPr id="51" name="Imagen 50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0162" y="3463892"/>
            <a:ext cx="560832" cy="560832"/>
          </a:xfrm>
          <a:prstGeom prst="rect">
            <a:avLst/>
          </a:prstGeom>
        </p:spPr>
      </p:pic>
      <p:pic>
        <p:nvPicPr>
          <p:cNvPr id="52" name="Imagen 51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84959" y="4221654"/>
            <a:ext cx="560832" cy="560832"/>
          </a:xfrm>
          <a:prstGeom prst="rect">
            <a:avLst/>
          </a:prstGeom>
        </p:spPr>
      </p:pic>
      <p:pic>
        <p:nvPicPr>
          <p:cNvPr id="53" name="Imagen 52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0162" y="4953878"/>
            <a:ext cx="560832" cy="560832"/>
          </a:xfrm>
          <a:prstGeom prst="rect">
            <a:avLst/>
          </a:prstGeom>
        </p:spPr>
      </p:pic>
      <p:pic>
        <p:nvPicPr>
          <p:cNvPr id="54" name="Imagen 53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84959" y="1940190"/>
            <a:ext cx="560832" cy="560832"/>
          </a:xfrm>
          <a:prstGeom prst="rect">
            <a:avLst/>
          </a:prstGeom>
        </p:spPr>
      </p:pic>
      <p:pic>
        <p:nvPicPr>
          <p:cNvPr id="55" name="Imagen 54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0162" y="4221654"/>
            <a:ext cx="560832" cy="560832"/>
          </a:xfrm>
          <a:prstGeom prst="rect">
            <a:avLst/>
          </a:prstGeom>
        </p:spPr>
      </p:pic>
      <p:pic>
        <p:nvPicPr>
          <p:cNvPr id="56" name="Imagen 55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8435" y="3463892"/>
            <a:ext cx="560832" cy="560832"/>
          </a:xfrm>
          <a:prstGeom prst="rect">
            <a:avLst/>
          </a:prstGeom>
        </p:spPr>
      </p:pic>
      <p:pic>
        <p:nvPicPr>
          <p:cNvPr id="57" name="Imagen 56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8435" y="4221654"/>
            <a:ext cx="560832" cy="560832"/>
          </a:xfrm>
          <a:prstGeom prst="rect">
            <a:avLst/>
          </a:prstGeom>
        </p:spPr>
      </p:pic>
      <p:pic>
        <p:nvPicPr>
          <p:cNvPr id="58" name="Imagen 57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8435" y="4953878"/>
            <a:ext cx="560832" cy="560832"/>
          </a:xfrm>
          <a:prstGeom prst="rect">
            <a:avLst/>
          </a:prstGeom>
        </p:spPr>
      </p:pic>
      <p:pic>
        <p:nvPicPr>
          <p:cNvPr id="59" name="Imagen 58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8435" y="5709500"/>
            <a:ext cx="560832" cy="560832"/>
          </a:xfrm>
          <a:prstGeom prst="rect">
            <a:avLst/>
          </a:prstGeom>
        </p:spPr>
      </p:pic>
      <p:pic>
        <p:nvPicPr>
          <p:cNvPr id="60" name="Imagen 59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0162" y="5709500"/>
            <a:ext cx="560832" cy="560832"/>
          </a:xfrm>
          <a:prstGeom prst="rect">
            <a:avLst/>
          </a:prstGeom>
        </p:spPr>
      </p:pic>
      <p:pic>
        <p:nvPicPr>
          <p:cNvPr id="61" name="Imagen 60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84959" y="3463892"/>
            <a:ext cx="560832" cy="560832"/>
          </a:xfrm>
          <a:prstGeom prst="rect">
            <a:avLst/>
          </a:prstGeom>
        </p:spPr>
      </p:pic>
      <p:sp>
        <p:nvSpPr>
          <p:cNvPr id="123" name="Rectángulo 122"/>
          <p:cNvSpPr/>
          <p:nvPr/>
        </p:nvSpPr>
        <p:spPr>
          <a:xfrm>
            <a:off x="5185220" y="1007966"/>
            <a:ext cx="3192173" cy="5511213"/>
          </a:xfrm>
          <a:prstGeom prst="rect">
            <a:avLst/>
          </a:prstGeom>
          <a:solidFill>
            <a:srgbClr val="00B0F0">
              <a:alpha val="1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>
              <a:solidFill>
                <a:prstClr val="white"/>
              </a:solidFill>
            </a:endParaRPr>
          </a:p>
        </p:txBody>
      </p:sp>
      <p:sp>
        <p:nvSpPr>
          <p:cNvPr id="125" name="Rectángulo 124"/>
          <p:cNvSpPr/>
          <p:nvPr/>
        </p:nvSpPr>
        <p:spPr>
          <a:xfrm>
            <a:off x="8497429" y="1017658"/>
            <a:ext cx="2251048" cy="5511213"/>
          </a:xfrm>
          <a:prstGeom prst="rect">
            <a:avLst/>
          </a:prstGeom>
          <a:solidFill>
            <a:schemeClr val="accent2">
              <a:lumMod val="40000"/>
              <a:lumOff val="60000"/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>
              <a:solidFill>
                <a:prstClr val="white"/>
              </a:solidFill>
            </a:endParaRPr>
          </a:p>
        </p:txBody>
      </p:sp>
      <p:sp>
        <p:nvSpPr>
          <p:cNvPr id="45" name="161 Rectángulo"/>
          <p:cNvSpPr/>
          <p:nvPr/>
        </p:nvSpPr>
        <p:spPr>
          <a:xfrm>
            <a:off x="5189318" y="4029185"/>
            <a:ext cx="884331" cy="635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00" b="1" dirty="0">
                <a:solidFill>
                  <a:srgbClr val="464653"/>
                </a:solidFill>
                <a:cs typeface="Arial" pitchFamily="34" charset="0"/>
              </a:rPr>
              <a:t>Guatemala</a:t>
            </a:r>
          </a:p>
        </p:txBody>
      </p:sp>
      <p:sp>
        <p:nvSpPr>
          <p:cNvPr id="100" name="103 Llamada rectangular"/>
          <p:cNvSpPr/>
          <p:nvPr/>
        </p:nvSpPr>
        <p:spPr>
          <a:xfrm>
            <a:off x="5193053" y="843238"/>
            <a:ext cx="1011272" cy="307777"/>
          </a:xfrm>
          <a:prstGeom prst="wedgeRectCallout">
            <a:avLst>
              <a:gd name="adj1" fmla="val -20833"/>
              <a:gd name="adj2" fmla="val 50406"/>
            </a:avLst>
          </a:prstGeom>
          <a:solidFill>
            <a:srgbClr val="FD9203"/>
          </a:solidFill>
          <a:ln>
            <a:solidFill>
              <a:srgbClr val="FD9203"/>
            </a:solidFill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anchor="ctr">
            <a:spAutoFit/>
          </a:bodyPr>
          <a:lstStyle/>
          <a:p>
            <a:pPr algn="ctr">
              <a:defRPr/>
            </a:pPr>
            <a:r>
              <a:rPr lang="es-ES" sz="1400" b="1" dirty="0">
                <a:solidFill>
                  <a:prstClr val="black"/>
                </a:solidFill>
                <a:cs typeface="Arial" pitchFamily="34" charset="0"/>
              </a:rPr>
              <a:t>Firmados</a:t>
            </a:r>
          </a:p>
        </p:txBody>
      </p:sp>
      <p:sp>
        <p:nvSpPr>
          <p:cNvPr id="84" name="189 Rectángulo"/>
          <p:cNvSpPr/>
          <p:nvPr/>
        </p:nvSpPr>
        <p:spPr>
          <a:xfrm>
            <a:off x="5310388" y="2505114"/>
            <a:ext cx="642190" cy="635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00" b="1" dirty="0">
                <a:solidFill>
                  <a:srgbClr val="464653"/>
                </a:solidFill>
                <a:cs typeface="Arial" pitchFamily="34" charset="0"/>
              </a:rPr>
              <a:t>Brasil</a:t>
            </a:r>
          </a:p>
        </p:txBody>
      </p:sp>
      <p:sp>
        <p:nvSpPr>
          <p:cNvPr id="117" name="130 Rectángulo">
            <a:extLst>
              <a:ext uri="{FF2B5EF4-FFF2-40B4-BE49-F238E27FC236}">
                <a16:creationId xmlns="" xmlns:a16="http://schemas.microsoft.com/office/drawing/2014/main" id="{87F9DBC4-4F1B-463F-841F-73CA4AC0D845}"/>
              </a:ext>
            </a:extLst>
          </p:cNvPr>
          <p:cNvSpPr/>
          <p:nvPr/>
        </p:nvSpPr>
        <p:spPr>
          <a:xfrm>
            <a:off x="6384604" y="3097772"/>
            <a:ext cx="545324" cy="723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00" b="1" dirty="0">
                <a:solidFill>
                  <a:srgbClr val="464653"/>
                </a:solidFill>
                <a:cs typeface="Arial" pitchFamily="34" charset="0"/>
              </a:rPr>
              <a:t>Chile</a:t>
            </a:r>
          </a:p>
        </p:txBody>
      </p:sp>
      <p:sp>
        <p:nvSpPr>
          <p:cNvPr id="118" name="131 Rectángulo">
            <a:extLst>
              <a:ext uri="{FF2B5EF4-FFF2-40B4-BE49-F238E27FC236}">
                <a16:creationId xmlns="" xmlns:a16="http://schemas.microsoft.com/office/drawing/2014/main" id="{80B91DBC-45A9-47EC-A09E-59D134B03DAE}"/>
              </a:ext>
            </a:extLst>
          </p:cNvPr>
          <p:cNvSpPr/>
          <p:nvPr/>
        </p:nvSpPr>
        <p:spPr>
          <a:xfrm>
            <a:off x="6384604" y="4672314"/>
            <a:ext cx="545324" cy="723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00" b="1" dirty="0">
                <a:solidFill>
                  <a:srgbClr val="464653"/>
                </a:solidFill>
                <a:cs typeface="Arial" pitchFamily="34" charset="0"/>
              </a:rPr>
              <a:t>Brunei</a:t>
            </a:r>
          </a:p>
        </p:txBody>
      </p:sp>
      <p:sp>
        <p:nvSpPr>
          <p:cNvPr id="120" name="133 Rectángulo">
            <a:extLst>
              <a:ext uri="{FF2B5EF4-FFF2-40B4-BE49-F238E27FC236}">
                <a16:creationId xmlns="" xmlns:a16="http://schemas.microsoft.com/office/drawing/2014/main" id="{F72D5937-F64F-4150-BBD1-53714D9F400F}"/>
              </a:ext>
            </a:extLst>
          </p:cNvPr>
          <p:cNvSpPr/>
          <p:nvPr/>
        </p:nvSpPr>
        <p:spPr>
          <a:xfrm>
            <a:off x="7254189" y="2336426"/>
            <a:ext cx="691589" cy="723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00" b="1" dirty="0">
                <a:solidFill>
                  <a:srgbClr val="464653"/>
                </a:solidFill>
                <a:cs typeface="Arial" pitchFamily="34" charset="0"/>
              </a:rPr>
              <a:t>Australia</a:t>
            </a:r>
            <a:endParaRPr lang="es-ES" sz="800" b="1" dirty="0">
              <a:solidFill>
                <a:srgbClr val="464653"/>
              </a:solidFill>
              <a:cs typeface="Arial" pitchFamily="34" charset="0"/>
            </a:endParaRPr>
          </a:p>
        </p:txBody>
      </p:sp>
      <p:sp>
        <p:nvSpPr>
          <p:cNvPr id="124" name="153 Rectángulo">
            <a:extLst>
              <a:ext uri="{FF2B5EF4-FFF2-40B4-BE49-F238E27FC236}">
                <a16:creationId xmlns="" xmlns:a16="http://schemas.microsoft.com/office/drawing/2014/main" id="{B40F46B8-2B0F-46AA-AAEC-FEA8E1FD0E7F}"/>
              </a:ext>
            </a:extLst>
          </p:cNvPr>
          <p:cNvSpPr/>
          <p:nvPr/>
        </p:nvSpPr>
        <p:spPr>
          <a:xfrm>
            <a:off x="6783328" y="6266235"/>
            <a:ext cx="691589" cy="723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00" b="1" dirty="0">
                <a:solidFill>
                  <a:srgbClr val="464653"/>
                </a:solidFill>
                <a:cs typeface="Arial" pitchFamily="34" charset="0"/>
              </a:rPr>
              <a:t>Vietnam</a:t>
            </a:r>
          </a:p>
        </p:txBody>
      </p:sp>
      <p:sp>
        <p:nvSpPr>
          <p:cNvPr id="126" name="155 Rectángulo">
            <a:extLst>
              <a:ext uri="{FF2B5EF4-FFF2-40B4-BE49-F238E27FC236}">
                <a16:creationId xmlns="" xmlns:a16="http://schemas.microsoft.com/office/drawing/2014/main" id="{1350CB3A-9A7D-4EB5-BED7-0F5EE4D8A66B}"/>
              </a:ext>
            </a:extLst>
          </p:cNvPr>
          <p:cNvSpPr/>
          <p:nvPr/>
        </p:nvSpPr>
        <p:spPr>
          <a:xfrm>
            <a:off x="7287573" y="4685629"/>
            <a:ext cx="624821" cy="457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00" b="1" dirty="0">
                <a:solidFill>
                  <a:srgbClr val="464653"/>
                </a:solidFill>
                <a:cs typeface="Arial" pitchFamily="34" charset="0"/>
              </a:rPr>
              <a:t>Malasia</a:t>
            </a:r>
          </a:p>
        </p:txBody>
      </p:sp>
      <p:sp>
        <p:nvSpPr>
          <p:cNvPr id="131" name="197 Rectángulo">
            <a:extLst>
              <a:ext uri="{FF2B5EF4-FFF2-40B4-BE49-F238E27FC236}">
                <a16:creationId xmlns="" xmlns:a16="http://schemas.microsoft.com/office/drawing/2014/main" id="{9EFEB88B-7E0C-41D3-B994-B610554F3818}"/>
              </a:ext>
            </a:extLst>
          </p:cNvPr>
          <p:cNvSpPr/>
          <p:nvPr/>
        </p:nvSpPr>
        <p:spPr>
          <a:xfrm>
            <a:off x="6311472" y="2336426"/>
            <a:ext cx="691589" cy="723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00" b="1" dirty="0">
                <a:solidFill>
                  <a:srgbClr val="464653"/>
                </a:solidFill>
                <a:cs typeface="Arial" pitchFamily="34" charset="0"/>
              </a:rPr>
              <a:t>Perú</a:t>
            </a:r>
          </a:p>
        </p:txBody>
      </p:sp>
      <p:sp>
        <p:nvSpPr>
          <p:cNvPr id="132" name="Rectángulo 131">
            <a:extLst>
              <a:ext uri="{FF2B5EF4-FFF2-40B4-BE49-F238E27FC236}">
                <a16:creationId xmlns="" xmlns:a16="http://schemas.microsoft.com/office/drawing/2014/main" id="{F98EAC9D-C4B6-483B-8BB8-1FFE28B73DF5}"/>
              </a:ext>
            </a:extLst>
          </p:cNvPr>
          <p:cNvSpPr/>
          <p:nvPr/>
        </p:nvSpPr>
        <p:spPr>
          <a:xfrm>
            <a:off x="6128598" y="1380657"/>
            <a:ext cx="1995345" cy="5085457"/>
          </a:xfrm>
          <a:prstGeom prst="rect">
            <a:avLst/>
          </a:prstGeom>
          <a:noFill/>
          <a:ln cap="sq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>
              <a:solidFill>
                <a:prstClr val="white"/>
              </a:solidFill>
            </a:endParaRPr>
          </a:p>
        </p:txBody>
      </p:sp>
      <p:sp>
        <p:nvSpPr>
          <p:cNvPr id="133" name="Rectángulo 132">
            <a:extLst>
              <a:ext uri="{FF2B5EF4-FFF2-40B4-BE49-F238E27FC236}">
                <a16:creationId xmlns="" xmlns:a16="http://schemas.microsoft.com/office/drawing/2014/main" id="{DBF2126E-E0EF-4096-A32D-D5A3BF430C1A}"/>
              </a:ext>
            </a:extLst>
          </p:cNvPr>
          <p:cNvSpPr/>
          <p:nvPr/>
        </p:nvSpPr>
        <p:spPr>
          <a:xfrm>
            <a:off x="6746630" y="1207847"/>
            <a:ext cx="803512" cy="342640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67000"/>
                </a:schemeClr>
              </a:gs>
              <a:gs pos="48000">
                <a:schemeClr val="accent6">
                  <a:lumMod val="97000"/>
                  <a:lumOff val="3000"/>
                </a:schemeClr>
              </a:gs>
              <a:gs pos="100000">
                <a:schemeClr val="accent6">
                  <a:lumMod val="60000"/>
                  <a:lumOff val="40000"/>
                </a:schemeClr>
              </a:gs>
            </a:gsLst>
            <a:lin ang="5400000" scaled="1"/>
            <a:tileRect/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600" b="1" dirty="0">
                <a:solidFill>
                  <a:prstClr val="white"/>
                </a:solidFill>
              </a:rPr>
              <a:t>CPTPP</a:t>
            </a:r>
            <a:endParaRPr lang="es-PE" b="1" dirty="0">
              <a:solidFill>
                <a:prstClr val="white"/>
              </a:solidFill>
            </a:endParaRPr>
          </a:p>
        </p:txBody>
      </p:sp>
      <p:pic>
        <p:nvPicPr>
          <p:cNvPr id="105" name="Imagen 104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6850" y="2488824"/>
            <a:ext cx="560832" cy="560832"/>
          </a:xfrm>
          <a:prstGeom prst="rect">
            <a:avLst/>
          </a:prstGeom>
        </p:spPr>
      </p:pic>
      <p:sp>
        <p:nvSpPr>
          <p:cNvPr id="108" name="163 Rectángulo"/>
          <p:cNvSpPr/>
          <p:nvPr/>
        </p:nvSpPr>
        <p:spPr>
          <a:xfrm>
            <a:off x="7290459" y="3089875"/>
            <a:ext cx="619048" cy="881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00" b="1" dirty="0">
                <a:solidFill>
                  <a:srgbClr val="464653"/>
                </a:solidFill>
                <a:cs typeface="Arial" pitchFamily="34" charset="0"/>
              </a:rPr>
              <a:t>México </a:t>
            </a:r>
          </a:p>
        </p:txBody>
      </p:sp>
      <p:pic>
        <p:nvPicPr>
          <p:cNvPr id="147" name="Imagen 146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9567" y="2488824"/>
            <a:ext cx="560832" cy="560832"/>
          </a:xfrm>
          <a:prstGeom prst="rect">
            <a:avLst/>
          </a:prstGeom>
        </p:spPr>
      </p:pic>
      <p:sp>
        <p:nvSpPr>
          <p:cNvPr id="148" name="106 Rectángulo"/>
          <p:cNvSpPr/>
          <p:nvPr/>
        </p:nvSpPr>
        <p:spPr>
          <a:xfrm>
            <a:off x="6360871" y="3868639"/>
            <a:ext cx="592791" cy="784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00" b="1" dirty="0">
                <a:solidFill>
                  <a:srgbClr val="464653"/>
                </a:solidFill>
                <a:cs typeface="Arial" pitchFamily="34" charset="0"/>
              </a:rPr>
              <a:t>Canadá</a:t>
            </a:r>
          </a:p>
        </p:txBody>
      </p:sp>
      <p:pic>
        <p:nvPicPr>
          <p:cNvPr id="149" name="Imagen 14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6850" y="3258788"/>
            <a:ext cx="560832" cy="560832"/>
          </a:xfrm>
          <a:prstGeom prst="rect">
            <a:avLst/>
          </a:prstGeom>
        </p:spPr>
      </p:pic>
      <p:sp>
        <p:nvSpPr>
          <p:cNvPr id="150" name="172 Rectángulo"/>
          <p:cNvSpPr/>
          <p:nvPr/>
        </p:nvSpPr>
        <p:spPr>
          <a:xfrm>
            <a:off x="6308713" y="5482629"/>
            <a:ext cx="697107" cy="640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00" b="1" dirty="0">
                <a:solidFill>
                  <a:srgbClr val="464653"/>
                </a:solidFill>
                <a:cs typeface="Arial" pitchFamily="34" charset="0"/>
              </a:rPr>
              <a:t>Japón</a:t>
            </a:r>
          </a:p>
        </p:txBody>
      </p:sp>
      <p:pic>
        <p:nvPicPr>
          <p:cNvPr id="151" name="Imagen 150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6850" y="4871687"/>
            <a:ext cx="560832" cy="560832"/>
          </a:xfrm>
          <a:prstGeom prst="rect">
            <a:avLst/>
          </a:prstGeom>
        </p:spPr>
      </p:pic>
      <p:sp>
        <p:nvSpPr>
          <p:cNvPr id="152" name="169 Rectángulo"/>
          <p:cNvSpPr/>
          <p:nvPr/>
        </p:nvSpPr>
        <p:spPr>
          <a:xfrm>
            <a:off x="7248235" y="5475075"/>
            <a:ext cx="703497" cy="791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00" b="1" dirty="0">
                <a:solidFill>
                  <a:srgbClr val="464653"/>
                </a:solidFill>
                <a:cs typeface="Arial" pitchFamily="34" charset="0"/>
              </a:rPr>
              <a:t>Singapur</a:t>
            </a:r>
          </a:p>
        </p:txBody>
      </p:sp>
      <p:pic>
        <p:nvPicPr>
          <p:cNvPr id="153" name="Imagen 152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9567" y="4871687"/>
            <a:ext cx="560832" cy="560832"/>
          </a:xfrm>
          <a:prstGeom prst="rect">
            <a:avLst/>
          </a:prstGeom>
        </p:spPr>
      </p:pic>
      <p:pic>
        <p:nvPicPr>
          <p:cNvPr id="4" name="Imagen 3"/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9567" y="1750262"/>
            <a:ext cx="560832" cy="560832"/>
          </a:xfrm>
          <a:prstGeom prst="rect">
            <a:avLst/>
          </a:prstGeom>
        </p:spPr>
      </p:pic>
      <p:pic>
        <p:nvPicPr>
          <p:cNvPr id="164" name="Imagen 163"/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1067" y="2743622"/>
            <a:ext cx="560832" cy="560832"/>
          </a:xfrm>
          <a:prstGeom prst="rect">
            <a:avLst/>
          </a:prstGeom>
        </p:spPr>
      </p:pic>
      <p:sp>
        <p:nvSpPr>
          <p:cNvPr id="165" name="133 Rectángulo">
            <a:extLst>
              <a:ext uri="{FF2B5EF4-FFF2-40B4-BE49-F238E27FC236}">
                <a16:creationId xmlns="" xmlns:a16="http://schemas.microsoft.com/office/drawing/2014/main" id="{F72D5937-F64F-4150-BBD1-53714D9F400F}"/>
              </a:ext>
            </a:extLst>
          </p:cNvPr>
          <p:cNvSpPr/>
          <p:nvPr/>
        </p:nvSpPr>
        <p:spPr>
          <a:xfrm>
            <a:off x="5285689" y="3356903"/>
            <a:ext cx="691589" cy="723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00" b="1" dirty="0">
                <a:solidFill>
                  <a:srgbClr val="464653"/>
                </a:solidFill>
                <a:cs typeface="Arial" pitchFamily="34" charset="0"/>
              </a:rPr>
              <a:t>Australia</a:t>
            </a:r>
            <a:endParaRPr lang="es-ES" sz="800" b="1" dirty="0">
              <a:solidFill>
                <a:srgbClr val="464653"/>
              </a:solidFill>
              <a:cs typeface="Arial" pitchFamily="34" charset="0"/>
            </a:endParaRPr>
          </a:p>
        </p:txBody>
      </p:sp>
      <p:pic>
        <p:nvPicPr>
          <p:cNvPr id="10" name="Imagen 9"/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8706" y="5632819"/>
            <a:ext cx="560832" cy="560832"/>
          </a:xfrm>
          <a:prstGeom prst="rect">
            <a:avLst/>
          </a:prstGeom>
        </p:spPr>
      </p:pic>
      <p:sp>
        <p:nvSpPr>
          <p:cNvPr id="166" name="132 Rectángulo">
            <a:extLst>
              <a:ext uri="{FF2B5EF4-FFF2-40B4-BE49-F238E27FC236}">
                <a16:creationId xmlns="" xmlns:a16="http://schemas.microsoft.com/office/drawing/2014/main" id="{F0FCC23B-5125-46C9-BF59-E5957ED6AC0D}"/>
              </a:ext>
            </a:extLst>
          </p:cNvPr>
          <p:cNvSpPr/>
          <p:nvPr/>
        </p:nvSpPr>
        <p:spPr>
          <a:xfrm>
            <a:off x="7066741" y="3859234"/>
            <a:ext cx="1048715" cy="973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00" b="1" dirty="0">
                <a:solidFill>
                  <a:srgbClr val="464653"/>
                </a:solidFill>
                <a:cs typeface="Arial" pitchFamily="34" charset="0"/>
              </a:rPr>
              <a:t>Nueva Zelanda</a:t>
            </a:r>
          </a:p>
        </p:txBody>
      </p:sp>
      <p:pic>
        <p:nvPicPr>
          <p:cNvPr id="167" name="Imagen 166"/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9528" y="3258749"/>
            <a:ext cx="560910" cy="560910"/>
          </a:xfrm>
          <a:prstGeom prst="rect">
            <a:avLst/>
          </a:prstGeom>
        </p:spPr>
      </p:pic>
      <p:pic>
        <p:nvPicPr>
          <p:cNvPr id="11" name="Imagen 10"/>
          <p:cNvPicPr>
            <a:picLocks noChangeAspect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9567" y="4051468"/>
            <a:ext cx="560832" cy="560832"/>
          </a:xfrm>
          <a:prstGeom prst="rect">
            <a:avLst/>
          </a:prstGeom>
        </p:spPr>
      </p:pic>
      <p:pic>
        <p:nvPicPr>
          <p:cNvPr id="3" name="Imagen 2"/>
          <p:cNvPicPr>
            <a:picLocks noChangeAspect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6850" y="4051468"/>
            <a:ext cx="560832" cy="560832"/>
          </a:xfrm>
          <a:prstGeom prst="rect">
            <a:avLst/>
          </a:prstGeom>
        </p:spPr>
      </p:pic>
      <p:pic>
        <p:nvPicPr>
          <p:cNvPr id="12" name="Imagen 11"/>
          <p:cNvPicPr>
            <a:picLocks noChangeAspect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1067" y="1940190"/>
            <a:ext cx="560832" cy="560832"/>
          </a:xfrm>
          <a:prstGeom prst="rect">
            <a:avLst/>
          </a:prstGeom>
        </p:spPr>
      </p:pic>
      <p:pic>
        <p:nvPicPr>
          <p:cNvPr id="14" name="Imagen 13"/>
          <p:cNvPicPr>
            <a:picLocks noChangeAspect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6850" y="1750262"/>
            <a:ext cx="560832" cy="560832"/>
          </a:xfrm>
          <a:prstGeom prst="rect">
            <a:avLst/>
          </a:prstGeom>
        </p:spPr>
      </p:pic>
      <p:pic>
        <p:nvPicPr>
          <p:cNvPr id="20" name="Imagen 19"/>
          <p:cNvPicPr>
            <a:picLocks noChangeAspect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1067" y="3463892"/>
            <a:ext cx="560832" cy="560832"/>
          </a:xfrm>
          <a:prstGeom prst="rect">
            <a:avLst/>
          </a:prstGeom>
        </p:spPr>
      </p:pic>
      <p:sp>
        <p:nvSpPr>
          <p:cNvPr id="21" name="Elipse 20"/>
          <p:cNvSpPr>
            <a:spLocks noChangeAspect="1"/>
          </p:cNvSpPr>
          <p:nvPr/>
        </p:nvSpPr>
        <p:spPr>
          <a:xfrm>
            <a:off x="5365083" y="4235670"/>
            <a:ext cx="532800" cy="532800"/>
          </a:xfrm>
          <a:prstGeom prst="ellipse">
            <a:avLst/>
          </a:prstGeom>
          <a:gradFill flip="none" rotWithShape="1">
            <a:gsLst>
              <a:gs pos="0">
                <a:schemeClr val="accent1">
                  <a:lumMod val="89000"/>
                </a:schemeClr>
              </a:gs>
              <a:gs pos="23000">
                <a:schemeClr val="accent1">
                  <a:lumMod val="89000"/>
                </a:schemeClr>
              </a:gs>
              <a:gs pos="69000">
                <a:schemeClr val="accent1">
                  <a:lumMod val="75000"/>
                </a:schemeClr>
              </a:gs>
              <a:gs pos="97000">
                <a:schemeClr val="accent1">
                  <a:lumMod val="70000"/>
                </a:schemeClr>
              </a:gs>
            </a:gsLst>
            <a:path path="circle">
              <a:fillToRect l="50000" t="50000" r="50000" b="50000"/>
            </a:path>
            <a:tileRect/>
          </a:gradFill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900" b="1">
                <a:solidFill>
                  <a:prstClr val="white"/>
                </a:solidFill>
              </a:rPr>
              <a:t>TPP</a:t>
            </a:r>
            <a:endParaRPr lang="es-PE" sz="900" b="1" dirty="0">
              <a:solidFill>
                <a:prstClr val="white"/>
              </a:solidFill>
            </a:endParaRPr>
          </a:p>
        </p:txBody>
      </p:sp>
      <p:sp>
        <p:nvSpPr>
          <p:cNvPr id="87" name="189 Rectángulo"/>
          <p:cNvSpPr/>
          <p:nvPr/>
        </p:nvSpPr>
        <p:spPr>
          <a:xfrm>
            <a:off x="9262140" y="2342361"/>
            <a:ext cx="642190" cy="6047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00" b="1" dirty="0">
                <a:solidFill>
                  <a:srgbClr val="464653"/>
                </a:solidFill>
                <a:cs typeface="Arial" pitchFamily="34" charset="0"/>
              </a:rPr>
              <a:t>India</a:t>
            </a:r>
          </a:p>
        </p:txBody>
      </p:sp>
      <p:sp>
        <p:nvSpPr>
          <p:cNvPr id="137" name="Rectángulo 131">
            <a:extLst>
              <a:ext uri="{FF2B5EF4-FFF2-40B4-BE49-F238E27FC236}">
                <a16:creationId xmlns="" xmlns:a16="http://schemas.microsoft.com/office/drawing/2014/main" id="{F98EAC9D-C4B6-483B-8BB8-1FFE28B73DF5}"/>
              </a:ext>
            </a:extLst>
          </p:cNvPr>
          <p:cNvSpPr/>
          <p:nvPr/>
        </p:nvSpPr>
        <p:spPr>
          <a:xfrm>
            <a:off x="8602061" y="2858408"/>
            <a:ext cx="1995345" cy="2780391"/>
          </a:xfrm>
          <a:prstGeom prst="rect">
            <a:avLst/>
          </a:prstGeom>
          <a:noFill/>
          <a:ln cap="sq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 dirty="0">
              <a:solidFill>
                <a:prstClr val="white"/>
              </a:solidFill>
            </a:endParaRPr>
          </a:p>
        </p:txBody>
      </p:sp>
      <p:sp>
        <p:nvSpPr>
          <p:cNvPr id="134" name="Rectángulo 132">
            <a:extLst>
              <a:ext uri="{FF2B5EF4-FFF2-40B4-BE49-F238E27FC236}">
                <a16:creationId xmlns="" xmlns:a16="http://schemas.microsoft.com/office/drawing/2014/main" id="{DBF2126E-E0EF-4096-A32D-D5A3BF430C1A}"/>
              </a:ext>
            </a:extLst>
          </p:cNvPr>
          <p:cNvSpPr/>
          <p:nvPr/>
        </p:nvSpPr>
        <p:spPr>
          <a:xfrm>
            <a:off x="9186210" y="2691211"/>
            <a:ext cx="803512" cy="315118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40000"/>
                  <a:lumOff val="60000"/>
                </a:schemeClr>
              </a:gs>
              <a:gs pos="46000">
                <a:schemeClr val="accent1">
                  <a:lumMod val="95000"/>
                  <a:lumOff val="5000"/>
                </a:schemeClr>
              </a:gs>
              <a:gs pos="100000">
                <a:schemeClr val="accent1">
                  <a:lumMod val="60000"/>
                </a:schemeClr>
              </a:gs>
            </a:gsLst>
            <a:path path="circle">
              <a:fillToRect l="50000" t="130000" r="50000" b="-30000"/>
            </a:path>
            <a:tileRect/>
          </a:gra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600" b="1" dirty="0">
                <a:solidFill>
                  <a:prstClr val="white"/>
                </a:solidFill>
              </a:rPr>
              <a:t>AP - EA</a:t>
            </a:r>
            <a:endParaRPr lang="es-PE" b="1" dirty="0">
              <a:solidFill>
                <a:prstClr val="white"/>
              </a:solidFill>
            </a:endParaRPr>
          </a:p>
        </p:txBody>
      </p:sp>
      <p:sp>
        <p:nvSpPr>
          <p:cNvPr id="145" name="132 Rectángulo">
            <a:extLst>
              <a:ext uri="{FF2B5EF4-FFF2-40B4-BE49-F238E27FC236}">
                <a16:creationId xmlns="" xmlns:a16="http://schemas.microsoft.com/office/drawing/2014/main" id="{F0FCC23B-5125-46C9-BF59-E5957ED6AC0D}"/>
              </a:ext>
            </a:extLst>
          </p:cNvPr>
          <p:cNvSpPr/>
          <p:nvPr/>
        </p:nvSpPr>
        <p:spPr>
          <a:xfrm>
            <a:off x="8634335" y="5403364"/>
            <a:ext cx="1048715" cy="973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00" b="1" dirty="0">
                <a:solidFill>
                  <a:srgbClr val="464653"/>
                </a:solidFill>
                <a:cs typeface="Arial" pitchFamily="34" charset="0"/>
              </a:rPr>
              <a:t>Nueva Zelanda</a:t>
            </a:r>
          </a:p>
        </p:txBody>
      </p:sp>
      <p:pic>
        <p:nvPicPr>
          <p:cNvPr id="156" name="Picture 6" descr="http://www.tlc.gov.co/info/tlc/media/img28938.jpg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b="35424"/>
          <a:stretch>
            <a:fillRect/>
          </a:stretch>
        </p:blipFill>
        <p:spPr bwMode="auto">
          <a:xfrm>
            <a:off x="9228613" y="3104436"/>
            <a:ext cx="744982" cy="735089"/>
          </a:xfrm>
          <a:prstGeom prst="rect">
            <a:avLst/>
          </a:prstGeom>
          <a:ln>
            <a:noFill/>
          </a:ln>
          <a:effectLst/>
        </p:spPr>
      </p:pic>
      <p:sp>
        <p:nvSpPr>
          <p:cNvPr id="157" name="178 Rectángulo"/>
          <p:cNvSpPr/>
          <p:nvPr/>
        </p:nvSpPr>
        <p:spPr>
          <a:xfrm>
            <a:off x="8967239" y="3902354"/>
            <a:ext cx="1267731" cy="457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00" b="1" dirty="0">
                <a:solidFill>
                  <a:srgbClr val="464653"/>
                </a:solidFill>
                <a:cs typeface="Arial" pitchFamily="34" charset="0"/>
              </a:rPr>
              <a:t>Alianza del Pacífico</a:t>
            </a:r>
          </a:p>
        </p:txBody>
      </p:sp>
      <p:sp>
        <p:nvSpPr>
          <p:cNvPr id="158" name="106 Rectángulo"/>
          <p:cNvSpPr/>
          <p:nvPr/>
        </p:nvSpPr>
        <p:spPr>
          <a:xfrm>
            <a:off x="9834886" y="4608768"/>
            <a:ext cx="592791" cy="784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00" b="1" dirty="0">
                <a:solidFill>
                  <a:srgbClr val="464653"/>
                </a:solidFill>
                <a:cs typeface="Arial" pitchFamily="34" charset="0"/>
              </a:rPr>
              <a:t>Canadá</a:t>
            </a:r>
          </a:p>
        </p:txBody>
      </p:sp>
      <p:pic>
        <p:nvPicPr>
          <p:cNvPr id="159" name="Imagen 15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50865" y="4027553"/>
            <a:ext cx="560832" cy="560832"/>
          </a:xfrm>
          <a:prstGeom prst="rect">
            <a:avLst/>
          </a:prstGeom>
        </p:spPr>
      </p:pic>
      <p:sp>
        <p:nvSpPr>
          <p:cNvPr id="160" name="169 Rectángulo"/>
          <p:cNvSpPr/>
          <p:nvPr/>
        </p:nvSpPr>
        <p:spPr>
          <a:xfrm>
            <a:off x="9779533" y="5396873"/>
            <a:ext cx="703497" cy="791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00" b="1" dirty="0">
                <a:solidFill>
                  <a:srgbClr val="464653"/>
                </a:solidFill>
                <a:cs typeface="Arial" pitchFamily="34" charset="0"/>
              </a:rPr>
              <a:t>Singapur</a:t>
            </a:r>
          </a:p>
        </p:txBody>
      </p:sp>
      <p:pic>
        <p:nvPicPr>
          <p:cNvPr id="161" name="Imagen 160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50865" y="4755657"/>
            <a:ext cx="560832" cy="560832"/>
          </a:xfrm>
          <a:prstGeom prst="rect">
            <a:avLst/>
          </a:prstGeom>
        </p:spPr>
      </p:pic>
      <p:pic>
        <p:nvPicPr>
          <p:cNvPr id="162" name="Imagen 161"/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78276" y="4056396"/>
            <a:ext cx="560832" cy="560832"/>
          </a:xfrm>
          <a:prstGeom prst="rect">
            <a:avLst/>
          </a:prstGeom>
        </p:spPr>
      </p:pic>
      <p:sp>
        <p:nvSpPr>
          <p:cNvPr id="163" name="133 Rectángulo">
            <a:extLst>
              <a:ext uri="{FF2B5EF4-FFF2-40B4-BE49-F238E27FC236}">
                <a16:creationId xmlns="" xmlns:a16="http://schemas.microsoft.com/office/drawing/2014/main" id="{F72D5937-F64F-4150-BBD1-53714D9F400F}"/>
              </a:ext>
            </a:extLst>
          </p:cNvPr>
          <p:cNvSpPr/>
          <p:nvPr/>
        </p:nvSpPr>
        <p:spPr>
          <a:xfrm>
            <a:off x="8812898" y="4623273"/>
            <a:ext cx="691589" cy="723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000" b="1" dirty="0">
                <a:solidFill>
                  <a:srgbClr val="464653"/>
                </a:solidFill>
                <a:cs typeface="Arial" pitchFamily="34" charset="0"/>
              </a:rPr>
              <a:t>Australia</a:t>
            </a:r>
            <a:endParaRPr lang="es-ES" sz="800" b="1" dirty="0">
              <a:solidFill>
                <a:srgbClr val="464653"/>
              </a:solidFill>
              <a:cs typeface="Arial" pitchFamily="34" charset="0"/>
            </a:endParaRPr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78237" y="4805254"/>
            <a:ext cx="560910" cy="560910"/>
          </a:xfrm>
          <a:prstGeom prst="rect">
            <a:avLst/>
          </a:prstGeom>
        </p:spPr>
      </p:pic>
      <p:pic>
        <p:nvPicPr>
          <p:cNvPr id="7" name="Imagen 6"/>
          <p:cNvPicPr>
            <a:picLocks noChangeAspect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2819" y="1750262"/>
            <a:ext cx="560832" cy="560832"/>
          </a:xfrm>
          <a:prstGeom prst="rect">
            <a:avLst/>
          </a:prstGeom>
        </p:spPr>
      </p:pic>
      <p:sp>
        <p:nvSpPr>
          <p:cNvPr id="91" name="103 Llamada rectangular"/>
          <p:cNvSpPr/>
          <p:nvPr/>
        </p:nvSpPr>
        <p:spPr>
          <a:xfrm>
            <a:off x="8503278" y="843238"/>
            <a:ext cx="1266378" cy="307777"/>
          </a:xfrm>
          <a:prstGeom prst="wedgeRectCallout">
            <a:avLst>
              <a:gd name="adj1" fmla="val -20833"/>
              <a:gd name="adj2" fmla="val 50406"/>
            </a:avLst>
          </a:prstGeom>
          <a:solidFill>
            <a:srgbClr val="00B050"/>
          </a:solidFill>
          <a:ln>
            <a:solidFill>
              <a:srgbClr val="00B050"/>
            </a:solidFill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anchor="ctr">
            <a:spAutoFit/>
          </a:bodyPr>
          <a:lstStyle/>
          <a:p>
            <a:pPr algn="ctr">
              <a:defRPr/>
            </a:pPr>
            <a:r>
              <a:rPr lang="es-ES" sz="1400" b="1" dirty="0">
                <a:solidFill>
                  <a:prstClr val="black"/>
                </a:solidFill>
                <a:cs typeface="Arial" pitchFamily="34" charset="0"/>
              </a:rPr>
              <a:t>Negociación</a:t>
            </a:r>
          </a:p>
        </p:txBody>
      </p:sp>
    </p:spTree>
    <p:extLst>
      <p:ext uri="{BB962C8B-B14F-4D97-AF65-F5344CB8AC3E}">
        <p14:creationId xmlns:p14="http://schemas.microsoft.com/office/powerpoint/2010/main" val="12656714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8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 tmFilter="0, 0; .2, .5; .8, .5; 1, 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0" dur="250" autoRev="1" fill="hold"/>
                                        <p:tgtEl>
                                          <p:spTgt spid="1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1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 tmFilter="0, 0; .2, .5; .8, .5; 1, 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3" dur="250" autoRev="1" fill="hold"/>
                                        <p:tgtEl>
                                          <p:spTgt spid="1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4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" dur="500" tmFilter="0, 0; .2, .5; .8, .5; 1, 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6" dur="250" autoRev="1" fill="hold"/>
                                        <p:tgtEl>
                                          <p:spTgt spid="1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7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" dur="500" tmFilter="0, 0; .2, .5; .8, .5; 1, 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9" dur="250" autoRev="1" fill="hold"/>
                                        <p:tgtEl>
                                          <p:spTgt spid="1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0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" dur="500" tmFilter="0, 0; .2, .5; .8, .5; 1, 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2" dur="250" autoRev="1" fill="hold"/>
                                        <p:tgtEl>
                                          <p:spTgt spid="23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3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4" dur="500" tmFilter="0, 0; .2, .5; .8, .5; 1, 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5" dur="250" autoRev="1" fill="hold"/>
                                        <p:tgtEl>
                                          <p:spTgt spid="2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6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" dur="500" tmFilter="0, 0; .2, .5; .8, .5; 1, 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8" dur="250" autoRev="1" fill="hold"/>
                                        <p:tgtEl>
                                          <p:spTgt spid="2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9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0" dur="500" tmFilter="0, 0; .2, .5; .8, .5; 1, 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1" dur="250" autoRev="1" fill="hold"/>
                                        <p:tgtEl>
                                          <p:spTgt spid="2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32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3" dur="500" tmFilter="0, 0; .2, .5; .8, .5; 1, 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4" dur="250" autoRev="1" fill="hold"/>
                                        <p:tgtEl>
                                          <p:spTgt spid="2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35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6" dur="500" tmFilter="0, 0; .2, .5; .8, .5; 1, 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7" dur="250" autoRev="1" fill="hold"/>
                                        <p:tgtEl>
                                          <p:spTgt spid="2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38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9" dur="500" tmFilter="0, 0; .2, .5; .8, .5; 1, 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0" dur="250" autoRev="1" fill="hold"/>
                                        <p:tgtEl>
                                          <p:spTgt spid="3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41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2" dur="500" tmFilter="0, 0; .2, .5; .8, .5; 1, 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3" dur="250" autoRev="1" fill="hold"/>
                                        <p:tgtEl>
                                          <p:spTgt spid="3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44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5" dur="500" tmFilter="0, 0; .2, .5; .8, .5; 1, 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6" dur="250" autoRev="1" fill="hold"/>
                                        <p:tgtEl>
                                          <p:spTgt spid="3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47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8" dur="500" tmFilter="0, 0; .2, .5; .8, .5; 1, 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9" dur="250" autoRev="1" fill="hold"/>
                                        <p:tgtEl>
                                          <p:spTgt spid="33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50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1" dur="500" tmFilter="0, 0; .2, .5; .8, .5; 1, 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52" dur="250" autoRev="1" fill="hold"/>
                                        <p:tgtEl>
                                          <p:spTgt spid="3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53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4" dur="500" tmFilter="0, 0; .2, .5; .8, .5; 1, 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55" dur="250" autoRev="1" fill="hold"/>
                                        <p:tgtEl>
                                          <p:spTgt spid="3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56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7" dur="500" tmFilter="0, 0; .2, .5; .8, .5; 1, 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58" dur="250" autoRev="1" fill="hold"/>
                                        <p:tgtEl>
                                          <p:spTgt spid="3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59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0" dur="500" tmFilter="0, 0; .2, .5; .8, .5; 1, 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61" dur="250" autoRev="1" fill="hold"/>
                                        <p:tgtEl>
                                          <p:spTgt spid="4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62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3" dur="500" tmFilter="0, 0; .2, .5; .8, .5; 1, 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64" dur="250" autoRev="1" fill="hold"/>
                                        <p:tgtEl>
                                          <p:spTgt spid="4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65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6" dur="500" tmFilter="0, 0; .2, .5; .8, .5; 1, 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67" dur="250" autoRev="1" fill="hold"/>
                                        <p:tgtEl>
                                          <p:spTgt spid="4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68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9" dur="500" tmFilter="0, 0; .2, .5; .8, .5; 1, 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0" dur="250" autoRev="1" fill="hold"/>
                                        <p:tgtEl>
                                          <p:spTgt spid="103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71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2" dur="500" tmFilter="0, 0; .2, .5; .8, .5; 1, 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3" dur="250" autoRev="1" fill="hold"/>
                                        <p:tgtEl>
                                          <p:spTgt spid="10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74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5" dur="500" tmFilter="0, 0; .2, .5; .8, .5; 1, 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6" dur="250" autoRev="1" fill="hold"/>
                                        <p:tgtEl>
                                          <p:spTgt spid="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77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8" dur="500" tmFilter="0, 0; .2, .5; .8, .5; 1, 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9" dur="250" autoRev="1" fill="hold"/>
                                        <p:tgtEl>
                                          <p:spTgt spid="13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80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1" dur="500" tmFilter="0, 0; .2, .5; .8, .5; 1, 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82" dur="250" autoRev="1" fill="hold"/>
                                        <p:tgtEl>
                                          <p:spTgt spid="3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83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4" dur="500" tmFilter="0, 0; .2, .5; .8, .5; 1, 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85" dur="250" autoRev="1" fill="hold"/>
                                        <p:tgtEl>
                                          <p:spTgt spid="5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86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7" dur="500" tmFilter="0, 0; .2, .5; .8, .5; 1, 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88" dur="250" autoRev="1" fill="hold"/>
                                        <p:tgtEl>
                                          <p:spTgt spid="5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89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0" dur="500" tmFilter="0, 0; .2, .5; .8, .5; 1, 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91" dur="250" autoRev="1" fill="hold"/>
                                        <p:tgtEl>
                                          <p:spTgt spid="5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92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3" dur="500" tmFilter="0, 0; .2, .5; .8, .5; 1, 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94" dur="250" autoRev="1" fill="hold"/>
                                        <p:tgtEl>
                                          <p:spTgt spid="53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9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6" dur="500" tmFilter="0, 0; .2, .5; .8, .5; 1, 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97" dur="250" autoRev="1" fill="hold"/>
                                        <p:tgtEl>
                                          <p:spTgt spid="5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98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9" dur="500" tmFilter="0, 0; .2, .5; .8, .5; 1, 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00" dur="250" autoRev="1" fill="hold"/>
                                        <p:tgtEl>
                                          <p:spTgt spid="5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01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2" dur="500" tmFilter="0, 0; .2, .5; .8, .5; 1, 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03" dur="250" autoRev="1" fill="hold"/>
                                        <p:tgtEl>
                                          <p:spTgt spid="5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04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5" dur="500" tmFilter="0, 0; .2, .5; .8, .5; 1, 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06" dur="250" autoRev="1" fill="hold"/>
                                        <p:tgtEl>
                                          <p:spTgt spid="5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07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8" dur="500" tmFilter="0, 0; .2, .5; .8, .5; 1, 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09" dur="250" autoRev="1" fill="hold"/>
                                        <p:tgtEl>
                                          <p:spTgt spid="5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10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1" dur="500" tmFilter="0, 0; .2, .5; .8, .5; 1, 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12" dur="250" autoRev="1" fill="hold"/>
                                        <p:tgtEl>
                                          <p:spTgt spid="5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13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4" dur="500" tmFilter="0, 0; .2, .5; .8, .5; 1, 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15" dur="250" autoRev="1" fill="hold"/>
                                        <p:tgtEl>
                                          <p:spTgt spid="6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16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7" dur="500" tmFilter="0, 0; .2, .5; .8, .5; 1, 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18" dur="250" autoRev="1" fill="hold"/>
                                        <p:tgtEl>
                                          <p:spTgt spid="6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9" fill="hold">
                            <p:stCondLst>
                              <p:cond delay="500"/>
                            </p:stCondLst>
                            <p:childTnLst>
                              <p:par>
                                <p:cTn id="120" presetID="2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1" dur="500" tmFilter="0, 0; .2, .5; .8, .5; 1, 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22" dur="250" autoRev="1" fill="hold"/>
                                        <p:tgtEl>
                                          <p:spTgt spid="4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23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4" dur="500" tmFilter="0, 0; .2, .5; .8, .5; 1, 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25" dur="250" autoRev="1" fill="hold"/>
                                        <p:tgtEl>
                                          <p:spTgt spid="10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26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7" dur="500" tmFilter="0, 0; .2, .5; .8, .5; 1, 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28" dur="250" autoRev="1" fill="hold"/>
                                        <p:tgtEl>
                                          <p:spTgt spid="8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29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0" dur="500" tmFilter="0, 0; .2, .5; .8, .5; 1, 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31" dur="250" autoRev="1" fill="hold"/>
                                        <p:tgtEl>
                                          <p:spTgt spid="11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32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3" dur="500" tmFilter="0, 0; .2, .5; .8, .5; 1, 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34" dur="250" autoRev="1" fill="hold"/>
                                        <p:tgtEl>
                                          <p:spTgt spid="11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35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6" dur="500" tmFilter="0, 0; .2, .5; .8, .5; 1, 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37" dur="250" autoRev="1" fill="hold"/>
                                        <p:tgtEl>
                                          <p:spTgt spid="12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38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9" dur="500" tmFilter="0, 0; .2, .5; .8, .5; 1, 0"/>
                                        <p:tgtEl>
                                          <p:spTgt spid="12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40" dur="250" autoRev="1" fill="hold"/>
                                        <p:tgtEl>
                                          <p:spTgt spid="12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41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2" dur="500" tmFilter="0, 0; .2, .5; .8, .5; 1, 0"/>
                                        <p:tgtEl>
                                          <p:spTgt spid="12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43" dur="250" autoRev="1" fill="hold"/>
                                        <p:tgtEl>
                                          <p:spTgt spid="12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44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5" dur="500" tmFilter="0, 0; .2, .5; .8, .5; 1, 0"/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46" dur="250" autoRev="1" fill="hold"/>
                                        <p:tgtEl>
                                          <p:spTgt spid="13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47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8" dur="500" tmFilter="0, 0; .2, .5; .8, .5; 1, 0"/>
                                        <p:tgtEl>
                                          <p:spTgt spid="13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49" dur="250" autoRev="1" fill="hold"/>
                                        <p:tgtEl>
                                          <p:spTgt spid="13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50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1" dur="500" tmFilter="0, 0; .2, .5; .8, .5; 1, 0"/>
                                        <p:tgtEl>
                                          <p:spTgt spid="13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52" dur="250" autoRev="1" fill="hold"/>
                                        <p:tgtEl>
                                          <p:spTgt spid="133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53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4" dur="500" tmFilter="0, 0; .2, .5; .8, .5; 1, 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55" dur="250" autoRev="1" fill="hold"/>
                                        <p:tgtEl>
                                          <p:spTgt spid="10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56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7" dur="500" tmFilter="0, 0; .2, .5; .8, .5; 1, 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58" dur="250" autoRev="1" fill="hold"/>
                                        <p:tgtEl>
                                          <p:spTgt spid="10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59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0" dur="500" tmFilter="0, 0; .2, .5; .8, .5; 1, 0"/>
                                        <p:tgtEl>
                                          <p:spTgt spid="14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61" dur="250" autoRev="1" fill="hold"/>
                                        <p:tgtEl>
                                          <p:spTgt spid="14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62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3" dur="500" tmFilter="0, 0; .2, .5; .8, .5; 1, 0"/>
                                        <p:tgtEl>
                                          <p:spTgt spid="14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64" dur="250" autoRev="1" fill="hold"/>
                                        <p:tgtEl>
                                          <p:spTgt spid="14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6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6" dur="500" tmFilter="0, 0; .2, .5; .8, .5; 1, 0"/>
                                        <p:tgtEl>
                                          <p:spTgt spid="14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67" dur="250" autoRev="1" fill="hold"/>
                                        <p:tgtEl>
                                          <p:spTgt spid="14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68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9" dur="500" tmFilter="0, 0; .2, .5; .8, .5; 1, 0"/>
                                        <p:tgtEl>
                                          <p:spTgt spid="15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70" dur="250" autoRev="1" fill="hold"/>
                                        <p:tgtEl>
                                          <p:spTgt spid="15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71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2" dur="500" tmFilter="0, 0; .2, .5; .8, .5; 1, 0"/>
                                        <p:tgtEl>
                                          <p:spTgt spid="15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73" dur="250" autoRev="1" fill="hold"/>
                                        <p:tgtEl>
                                          <p:spTgt spid="15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74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5" dur="500" tmFilter="0, 0; .2, .5; .8, .5; 1, 0"/>
                                        <p:tgtEl>
                                          <p:spTgt spid="15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76" dur="250" autoRev="1" fill="hold"/>
                                        <p:tgtEl>
                                          <p:spTgt spid="15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77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8" dur="500" tmFilter="0, 0; .2, .5; .8, .5; 1, 0"/>
                                        <p:tgtEl>
                                          <p:spTgt spid="15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79" dur="250" autoRev="1" fill="hold"/>
                                        <p:tgtEl>
                                          <p:spTgt spid="153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80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1" dur="500" tmFilter="0, 0; .2, .5; .8, .5; 1, 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82" dur="250" autoRev="1" fill="hold"/>
                                        <p:tgtEl>
                                          <p:spTgt spid="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83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4" dur="500" tmFilter="0, 0; .2, .5; .8, .5; 1, 0"/>
                                        <p:tgtEl>
                                          <p:spTgt spid="16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85" dur="250" autoRev="1" fill="hold"/>
                                        <p:tgtEl>
                                          <p:spTgt spid="16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86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7" dur="500" tmFilter="0, 0; .2, .5; .8, .5; 1, 0"/>
                                        <p:tgtEl>
                                          <p:spTgt spid="16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88" dur="250" autoRev="1" fill="hold"/>
                                        <p:tgtEl>
                                          <p:spTgt spid="16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89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90" dur="500" tmFilter="0, 0; .2, .5; .8, .5; 1, 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91" dur="250" autoRev="1" fill="hold"/>
                                        <p:tgtEl>
                                          <p:spTgt spid="1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92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93" dur="500" tmFilter="0, 0; .2, .5; .8, .5; 1, 0"/>
                                        <p:tgtEl>
                                          <p:spTgt spid="16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94" dur="250" autoRev="1" fill="hold"/>
                                        <p:tgtEl>
                                          <p:spTgt spid="16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95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96" dur="500" tmFilter="0, 0; .2, .5; .8, .5; 1, 0"/>
                                        <p:tgtEl>
                                          <p:spTgt spid="16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97" dur="250" autoRev="1" fill="hold"/>
                                        <p:tgtEl>
                                          <p:spTgt spid="16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98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99" dur="500" tmFilter="0, 0; .2, .5; .8, .5; 1, 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00" dur="250" autoRev="1" fill="hold"/>
                                        <p:tgtEl>
                                          <p:spTgt spid="1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01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02" dur="500" tmFilter="0, 0; .2, .5; .8, .5; 1, 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03" dur="250" autoRev="1" fill="hold"/>
                                        <p:tgtEl>
                                          <p:spTgt spid="3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04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05" dur="500" tmFilter="0, 0; .2, .5; .8, .5; 1, 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06" dur="250" autoRev="1" fill="hold"/>
                                        <p:tgtEl>
                                          <p:spTgt spid="1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07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08" dur="500" tmFilter="0, 0; .2, .5; .8, .5; 1, 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09" dur="250" autoRev="1" fill="hold"/>
                                        <p:tgtEl>
                                          <p:spTgt spid="1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10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1" dur="500" tmFilter="0, 0; .2, .5; .8, .5; 1, 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12" dur="250" autoRev="1" fill="hold"/>
                                        <p:tgtEl>
                                          <p:spTgt spid="2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13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4" dur="500" tmFilter="0, 0; .2, .5; .8, .5; 1, 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15" dur="250" autoRev="1" fill="hold"/>
                                        <p:tgtEl>
                                          <p:spTgt spid="2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6" fill="hold">
                            <p:stCondLst>
                              <p:cond delay="1000"/>
                            </p:stCondLst>
                            <p:childTnLst>
                              <p:par>
                                <p:cTn id="217" presetID="2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8" dur="500" tmFilter="0, 0; .2, .5; .8, .5; 1, 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19" dur="250" autoRev="1" fill="hold"/>
                                        <p:tgtEl>
                                          <p:spTgt spid="8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20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21" dur="500" tmFilter="0, 0; .2, .5; .8, .5; 1, 0"/>
                                        <p:tgtEl>
                                          <p:spTgt spid="13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22" dur="250" autoRev="1" fill="hold"/>
                                        <p:tgtEl>
                                          <p:spTgt spid="13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23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24" dur="500" tmFilter="0, 0; .2, .5; .8, .5; 1, 0"/>
                                        <p:tgtEl>
                                          <p:spTgt spid="13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25" dur="250" autoRev="1" fill="hold"/>
                                        <p:tgtEl>
                                          <p:spTgt spid="13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26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27" dur="500" tmFilter="0, 0; .2, .5; .8, .5; 1, 0"/>
                                        <p:tgtEl>
                                          <p:spTgt spid="14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28" dur="250" autoRev="1" fill="hold"/>
                                        <p:tgtEl>
                                          <p:spTgt spid="14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29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30" dur="500" tmFilter="0, 0; .2, .5; .8, .5; 1, 0"/>
                                        <p:tgtEl>
                                          <p:spTgt spid="15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31" dur="250" autoRev="1" fill="hold"/>
                                        <p:tgtEl>
                                          <p:spTgt spid="15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32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33" dur="500" tmFilter="0, 0; .2, .5; .8, .5; 1, 0"/>
                                        <p:tgtEl>
                                          <p:spTgt spid="15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34" dur="250" autoRev="1" fill="hold"/>
                                        <p:tgtEl>
                                          <p:spTgt spid="15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35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36" dur="500" tmFilter="0, 0; .2, .5; .8, .5; 1, 0"/>
                                        <p:tgtEl>
                                          <p:spTgt spid="15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37" dur="250" autoRev="1" fill="hold"/>
                                        <p:tgtEl>
                                          <p:spTgt spid="15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38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39" dur="500" tmFilter="0, 0; .2, .5; .8, .5; 1, 0"/>
                                        <p:tgtEl>
                                          <p:spTgt spid="15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40" dur="250" autoRev="1" fill="hold"/>
                                        <p:tgtEl>
                                          <p:spTgt spid="15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41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42" dur="500" tmFilter="0, 0; .2, .5; .8, .5; 1, 0"/>
                                        <p:tgtEl>
                                          <p:spTgt spid="16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43" dur="250" autoRev="1" fill="hold"/>
                                        <p:tgtEl>
                                          <p:spTgt spid="16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44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45" dur="500" tmFilter="0, 0; .2, .5; .8, .5; 1, 0"/>
                                        <p:tgtEl>
                                          <p:spTgt spid="16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46" dur="250" autoRev="1" fill="hold"/>
                                        <p:tgtEl>
                                          <p:spTgt spid="16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47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48" dur="500" tmFilter="0, 0; .2, .5; .8, .5; 1, 0"/>
                                        <p:tgtEl>
                                          <p:spTgt spid="16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49" dur="250" autoRev="1" fill="hold"/>
                                        <p:tgtEl>
                                          <p:spTgt spid="16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50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51" dur="500" tmFilter="0, 0; .2, .5; .8, .5; 1, 0"/>
                                        <p:tgtEl>
                                          <p:spTgt spid="16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52" dur="250" autoRev="1" fill="hold"/>
                                        <p:tgtEl>
                                          <p:spTgt spid="163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53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54" dur="500" tmFilter="0, 0; .2, .5; .8, .5; 1, 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55" dur="250" autoRev="1" fill="hold"/>
                                        <p:tgtEl>
                                          <p:spTgt spid="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56" presetID="2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57" dur="500" tmFilter="0, 0; .2, .5; .8, .5; 1, 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58" dur="250" autoRev="1" fill="hold"/>
                                        <p:tgtEl>
                                          <p:spTgt spid="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259" presetID="26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60" dur="500" tmFilter="0, 0; .2, .5; .8, .5; 1, 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61" dur="250" autoRev="1" fill="hold"/>
                                        <p:tgtEl>
                                          <p:spTgt spid="9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16" grpId="0"/>
      <p:bldP spid="17" grpId="0"/>
      <p:bldP spid="18" grpId="0"/>
      <p:bldP spid="23" grpId="0"/>
      <p:bldP spid="24" grpId="0"/>
      <p:bldP spid="25" grpId="0"/>
      <p:bldP spid="27" grpId="0"/>
      <p:bldP spid="28" grpId="0"/>
      <p:bldP spid="29" grpId="0"/>
      <p:bldP spid="30" grpId="0"/>
      <p:bldP spid="31" grpId="0"/>
      <p:bldP spid="32" grpId="0"/>
      <p:bldP spid="33" grpId="0"/>
      <p:bldP spid="34" grpId="0"/>
      <p:bldP spid="44" grpId="0"/>
      <p:bldP spid="47" grpId="0"/>
      <p:bldP spid="106" grpId="0" animBg="1"/>
      <p:bldP spid="45" grpId="0"/>
      <p:bldP spid="100" grpId="0" animBg="1"/>
      <p:bldP spid="84" grpId="0"/>
      <p:bldP spid="117" grpId="0"/>
      <p:bldP spid="118" grpId="0"/>
      <p:bldP spid="120" grpId="0"/>
      <p:bldP spid="124" grpId="0"/>
      <p:bldP spid="126" grpId="0"/>
      <p:bldP spid="131" grpId="0"/>
      <p:bldP spid="132" grpId="0" animBg="1"/>
      <p:bldP spid="133" grpId="0" animBg="1"/>
      <p:bldP spid="108" grpId="0"/>
      <p:bldP spid="148" grpId="0"/>
      <p:bldP spid="150" grpId="0"/>
      <p:bldP spid="152" grpId="0"/>
      <p:bldP spid="165" grpId="0"/>
      <p:bldP spid="166" grpId="0"/>
      <p:bldP spid="21" grpId="0" animBg="1"/>
      <p:bldP spid="87" grpId="0"/>
      <p:bldP spid="137" grpId="0" animBg="1"/>
      <p:bldP spid="134" grpId="0" animBg="1"/>
      <p:bldP spid="145" grpId="0"/>
      <p:bldP spid="157" grpId="0"/>
      <p:bldP spid="158" grpId="0"/>
      <p:bldP spid="160" grpId="0"/>
      <p:bldP spid="163" grpId="0"/>
      <p:bldP spid="91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>
            <a:extLst>
              <a:ext uri="{FF2B5EF4-FFF2-40B4-BE49-F238E27FC236}">
                <a16:creationId xmlns="" xmlns:a16="http://schemas.microsoft.com/office/drawing/2014/main" id="{3D46C062-7AEB-4A82-B912-F9804049B9B5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6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438319" y="1265462"/>
            <a:ext cx="9242337" cy="5499069"/>
          </a:xfrm>
          <a:prstGeom prst="rect">
            <a:avLst/>
          </a:prstGeom>
        </p:spPr>
      </p:pic>
      <p:sp>
        <p:nvSpPr>
          <p:cNvPr id="256" name="object 12">
            <a:extLst>
              <a:ext uri="{FF2B5EF4-FFF2-40B4-BE49-F238E27FC236}">
                <a16:creationId xmlns="" xmlns:a16="http://schemas.microsoft.com/office/drawing/2014/main" id="{67CF5568-13D9-40CA-82ED-A5DFF5C2C80A}"/>
              </a:ext>
            </a:extLst>
          </p:cNvPr>
          <p:cNvSpPr txBox="1">
            <a:spLocks/>
          </p:cNvSpPr>
          <p:nvPr/>
        </p:nvSpPr>
        <p:spPr>
          <a:xfrm>
            <a:off x="-31173" y="381188"/>
            <a:ext cx="12192000" cy="412742"/>
          </a:xfrm>
          <a:prstGeom prst="rect">
            <a:avLst/>
          </a:prstGeom>
          <a:noFill/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square" lIns="91425" tIns="45700" rIns="91425" bIns="45700" anchor="ctr" anchorCtr="0">
            <a:noAutofit/>
          </a:bodyPr>
          <a:lstStyle>
            <a:defPPr>
              <a:defRPr lang="es-PE"/>
            </a:defPPr>
            <a:lvl1pPr indent="-177800" algn="ctr">
              <a:lnSpc>
                <a:spcPct val="70000"/>
              </a:lnSpc>
              <a:buClr>
                <a:srgbClr val="0063AD"/>
              </a:buClr>
              <a:buSzPts val="2800"/>
              <a:defRPr sz="3600" b="1">
                <a:solidFill>
                  <a:srgbClr val="C00000"/>
                </a:solidFill>
              </a:defRPr>
            </a:lvl1pPr>
          </a:lstStyle>
          <a:p>
            <a:r>
              <a:rPr lang="es-ES" sz="3200" dirty="0"/>
              <a:t>Y la Red de Oficinas Comerciales del Perú en el Exterior - OCEX</a:t>
            </a:r>
          </a:p>
        </p:txBody>
      </p:sp>
      <p:sp>
        <p:nvSpPr>
          <p:cNvPr id="258" name="Rectángulo 257">
            <a:extLst>
              <a:ext uri="{FF2B5EF4-FFF2-40B4-BE49-F238E27FC236}">
                <a16:creationId xmlns="" xmlns:a16="http://schemas.microsoft.com/office/drawing/2014/main" id="{706D950E-DD88-43F7-B811-674C7A143BE6}"/>
              </a:ext>
            </a:extLst>
          </p:cNvPr>
          <p:cNvSpPr/>
          <p:nvPr/>
        </p:nvSpPr>
        <p:spPr>
          <a:xfrm>
            <a:off x="1204190" y="3205966"/>
            <a:ext cx="1835812" cy="3243704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tlCol="0" anchor="ctr"/>
          <a:lstStyle/>
          <a:p>
            <a:pPr algn="ctr"/>
            <a:r>
              <a:rPr lang="es-MX" sz="1400" dirty="0">
                <a:solidFill>
                  <a:srgbClr val="0B5C75"/>
                </a:solidFill>
              </a:rPr>
              <a:t>Toronto</a:t>
            </a:r>
          </a:p>
          <a:p>
            <a:pPr algn="ctr"/>
            <a:r>
              <a:rPr lang="es-MX" sz="1400" dirty="0">
                <a:solidFill>
                  <a:srgbClr val="0B5C75"/>
                </a:solidFill>
              </a:rPr>
              <a:t>New York</a:t>
            </a:r>
          </a:p>
          <a:p>
            <a:pPr algn="ctr"/>
            <a:r>
              <a:rPr lang="es-MX" sz="1400" dirty="0">
                <a:solidFill>
                  <a:srgbClr val="0B5C75"/>
                </a:solidFill>
              </a:rPr>
              <a:t>Miami</a:t>
            </a:r>
          </a:p>
          <a:p>
            <a:pPr algn="ctr"/>
            <a:r>
              <a:rPr lang="es-MX" sz="1400" dirty="0">
                <a:solidFill>
                  <a:srgbClr val="0B5C75"/>
                </a:solidFill>
              </a:rPr>
              <a:t>Houston</a:t>
            </a:r>
          </a:p>
          <a:p>
            <a:pPr algn="ctr"/>
            <a:r>
              <a:rPr lang="es-MX" sz="1400" dirty="0">
                <a:solidFill>
                  <a:srgbClr val="0B5C75"/>
                </a:solidFill>
              </a:rPr>
              <a:t>Los Ángeles</a:t>
            </a:r>
          </a:p>
          <a:p>
            <a:pPr algn="ctr"/>
            <a:r>
              <a:rPr lang="es-MX" sz="1400" dirty="0">
                <a:solidFill>
                  <a:srgbClr val="0B5C75"/>
                </a:solidFill>
              </a:rPr>
              <a:t>México DF</a:t>
            </a:r>
          </a:p>
          <a:p>
            <a:pPr algn="ctr"/>
            <a:r>
              <a:rPr lang="es-MX" sz="1400" dirty="0">
                <a:solidFill>
                  <a:srgbClr val="0B5C75"/>
                </a:solidFill>
              </a:rPr>
              <a:t>Santo Domingo</a:t>
            </a:r>
          </a:p>
          <a:p>
            <a:pPr algn="ctr"/>
            <a:r>
              <a:rPr lang="es-MX" sz="1400" dirty="0">
                <a:solidFill>
                  <a:srgbClr val="0B5C75"/>
                </a:solidFill>
              </a:rPr>
              <a:t>Panamá</a:t>
            </a:r>
          </a:p>
          <a:p>
            <a:pPr algn="ctr"/>
            <a:r>
              <a:rPr lang="es-MX" sz="1400" dirty="0">
                <a:solidFill>
                  <a:srgbClr val="0B5C75"/>
                </a:solidFill>
              </a:rPr>
              <a:t>Bogotá</a:t>
            </a:r>
          </a:p>
          <a:p>
            <a:pPr algn="ctr"/>
            <a:r>
              <a:rPr lang="es-MX" sz="1400" dirty="0">
                <a:solidFill>
                  <a:srgbClr val="0B5C75"/>
                </a:solidFill>
              </a:rPr>
              <a:t>Quito</a:t>
            </a:r>
          </a:p>
          <a:p>
            <a:pPr algn="ctr"/>
            <a:r>
              <a:rPr lang="es-MX" sz="1400" dirty="0">
                <a:solidFill>
                  <a:srgbClr val="0B5C75"/>
                </a:solidFill>
              </a:rPr>
              <a:t>La paz</a:t>
            </a:r>
          </a:p>
          <a:p>
            <a:pPr algn="ctr"/>
            <a:r>
              <a:rPr lang="es-MX" sz="1400" dirty="0">
                <a:solidFill>
                  <a:srgbClr val="0B5C75"/>
                </a:solidFill>
              </a:rPr>
              <a:t>Santiago</a:t>
            </a:r>
          </a:p>
          <a:p>
            <a:pPr algn="ctr"/>
            <a:r>
              <a:rPr lang="es-MX" sz="1400" dirty="0">
                <a:solidFill>
                  <a:srgbClr val="0B5C75"/>
                </a:solidFill>
              </a:rPr>
              <a:t>Sao Paulo</a:t>
            </a:r>
          </a:p>
          <a:p>
            <a:pPr algn="ctr"/>
            <a:r>
              <a:rPr lang="es-MX" sz="1400" dirty="0">
                <a:solidFill>
                  <a:srgbClr val="0B5C75"/>
                </a:solidFill>
              </a:rPr>
              <a:t>Buenos Aires</a:t>
            </a:r>
          </a:p>
        </p:txBody>
      </p:sp>
      <p:sp>
        <p:nvSpPr>
          <p:cNvPr id="260" name="Rectángulo 259">
            <a:extLst>
              <a:ext uri="{FF2B5EF4-FFF2-40B4-BE49-F238E27FC236}">
                <a16:creationId xmlns="" xmlns:a16="http://schemas.microsoft.com/office/drawing/2014/main" id="{AD6044BC-65E3-43BA-A46D-240AA86F303A}"/>
              </a:ext>
            </a:extLst>
          </p:cNvPr>
          <p:cNvSpPr/>
          <p:nvPr/>
        </p:nvSpPr>
        <p:spPr>
          <a:xfrm>
            <a:off x="4055143" y="2948714"/>
            <a:ext cx="1406575" cy="156764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s-MX" sz="1400" dirty="0">
                <a:solidFill>
                  <a:srgbClr val="0B5C75"/>
                </a:solidFill>
              </a:rPr>
              <a:t>Madrid</a:t>
            </a:r>
          </a:p>
          <a:p>
            <a:pPr algn="ctr"/>
            <a:r>
              <a:rPr lang="es-MX" sz="1400" dirty="0">
                <a:solidFill>
                  <a:srgbClr val="0B5C75"/>
                </a:solidFill>
              </a:rPr>
              <a:t>París</a:t>
            </a:r>
          </a:p>
          <a:p>
            <a:pPr algn="ctr"/>
            <a:r>
              <a:rPr lang="es-MX" sz="1400" dirty="0">
                <a:solidFill>
                  <a:srgbClr val="0B5C75"/>
                </a:solidFill>
              </a:rPr>
              <a:t>Bruselas</a:t>
            </a:r>
          </a:p>
          <a:p>
            <a:pPr algn="ctr"/>
            <a:r>
              <a:rPr lang="es-MX" sz="1400" dirty="0">
                <a:solidFill>
                  <a:srgbClr val="0B5C75"/>
                </a:solidFill>
              </a:rPr>
              <a:t>Milán</a:t>
            </a:r>
          </a:p>
          <a:p>
            <a:pPr algn="ctr"/>
            <a:r>
              <a:rPr lang="es-MX" sz="1400" dirty="0">
                <a:solidFill>
                  <a:srgbClr val="0B5C75"/>
                </a:solidFill>
              </a:rPr>
              <a:t>Hamburgo</a:t>
            </a:r>
          </a:p>
          <a:p>
            <a:pPr algn="ctr"/>
            <a:r>
              <a:rPr lang="es-MX" sz="1400" dirty="0">
                <a:solidFill>
                  <a:srgbClr val="0B5C75"/>
                </a:solidFill>
              </a:rPr>
              <a:t>Rotterdam</a:t>
            </a:r>
          </a:p>
          <a:p>
            <a:pPr algn="ctr"/>
            <a:r>
              <a:rPr lang="es-MX" sz="1400" dirty="0">
                <a:solidFill>
                  <a:srgbClr val="0B5C75"/>
                </a:solidFill>
              </a:rPr>
              <a:t>Londres</a:t>
            </a:r>
          </a:p>
        </p:txBody>
      </p:sp>
      <p:sp>
        <p:nvSpPr>
          <p:cNvPr id="261" name="Rectángulo 260">
            <a:extLst>
              <a:ext uri="{FF2B5EF4-FFF2-40B4-BE49-F238E27FC236}">
                <a16:creationId xmlns="" xmlns:a16="http://schemas.microsoft.com/office/drawing/2014/main" id="{F9DE31C4-747D-4849-AAB6-10E788513E21}"/>
              </a:ext>
            </a:extLst>
          </p:cNvPr>
          <p:cNvSpPr/>
          <p:nvPr/>
        </p:nvSpPr>
        <p:spPr>
          <a:xfrm>
            <a:off x="9335728" y="2937563"/>
            <a:ext cx="1513176" cy="2256444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tlCol="0" anchor="ctr"/>
          <a:lstStyle/>
          <a:p>
            <a:pPr algn="ctr"/>
            <a:r>
              <a:rPr lang="es-MX" sz="1400" dirty="0">
                <a:solidFill>
                  <a:srgbClr val="0B5C75"/>
                </a:solidFill>
              </a:rPr>
              <a:t>Moscú</a:t>
            </a:r>
          </a:p>
          <a:p>
            <a:pPr algn="ctr"/>
            <a:r>
              <a:rPr lang="es-MX" sz="1400" dirty="0">
                <a:solidFill>
                  <a:srgbClr val="0B5C75"/>
                </a:solidFill>
              </a:rPr>
              <a:t>Tokio</a:t>
            </a:r>
          </a:p>
          <a:p>
            <a:pPr algn="ctr"/>
            <a:r>
              <a:rPr lang="es-MX" sz="1400" dirty="0">
                <a:solidFill>
                  <a:srgbClr val="0B5C75"/>
                </a:solidFill>
              </a:rPr>
              <a:t>Seúl</a:t>
            </a:r>
          </a:p>
          <a:p>
            <a:pPr algn="ctr"/>
            <a:r>
              <a:rPr lang="es-MX" sz="1400" dirty="0">
                <a:solidFill>
                  <a:srgbClr val="0B5C75"/>
                </a:solidFill>
              </a:rPr>
              <a:t>Beijing</a:t>
            </a:r>
          </a:p>
          <a:p>
            <a:pPr algn="ctr"/>
            <a:r>
              <a:rPr lang="es-MX" sz="1400" dirty="0">
                <a:solidFill>
                  <a:srgbClr val="0B5C75"/>
                </a:solidFill>
              </a:rPr>
              <a:t>Shanghái</a:t>
            </a:r>
          </a:p>
          <a:p>
            <a:pPr algn="ctr"/>
            <a:r>
              <a:rPr lang="es-MX" sz="1400" dirty="0">
                <a:solidFill>
                  <a:srgbClr val="0B5C75"/>
                </a:solidFill>
              </a:rPr>
              <a:t>Hong Kong</a:t>
            </a:r>
          </a:p>
          <a:p>
            <a:pPr algn="ctr"/>
            <a:r>
              <a:rPr lang="es-MX" sz="1400" dirty="0">
                <a:solidFill>
                  <a:srgbClr val="0B5C75"/>
                </a:solidFill>
              </a:rPr>
              <a:t>Taipéi</a:t>
            </a:r>
          </a:p>
          <a:p>
            <a:pPr algn="ctr"/>
            <a:r>
              <a:rPr lang="es-MX" sz="1400" dirty="0">
                <a:solidFill>
                  <a:srgbClr val="0B5C75"/>
                </a:solidFill>
              </a:rPr>
              <a:t>Bangkok</a:t>
            </a:r>
          </a:p>
          <a:p>
            <a:pPr algn="ctr"/>
            <a:r>
              <a:rPr lang="es-MX" sz="1400" dirty="0">
                <a:solidFill>
                  <a:srgbClr val="0B5C75"/>
                </a:solidFill>
              </a:rPr>
              <a:t>Yakarta</a:t>
            </a:r>
          </a:p>
          <a:p>
            <a:pPr algn="ctr"/>
            <a:r>
              <a:rPr lang="es-MX" sz="1400" dirty="0">
                <a:solidFill>
                  <a:srgbClr val="0B5C75"/>
                </a:solidFill>
              </a:rPr>
              <a:t>Sídney</a:t>
            </a:r>
          </a:p>
        </p:txBody>
      </p:sp>
      <p:sp>
        <p:nvSpPr>
          <p:cNvPr id="262" name="Rectángulo 261">
            <a:extLst>
              <a:ext uri="{FF2B5EF4-FFF2-40B4-BE49-F238E27FC236}">
                <a16:creationId xmlns="" xmlns:a16="http://schemas.microsoft.com/office/drawing/2014/main" id="{C5B4051B-C11F-4E56-B8EE-ADA15672F775}"/>
              </a:ext>
            </a:extLst>
          </p:cNvPr>
          <p:cNvSpPr/>
          <p:nvPr/>
        </p:nvSpPr>
        <p:spPr>
          <a:xfrm>
            <a:off x="6925125" y="4365320"/>
            <a:ext cx="1322613" cy="1439623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tlCol="0" anchor="ctr"/>
          <a:lstStyle/>
          <a:p>
            <a:pPr algn="ctr"/>
            <a:r>
              <a:rPr lang="es-MX" sz="1400" dirty="0">
                <a:solidFill>
                  <a:srgbClr val="0B5C75"/>
                </a:solidFill>
              </a:rPr>
              <a:t>Casa Blanca</a:t>
            </a:r>
          </a:p>
          <a:p>
            <a:pPr algn="ctr"/>
            <a:r>
              <a:rPr lang="es-MX" sz="1400" dirty="0">
                <a:solidFill>
                  <a:srgbClr val="0B5C75"/>
                </a:solidFill>
              </a:rPr>
              <a:t>Estambul</a:t>
            </a:r>
          </a:p>
          <a:p>
            <a:pPr algn="ctr"/>
            <a:r>
              <a:rPr lang="es-MX" sz="1400" dirty="0">
                <a:solidFill>
                  <a:srgbClr val="0B5C75"/>
                </a:solidFill>
              </a:rPr>
              <a:t>Dubái</a:t>
            </a:r>
          </a:p>
          <a:p>
            <a:pPr algn="ctr"/>
            <a:r>
              <a:rPr lang="es-MX" sz="1400" dirty="0">
                <a:solidFill>
                  <a:srgbClr val="0B5C75"/>
                </a:solidFill>
              </a:rPr>
              <a:t>Nueva Delhi</a:t>
            </a:r>
          </a:p>
        </p:txBody>
      </p:sp>
      <p:sp>
        <p:nvSpPr>
          <p:cNvPr id="10" name="CuadroTexto 9"/>
          <p:cNvSpPr txBox="1"/>
          <p:nvPr/>
        </p:nvSpPr>
        <p:spPr>
          <a:xfrm>
            <a:off x="121538" y="791699"/>
            <a:ext cx="118759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2800" b="1" dirty="0">
                <a:solidFill>
                  <a:srgbClr val="FF0000"/>
                </a:solidFill>
                <a:cs typeface="Arial" panose="020B0604020202020204" pitchFamily="34" charset="0"/>
              </a:rPr>
              <a:t>35</a:t>
            </a:r>
            <a:r>
              <a:rPr lang="es-ES" dirty="0">
                <a:cs typeface="Arial" panose="020B0604020202020204" pitchFamily="34" charset="0"/>
              </a:rPr>
              <a:t> </a:t>
            </a:r>
            <a:r>
              <a:rPr lang="es-ES" sz="1600" dirty="0">
                <a:cs typeface="Arial" panose="020B0604020202020204" pitchFamily="34" charset="0"/>
              </a:rPr>
              <a:t>OCEX; </a:t>
            </a:r>
            <a:r>
              <a:rPr lang="es-ES" sz="2800" b="1" dirty="0">
                <a:solidFill>
                  <a:srgbClr val="FF0000"/>
                </a:solidFill>
                <a:cs typeface="Arial" panose="020B0604020202020204" pitchFamily="34" charset="0"/>
              </a:rPr>
              <a:t>31</a:t>
            </a:r>
            <a:r>
              <a:rPr lang="es-ES" dirty="0">
                <a:cs typeface="Arial" panose="020B0604020202020204" pitchFamily="34" charset="0"/>
              </a:rPr>
              <a:t> </a:t>
            </a:r>
            <a:r>
              <a:rPr lang="es-ES" sz="1600" dirty="0">
                <a:cs typeface="Arial" panose="020B0604020202020204" pitchFamily="34" charset="0"/>
              </a:rPr>
              <a:t>Consejeros Comerciales; </a:t>
            </a:r>
            <a:r>
              <a:rPr lang="es-ES" sz="2800" b="1" dirty="0">
                <a:solidFill>
                  <a:srgbClr val="FF0000"/>
                </a:solidFill>
                <a:cs typeface="Arial" panose="020B0604020202020204" pitchFamily="34" charset="0"/>
              </a:rPr>
              <a:t>30</a:t>
            </a:r>
            <a:r>
              <a:rPr lang="es-ES" dirty="0">
                <a:cs typeface="Arial" panose="020B0604020202020204" pitchFamily="34" charset="0"/>
              </a:rPr>
              <a:t> </a:t>
            </a:r>
            <a:r>
              <a:rPr lang="es-ES" sz="1600" dirty="0">
                <a:cs typeface="Arial" panose="020B0604020202020204" pitchFamily="34" charset="0"/>
              </a:rPr>
              <a:t>economías; </a:t>
            </a:r>
            <a:r>
              <a:rPr lang="es-PE" sz="2800" b="1" dirty="0">
                <a:solidFill>
                  <a:srgbClr val="FF0000"/>
                </a:solidFill>
                <a:cs typeface="Arial" panose="020B0604020202020204" pitchFamily="34" charset="0"/>
              </a:rPr>
              <a:t>+90% </a:t>
            </a:r>
            <a:r>
              <a:rPr lang="es-PE" sz="1600" dirty="0">
                <a:cs typeface="Arial" panose="020B0604020202020204" pitchFamily="34" charset="0"/>
              </a:rPr>
              <a:t>de las exportaciones No Tradicionales y Turismo Receptivo</a:t>
            </a:r>
            <a:endParaRPr lang="es-PE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860747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eady1DkyYEHpqGJQso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xmkzlL_06P3qdxRJN3N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Khuvf20G3pxE3rPGRU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kMnv3zlEKDSJGrmiFeo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5u6petYUq6GelXeFA7p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WZlsW60G25Gj2zTYvG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DfpTpkWkGRU9ufGRs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oTXi.a8k29hZwoKHVUr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qkn5jtNE.PxoBHZYul8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RfRG1DiEq46CiZYMcsT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HtMxV1OUCVLbZgg8uBB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FTXuruXkaeXH3pHZBUy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mKvu9F2UqOWV.jKpi8W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2xfNTVk06iIOPzTtH.u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v8hXAZWkCYS8D5SyMVP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nLKf6o.E6SSCaRFPVIF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H1kZKxkKh6YkXiGJ4a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ITI98aT02LTNhyRpzW3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DVC2Kjqk.9epEZDxgyh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HM6e4rj0uhDZTKOz91V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tLYQtC7EG0NYQ8m9lwC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UT3dMkHk2g6Pi4xQ3h3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pX3Q7RUSh_wdv1Vjix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hkDa3qLEOMVFlevwgde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6jGyjCFECvDuetubeMy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Vpfiz3Hkq5_b3Sm8PXf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IXCG1tkaOTMCh23pIc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bnGkMGkmR0WxtxOoCU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b3Kmxq0e4OB1bXPiDr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m6O3J3L066EUBFzB3v5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8dSPdzlE.m_rpCioloPg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izzi840.LiNTG8UVDbQ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uM940MUSeXxQBzkdzn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VK9o_lBEiW_jjZq23vh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Bt32EnUeho7Uz0f0VQ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8D.p_LkCxmMOrbfCI5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zO8sgqNUSkchh94pbPIA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ZJwjSc.kWzdZmgqa2zd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xRufkSkWt0L5oOQv3G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O0CReBL0WiYmOhaNIl8w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1if8U_kkGRbmTVFqmnH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LiWtjQUE.DY8EyBT7AB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Xi8y3rkWT2N0TNDcBL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1z8NsBkKqhkcVXOqZUg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Q7WbpnNECUeu72B0vj2w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c8kkt4q0e.ZrLgD36kOg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gqzpZyk.0.Gd7n1AIyg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84YlLhUaaoYi7s90WFg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SpjFO8EWtLeIsaUqPEA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j2IPyFxECfvo1gw9Sbww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s2zvHYdEil09VeTvEf6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JotP6Di0eOWSDd30vk.Q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Fp9GFKhUieQsCqXlIHuA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MEBUZEP0GsVgX8zaljoQ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ohiDLWEisxP_yOIOfD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LH8BsF6EmK5vWXEpLfAg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zJTor7Pk2ErGKMhi6Ihg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EnU6Npkmsawl6_T0dtw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8Qg5sPv0SWAJvICnZTUg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RKL946_k.T7OLgXmrIVA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gP_BoBtU2W2fKf7zUfZw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K3GWVLI0aoBoHVvTCiGQ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kX4fT2hkyqieKGzVuJT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hZkNymx0WrQ9F2pEb9U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0bAEKDlEOgKZqud9DGKA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Nkl4BDm0yeYT5nsgSpaA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f9xI6RkEG2vzREIBYAGw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8O33vRwk61GjtU.Oydwg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MNLu58kCkf8yt8SRDdA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8xQ7OMU6AiGciNqwDog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LNBYoZ.kCOuU7B2V4_vQ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7zE5eyd0GFC.JEDQsbSA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dN4B_m4USf1SHNvQr38w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JplmT8SUuXCeBLOSANyA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3kVGSD8E2R3a_uiz4uyA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evLIyIkUaOHXXRiS7NXg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k7_zEYFUqGR92W0eUF.Q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X_bzdjZEG.TwFxTGramg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CnxqHdU68pN3zmniVY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j4yuZlQ0ygwe55UkkzJA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CIAQe320ifVlq_jDHOSg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c5S_JgjUekhJoSO4cD0A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AmX7t8pkO5M7P6nsgLUQ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sHtCYT.U2.da0_MDqLFA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6Hc8C6QkelXfa25mKf3Q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LpmmEE_UyDMzK4.SPAAg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8cvlXIdkSmO8JdNpWDo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aV209d0KSl4RMuLFKXg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XBK8mjE23Vdsi34RMp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my8oAKY0aMgr4hUO575A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sHzi_zQUif9tgOXAxHVQ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Xb9kwUE.wFZMRail7WQ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RI8Yx3rkiRV0cBVP79FQ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tHjDOu10Oyf0_PMzAymA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Ac.xljkqa9_1EATV0Lw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QtEbX6E6QN9jSC0trs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QiJJLXskSm_N3iYMcRq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1_CYR57Eq88XT8VRrqnw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yX4eurEyR1btNlyBsT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G2Zf8v0mlvBios7Sy7Q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nZU4uJESxRZHTwBKshw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OYIvuZUK7vL5D4InzcA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5xmm5wFUGFCBuzKaXYwg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UU6.v9VkGNQri0dDfnWA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oIvoZFaUGd5sH.karlKg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DNiCzIU.ZLYarAYz_Gw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x6YloDkGy_kS_F_XBgQ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sWh42skWMQ9rV_qByX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LLm4JPGkeBTbiuaXxfv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VKGmdkSUA61x9_QIdA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AFrcGwEK81CTHhYdE7g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Wylrfjkasb5WPvteMYw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C.PDPTIUmydEN_FB7Ec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voMpFV4US6YqovARnIDQ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tXRq3Sg0uHynw1ro0M2A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JVcvH4XkuNHaEqInWOmA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rYnzPg80iGV6nDsYa3_g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q.3zDmkSx7CTl.T46TQ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bXJxse70WBoNfG5VoESQ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Pu_r3.dEy2P8YDwWaROA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IUtXOWaky.v0EENhvtIg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jSJuip06YNxTsDcyIcg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ComMW8k2NI54MPI6le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YYtpjJgk217rT2rubEYw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X2_q3qPk.ZHDqIFCogTg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euV5hW5Eijg6ZeMel1T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BMq1cpeEKIE4fDMB5b9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a21afFvU27.CePXGVSd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YWbkeG90uaf4h5uqXm0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3OXfCtikaP6GqJL_MyA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.VBm6MjUGslyaSVjam8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3zGpEE5ESAs3sCQE1YK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yNhhKT9EaZjP8ypRXzT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BDIz_ex0S45.vp57Z5Z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4KfLJQEkapxtYUfKSrm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EDzEFf023Cck6.kOYF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MoMhEiskGS8dcTWyBy2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zRnfu8YE.TpKGz7DECr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c2gO_wrEyobii_fUC7p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Kc4aMTWkexewir9tEgh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DZ7Da6s0OnTdZ11Ym4e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DfUliNcE2s2JZ3l8B7i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FgiavccEymIkC4O2zxR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z_G0cRUUSPFfaI4HGfU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mTnk4TkSHQ52A11zsG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tIfkN5j0W7fAbt2bh2m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hWOMcUk64nKp7R3Xsd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V.kMn0OEuzfLKA1PdTE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jNB.mOkmEv7mlHOgZI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uLmJYrj0GNwUXFjqMTL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ftQQhTdEamZKojTfCgD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yix8h_E0OwFiDPNjCHk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n_HmIe2EK866vv2.bCd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ts24.8s06YbRlkYrra0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528dKmeqk.2LlA0UzQ8B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FjCpaJEEuW7D9P735Hd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dZDwxhjUi08vW1N97hK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1kA4PPUW3rgOS82cTb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Wq1k2uPEiP00IpLWJ9Y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B4nK190S_NYBwEbrFX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c8b4RXEUOHU.m6RMcao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24HOWf02Q6pUyevoSL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XV1mXpskeBdPC9RRbTe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IhW3nE5U.0xjuRHL5FZ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EF8PwB5UaMn1DplTq7e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r4nrhh5kunukGBetMK8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9vwXCt_kaqt93_I_0wg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EFRAcLkUG4.D4yiQ0OMg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2_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3_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5_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6_Tema de Office">
  <a:themeElements>
    <a:clrScheme name="Rojo naranja">
      <a:dk1>
        <a:sysClr val="windowText" lastClr="000000"/>
      </a:dk1>
      <a:lt1>
        <a:sysClr val="window" lastClr="FFFFFF"/>
      </a:lt1>
      <a:dk2>
        <a:srgbClr val="505046"/>
      </a:dk2>
      <a:lt2>
        <a:srgbClr val="EEECE1"/>
      </a:lt2>
      <a:accent1>
        <a:srgbClr val="E84C22"/>
      </a:accent1>
      <a:accent2>
        <a:srgbClr val="FFBD47"/>
      </a:accent2>
      <a:accent3>
        <a:srgbClr val="B64926"/>
      </a:accent3>
      <a:accent4>
        <a:srgbClr val="FF8427"/>
      </a:accent4>
      <a:accent5>
        <a:srgbClr val="CC9900"/>
      </a:accent5>
      <a:accent6>
        <a:srgbClr val="B22600"/>
      </a:accent6>
      <a:hlink>
        <a:srgbClr val="CC9900"/>
      </a:hlink>
      <a:folHlink>
        <a:srgbClr val="666699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733</TotalTime>
  <Words>1485</Words>
  <Application>Microsoft Office PowerPoint</Application>
  <PresentationFormat>Personalizado</PresentationFormat>
  <Paragraphs>391</Paragraphs>
  <Slides>14</Slides>
  <Notes>12</Notes>
  <HiddenSlides>0</HiddenSlides>
  <MMClips>0</MMClips>
  <ScaleCrop>false</ScaleCrop>
  <HeadingPairs>
    <vt:vector size="4" baseType="variant">
      <vt:variant>
        <vt:lpstr>Tema</vt:lpstr>
      </vt:variant>
      <vt:variant>
        <vt:i4>7</vt:i4>
      </vt:variant>
      <vt:variant>
        <vt:lpstr>Títulos de diapositiva</vt:lpstr>
      </vt:variant>
      <vt:variant>
        <vt:i4>14</vt:i4>
      </vt:variant>
    </vt:vector>
  </HeadingPairs>
  <TitlesOfParts>
    <vt:vector size="21" baseType="lpstr">
      <vt:lpstr>Tema de Office</vt:lpstr>
      <vt:lpstr>1_Tema de Office</vt:lpstr>
      <vt:lpstr>Office Theme</vt:lpstr>
      <vt:lpstr>2_Tema de Office</vt:lpstr>
      <vt:lpstr>3_Tema de Office</vt:lpstr>
      <vt:lpstr>5_Tema de Office</vt:lpstr>
      <vt:lpstr>6_Tema de Office</vt:lpstr>
      <vt:lpstr>Presentación de PowerPoint</vt:lpstr>
      <vt:lpstr>Importancia del comercio mundial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Edgar Manuel Vasquez Vela ..</dc:creator>
  <cp:lastModifiedBy>COMEX</cp:lastModifiedBy>
  <cp:revision>294</cp:revision>
  <cp:lastPrinted>2018-06-08T21:04:02Z</cp:lastPrinted>
  <dcterms:created xsi:type="dcterms:W3CDTF">2018-02-23T15:48:08Z</dcterms:created>
  <dcterms:modified xsi:type="dcterms:W3CDTF">2018-06-19T02:17:24Z</dcterms:modified>
</cp:coreProperties>
</file>